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4"/>
  </p:sldMasterIdLst>
  <p:notesMasterIdLst>
    <p:notesMasterId r:id="rId70"/>
  </p:notesMasterIdLst>
  <p:handoutMasterIdLst>
    <p:handoutMasterId r:id="rId71"/>
  </p:handoutMasterIdLst>
  <p:sldIdLst>
    <p:sldId id="256" r:id="rId15"/>
    <p:sldId id="257" r:id="rId16"/>
    <p:sldId id="807" r:id="rId17"/>
    <p:sldId id="3194" r:id="rId18"/>
    <p:sldId id="3259" r:id="rId19"/>
    <p:sldId id="3272" r:id="rId20"/>
    <p:sldId id="3273" r:id="rId21"/>
    <p:sldId id="3250" r:id="rId22"/>
    <p:sldId id="271" r:id="rId23"/>
    <p:sldId id="4069" r:id="rId24"/>
    <p:sldId id="1189" r:id="rId25"/>
    <p:sldId id="1657" r:id="rId26"/>
    <p:sldId id="1184" r:id="rId27"/>
    <p:sldId id="2147470887" r:id="rId28"/>
    <p:sldId id="2147470889" r:id="rId29"/>
    <p:sldId id="2147470892" r:id="rId30"/>
    <p:sldId id="3275" r:id="rId31"/>
    <p:sldId id="2147470942" r:id="rId32"/>
    <p:sldId id="821" r:id="rId33"/>
    <p:sldId id="3197" r:id="rId34"/>
    <p:sldId id="3199" r:id="rId35"/>
    <p:sldId id="2147470937" r:id="rId36"/>
    <p:sldId id="822" r:id="rId37"/>
    <p:sldId id="3198" r:id="rId38"/>
    <p:sldId id="3186" r:id="rId39"/>
    <p:sldId id="2147470938" r:id="rId40"/>
    <p:sldId id="426" r:id="rId41"/>
    <p:sldId id="368" r:id="rId42"/>
    <p:sldId id="2147470945" r:id="rId43"/>
    <p:sldId id="2147470939" r:id="rId44"/>
    <p:sldId id="3204" r:id="rId45"/>
    <p:sldId id="2147470940" r:id="rId46"/>
    <p:sldId id="2147470943" r:id="rId47"/>
    <p:sldId id="2147470944" r:id="rId48"/>
    <p:sldId id="503" r:id="rId49"/>
    <p:sldId id="2147470951" r:id="rId50"/>
    <p:sldId id="2147470946" r:id="rId51"/>
    <p:sldId id="2147470947" r:id="rId52"/>
    <p:sldId id="3228" r:id="rId53"/>
    <p:sldId id="2147470948" r:id="rId54"/>
    <p:sldId id="2147470949" r:id="rId55"/>
    <p:sldId id="2147470950" r:id="rId56"/>
    <p:sldId id="2147470952" r:id="rId57"/>
    <p:sldId id="2147470953" r:id="rId58"/>
    <p:sldId id="2147470941" r:id="rId59"/>
    <p:sldId id="2147470955" r:id="rId60"/>
    <p:sldId id="2147470956" r:id="rId61"/>
    <p:sldId id="2147470957" r:id="rId62"/>
    <p:sldId id="2147470958" r:id="rId63"/>
    <p:sldId id="2147470959" r:id="rId64"/>
    <p:sldId id="2147470960" r:id="rId65"/>
    <p:sldId id="2147470961" r:id="rId66"/>
    <p:sldId id="2147470962" r:id="rId67"/>
    <p:sldId id="2147470954" r:id="rId68"/>
    <p:sldId id="261" r:id="rId69"/>
  </p:sldIdLst>
  <p:sldSz cx="17557750" cy="9874250"/>
  <p:notesSz cx="6858000" cy="9144000"/>
  <p:custDataLst>
    <p:tags r:id="rId7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ção Geral" id="{0D93E189-8D41-4B5B-816A-F6E9D8183D10}">
          <p14:sldIdLst>
            <p14:sldId id="256"/>
            <p14:sldId id="257"/>
            <p14:sldId id="807"/>
            <p14:sldId id="3194"/>
            <p14:sldId id="3259"/>
            <p14:sldId id="3272"/>
            <p14:sldId id="3273"/>
            <p14:sldId id="3250"/>
            <p14:sldId id="271"/>
            <p14:sldId id="4069"/>
            <p14:sldId id="1189"/>
            <p14:sldId id="1657"/>
            <p14:sldId id="1184"/>
            <p14:sldId id="2147470887"/>
            <p14:sldId id="2147470889"/>
            <p14:sldId id="2147470892"/>
            <p14:sldId id="3275"/>
            <p14:sldId id="2147470942"/>
            <p14:sldId id="821"/>
            <p14:sldId id="3197"/>
            <p14:sldId id="3199"/>
            <p14:sldId id="2147470937"/>
            <p14:sldId id="822"/>
            <p14:sldId id="3198"/>
            <p14:sldId id="3186"/>
            <p14:sldId id="2147470938"/>
            <p14:sldId id="426"/>
            <p14:sldId id="368"/>
            <p14:sldId id="2147470945"/>
            <p14:sldId id="2147470939"/>
            <p14:sldId id="3204"/>
            <p14:sldId id="2147470940"/>
            <p14:sldId id="2147470943"/>
            <p14:sldId id="2147470944"/>
            <p14:sldId id="503"/>
            <p14:sldId id="2147470951"/>
            <p14:sldId id="2147470946"/>
            <p14:sldId id="2147470947"/>
            <p14:sldId id="3228"/>
            <p14:sldId id="2147470948"/>
            <p14:sldId id="2147470949"/>
            <p14:sldId id="2147470950"/>
            <p14:sldId id="2147470952"/>
            <p14:sldId id="2147470953"/>
            <p14:sldId id="2147470941"/>
            <p14:sldId id="2147470955"/>
            <p14:sldId id="2147470956"/>
            <p14:sldId id="2147470957"/>
            <p14:sldId id="2147470958"/>
            <p14:sldId id="2147470959"/>
            <p14:sldId id="2147470960"/>
            <p14:sldId id="2147470961"/>
            <p14:sldId id="2147470962"/>
            <p14:sldId id="2147470954"/>
            <p14:sldId id="2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110" userDrawn="1">
          <p15:clr>
            <a:srgbClr val="A4A3A4"/>
          </p15:clr>
        </p15:guide>
        <p15:guide id="2" pos="5530" userDrawn="1">
          <p15:clr>
            <a:srgbClr val="A4A3A4"/>
          </p15:clr>
        </p15:guide>
        <p15:guide id="3" orient="horz" pos="5650" userDrawn="1">
          <p15:clr>
            <a:srgbClr val="A4A3A4"/>
          </p15:clr>
        </p15:guide>
        <p15:guide id="4" orient="horz" pos="4811" userDrawn="1">
          <p15:clr>
            <a:srgbClr val="A4A3A4"/>
          </p15:clr>
        </p15:guide>
        <p15:guide id="5" orient="horz" pos="4698" userDrawn="1">
          <p15:clr>
            <a:srgbClr val="A4A3A4"/>
          </p15:clr>
        </p15:guide>
        <p15:guide id="6" orient="horz" pos="4471" userDrawn="1">
          <p15:clr>
            <a:srgbClr val="A4A3A4"/>
          </p15:clr>
        </p15:guide>
        <p15:guide id="7" pos="359" userDrawn="1">
          <p15:clr>
            <a:srgbClr val="A4A3A4"/>
          </p15:clr>
        </p15:guide>
        <p15:guide id="8" pos="7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3B61AC"/>
    <a:srgbClr val="964AA5"/>
    <a:srgbClr val="C1EFA7"/>
    <a:srgbClr val="00867B"/>
    <a:srgbClr val="FFAFAF"/>
    <a:srgbClr val="EBDAEE"/>
    <a:srgbClr val="552579"/>
    <a:srgbClr val="E3ABFF"/>
    <a:srgbClr val="2B2D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34" autoAdjust="0"/>
    <p:restoredTop sz="94469" autoAdjust="0"/>
  </p:normalViewPr>
  <p:slideViewPr>
    <p:cSldViewPr snapToGrid="0">
      <p:cViewPr varScale="1">
        <p:scale>
          <a:sx n="55" d="100"/>
          <a:sy n="55" d="100"/>
        </p:scale>
        <p:origin x="509" y="34"/>
      </p:cViewPr>
      <p:guideLst>
        <p:guide orient="horz" pos="3110"/>
        <p:guide pos="5530"/>
        <p:guide orient="horz" pos="5650"/>
        <p:guide orient="horz" pos="4811"/>
        <p:guide orient="horz" pos="4698"/>
        <p:guide orient="horz" pos="4471"/>
        <p:guide pos="359"/>
        <p:guide pos="74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6" d="100"/>
        <a:sy n="76" d="100"/>
      </p:scale>
      <p:origin x="0" y="-1128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63" Type="http://schemas.openxmlformats.org/officeDocument/2006/relationships/slide" Target="slides/slide49.xml"/><Relationship Id="rId68" Type="http://schemas.openxmlformats.org/officeDocument/2006/relationships/slide" Target="slides/slide54.xml"/><Relationship Id="rId76" Type="http://schemas.openxmlformats.org/officeDocument/2006/relationships/tableStyles" Target="tableStyles.xml"/><Relationship Id="rId7" Type="http://schemas.openxmlformats.org/officeDocument/2006/relationships/customXml" Target="../customXml/item7.xml"/><Relationship Id="rId71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customXml" Target="../customXml/item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66" Type="http://schemas.openxmlformats.org/officeDocument/2006/relationships/slide" Target="slides/slide52.xml"/><Relationship Id="rId7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61" Type="http://schemas.openxmlformats.org/officeDocument/2006/relationships/slide" Target="slides/slide47.xml"/><Relationship Id="rId10" Type="http://schemas.openxmlformats.org/officeDocument/2006/relationships/customXml" Target="../customXml/item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73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slide" Target="slides/slide55.xml"/><Relationship Id="rId8" Type="http://schemas.openxmlformats.org/officeDocument/2006/relationships/customXml" Target="../customXml/item8.xml"/><Relationship Id="rId51" Type="http://schemas.openxmlformats.org/officeDocument/2006/relationships/slide" Target="slides/slide37.xml"/><Relationship Id="rId72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slide" Target="slides/slide53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notesMaster" Target="notesMasters/notesMaster1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Work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3B61A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7ED-4A48-B623-3A6388126559}"/>
              </c:ext>
            </c:extLst>
          </c:dPt>
          <c:dPt>
            <c:idx val="1"/>
            <c:bubble3D val="0"/>
            <c:spPr>
              <a:solidFill>
                <a:srgbClr val="1496D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7ED-4A48-B623-3A6388126559}"/>
              </c:ext>
            </c:extLst>
          </c:dPt>
          <c:dPt>
            <c:idx val="2"/>
            <c:bubble3D val="0"/>
            <c:spPr>
              <a:solidFill>
                <a:srgbClr val="56EFF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7ED-4A48-B623-3A6388126559}"/>
              </c:ext>
            </c:extLst>
          </c:dPt>
          <c:dPt>
            <c:idx val="3"/>
            <c:bubble3D val="0"/>
            <c:spPr>
              <a:solidFill>
                <a:srgbClr val="40404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7ED-4A48-B623-3A6388126559}"/>
              </c:ext>
            </c:extLst>
          </c:dPt>
          <c:cat>
            <c:strRef>
              <c:f>[Workbook1]Sheet1!$D$4:$D$7</c:f>
              <c:strCache>
                <c:ptCount val="4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</c:strCache>
            </c:strRef>
          </c:cat>
          <c:val>
            <c:numRef>
              <c:f>[Workbook1]Sheet1!$E$4:$E$7</c:f>
              <c:numCache>
                <c:formatCode>0%</c:formatCode>
                <c:ptCount val="4"/>
                <c:pt idx="0">
                  <c:v>0.47</c:v>
                </c:pt>
                <c:pt idx="1">
                  <c:v>0.28999999999999998</c:v>
                </c:pt>
                <c:pt idx="2">
                  <c:v>0.15</c:v>
                </c:pt>
                <c:pt idx="3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7ED-4A48-B623-3A63881265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2464736425551E-2"/>
          <c:y val="0.44375348868961806"/>
          <c:w val="0.95950705271488979"/>
          <c:h val="0.465780924347138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6EFF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B5E-44E3-BE47-751C438B6252}"/>
              </c:ext>
            </c:extLst>
          </c:dPt>
          <c:dPt>
            <c:idx val="1"/>
            <c:invertIfNegative val="0"/>
            <c:bubble3D val="0"/>
            <c:spPr>
              <a:solidFill>
                <a:srgbClr val="1496D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B5E-44E3-BE47-751C438B6252}"/>
              </c:ext>
            </c:extLst>
          </c:dPt>
          <c:dPt>
            <c:idx val="2"/>
            <c:invertIfNegative val="0"/>
            <c:bubble3D val="0"/>
            <c:spPr>
              <a:solidFill>
                <a:srgbClr val="3B61A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B5E-44E3-BE47-751C438B6252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4800" b="0" i="0" u="none" strike="noStrike" kern="1200" baseline="0">
                      <a:solidFill>
                        <a:srgbClr val="1496D4"/>
                      </a:solidFill>
                      <a:latin typeface="Bahnschrift" panose="020B0502040204020203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6B5E-44E3-BE47-751C438B6252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4800" b="0" i="0" u="none" strike="noStrike" kern="1200" baseline="0">
                      <a:solidFill>
                        <a:srgbClr val="3B61AC"/>
                      </a:solidFill>
                      <a:latin typeface="Bahnschrift" panose="020B0502040204020203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6B5E-44E3-BE47-751C438B625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800" b="0" i="0" u="none" strike="noStrike" kern="1200" baseline="0">
                    <a:solidFill>
                      <a:srgbClr val="404040"/>
                    </a:solidFill>
                    <a:latin typeface="Bahnschrift" panose="020B0502040204020203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4</c:f>
              <c:strCache>
                <c:ptCount val="3"/>
                <c:pt idx="0">
                  <c:v>Local/Em trânsito</c:v>
                </c:pt>
                <c:pt idx="1">
                  <c:v>Nodal (regional)</c:v>
                </c:pt>
                <c:pt idx="2">
                  <c:v>Metastático</c:v>
                </c:pt>
              </c:strCache>
            </c:strRef>
          </c:cat>
          <c:val>
            <c:numRef>
              <c:f>Planilha1!$B$2:$B$4</c:f>
              <c:numCache>
                <c:formatCode>General</c:formatCode>
                <c:ptCount val="3"/>
                <c:pt idx="0">
                  <c:v>28</c:v>
                </c:pt>
                <c:pt idx="1">
                  <c:v>21</c:v>
                </c:pt>
                <c:pt idx="2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5E-44E3-BE47-751C438B625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2683551"/>
        <c:axId val="775519775"/>
      </c:barChart>
      <c:catAx>
        <c:axId val="8826835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defRPr>
            </a:pPr>
            <a:endParaRPr lang="pt-BR"/>
          </a:p>
        </c:txPr>
        <c:crossAx val="775519775"/>
        <c:crosses val="autoZero"/>
        <c:auto val="1"/>
        <c:lblAlgn val="ctr"/>
        <c:lblOffset val="100"/>
        <c:noMultiLvlLbl val="0"/>
      </c:catAx>
      <c:valAx>
        <c:axId val="7755197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826835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2464736425551E-2"/>
          <c:y val="0.30329593324204179"/>
          <c:w val="0.95950705271488979"/>
          <c:h val="0.60113826655797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C1EFA7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9DC8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929-46B0-A22F-B9C31315D75A}"/>
              </c:ext>
            </c:extLst>
          </c:dPt>
          <c:dPt>
            <c:idx val="2"/>
            <c:invertIfNegative val="0"/>
            <c:bubble3D val="0"/>
            <c:spPr>
              <a:solidFill>
                <a:srgbClr val="73B84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929-46B0-A22F-B9C31315D75A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4800" b="0" i="0" u="none" strike="noStrike" kern="1200" baseline="0">
                      <a:solidFill>
                        <a:srgbClr val="9DC877"/>
                      </a:solidFill>
                      <a:latin typeface="Bahnschrift" panose="020B0502040204020203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929-46B0-A22F-B9C31315D75A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4800" b="0" i="0" u="none" strike="noStrike" kern="1200" baseline="0">
                      <a:solidFill>
                        <a:srgbClr val="73B844"/>
                      </a:solidFill>
                      <a:latin typeface="Bahnschrift" panose="020B0502040204020203" pitchFamily="34" charset="0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929-46B0-A22F-B9C31315D7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800" b="0" i="0" u="none" strike="noStrike" kern="1200" baseline="0">
                    <a:solidFill>
                      <a:srgbClr val="404040"/>
                    </a:solidFill>
                    <a:latin typeface="Bahnschrift" panose="020B0502040204020203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4</c:f>
              <c:strCache>
                <c:ptCount val="3"/>
                <c:pt idx="0">
                  <c:v>IIIA</c:v>
                </c:pt>
                <c:pt idx="1">
                  <c:v>IIIB</c:v>
                </c:pt>
                <c:pt idx="2">
                  <c:v>IIIC</c:v>
                </c:pt>
              </c:strCache>
            </c:strRef>
          </c:cat>
          <c:val>
            <c:numRef>
              <c:f>Planilha1!$B$2:$B$4</c:f>
              <c:numCache>
                <c:formatCode>General</c:formatCode>
                <c:ptCount val="3"/>
                <c:pt idx="0">
                  <c:v>48</c:v>
                </c:pt>
                <c:pt idx="1">
                  <c:v>71</c:v>
                </c:pt>
                <c:pt idx="2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5E-44E3-BE47-751C438B625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82683551"/>
        <c:axId val="775519775"/>
      </c:barChart>
      <c:catAx>
        <c:axId val="8826835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defRPr>
            </a:pPr>
            <a:endParaRPr lang="pt-BR"/>
          </a:p>
        </c:txPr>
        <c:crossAx val="775519775"/>
        <c:crosses val="autoZero"/>
        <c:auto val="1"/>
        <c:lblAlgn val="ctr"/>
        <c:lblOffset val="100"/>
        <c:noMultiLvlLbl val="0"/>
      </c:catAx>
      <c:valAx>
        <c:axId val="7755197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826835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A27ABFC4-79B4-4CAE-9316-A3157ADD9EB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C8D2552D-2390-4A50-B04D-7230F22494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3004FA-0838-49EF-965E-72CD1D81F411}" type="datetimeFigureOut">
              <a:rPr lang="pt-BR" smtClean="0"/>
              <a:t>01/06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9A62964C-5767-4DC9-A1D7-6C1AF6F4A99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5AEBE22-7E7C-4348-87B5-2C801995182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31D8F2-55DC-42BF-AAD3-937BBB19BB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80649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FC2404-64FE-4100-841E-4FDFEF05FBFD}" type="datetimeFigureOut">
              <a:rPr lang="en-US" smtClean="0"/>
              <a:t>6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AAD633-9CE0-47F1-A4F2-2376D29A4D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475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16651" rtl="0" eaLnBrk="1" latinLnBrk="0" hangingPunct="1">
      <a:defRPr sz="1728" kern="1200">
        <a:solidFill>
          <a:schemeClr val="tx1"/>
        </a:solidFill>
        <a:latin typeface="+mn-lt"/>
        <a:ea typeface="+mn-ea"/>
        <a:cs typeface="+mn-cs"/>
      </a:defRPr>
    </a:lvl1pPr>
    <a:lvl2pPr marL="658326" algn="l" defTabSz="1316651" rtl="0" eaLnBrk="1" latinLnBrk="0" hangingPunct="1">
      <a:defRPr sz="1728" kern="1200">
        <a:solidFill>
          <a:schemeClr val="tx1"/>
        </a:solidFill>
        <a:latin typeface="+mn-lt"/>
        <a:ea typeface="+mn-ea"/>
        <a:cs typeface="+mn-cs"/>
      </a:defRPr>
    </a:lvl2pPr>
    <a:lvl3pPr marL="1316651" algn="l" defTabSz="1316651" rtl="0" eaLnBrk="1" latinLnBrk="0" hangingPunct="1">
      <a:defRPr sz="1728" kern="1200">
        <a:solidFill>
          <a:schemeClr val="tx1"/>
        </a:solidFill>
        <a:latin typeface="+mn-lt"/>
        <a:ea typeface="+mn-ea"/>
        <a:cs typeface="+mn-cs"/>
      </a:defRPr>
    </a:lvl3pPr>
    <a:lvl4pPr marL="1974977" algn="l" defTabSz="1316651" rtl="0" eaLnBrk="1" latinLnBrk="0" hangingPunct="1">
      <a:defRPr sz="1728" kern="1200">
        <a:solidFill>
          <a:schemeClr val="tx1"/>
        </a:solidFill>
        <a:latin typeface="+mn-lt"/>
        <a:ea typeface="+mn-ea"/>
        <a:cs typeface="+mn-cs"/>
      </a:defRPr>
    </a:lvl4pPr>
    <a:lvl5pPr marL="2633304" algn="l" defTabSz="1316651" rtl="0" eaLnBrk="1" latinLnBrk="0" hangingPunct="1">
      <a:defRPr sz="1728" kern="1200">
        <a:solidFill>
          <a:schemeClr val="tx1"/>
        </a:solidFill>
        <a:latin typeface="+mn-lt"/>
        <a:ea typeface="+mn-ea"/>
        <a:cs typeface="+mn-cs"/>
      </a:defRPr>
    </a:lvl5pPr>
    <a:lvl6pPr marL="3291630" algn="l" defTabSz="1316651" rtl="0" eaLnBrk="1" latinLnBrk="0" hangingPunct="1">
      <a:defRPr sz="1728" kern="1200">
        <a:solidFill>
          <a:schemeClr val="tx1"/>
        </a:solidFill>
        <a:latin typeface="+mn-lt"/>
        <a:ea typeface="+mn-ea"/>
        <a:cs typeface="+mn-cs"/>
      </a:defRPr>
    </a:lvl6pPr>
    <a:lvl7pPr marL="3949955" algn="l" defTabSz="1316651" rtl="0" eaLnBrk="1" latinLnBrk="0" hangingPunct="1">
      <a:defRPr sz="1728" kern="1200">
        <a:solidFill>
          <a:schemeClr val="tx1"/>
        </a:solidFill>
        <a:latin typeface="+mn-lt"/>
        <a:ea typeface="+mn-ea"/>
        <a:cs typeface="+mn-cs"/>
      </a:defRPr>
    </a:lvl7pPr>
    <a:lvl8pPr marL="4608281" algn="l" defTabSz="1316651" rtl="0" eaLnBrk="1" latinLnBrk="0" hangingPunct="1">
      <a:defRPr sz="1728" kern="1200">
        <a:solidFill>
          <a:schemeClr val="tx1"/>
        </a:solidFill>
        <a:latin typeface="+mn-lt"/>
        <a:ea typeface="+mn-ea"/>
        <a:cs typeface="+mn-cs"/>
      </a:defRPr>
    </a:lvl8pPr>
    <a:lvl9pPr marL="5266607" algn="l" defTabSz="1316651" rtl="0" eaLnBrk="1" latinLnBrk="0" hangingPunct="1">
      <a:defRPr sz="172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Representação espacial das taxas </a:t>
            </a:r>
            <a:r>
              <a:rPr lang="pt-BR" sz="1200" b="0" i="0" kern="12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ajustadas</a:t>
            </a:r>
            <a:r>
              <a:rPr lang="pt-BR" sz="1200" b="0" i="0" kern="1200" baseline="300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a</a:t>
            </a:r>
            <a:r>
              <a:rPr lang="pt-BR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 de incidência por 100 mil homens, estimadas para o ano de 2018, segundo Unidade da Federação (melanoma maligno da pele) (Figura 65).</a:t>
            </a:r>
          </a:p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Estados </a:t>
            </a:r>
            <a:r>
              <a:rPr lang="pt-BR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onde predomina a pele clara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8325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pt-BR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jetivo: autoexplicativo; linha do tempo do tratamento adjuvante.</a:t>
            </a:r>
          </a:p>
          <a:p>
            <a:pPr algn="l" rtl="0"/>
            <a:endParaRPr lang="pt-BR" sz="1200" b="0" i="0" u="none" strike="noStrike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A2122D63-73F0-834F-A456-C56B1003E39A}" type="slidenum">
              <a:rPr/>
              <a:t>2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4561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pt-BR" b="0" i="0" u="none" baseline="0" dirty="0"/>
              <a:t>Objetivo: distribuição por “estadio” ao diagnóstico.</a:t>
            </a:r>
          </a:p>
          <a:p>
            <a:endParaRPr lang="pt-BR" dirty="0"/>
          </a:p>
          <a:p>
            <a:r>
              <a:rPr lang="pt-BR" dirty="0"/>
              <a:t>Trocar 84% para 83%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A2122D63-73F0-834F-A456-C56B1003E39A}" type="slidenum">
              <a:rPr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27154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pt-BR" b="0" i="0" u="none" baseline="0" dirty="0"/>
              <a:t>Objetivo: ressaltar que pacientes com doença locorregional apresentam mau prognóstico, com chance de recidiva e óbito por melanoma em 5 anos de até aproximadamente 40% - tratamentos são necessários para redução de risco dessa população.</a:t>
            </a:r>
          </a:p>
          <a:p>
            <a:endParaRPr lang="pt-BR" dirty="0"/>
          </a:p>
          <a:p>
            <a:pPr algn="l" rtl="0"/>
            <a:r>
              <a:rPr lang="pt-BR" b="0" i="0" u="none" baseline="0" dirty="0"/>
              <a:t>Trocar 98.7% para 99%</a:t>
            </a:r>
          </a:p>
          <a:p>
            <a:pPr algn="l" rtl="0"/>
            <a:r>
              <a:rPr lang="pt-BR" b="0" i="0" u="none" baseline="0" dirty="0"/>
              <a:t>Trocar 64.7% para 66.2%</a:t>
            </a:r>
          </a:p>
          <a:p>
            <a:pPr algn="l" rtl="0"/>
            <a:r>
              <a:rPr lang="pt-BR" b="0" i="0" u="none" baseline="0" dirty="0"/>
              <a:t>Trocar 24.8% para 27.3%</a:t>
            </a:r>
          </a:p>
          <a:p>
            <a:pPr algn="l" rtl="0"/>
            <a:r>
              <a:rPr lang="pt-BR" b="0" i="0" u="none" baseline="0" dirty="0" err="1"/>
              <a:t>Trocae</a:t>
            </a:r>
            <a:r>
              <a:rPr lang="pt-BR" b="0" i="0" u="none" baseline="0" dirty="0"/>
              <a:t> 85.4% para 87.2%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A2122D63-73F0-834F-A456-C56B1003E39A}" type="slidenum">
              <a:rPr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856154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u="none" baseline="0" dirty="0"/>
              <a:t>Objetivo: ressaltar que ferramentas de estratificação de risco são imperfeitas – pacientes com “baixo risco” pelo TNM correspondem a uma parcela significativa daqueles que falecem por melanoma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A2122D63-73F0-834F-A456-C56B1003E39A}" type="slidenum">
              <a:rPr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439069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u="none" baseline="0" dirty="0"/>
              <a:t>Objetivo: descrever as curvas de sobrevida para estadio III AJCC 7ª </a:t>
            </a:r>
            <a:r>
              <a:rPr lang="pt-BR" sz="1200" b="0" i="1" u="none" baseline="0" dirty="0"/>
              <a:t>versus</a:t>
            </a:r>
            <a:r>
              <a:rPr lang="pt-BR" b="0" i="0" u="none" baseline="0" dirty="0"/>
              <a:t> 8ª edição – ressaltar refinamento do estadio IIIA, e criação do estadio IIID – esse último de prognóstico consideravelmente ruim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A2122D63-73F0-834F-A456-C56B1003E39A}" type="slidenum">
              <a:rPr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862958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b="0" i="0" u="none" baseline="0" dirty="0"/>
              <a:t>Objetivo: autoexplicativo; estadiamento </a:t>
            </a:r>
            <a:r>
              <a:rPr lang="pt-BR" b="0" i="1" u="none" baseline="0" dirty="0"/>
              <a:t>versus</a:t>
            </a:r>
            <a:r>
              <a:rPr lang="pt-BR" b="0" i="0" u="none" baseline="0" dirty="0"/>
              <a:t> SME em 5 e 10 anos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A2122D63-73F0-834F-A456-C56B1003E39A}" type="slidenum">
              <a:rPr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34958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AD633-9CE0-47F1-A4F2-2376D29A4D32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7043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 err="1"/>
              <a:t>Mucosal</a:t>
            </a:r>
            <a:r>
              <a:rPr lang="pt-BR" dirty="0"/>
              <a:t> </a:t>
            </a:r>
            <a:r>
              <a:rPr lang="pt-BR" dirty="0" err="1"/>
              <a:t>surfaces</a:t>
            </a:r>
            <a:r>
              <a:rPr lang="pt-BR" baseline="0" dirty="0"/>
              <a:t> 5% BRAF 15%NRAS 20%KIT     </a:t>
            </a:r>
            <a:r>
              <a:rPr lang="pt-BR" baseline="0" dirty="0" err="1"/>
              <a:t>ref</a:t>
            </a:r>
            <a:r>
              <a:rPr lang="pt-BR" baseline="0" dirty="0"/>
              <a:t>: </a:t>
            </a:r>
            <a:r>
              <a:rPr lang="en-GB" dirty="0">
                <a:solidFill>
                  <a:srgbClr val="000000"/>
                </a:solidFill>
              </a:rPr>
              <a:t>https://www.mycancergenome.org/content/disease/melanoma </a:t>
            </a:r>
            <a:endParaRPr lang="en-GB" sz="2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6330BE-D91A-D240-B266-E5D5F99B4C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79468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Clinical records of stage III patients with no evidence of disease seen at Memorial Sloan-Kettering Cancer Center (MSKCC) between 1992 and 2004. 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Mesmo com ressecção cirúrgica completa, pacientes com melanoma </a:t>
            </a:r>
            <a:r>
              <a:rPr lang="pt-BR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stadio</a:t>
            </a:r>
            <a:r>
              <a:rPr lang="pt-BR" sz="1200" dirty="0">
                <a:latin typeface="Calibri" panose="020F0502020204030204" pitchFamily="34" charset="0"/>
                <a:cs typeface="Calibri" panose="020F0502020204030204" pitchFamily="34" charset="0"/>
              </a:rPr>
              <a:t> III estão sobre alto risco de recorrência da doença;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ument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n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ncidênci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dos melanomas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nos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stadi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III com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fatores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rognósticos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ruins. (No Brasil: 20%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iagnosticados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stadi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III e 26%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stadio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IV). Melo, A 2018</a:t>
            </a:r>
            <a:endParaRPr lang="en-US" sz="11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7520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customXml" Target="../../customXml/item12.xml"/><Relationship Id="rId7" Type="http://schemas.openxmlformats.org/officeDocument/2006/relationships/image" Target="../media/image13.png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7.xml"/><Relationship Id="rId6" Type="http://schemas.openxmlformats.org/officeDocument/2006/relationships/image" Target="../media/image12.png"/><Relationship Id="rId5" Type="http://schemas.openxmlformats.org/officeDocument/2006/relationships/image" Target="../media/image11.jp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customXml" Target="../../customXml/item13.xml"/><Relationship Id="rId7" Type="http://schemas.openxmlformats.org/officeDocument/2006/relationships/image" Target="../media/image4.png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6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10" Type="http://schemas.openxmlformats.org/officeDocument/2006/relationships/image" Target="../media/image7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1290447"/>
      </p:ext>
    </p:extLst>
  </p:cSld>
  <p:clrMapOvr>
    <a:masterClrMapping/>
  </p:clrMapOvr>
  <p:transition/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9610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m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557750" cy="98742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719" y="4725359"/>
            <a:ext cx="13168313" cy="1089477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8831"/>
              </a:lnSpc>
              <a:defRPr sz="9023" cap="all" baseline="0">
                <a:solidFill>
                  <a:schemeClr val="bg1"/>
                </a:solidFill>
                <a:latin typeface="Calibri Bold" panose="020F0702030404030204" pitchFamily="34" charset="0"/>
                <a:cs typeface="Calibri Bold" panose="020F070203040403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 userDrawn="1">
            <p:custDataLst>
              <p:custData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607" y="706191"/>
            <a:ext cx="9152537" cy="2409684"/>
          </a:xfrm>
          <a:prstGeom prst="rect">
            <a:avLst/>
          </a:prstGeom>
        </p:spPr>
      </p:pic>
      <p:grpSp>
        <p:nvGrpSpPr>
          <p:cNvPr id="19" name="Agrupar 18"/>
          <p:cNvGrpSpPr/>
          <p:nvPr userDrawn="1"/>
        </p:nvGrpSpPr>
        <p:grpSpPr>
          <a:xfrm>
            <a:off x="7050534" y="8545492"/>
            <a:ext cx="3456682" cy="1340948"/>
            <a:chOff x="7353300" y="8902699"/>
            <a:chExt cx="3600450" cy="1397000"/>
          </a:xfrm>
        </p:grpSpPr>
        <p:sp>
          <p:nvSpPr>
            <p:cNvPr id="7" name="Retângulo Arredondado 6"/>
            <p:cNvSpPr/>
            <p:nvPr userDrawn="1"/>
          </p:nvSpPr>
          <p:spPr>
            <a:xfrm>
              <a:off x="7353300" y="8902699"/>
              <a:ext cx="3600450" cy="1397000"/>
            </a:xfrm>
            <a:custGeom>
              <a:avLst/>
              <a:gdLst>
                <a:gd name="connsiteX0" fmla="*/ 0 w 3594100"/>
                <a:gd name="connsiteY0" fmla="*/ 305864 h 1835150"/>
                <a:gd name="connsiteX1" fmla="*/ 305864 w 3594100"/>
                <a:gd name="connsiteY1" fmla="*/ 0 h 1835150"/>
                <a:gd name="connsiteX2" fmla="*/ 3288236 w 3594100"/>
                <a:gd name="connsiteY2" fmla="*/ 0 h 1835150"/>
                <a:gd name="connsiteX3" fmla="*/ 3594100 w 3594100"/>
                <a:gd name="connsiteY3" fmla="*/ 305864 h 1835150"/>
                <a:gd name="connsiteX4" fmla="*/ 3594100 w 3594100"/>
                <a:gd name="connsiteY4" fmla="*/ 1529286 h 1835150"/>
                <a:gd name="connsiteX5" fmla="*/ 3288236 w 3594100"/>
                <a:gd name="connsiteY5" fmla="*/ 1835150 h 1835150"/>
                <a:gd name="connsiteX6" fmla="*/ 305864 w 3594100"/>
                <a:gd name="connsiteY6" fmla="*/ 1835150 h 1835150"/>
                <a:gd name="connsiteX7" fmla="*/ 0 w 3594100"/>
                <a:gd name="connsiteY7" fmla="*/ 1529286 h 1835150"/>
                <a:gd name="connsiteX8" fmla="*/ 0 w 3594100"/>
                <a:gd name="connsiteY8" fmla="*/ 305864 h 1835150"/>
                <a:gd name="connsiteX0" fmla="*/ 0 w 3594100"/>
                <a:gd name="connsiteY0" fmla="*/ 305864 h 1835150"/>
                <a:gd name="connsiteX1" fmla="*/ 305864 w 3594100"/>
                <a:gd name="connsiteY1" fmla="*/ 0 h 1835150"/>
                <a:gd name="connsiteX2" fmla="*/ 3288236 w 3594100"/>
                <a:gd name="connsiteY2" fmla="*/ 0 h 1835150"/>
                <a:gd name="connsiteX3" fmla="*/ 3594100 w 3594100"/>
                <a:gd name="connsiteY3" fmla="*/ 305864 h 1835150"/>
                <a:gd name="connsiteX4" fmla="*/ 3594100 w 3594100"/>
                <a:gd name="connsiteY4" fmla="*/ 1529286 h 1835150"/>
                <a:gd name="connsiteX5" fmla="*/ 3288236 w 3594100"/>
                <a:gd name="connsiteY5" fmla="*/ 1835150 h 1835150"/>
                <a:gd name="connsiteX6" fmla="*/ 0 w 3594100"/>
                <a:gd name="connsiteY6" fmla="*/ 1529286 h 1835150"/>
                <a:gd name="connsiteX7" fmla="*/ 0 w 3594100"/>
                <a:gd name="connsiteY7" fmla="*/ 305864 h 1835150"/>
                <a:gd name="connsiteX0" fmla="*/ 0 w 3594100"/>
                <a:gd name="connsiteY0" fmla="*/ 305864 h 1682214"/>
                <a:gd name="connsiteX1" fmla="*/ 305864 w 3594100"/>
                <a:gd name="connsiteY1" fmla="*/ 0 h 1682214"/>
                <a:gd name="connsiteX2" fmla="*/ 3288236 w 3594100"/>
                <a:gd name="connsiteY2" fmla="*/ 0 h 1682214"/>
                <a:gd name="connsiteX3" fmla="*/ 3594100 w 3594100"/>
                <a:gd name="connsiteY3" fmla="*/ 305864 h 1682214"/>
                <a:gd name="connsiteX4" fmla="*/ 3594100 w 3594100"/>
                <a:gd name="connsiteY4" fmla="*/ 1529286 h 1682214"/>
                <a:gd name="connsiteX5" fmla="*/ 0 w 3594100"/>
                <a:gd name="connsiteY5" fmla="*/ 1529286 h 1682214"/>
                <a:gd name="connsiteX6" fmla="*/ 0 w 3594100"/>
                <a:gd name="connsiteY6" fmla="*/ 305864 h 1682214"/>
                <a:gd name="connsiteX0" fmla="*/ 0 w 3594100"/>
                <a:gd name="connsiteY0" fmla="*/ 305864 h 1615968"/>
                <a:gd name="connsiteX1" fmla="*/ 305864 w 3594100"/>
                <a:gd name="connsiteY1" fmla="*/ 0 h 1615968"/>
                <a:gd name="connsiteX2" fmla="*/ 3288236 w 3594100"/>
                <a:gd name="connsiteY2" fmla="*/ 0 h 1615968"/>
                <a:gd name="connsiteX3" fmla="*/ 3594100 w 3594100"/>
                <a:gd name="connsiteY3" fmla="*/ 305864 h 1615968"/>
                <a:gd name="connsiteX4" fmla="*/ 3594100 w 3594100"/>
                <a:gd name="connsiteY4" fmla="*/ 1529286 h 1615968"/>
                <a:gd name="connsiteX5" fmla="*/ 0 w 3594100"/>
                <a:gd name="connsiteY5" fmla="*/ 1529286 h 1615968"/>
                <a:gd name="connsiteX6" fmla="*/ 0 w 3594100"/>
                <a:gd name="connsiteY6" fmla="*/ 305864 h 1615968"/>
                <a:gd name="connsiteX0" fmla="*/ 0 w 3594100"/>
                <a:gd name="connsiteY0" fmla="*/ 305864 h 1615968"/>
                <a:gd name="connsiteX1" fmla="*/ 305864 w 3594100"/>
                <a:gd name="connsiteY1" fmla="*/ 0 h 1615968"/>
                <a:gd name="connsiteX2" fmla="*/ 3288236 w 3594100"/>
                <a:gd name="connsiteY2" fmla="*/ 0 h 1615968"/>
                <a:gd name="connsiteX3" fmla="*/ 3594100 w 3594100"/>
                <a:gd name="connsiteY3" fmla="*/ 305864 h 1615968"/>
                <a:gd name="connsiteX4" fmla="*/ 3587750 w 3594100"/>
                <a:gd name="connsiteY4" fmla="*/ 1397000 h 1615968"/>
                <a:gd name="connsiteX5" fmla="*/ 3594100 w 3594100"/>
                <a:gd name="connsiteY5" fmla="*/ 1529286 h 1615968"/>
                <a:gd name="connsiteX6" fmla="*/ 0 w 3594100"/>
                <a:gd name="connsiteY6" fmla="*/ 1529286 h 1615968"/>
                <a:gd name="connsiteX7" fmla="*/ 0 w 3594100"/>
                <a:gd name="connsiteY7" fmla="*/ 305864 h 1615968"/>
                <a:gd name="connsiteX0" fmla="*/ 6350 w 3600450"/>
                <a:gd name="connsiteY0" fmla="*/ 305864 h 1615968"/>
                <a:gd name="connsiteX1" fmla="*/ 312214 w 3600450"/>
                <a:gd name="connsiteY1" fmla="*/ 0 h 1615968"/>
                <a:gd name="connsiteX2" fmla="*/ 3294586 w 3600450"/>
                <a:gd name="connsiteY2" fmla="*/ 0 h 1615968"/>
                <a:gd name="connsiteX3" fmla="*/ 3600450 w 3600450"/>
                <a:gd name="connsiteY3" fmla="*/ 305864 h 1615968"/>
                <a:gd name="connsiteX4" fmla="*/ 3594100 w 3600450"/>
                <a:gd name="connsiteY4" fmla="*/ 1397000 h 1615968"/>
                <a:gd name="connsiteX5" fmla="*/ 3600450 w 3600450"/>
                <a:gd name="connsiteY5" fmla="*/ 1529286 h 1615968"/>
                <a:gd name="connsiteX6" fmla="*/ 6350 w 3600450"/>
                <a:gd name="connsiteY6" fmla="*/ 1529286 h 1615968"/>
                <a:gd name="connsiteX7" fmla="*/ 0 w 3600450"/>
                <a:gd name="connsiteY7" fmla="*/ 1384300 h 1615968"/>
                <a:gd name="connsiteX8" fmla="*/ 6350 w 3600450"/>
                <a:gd name="connsiteY8" fmla="*/ 305864 h 1615968"/>
                <a:gd name="connsiteX0" fmla="*/ 6350 w 3600450"/>
                <a:gd name="connsiteY0" fmla="*/ 305864 h 1536255"/>
                <a:gd name="connsiteX1" fmla="*/ 312214 w 3600450"/>
                <a:gd name="connsiteY1" fmla="*/ 0 h 1536255"/>
                <a:gd name="connsiteX2" fmla="*/ 3294586 w 3600450"/>
                <a:gd name="connsiteY2" fmla="*/ 0 h 1536255"/>
                <a:gd name="connsiteX3" fmla="*/ 3600450 w 3600450"/>
                <a:gd name="connsiteY3" fmla="*/ 305864 h 1536255"/>
                <a:gd name="connsiteX4" fmla="*/ 3594100 w 3600450"/>
                <a:gd name="connsiteY4" fmla="*/ 1397000 h 1536255"/>
                <a:gd name="connsiteX5" fmla="*/ 3600450 w 3600450"/>
                <a:gd name="connsiteY5" fmla="*/ 1529286 h 1536255"/>
                <a:gd name="connsiteX6" fmla="*/ 0 w 3600450"/>
                <a:gd name="connsiteY6" fmla="*/ 1384300 h 1536255"/>
                <a:gd name="connsiteX7" fmla="*/ 6350 w 3600450"/>
                <a:gd name="connsiteY7" fmla="*/ 305864 h 1536255"/>
                <a:gd name="connsiteX0" fmla="*/ 6350 w 3600450"/>
                <a:gd name="connsiteY0" fmla="*/ 305864 h 1397000"/>
                <a:gd name="connsiteX1" fmla="*/ 312214 w 3600450"/>
                <a:gd name="connsiteY1" fmla="*/ 0 h 1397000"/>
                <a:gd name="connsiteX2" fmla="*/ 3294586 w 3600450"/>
                <a:gd name="connsiteY2" fmla="*/ 0 h 1397000"/>
                <a:gd name="connsiteX3" fmla="*/ 3600450 w 3600450"/>
                <a:gd name="connsiteY3" fmla="*/ 305864 h 1397000"/>
                <a:gd name="connsiteX4" fmla="*/ 3594100 w 3600450"/>
                <a:gd name="connsiteY4" fmla="*/ 1397000 h 1397000"/>
                <a:gd name="connsiteX5" fmla="*/ 0 w 3600450"/>
                <a:gd name="connsiteY5" fmla="*/ 1384300 h 1397000"/>
                <a:gd name="connsiteX6" fmla="*/ 6350 w 3600450"/>
                <a:gd name="connsiteY6" fmla="*/ 305864 h 139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00450" h="1397000">
                  <a:moveTo>
                    <a:pt x="6350" y="305864"/>
                  </a:moveTo>
                  <a:cubicBezTo>
                    <a:pt x="6350" y="136940"/>
                    <a:pt x="143290" y="0"/>
                    <a:pt x="312214" y="0"/>
                  </a:cubicBezTo>
                  <a:lnTo>
                    <a:pt x="3294586" y="0"/>
                  </a:lnTo>
                  <a:cubicBezTo>
                    <a:pt x="3463510" y="0"/>
                    <a:pt x="3600450" y="136940"/>
                    <a:pt x="3600450" y="305864"/>
                  </a:cubicBezTo>
                  <a:cubicBezTo>
                    <a:pt x="3598333" y="669576"/>
                    <a:pt x="3596217" y="1033288"/>
                    <a:pt x="3594100" y="1397000"/>
                  </a:cubicBezTo>
                  <a:lnTo>
                    <a:pt x="0" y="1384300"/>
                  </a:lnTo>
                  <a:cubicBezTo>
                    <a:pt x="2117" y="1024821"/>
                    <a:pt x="4233" y="665343"/>
                    <a:pt x="6350" y="30586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728"/>
            </a:p>
          </p:txBody>
        </p:sp>
        <p:pic>
          <p:nvPicPr>
            <p:cNvPr id="5" name="Imagem 4"/>
            <p:cNvPicPr>
              <a:picLocks noChangeAspect="1"/>
            </p:cNvPicPr>
            <p:nvPr userDrawn="1">
              <p:custDataLst>
                <p:custData r:id="rId2"/>
              </p:custDataLst>
            </p:nvPr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6921" y="9160670"/>
              <a:ext cx="1100605" cy="877045"/>
            </a:xfrm>
            <a:prstGeom prst="rect">
              <a:avLst/>
            </a:prstGeom>
          </p:spPr>
        </p:pic>
        <p:pic>
          <p:nvPicPr>
            <p:cNvPr id="6" name="Imagem 5"/>
            <p:cNvPicPr>
              <a:picLocks noChangeAspect="1"/>
            </p:cNvPicPr>
            <p:nvPr userDrawn="1">
              <p:custDataLst>
                <p:custData r:id="rId3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9906" y="9286597"/>
              <a:ext cx="1421719" cy="602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0262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0418271"/>
      </p:ext>
    </p:extLst>
  </p:cSld>
  <p:clrMapOvr>
    <a:masterClrMapping/>
  </p:clrMapOvr>
  <p:transition/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923681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00631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7709738"/>
      </p:ext>
    </p:extLst>
  </p:cSld>
  <p:clrMapOvr>
    <a:masterClrMapping/>
  </p:clrMapOvr>
  <p:transition/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4461958"/>
      </p:ext>
    </p:extLst>
  </p:cSld>
  <p:clrMapOvr>
    <a:masterClrMapping/>
  </p:clrMapOvr>
  <p:transition/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557750" cy="98742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2078" y="3957362"/>
            <a:ext cx="13168313" cy="231095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8831"/>
              </a:lnSpc>
              <a:defRPr sz="8831" cap="all" baseline="0">
                <a:solidFill>
                  <a:srgbClr val="23755A"/>
                </a:solidFill>
                <a:latin typeface="Calibri Bold" panose="020F0702030404030204" pitchFamily="34" charset="0"/>
                <a:cs typeface="Calibri Bold" panose="020F0702030404030204" pitchFamily="34" charset="0"/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da palestra</a:t>
            </a:r>
            <a:br>
              <a:rPr lang="en-US" dirty="0"/>
            </a:br>
            <a:r>
              <a:rPr lang="en-US" dirty="0"/>
              <a:t>teste </a:t>
            </a:r>
            <a:r>
              <a:rPr lang="en-US" dirty="0" err="1"/>
              <a:t>preenchimento</a:t>
            </a:r>
            <a:endParaRPr lang="en-US" dirty="0"/>
          </a:p>
        </p:txBody>
      </p:sp>
      <p:pic>
        <p:nvPicPr>
          <p:cNvPr id="8" name="Imagem 7"/>
          <p:cNvPicPr>
            <a:picLocks noChangeAspect="1"/>
          </p:cNvPicPr>
          <p:nvPr userDrawn="1">
            <p:custDataLst>
              <p:custData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25" y="651417"/>
            <a:ext cx="8010543" cy="2050287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 userDrawn="1">
            <p:custDataLst>
              <p:custData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93638" y="8744394"/>
            <a:ext cx="1176652" cy="926427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 userDrawn="1">
            <p:custDataLst>
              <p:custData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3941" y="6838832"/>
            <a:ext cx="966016" cy="1563424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92"/>
          <a:stretch/>
        </p:blipFill>
        <p:spPr>
          <a:xfrm>
            <a:off x="0" y="7259064"/>
            <a:ext cx="1296180" cy="427767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46"/>
          <a:stretch/>
        </p:blipFill>
        <p:spPr>
          <a:xfrm>
            <a:off x="0" y="7885981"/>
            <a:ext cx="1296180" cy="427534"/>
          </a:xfrm>
          <a:prstGeom prst="rect">
            <a:avLst/>
          </a:prstGeom>
        </p:spPr>
      </p:pic>
      <p:sp>
        <p:nvSpPr>
          <p:cNvPr id="16" name="Espaço Reservado para Texto 15"/>
          <p:cNvSpPr>
            <a:spLocks noGrp="1"/>
          </p:cNvSpPr>
          <p:nvPr>
            <p:ph type="body" sz="quarter" idx="10" hasCustomPrompt="1"/>
          </p:nvPr>
        </p:nvSpPr>
        <p:spPr>
          <a:xfrm>
            <a:off x="1396085" y="7198451"/>
            <a:ext cx="11004076" cy="4982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128" baseline="0">
                <a:solidFill>
                  <a:srgbClr val="4E5447"/>
                </a:solidFill>
                <a:latin typeface="Calibri Bold" panose="020F0702030404030204" pitchFamily="34" charset="0"/>
                <a:cs typeface="Calibri Bold" panose="020F0702030404030204" pitchFamily="34" charset="0"/>
              </a:defRPr>
            </a:lvl1pPr>
          </a:lstStyle>
          <a:p>
            <a:pPr lvl="0"/>
            <a:r>
              <a:rPr lang="pt-BR" dirty="0"/>
              <a:t>Nome</a:t>
            </a:r>
          </a:p>
        </p:txBody>
      </p:sp>
      <p:sp>
        <p:nvSpPr>
          <p:cNvPr id="17" name="Espaço Reservado para Texto 15"/>
          <p:cNvSpPr>
            <a:spLocks noGrp="1"/>
          </p:cNvSpPr>
          <p:nvPr>
            <p:ph type="body" sz="quarter" idx="11" hasCustomPrompt="1"/>
          </p:nvPr>
        </p:nvSpPr>
        <p:spPr>
          <a:xfrm>
            <a:off x="1405471" y="7815231"/>
            <a:ext cx="11004076" cy="4982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128" baseline="0">
                <a:solidFill>
                  <a:srgbClr val="4E5447"/>
                </a:solidFill>
                <a:latin typeface="Calibri Bold" panose="020F0702030404030204" pitchFamily="34" charset="0"/>
                <a:cs typeface="Calibri Bold" panose="020F0702030404030204" pitchFamily="34" charset="0"/>
              </a:defRPr>
            </a:lvl1pPr>
          </a:lstStyle>
          <a:p>
            <a:pPr lvl="0"/>
            <a:r>
              <a:rPr lang="pt-BR" dirty="0"/>
              <a:t>Instituição</a:t>
            </a:r>
          </a:p>
        </p:txBody>
      </p:sp>
    </p:spTree>
    <p:extLst>
      <p:ext uri="{BB962C8B-B14F-4D97-AF65-F5344CB8AC3E}">
        <p14:creationId xmlns:p14="http://schemas.microsoft.com/office/powerpoint/2010/main" val="4040606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ndo 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557750" cy="98742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382" y="432364"/>
            <a:ext cx="15636987" cy="1167336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8831"/>
              </a:lnSpc>
              <a:defRPr sz="6047" cap="none" baseline="0">
                <a:solidFill>
                  <a:schemeClr val="bg1"/>
                </a:solidFill>
                <a:latin typeface="Calibri Bold" panose="020F0702030404030204" pitchFamily="34" charset="0"/>
                <a:cs typeface="Calibri Bold" panose="020F07020304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960190" y="2916266"/>
            <a:ext cx="15637371" cy="472861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5759"/>
              </a:lnSpc>
              <a:spcBef>
                <a:spcPts val="2304"/>
              </a:spcBef>
              <a:buNone/>
              <a:defRPr sz="4800">
                <a:solidFill>
                  <a:schemeClr val="bg1"/>
                </a:solidFill>
              </a:defRPr>
            </a:lvl1pPr>
            <a:lvl2pPr marL="658299" indent="0" algn="ctr">
              <a:buNone/>
              <a:defRPr>
                <a:solidFill>
                  <a:schemeClr val="bg1"/>
                </a:solidFill>
              </a:defRPr>
            </a:lvl2pPr>
            <a:lvl3pPr marL="1316599" indent="0" algn="ctr">
              <a:buNone/>
              <a:defRPr>
                <a:solidFill>
                  <a:schemeClr val="bg1"/>
                </a:solidFill>
              </a:defRPr>
            </a:lvl3pPr>
            <a:lvl4pPr marL="1974898" indent="0" algn="ctr">
              <a:buNone/>
              <a:defRPr>
                <a:solidFill>
                  <a:schemeClr val="bg1"/>
                </a:solidFill>
              </a:defRPr>
            </a:lvl4pPr>
            <a:lvl5pPr marL="2633198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222051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Fundo preto com letras brancas&#10;&#10;Descrição gerada automaticamente">
            <a:extLst>
              <a:ext uri="{FF2B5EF4-FFF2-40B4-BE49-F238E27FC236}">
                <a16:creationId xmlns:a16="http://schemas.microsoft.com/office/drawing/2014/main" id="{018DB67E-2D30-9244-9849-B1FB6F62F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7557750" cy="9874250"/>
          </a:xfrm>
          <a:prstGeom prst="rect">
            <a:avLst/>
          </a:prstGeom>
        </p:spPr>
      </p:pic>
      <p:sp>
        <p:nvSpPr>
          <p:cNvPr id="121" name="Texto do Título"/>
          <p:cNvSpPr txBox="1">
            <a:spLocks noGrp="1"/>
          </p:cNvSpPr>
          <p:nvPr>
            <p:ph type="title"/>
          </p:nvPr>
        </p:nvSpPr>
        <p:spPr>
          <a:xfrm>
            <a:off x="595179" y="-14973"/>
            <a:ext cx="16384200" cy="17660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5183" b="1" cap="all" baseline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rPr lang="pt-BR" dirty="0"/>
              <a:t>Clique para editar o título mestre</a:t>
            </a:r>
            <a:endParaRPr dirty="0"/>
          </a:p>
        </p:txBody>
      </p:sp>
      <p:sp>
        <p:nvSpPr>
          <p:cNvPr id="122" name="Nível de Corpo Um…"/>
          <p:cNvSpPr txBox="1">
            <a:spLocks noGrp="1"/>
          </p:cNvSpPr>
          <p:nvPr>
            <p:ph type="body" idx="1"/>
          </p:nvPr>
        </p:nvSpPr>
        <p:spPr>
          <a:xfrm>
            <a:off x="595180" y="2276887"/>
            <a:ext cx="16384196" cy="6799682"/>
          </a:xfrm>
          <a:prstGeom prst="rect">
            <a:avLst/>
          </a:prstGeom>
        </p:spPr>
        <p:txBody>
          <a:bodyPr/>
          <a:lstStyle>
            <a:lvl1pPr marL="457137" indent="-457137">
              <a:lnSpc>
                <a:spcPct val="100000"/>
              </a:lnSpc>
              <a:buClr>
                <a:srgbClr val="008D8B"/>
              </a:buClr>
              <a:defRPr sz="3456">
                <a:solidFill>
                  <a:srgbClr val="191D35"/>
                </a:solidFill>
              </a:defRPr>
            </a:lvl1pPr>
            <a:lvl2pPr marL="974615" indent="-458051">
              <a:lnSpc>
                <a:spcPct val="100000"/>
              </a:lnSpc>
              <a:buClr>
                <a:srgbClr val="47545B"/>
              </a:buClr>
              <a:buSzPct val="70000"/>
              <a:buChar char="▪"/>
              <a:defRPr sz="3456">
                <a:solidFill>
                  <a:srgbClr val="191D35"/>
                </a:solidFill>
              </a:defRPr>
            </a:lvl2pPr>
            <a:lvl3pPr marL="1323409" indent="-420566">
              <a:lnSpc>
                <a:spcPct val="100000"/>
              </a:lnSpc>
              <a:buClr>
                <a:srgbClr val="008D8B"/>
              </a:buClr>
              <a:buChar char="o"/>
              <a:defRPr sz="3456">
                <a:solidFill>
                  <a:srgbClr val="191D35"/>
                </a:solidFill>
              </a:defRPr>
            </a:lvl3pPr>
            <a:lvl4pPr marL="1811402" indent="-593134">
              <a:lnSpc>
                <a:spcPct val="100000"/>
              </a:lnSpc>
              <a:buClr>
                <a:srgbClr val="008D8B"/>
              </a:buClr>
              <a:buSzPct val="70000"/>
              <a:buChar char="❑"/>
              <a:defRPr sz="3456">
                <a:solidFill>
                  <a:srgbClr val="191D35"/>
                </a:solidFill>
              </a:defRPr>
            </a:lvl4pPr>
            <a:lvl5pPr marL="2093685" indent="-479993">
              <a:lnSpc>
                <a:spcPct val="100000"/>
              </a:lnSpc>
              <a:buClr>
                <a:srgbClr val="008D8B"/>
              </a:buClr>
              <a:defRPr sz="3456">
                <a:solidFill>
                  <a:srgbClr val="191D35"/>
                </a:solidFill>
              </a:defRPr>
            </a:lvl5pPr>
          </a:lstStyle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  <a:endParaRPr dirty="0"/>
          </a:p>
        </p:txBody>
      </p:sp>
      <p:sp>
        <p:nvSpPr>
          <p:cNvPr id="123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6842645" y="9269624"/>
            <a:ext cx="364302" cy="332800"/>
          </a:xfrm>
          <a:prstGeom prst="rect">
            <a:avLst/>
          </a:prstGeom>
        </p:spPr>
        <p:txBody>
          <a:bodyPr anchor="b"/>
          <a:lstStyle>
            <a:lvl1pPr algn="ctr">
              <a:defRPr sz="1440" b="1">
                <a:solidFill>
                  <a:srgbClr val="008D8B"/>
                </a:solidFill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  <p:pic>
        <p:nvPicPr>
          <p:cNvPr id="5" name="bjClassifierImageBottom">
            <a:extLst>
              <a:ext uri="{FF2B5EF4-FFF2-40B4-BE49-F238E27FC236}">
                <a16:creationId xmlns:a16="http://schemas.microsoft.com/office/drawing/2014/main" id="{54BE68B1-6A62-486D-8702-7E193E27B4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7" y="9313206"/>
            <a:ext cx="1141353" cy="46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281948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F4F8D5C-A329-4C38-B752-ADC546F40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3050" y="2289"/>
          <a:ext cx="3047" cy="22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F4F8D5C-A329-4C38-B752-ADC546F40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050" y="2289"/>
                        <a:ext cx="3047" cy="22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3289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transition/>
  <p:hf hdr="0" dt="0"/>
  <p:txStyles>
    <p:titleStyle>
      <a:lvl1pPr algn="l" defTabSz="1316553" rtl="0" eaLnBrk="1" latinLnBrk="0" hangingPunct="1">
        <a:lnSpc>
          <a:spcPct val="90000"/>
        </a:lnSpc>
        <a:spcBef>
          <a:spcPct val="0"/>
        </a:spcBef>
        <a:buNone/>
        <a:defRPr sz="633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9138" indent="-329138" algn="l" defTabSz="1316553" rtl="0" eaLnBrk="1" latinLnBrk="0" hangingPunct="1">
        <a:lnSpc>
          <a:spcPct val="90000"/>
        </a:lnSpc>
        <a:spcBef>
          <a:spcPts val="1440"/>
        </a:spcBef>
        <a:buFont typeface="Arial" panose="020B0604020202020204" pitchFamily="34" charset="0"/>
        <a:buChar char="•"/>
        <a:defRPr sz="4031" kern="1200">
          <a:solidFill>
            <a:schemeClr val="tx1"/>
          </a:solidFill>
          <a:latin typeface="+mn-lt"/>
          <a:ea typeface="+mn-ea"/>
          <a:cs typeface="+mn-cs"/>
        </a:defRPr>
      </a:lvl1pPr>
      <a:lvl2pPr marL="987415" indent="-329138" algn="l" defTabSz="1316553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•"/>
        <a:defRPr sz="3456" kern="1200">
          <a:solidFill>
            <a:schemeClr val="tx1"/>
          </a:solidFill>
          <a:latin typeface="+mn-lt"/>
          <a:ea typeface="+mn-ea"/>
          <a:cs typeface="+mn-cs"/>
        </a:defRPr>
      </a:lvl2pPr>
      <a:lvl3pPr marL="1645691" indent="-329138" algn="l" defTabSz="1316553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2303968" indent="-329138" algn="l" defTabSz="1316553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•"/>
        <a:defRPr sz="2592" kern="1200">
          <a:solidFill>
            <a:schemeClr val="tx1"/>
          </a:solidFill>
          <a:latin typeface="+mn-lt"/>
          <a:ea typeface="+mn-ea"/>
          <a:cs typeface="+mn-cs"/>
        </a:defRPr>
      </a:lvl4pPr>
      <a:lvl5pPr marL="2962245" indent="-329138" algn="l" defTabSz="1316553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•"/>
        <a:defRPr sz="2592" kern="1200">
          <a:solidFill>
            <a:schemeClr val="tx1"/>
          </a:solidFill>
          <a:latin typeface="+mn-lt"/>
          <a:ea typeface="+mn-ea"/>
          <a:cs typeface="+mn-cs"/>
        </a:defRPr>
      </a:lvl5pPr>
      <a:lvl6pPr marL="3620521" indent="-329138" algn="l" defTabSz="1316553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•"/>
        <a:defRPr sz="2592" kern="1200">
          <a:solidFill>
            <a:schemeClr val="tx1"/>
          </a:solidFill>
          <a:latin typeface="+mn-lt"/>
          <a:ea typeface="+mn-ea"/>
          <a:cs typeface="+mn-cs"/>
        </a:defRPr>
      </a:lvl6pPr>
      <a:lvl7pPr marL="4278798" indent="-329138" algn="l" defTabSz="1316553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•"/>
        <a:defRPr sz="2592" kern="1200">
          <a:solidFill>
            <a:schemeClr val="tx1"/>
          </a:solidFill>
          <a:latin typeface="+mn-lt"/>
          <a:ea typeface="+mn-ea"/>
          <a:cs typeface="+mn-cs"/>
        </a:defRPr>
      </a:lvl7pPr>
      <a:lvl8pPr marL="4937074" indent="-329138" algn="l" defTabSz="1316553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•"/>
        <a:defRPr sz="2592" kern="1200">
          <a:solidFill>
            <a:schemeClr val="tx1"/>
          </a:solidFill>
          <a:latin typeface="+mn-lt"/>
          <a:ea typeface="+mn-ea"/>
          <a:cs typeface="+mn-cs"/>
        </a:defRPr>
      </a:lvl8pPr>
      <a:lvl9pPr marL="5595351" indent="-329138" algn="l" defTabSz="1316553" rtl="0" eaLnBrk="1" latinLnBrk="0" hangingPunct="1">
        <a:lnSpc>
          <a:spcPct val="90000"/>
        </a:lnSpc>
        <a:spcBef>
          <a:spcPts val="720"/>
        </a:spcBef>
        <a:buFont typeface="Arial" panose="020B0604020202020204" pitchFamily="34" charset="0"/>
        <a:buChar char="•"/>
        <a:defRPr sz="25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16553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1pPr>
      <a:lvl2pPr marL="658277" algn="l" defTabSz="1316553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2pPr>
      <a:lvl3pPr marL="1316553" algn="l" defTabSz="1316553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3pPr>
      <a:lvl4pPr marL="1974830" algn="l" defTabSz="1316553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4pPr>
      <a:lvl5pPr marL="2633106" algn="l" defTabSz="1316553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5pPr>
      <a:lvl6pPr marL="3291383" algn="l" defTabSz="1316553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6pPr>
      <a:lvl7pPr marL="3949659" algn="l" defTabSz="1316553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7pPr>
      <a:lvl8pPr marL="4607936" algn="l" defTabSz="1316553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8pPr>
      <a:lvl9pPr marL="5266212" algn="l" defTabSz="1316553" rtl="0" eaLnBrk="1" latinLnBrk="0" hangingPunct="1">
        <a:defRPr sz="25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seer.cancer.gov/statfacts/html/melan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iff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0.tiff"/><Relationship Id="rId4" Type="http://schemas.openxmlformats.org/officeDocument/2006/relationships/image" Target="../media/image29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kincancer.org/skin-cancer-information/melanoma/the-stages-of-melanoma/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://www.cancer.org/cancer/melanoma-skin-cancer/detection-diagnosis-staging/melanoma-skin-cancer-stages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8.xml"/><Relationship Id="rId1" Type="http://schemas.openxmlformats.org/officeDocument/2006/relationships/customXml" Target="../../customXml/item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ca.gov.br/publicacoes/livros/estimativa-2020-incidencia-de-cancer-no-brasi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1.xml"/><Relationship Id="rId1" Type="http://schemas.openxmlformats.org/officeDocument/2006/relationships/customXml" Target="../../customXml/item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seer.cancer.gov/statfacts/html/melan.htm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73647" y="4000399"/>
            <a:ext cx="14318769" cy="2310958"/>
          </a:xfrm>
        </p:spPr>
        <p:txBody>
          <a:bodyPr/>
          <a:lstStyle/>
          <a:p>
            <a:pPr algn="ctr"/>
            <a:r>
              <a:rPr lang="pt-BR" sz="5183" dirty="0"/>
              <a:t>TRATAMENTO DO MELANOMA NO CENARIO ATUAL, COM ENFASE NO PAPEL DOS BIOMARCADORES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Bruno Melo Fernandes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Oncológica / HUJBB-UFPA / CEMEC</a:t>
            </a:r>
          </a:p>
        </p:txBody>
      </p:sp>
      <p:pic>
        <p:nvPicPr>
          <p:cNvPr id="5" name="Imagem 4"/>
          <p:cNvPicPr>
            <a:picLocks noChangeAspect="1"/>
          </p:cNvPicPr>
          <p:nvPr>
            <p:custDataLst>
              <p:custData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646" y="3280793"/>
            <a:ext cx="3380102" cy="312660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>
            <p:custDataLst>
              <p:custData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973646" y="6420725"/>
            <a:ext cx="3380102" cy="31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6348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ângulo 24">
            <a:extLst>
              <a:ext uri="{FF2B5EF4-FFF2-40B4-BE49-F238E27FC236}">
                <a16:creationId xmlns:a16="http://schemas.microsoft.com/office/drawing/2014/main" id="{DC724C0C-198D-47E8-3FEA-5B8B11FB2902}"/>
              </a:ext>
            </a:extLst>
          </p:cNvPr>
          <p:cNvSpPr/>
          <p:nvPr/>
        </p:nvSpPr>
        <p:spPr>
          <a:xfrm>
            <a:off x="0" y="13939"/>
            <a:ext cx="17557750" cy="177981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6ED9FB6F-0D6B-7B9B-20A4-0304D03CD624}"/>
              </a:ext>
            </a:extLst>
          </p:cNvPr>
          <p:cNvSpPr/>
          <p:nvPr/>
        </p:nvSpPr>
        <p:spPr>
          <a:xfrm>
            <a:off x="0" y="9208304"/>
            <a:ext cx="17557750" cy="682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Espaço Reservado para Número de Slide 1">
            <a:extLst>
              <a:ext uri="{FF2B5EF4-FFF2-40B4-BE49-F238E27FC236}">
                <a16:creationId xmlns:a16="http://schemas.microsoft.com/office/drawing/2014/main" id="{A2DFD7CD-111F-1452-852E-8A2D155F2CC7}"/>
              </a:ext>
            </a:extLst>
          </p:cNvPr>
          <p:cNvSpPr txBox="1">
            <a:spLocks/>
          </p:cNvSpPr>
          <p:nvPr/>
        </p:nvSpPr>
        <p:spPr>
          <a:xfrm>
            <a:off x="16842645" y="9269624"/>
            <a:ext cx="364302" cy="3328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ctr" defTabSz="457200" rtl="0" eaLnBrk="1" latinLnBrk="0" hangingPunct="1">
              <a:defRPr sz="1440" b="1" kern="1200">
                <a:solidFill>
                  <a:srgbClr val="008D8B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23" name="TextBox 16">
            <a:extLst>
              <a:ext uri="{FF2B5EF4-FFF2-40B4-BE49-F238E27FC236}">
                <a16:creationId xmlns:a16="http://schemas.microsoft.com/office/drawing/2014/main" id="{5A7C5070-D08B-37A1-103B-15AF71BB35C5}"/>
              </a:ext>
            </a:extLst>
          </p:cNvPr>
          <p:cNvSpPr txBox="1"/>
          <p:nvPr/>
        </p:nvSpPr>
        <p:spPr>
          <a:xfrm>
            <a:off x="15600579" y="9082643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42989316-AD90-65F1-4A5B-56925614FC72}"/>
              </a:ext>
            </a:extLst>
          </p:cNvPr>
          <p:cNvSpPr/>
          <p:nvPr/>
        </p:nvSpPr>
        <p:spPr>
          <a:xfrm>
            <a:off x="15600579" y="9082643"/>
            <a:ext cx="1957171" cy="791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7CDA5E05-2B25-7A4E-B88D-C0A1D332AE51}"/>
              </a:ext>
            </a:extLst>
          </p:cNvPr>
          <p:cNvSpPr/>
          <p:nvPr/>
        </p:nvSpPr>
        <p:spPr>
          <a:xfrm>
            <a:off x="1764" y="1950670"/>
            <a:ext cx="17554222" cy="620395"/>
          </a:xfrm>
          <a:prstGeom prst="rect">
            <a:avLst/>
          </a:prstGeom>
          <a:solidFill>
            <a:srgbClr val="008D8B">
              <a:alpha val="16863"/>
            </a:srgb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ctr">
            <a:noAutofit/>
          </a:bodyPr>
          <a:lstStyle/>
          <a:p>
            <a:pPr defTabSz="658277" hangingPunct="0"/>
            <a:endParaRPr lang="pt-BR" sz="2592">
              <a:solidFill>
                <a:srgbClr val="000000"/>
              </a:solidFill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73F9D15-9A51-8F40-B14F-6DC66640F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940" y="551425"/>
            <a:ext cx="17157046" cy="925944"/>
          </a:xfrm>
        </p:spPr>
        <p:txBody>
          <a:bodyPr>
            <a:normAutofit/>
          </a:bodyPr>
          <a:lstStyle/>
          <a:p>
            <a:pPr algn="ctr"/>
            <a:r>
              <a:rPr lang="pt-BR" sz="4000" dirty="0"/>
              <a:t>Apresentação Inicial do Melanoma </a:t>
            </a:r>
            <a:r>
              <a:rPr lang="pt-BR" sz="4000" i="1" dirty="0"/>
              <a:t>versus</a:t>
            </a:r>
            <a:r>
              <a:rPr lang="pt-BR" sz="4000" dirty="0"/>
              <a:t> Sobrevida</a:t>
            </a:r>
            <a:r>
              <a:rPr lang="pt-BR" sz="4000" baseline="30000" dirty="0"/>
              <a:t>1</a:t>
            </a:r>
            <a:endParaRPr lang="pt-BR" sz="4000" dirty="0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47A24AF7-B422-4C46-92A4-73F0A7DD7E17}"/>
              </a:ext>
            </a:extLst>
          </p:cNvPr>
          <p:cNvSpPr txBox="1"/>
          <p:nvPr/>
        </p:nvSpPr>
        <p:spPr>
          <a:xfrm>
            <a:off x="1385847" y="9361607"/>
            <a:ext cx="13311227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5827" tIns="65827" rIns="65827" bIns="65827" numCol="1" spcCol="38100" rtlCol="0" anchor="t">
            <a:spAutoFit/>
          </a:bodyPr>
          <a:lstStyle/>
          <a:p>
            <a:r>
              <a:rPr lang="en-US" altLang="pt-BR" sz="1152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ational Cancer Institute. The Surveillance, Epidemiology, and End Results (SEER) Program. 2020.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nível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t-BR" sz="1152" dirty="0">
                <a:hlinkClick r:id="rId3"/>
              </a:rPr>
              <a:t>https://seer.cancer.gov/statfacts/html/melan.html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sad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de maio de 2020.</a:t>
            </a:r>
            <a:endParaRPr lang="en-US" altLang="pt-BR" sz="1152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1FD1044C-38ED-7645-92CE-E1F65AECD1E8}"/>
              </a:ext>
            </a:extLst>
          </p:cNvPr>
          <p:cNvSpPr txBox="1"/>
          <p:nvPr/>
        </p:nvSpPr>
        <p:spPr>
          <a:xfrm>
            <a:off x="3881558" y="8745691"/>
            <a:ext cx="3739026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ad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National Cancer Institute, et al. 2020.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altLang="pt-BR" sz="1152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ítulo 3122">
            <a:extLst>
              <a:ext uri="{FF2B5EF4-FFF2-40B4-BE49-F238E27FC236}">
                <a16:creationId xmlns:a16="http://schemas.microsoft.com/office/drawing/2014/main" id="{57ED87E5-9DDD-FA4C-B62A-D4E5200743C0}"/>
              </a:ext>
            </a:extLst>
          </p:cNvPr>
          <p:cNvSpPr txBox="1">
            <a:spLocks/>
          </p:cNvSpPr>
          <p:nvPr/>
        </p:nvSpPr>
        <p:spPr bwMode="auto">
          <a:xfrm>
            <a:off x="4385507" y="1895455"/>
            <a:ext cx="8786736" cy="72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pt-BR" sz="3743" b="1" dirty="0">
                <a:solidFill>
                  <a:srgbClr val="47545B"/>
                </a:solidFill>
              </a:rPr>
              <a:t>Sobrevida Relativa Após 5 Anos</a:t>
            </a:r>
            <a:endParaRPr lang="pt-BR" altLang="pt-BR" sz="3743" b="1" dirty="0">
              <a:solidFill>
                <a:srgbClr val="47545B"/>
              </a:solidFill>
            </a:endParaRPr>
          </a:p>
        </p:txBody>
      </p:sp>
      <p:sp>
        <p:nvSpPr>
          <p:cNvPr id="20" name="Espaço Reservado para Número de Slide 1">
            <a:extLst>
              <a:ext uri="{FF2B5EF4-FFF2-40B4-BE49-F238E27FC236}">
                <a16:creationId xmlns:a16="http://schemas.microsoft.com/office/drawing/2014/main" id="{27C5A08F-FD89-1F4C-AFF7-B9E53D8CF37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6841025" y="9269624"/>
            <a:ext cx="364229" cy="332800"/>
          </a:xfrm>
        </p:spPr>
        <p:txBody>
          <a:bodyPr/>
          <a:lstStyle/>
          <a:p>
            <a:fld id="{86CB4B4D-7CA3-9044-876B-883B54F8677D}" type="slidenum">
              <a:rPr lang="pt-BR" smtClean="0"/>
              <a:t>10</a:t>
            </a:fld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C6BB89A-EBC2-474D-98AF-8C89D7936D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0399" y="2764444"/>
            <a:ext cx="10239963" cy="6198835"/>
          </a:xfrm>
          <a:prstGeom prst="rect">
            <a:avLst/>
          </a:prstGeom>
        </p:spPr>
      </p:pic>
      <p:sp>
        <p:nvSpPr>
          <p:cNvPr id="11" name="Seta para Baixo 10">
            <a:extLst>
              <a:ext uri="{FF2B5EF4-FFF2-40B4-BE49-F238E27FC236}">
                <a16:creationId xmlns:a16="http://schemas.microsoft.com/office/drawing/2014/main" id="{AFD9AB77-EAC1-E64B-920B-64CACAFC8CB4}"/>
              </a:ext>
            </a:extLst>
          </p:cNvPr>
          <p:cNvSpPr/>
          <p:nvPr/>
        </p:nvSpPr>
        <p:spPr>
          <a:xfrm rot="3193099">
            <a:off x="8471408" y="2712774"/>
            <a:ext cx="1319072" cy="2221594"/>
          </a:xfrm>
          <a:prstGeom prst="downArrow">
            <a:avLst/>
          </a:prstGeom>
          <a:gradFill>
            <a:gsLst>
              <a:gs pos="0">
                <a:schemeClr val="bg1"/>
              </a:gs>
              <a:gs pos="62000">
                <a:srgbClr val="00CBCB"/>
              </a:gs>
              <a:gs pos="100000">
                <a:srgbClr val="008D8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2592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5178DC-6DD7-4AAC-83AB-8FF2176B9895}"/>
              </a:ext>
            </a:extLst>
          </p:cNvPr>
          <p:cNvSpPr txBox="1"/>
          <p:nvPr/>
        </p:nvSpPr>
        <p:spPr>
          <a:xfrm>
            <a:off x="15600579" y="9082643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15600580" y="9134164"/>
            <a:ext cx="1621040" cy="5318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ctr">
            <a:spAutoFit/>
          </a:bodyPr>
          <a:lstStyle/>
          <a:p>
            <a:pPr defTabSz="658277" hangingPunct="0"/>
            <a:endParaRPr lang="pt-BR" sz="2592">
              <a:solidFill>
                <a:srgbClr val="000000"/>
              </a:solidFill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71493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DA83FA88-E515-05BE-83EF-59FAFAA944CF}"/>
              </a:ext>
            </a:extLst>
          </p:cNvPr>
          <p:cNvSpPr/>
          <p:nvPr/>
        </p:nvSpPr>
        <p:spPr>
          <a:xfrm>
            <a:off x="0" y="13939"/>
            <a:ext cx="17557750" cy="177981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348A6360-F34B-8163-DD47-D6637BBFA391}"/>
              </a:ext>
            </a:extLst>
          </p:cNvPr>
          <p:cNvSpPr/>
          <p:nvPr/>
        </p:nvSpPr>
        <p:spPr>
          <a:xfrm>
            <a:off x="0" y="9208304"/>
            <a:ext cx="17557750" cy="682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Espaço Reservado para Número de Slide 1">
            <a:extLst>
              <a:ext uri="{FF2B5EF4-FFF2-40B4-BE49-F238E27FC236}">
                <a16:creationId xmlns:a16="http://schemas.microsoft.com/office/drawing/2014/main" id="{CFE4A317-D25F-D1BE-E70B-44E1A80D15F5}"/>
              </a:ext>
            </a:extLst>
          </p:cNvPr>
          <p:cNvSpPr txBox="1">
            <a:spLocks/>
          </p:cNvSpPr>
          <p:nvPr/>
        </p:nvSpPr>
        <p:spPr>
          <a:xfrm>
            <a:off x="16842645" y="9269624"/>
            <a:ext cx="364302" cy="3328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ctr" defTabSz="457200" rtl="0" eaLnBrk="1" latinLnBrk="0" hangingPunct="1">
              <a:defRPr sz="1440" b="1" kern="1200">
                <a:solidFill>
                  <a:srgbClr val="008D8B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071DA665-27DE-2EEF-EF80-54338EA295EF}"/>
              </a:ext>
            </a:extLst>
          </p:cNvPr>
          <p:cNvSpPr txBox="1"/>
          <p:nvPr/>
        </p:nvSpPr>
        <p:spPr>
          <a:xfrm>
            <a:off x="15600579" y="9082643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1685AAA5-4D86-D34E-7F57-10DEABE68063}"/>
              </a:ext>
            </a:extLst>
          </p:cNvPr>
          <p:cNvSpPr/>
          <p:nvPr/>
        </p:nvSpPr>
        <p:spPr>
          <a:xfrm>
            <a:off x="15600579" y="9082643"/>
            <a:ext cx="1957171" cy="791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E9E4DA83-F5D0-D945-AFA2-7F515805A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37780"/>
              </p:ext>
            </p:extLst>
          </p:nvPr>
        </p:nvGraphicFramePr>
        <p:xfrm>
          <a:off x="524251" y="2482033"/>
          <a:ext cx="16509248" cy="51998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8484">
                  <a:extLst>
                    <a:ext uri="{9D8B030D-6E8A-4147-A177-3AD203B41FA5}">
                      <a16:colId xmlns:a16="http://schemas.microsoft.com/office/drawing/2014/main" val="454512309"/>
                    </a:ext>
                  </a:extLst>
                </a:gridCol>
                <a:gridCol w="2445053">
                  <a:extLst>
                    <a:ext uri="{9D8B030D-6E8A-4147-A177-3AD203B41FA5}">
                      <a16:colId xmlns:a16="http://schemas.microsoft.com/office/drawing/2014/main" val="946993951"/>
                    </a:ext>
                  </a:extLst>
                </a:gridCol>
                <a:gridCol w="3009295">
                  <a:extLst>
                    <a:ext uri="{9D8B030D-6E8A-4147-A177-3AD203B41FA5}">
                      <a16:colId xmlns:a16="http://schemas.microsoft.com/office/drawing/2014/main" val="94606911"/>
                    </a:ext>
                  </a:extLst>
                </a:gridCol>
                <a:gridCol w="2560794">
                  <a:extLst>
                    <a:ext uri="{9D8B030D-6E8A-4147-A177-3AD203B41FA5}">
                      <a16:colId xmlns:a16="http://schemas.microsoft.com/office/drawing/2014/main" val="3335415454"/>
                    </a:ext>
                  </a:extLst>
                </a:gridCol>
                <a:gridCol w="3142577">
                  <a:extLst>
                    <a:ext uri="{9D8B030D-6E8A-4147-A177-3AD203B41FA5}">
                      <a16:colId xmlns:a16="http://schemas.microsoft.com/office/drawing/2014/main" val="3859686986"/>
                    </a:ext>
                  </a:extLst>
                </a:gridCol>
                <a:gridCol w="2413045">
                  <a:extLst>
                    <a:ext uri="{9D8B030D-6E8A-4147-A177-3AD203B41FA5}">
                      <a16:colId xmlns:a16="http://schemas.microsoft.com/office/drawing/2014/main" val="434947407"/>
                    </a:ext>
                  </a:extLst>
                </a:gridCol>
              </a:tblGrid>
              <a:tr h="795895">
                <a:tc rowSpan="2">
                  <a:txBody>
                    <a:bodyPr/>
                    <a:lstStyle/>
                    <a:p>
                      <a:pPr algn="ctr" rtl="0"/>
                      <a:r>
                        <a:rPr lang="pt-BR" sz="3500" b="1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Espessura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/>
                      <a:r>
                        <a:rPr lang="pt-BR" sz="3500" b="1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SG após </a:t>
                      </a:r>
                      <a:br>
                        <a:rPr lang="pt-BR" sz="3500" b="1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pt-BR" sz="3500" b="1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5 anos</a:t>
                      </a:r>
                      <a:r>
                        <a:rPr lang="pt-BR" sz="3500" b="1" i="0" u="none" baseline="30000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/>
                      <a:r>
                        <a:rPr lang="pt-BR" sz="3500" b="1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Austrália</a:t>
                      </a:r>
                      <a:r>
                        <a:rPr lang="pt-BR" sz="3500" b="1" i="0" u="none" baseline="30000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D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/>
                      <a:r>
                        <a:rPr lang="pt-BR" sz="3500" b="1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EUA</a:t>
                      </a:r>
                      <a:r>
                        <a:rPr lang="pt-BR" sz="3500" b="1" i="0" u="none" baseline="30000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D8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6462320"/>
                  </a:ext>
                </a:extLst>
              </a:tr>
              <a:tr h="1432611">
                <a:tc vMerge="1">
                  <a:txBody>
                    <a:bodyPr/>
                    <a:lstStyle/>
                    <a:p>
                      <a:endParaRPr lang="pt-BR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500" b="0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Casos</a:t>
                      </a:r>
                    </a:p>
                    <a:p>
                      <a:pPr algn="ctr" rtl="0"/>
                      <a:r>
                        <a:rPr lang="pt-BR" sz="3500" b="0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(n = 13.006)</a:t>
                      </a:r>
                    </a:p>
                  </a:txBody>
                  <a:tcPr marL="131657" marR="131657" marT="65828" marB="65828" anchor="ctr">
                    <a:lnL w="381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500" b="0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Óbitos</a:t>
                      </a:r>
                    </a:p>
                    <a:p>
                      <a:pPr algn="ctr" rtl="0"/>
                      <a:r>
                        <a:rPr lang="pt-BR" sz="3500" b="0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(n = 1.021)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500" b="0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Casos</a:t>
                      </a:r>
                    </a:p>
                    <a:p>
                      <a:pPr algn="ctr" rtl="0"/>
                      <a:r>
                        <a:rPr lang="pt-BR" sz="3500" b="0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(n = 49.319)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500" b="0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Óbitos</a:t>
                      </a:r>
                    </a:p>
                    <a:p>
                      <a:pPr algn="ctr" rtl="0"/>
                      <a:r>
                        <a:rPr lang="pt-BR" sz="3500" b="0" i="0" u="none" baseline="0" dirty="0">
                          <a:solidFill>
                            <a:schemeClr val="bg1"/>
                          </a:solidFill>
                          <a:latin typeface="+mj-lt"/>
                        </a:rPr>
                        <a:t>(n = 3.660)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243024"/>
                  </a:ext>
                </a:extLst>
              </a:tr>
              <a:tr h="742836">
                <a:tc>
                  <a:txBody>
                    <a:bodyPr/>
                    <a:lstStyle/>
                    <a:p>
                      <a:pPr algn="l" rtl="0"/>
                      <a:r>
                        <a:rPr lang="pt-BR" sz="3200" b="0" i="0" u="none" baseline="0" dirty="0">
                          <a:latin typeface="+mj-lt"/>
                        </a:rPr>
                        <a:t>0,01–1,00 mm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97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72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29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71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29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9447463"/>
                  </a:ext>
                </a:extLst>
              </a:tr>
              <a:tr h="742836">
                <a:tc>
                  <a:txBody>
                    <a:bodyPr/>
                    <a:lstStyle/>
                    <a:p>
                      <a:pPr algn="l" rtl="0"/>
                      <a:r>
                        <a:rPr lang="pt-BR" sz="3200" b="0" i="0" u="none" baseline="0" dirty="0">
                          <a:latin typeface="+mj-lt"/>
                        </a:rPr>
                        <a:t>1,01–2,00 mm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88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14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27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16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27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415819"/>
                  </a:ext>
                </a:extLst>
              </a:tr>
              <a:tr h="742836">
                <a:tc>
                  <a:txBody>
                    <a:bodyPr/>
                    <a:lstStyle/>
                    <a:p>
                      <a:pPr algn="l" rtl="0"/>
                      <a:r>
                        <a:rPr lang="pt-BR" sz="3200" b="0" i="0" u="none" baseline="0" dirty="0">
                          <a:latin typeface="+mj-lt"/>
                        </a:rPr>
                        <a:t>2,01–4,00 mm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74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9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26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8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27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5098925"/>
                  </a:ext>
                </a:extLst>
              </a:tr>
              <a:tr h="742836">
                <a:tc>
                  <a:txBody>
                    <a:bodyPr/>
                    <a:lstStyle/>
                    <a:p>
                      <a:pPr algn="l" rtl="0"/>
                      <a:r>
                        <a:rPr lang="pt-BR" sz="3200" b="0" i="0" u="none" baseline="0" dirty="0">
                          <a:latin typeface="+mj-lt"/>
                        </a:rPr>
                        <a:t>&gt; 4,0 mm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56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5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18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4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17%</a:t>
                      </a:r>
                    </a:p>
                  </a:txBody>
                  <a:tcPr marL="131657" marR="131657" marT="65828" marB="65828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964027"/>
                  </a:ext>
                </a:extLst>
              </a:tr>
            </a:tbl>
          </a:graphicData>
        </a:graphic>
      </p:graphicFrame>
      <p:sp>
        <p:nvSpPr>
          <p:cNvPr id="3" name="Título 2">
            <a:extLst>
              <a:ext uri="{FF2B5EF4-FFF2-40B4-BE49-F238E27FC236}">
                <a16:creationId xmlns:a16="http://schemas.microsoft.com/office/drawing/2014/main" id="{124658FB-034B-D247-97EE-76866B6AA3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8474" y="41686"/>
            <a:ext cx="13380802" cy="1766006"/>
          </a:xfrm>
        </p:spPr>
        <p:txBody>
          <a:bodyPr>
            <a:normAutofit/>
          </a:bodyPr>
          <a:lstStyle/>
          <a:p>
            <a:pPr algn="ctr"/>
            <a:r>
              <a:rPr lang="pt-BR" dirty="0"/>
              <a:t>Limitações DO TRATAMENTO LOCAL</a:t>
            </a:r>
            <a:br>
              <a:rPr lang="pt-BR" dirty="0"/>
            </a:br>
            <a:r>
              <a:rPr lang="pt-BR" dirty="0"/>
              <a:t> O Paradoxo do Baixo Risco no Melanoma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6E949DA8-B640-7243-8210-0AE459C85587}"/>
              </a:ext>
            </a:extLst>
          </p:cNvPr>
          <p:cNvSpPr txBox="1"/>
          <p:nvPr/>
        </p:nvSpPr>
        <p:spPr>
          <a:xfrm>
            <a:off x="1236839" y="8855029"/>
            <a:ext cx="14531616" cy="66481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en-US" sz="1152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shenwald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E, </a:t>
            </a:r>
            <a:r>
              <a:rPr lang="en-US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lyer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, Hess KR, et al. Melanoma staging: Evidence-based changes in the American Joint Committee on Cancer eighth edition cancer staging manual. </a:t>
            </a:r>
            <a:r>
              <a:rPr lang="en-US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 Cancer J Clin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7;7(6):472-492; </a:t>
            </a:r>
            <a:r>
              <a:rPr lang="en-US" sz="1152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teman DC, Baade PD, Olsen CM. More people die from thin melanomas (⩽1 mm) than from thick melanomas (&gt;4 mm) in Queensland, Australia. </a:t>
            </a:r>
            <a:r>
              <a:rPr lang="en-US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Invest Dermatol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5;135(4):1190-1193; </a:t>
            </a:r>
            <a:r>
              <a:rPr lang="en-US" sz="1152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haikh WR, </a:t>
            </a:r>
            <a:r>
              <a:rPr lang="en-US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sza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W, Weinstock MA, et al. Melanoma Thickness and Survival Trends in the United States, 1989 to 2009</a:t>
            </a:r>
            <a:r>
              <a:rPr lang="en-US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J Natl Cancer Inst. 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;108(1):</a:t>
            </a:r>
            <a:r>
              <a:rPr lang="pt-BR" sz="1152" dirty="0">
                <a:solidFill>
                  <a:srgbClr val="5B616B"/>
                </a:solidFill>
                <a:latin typeface="BlinkMacSystemFont"/>
              </a:rPr>
              <a:t> djv294.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5469F04A-4581-894F-A16C-D3C9FD26B00A}"/>
              </a:ext>
            </a:extLst>
          </p:cNvPr>
          <p:cNvSpPr txBox="1"/>
          <p:nvPr/>
        </p:nvSpPr>
        <p:spPr>
          <a:xfrm>
            <a:off x="480850" y="7813832"/>
            <a:ext cx="6980968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borad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r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shenwald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E, et al. 2017;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hiteman DC, et al. 2015;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haikh WR, et al. 2015.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3217B1CB-8B76-7E4D-BE8B-EED90B3FFA0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t>11</a:t>
            </a:fld>
            <a:endParaRPr lang="pt-BR" dirty="0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8E38B2B-5B40-42A5-BF6B-64954311AC9F}"/>
              </a:ext>
            </a:extLst>
          </p:cNvPr>
          <p:cNvSpPr txBox="1"/>
          <p:nvPr/>
        </p:nvSpPr>
        <p:spPr>
          <a:xfrm>
            <a:off x="1765" y="8320655"/>
            <a:ext cx="1541980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G,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vida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lobal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6701EA-4960-4E5F-A788-D05C88EF2DE2}"/>
              </a:ext>
            </a:extLst>
          </p:cNvPr>
          <p:cNvSpPr txBox="1"/>
          <p:nvPr/>
        </p:nvSpPr>
        <p:spPr>
          <a:xfrm>
            <a:off x="15600579" y="9082643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15600580" y="9134164"/>
            <a:ext cx="1621040" cy="5318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ctr">
            <a:spAutoFit/>
          </a:bodyPr>
          <a:lstStyle/>
          <a:p>
            <a:pPr defTabSz="658277" hangingPunct="0"/>
            <a:endParaRPr lang="pt-BR" sz="2592">
              <a:solidFill>
                <a:srgbClr val="000000"/>
              </a:solidFill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28376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1C764EEE-BBB4-471D-5576-7883A5B2CC3B}"/>
              </a:ext>
            </a:extLst>
          </p:cNvPr>
          <p:cNvSpPr/>
          <p:nvPr/>
        </p:nvSpPr>
        <p:spPr>
          <a:xfrm>
            <a:off x="-1764" y="20823"/>
            <a:ext cx="17557750" cy="177981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65C91611-30F8-F34F-A51C-316198972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151" y="82040"/>
            <a:ext cx="13652992" cy="1766006"/>
          </a:xfrm>
        </p:spPr>
        <p:txBody>
          <a:bodyPr/>
          <a:lstStyle/>
          <a:p>
            <a:pPr algn="ctr"/>
            <a:r>
              <a:rPr lang="pt-BR" dirty="0"/>
              <a:t>Definindo o Problema DA DOENÇA LOCORREGIONAL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5582E3D-B9E4-0E4B-952C-AC77BEE7415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1474" y="3281240"/>
            <a:ext cx="14793089" cy="5833122"/>
          </a:xfrm>
          <a:prstGeom prst="rect">
            <a:avLst/>
          </a:prstGeom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54901518-81C6-3E42-B771-7B30FFC5C7F2}"/>
              </a:ext>
            </a:extLst>
          </p:cNvPr>
          <p:cNvSpPr/>
          <p:nvPr/>
        </p:nvSpPr>
        <p:spPr>
          <a:xfrm>
            <a:off x="1764" y="1938856"/>
            <a:ext cx="17554222" cy="653126"/>
          </a:xfrm>
          <a:prstGeom prst="rect">
            <a:avLst/>
          </a:prstGeom>
          <a:solidFill>
            <a:schemeClr val="accent1">
              <a:lumMod val="40000"/>
              <a:lumOff val="60000"/>
              <a:alpha val="16863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ctr">
            <a:noAutofit/>
          </a:bodyPr>
          <a:lstStyle/>
          <a:p>
            <a:pPr defTabSz="658277" hangingPunct="0"/>
            <a:endParaRPr lang="pt-BR" sz="2592">
              <a:solidFill>
                <a:srgbClr val="000000"/>
              </a:solidFill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37218" name="Título 3122">
            <a:extLst>
              <a:ext uri="{FF2B5EF4-FFF2-40B4-BE49-F238E27FC236}">
                <a16:creationId xmlns:a16="http://schemas.microsoft.com/office/drawing/2014/main" id="{78FD3014-99B6-124D-8C59-E150B2846446}"/>
              </a:ext>
            </a:extLst>
          </p:cNvPr>
          <p:cNvSpPr txBox="1">
            <a:spLocks/>
          </p:cNvSpPr>
          <p:nvPr/>
        </p:nvSpPr>
        <p:spPr bwMode="auto">
          <a:xfrm>
            <a:off x="4684033" y="1895455"/>
            <a:ext cx="8189684" cy="72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pt-BR" sz="3743" b="1" dirty="0">
                <a:solidFill>
                  <a:srgbClr val="47545B"/>
                </a:solidFill>
              </a:rPr>
              <a:t>AJCC, 7</a:t>
            </a:r>
            <a:r>
              <a:rPr lang="pt-BR" sz="3743" b="1" baseline="30000" dirty="0">
                <a:solidFill>
                  <a:srgbClr val="47545B"/>
                </a:solidFill>
              </a:rPr>
              <a:t>a</a:t>
            </a:r>
            <a:r>
              <a:rPr lang="pt-BR" sz="3743" b="1" dirty="0">
                <a:solidFill>
                  <a:srgbClr val="47545B"/>
                </a:solidFill>
              </a:rPr>
              <a:t> Edição</a:t>
            </a:r>
            <a:r>
              <a:rPr lang="pt-BR" sz="3743" b="1" baseline="30000" dirty="0">
                <a:solidFill>
                  <a:srgbClr val="47545B"/>
                </a:solidFill>
              </a:rPr>
              <a:t>1</a:t>
            </a:r>
            <a:r>
              <a:rPr lang="pt-BR" sz="3743" b="1" dirty="0">
                <a:solidFill>
                  <a:srgbClr val="47545B"/>
                </a:solidFill>
              </a:rPr>
              <a:t> </a:t>
            </a:r>
            <a:r>
              <a:rPr lang="pt-BR" sz="3743" b="1" i="1" dirty="0">
                <a:solidFill>
                  <a:srgbClr val="47545B"/>
                </a:solidFill>
              </a:rPr>
              <a:t>versus</a:t>
            </a:r>
            <a:r>
              <a:rPr lang="pt-BR" sz="3743" b="1" dirty="0">
                <a:solidFill>
                  <a:srgbClr val="47545B"/>
                </a:solidFill>
              </a:rPr>
              <a:t> 8</a:t>
            </a:r>
            <a:r>
              <a:rPr lang="pt-BR" sz="3743" b="1" baseline="30000" dirty="0">
                <a:solidFill>
                  <a:srgbClr val="47545B"/>
                </a:solidFill>
              </a:rPr>
              <a:t>a</a:t>
            </a:r>
            <a:r>
              <a:rPr lang="pt-BR" sz="3743" b="1" dirty="0">
                <a:solidFill>
                  <a:srgbClr val="47545B"/>
                </a:solidFill>
              </a:rPr>
              <a:t> Edição</a:t>
            </a:r>
            <a:r>
              <a:rPr lang="pt-BR" sz="3743" b="1" baseline="30000" dirty="0">
                <a:solidFill>
                  <a:srgbClr val="47545B"/>
                </a:solidFill>
              </a:rPr>
              <a:t>2</a:t>
            </a:r>
            <a:endParaRPr lang="pt-BR" altLang="pt-BR" sz="3743" b="1" dirty="0">
              <a:solidFill>
                <a:srgbClr val="47545B"/>
              </a:solidFill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06399EE5-F9E8-8946-BB83-D3407DBAA2C0}"/>
              </a:ext>
            </a:extLst>
          </p:cNvPr>
          <p:cNvSpPr txBox="1"/>
          <p:nvPr/>
        </p:nvSpPr>
        <p:spPr>
          <a:xfrm>
            <a:off x="6531080" y="8612107"/>
            <a:ext cx="2518208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ad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Balch CM, et al. 2009.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altLang="pt-BR" sz="1152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1EDE6A0B-8C43-4327-AD36-E10815E35E83}"/>
              </a:ext>
            </a:extLst>
          </p:cNvPr>
          <p:cNvSpPr txBox="1"/>
          <p:nvPr/>
        </p:nvSpPr>
        <p:spPr>
          <a:xfrm>
            <a:off x="14249817" y="8530445"/>
            <a:ext cx="2747438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ad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shenwald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t al. 2017.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altLang="pt-BR" sz="1152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04F70D99-F3B4-E14D-BD58-BC6AF4E06B52}"/>
              </a:ext>
            </a:extLst>
          </p:cNvPr>
          <p:cNvSpPr txBox="1"/>
          <p:nvPr/>
        </p:nvSpPr>
        <p:spPr>
          <a:xfrm>
            <a:off x="1951616" y="2749471"/>
            <a:ext cx="6982802" cy="491225"/>
          </a:xfrm>
          <a:prstGeom prst="rect">
            <a:avLst/>
          </a:prstGeom>
          <a:solidFill>
            <a:srgbClr val="47545B">
              <a:alpha val="1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592" b="1" dirty="0">
                <a:solidFill>
                  <a:schemeClr val="tx1"/>
                </a:solidFill>
                <a:latin typeface="+mj-lt"/>
              </a:rPr>
              <a:t>7ª Edição</a:t>
            </a:r>
            <a:r>
              <a:rPr lang="pt-BR" sz="2592" b="1" baseline="30000" dirty="0">
                <a:solidFill>
                  <a:schemeClr val="tx1"/>
                </a:solidFill>
                <a:latin typeface="+mj-lt"/>
              </a:rPr>
              <a:t>1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5B7A22FE-BAD1-0D44-AB32-17A94EFB86F4}"/>
              </a:ext>
            </a:extLst>
          </p:cNvPr>
          <p:cNvSpPr txBox="1"/>
          <p:nvPr/>
        </p:nvSpPr>
        <p:spPr>
          <a:xfrm>
            <a:off x="9767689" y="2749471"/>
            <a:ext cx="6406874" cy="491225"/>
          </a:xfrm>
          <a:prstGeom prst="rect">
            <a:avLst/>
          </a:prstGeom>
          <a:solidFill>
            <a:srgbClr val="47545B">
              <a:alpha val="10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592" b="1" dirty="0">
                <a:solidFill>
                  <a:schemeClr val="tx1"/>
                </a:solidFill>
                <a:latin typeface="+mj-lt"/>
              </a:rPr>
              <a:t>8ª Edição</a:t>
            </a:r>
            <a:r>
              <a:rPr lang="pt-BR" sz="2592" b="1" baseline="30000" dirty="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A0B5CFB-A080-4D0B-89AC-2D2C3F6C6552}"/>
              </a:ext>
            </a:extLst>
          </p:cNvPr>
          <p:cNvSpPr txBox="1"/>
          <p:nvPr/>
        </p:nvSpPr>
        <p:spPr>
          <a:xfrm>
            <a:off x="94334" y="8922304"/>
            <a:ext cx="3714564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JCC, American Joint Committee on Cancer.</a:t>
            </a: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63A68442-4B10-110A-5E8B-D2E2942D921A}"/>
              </a:ext>
            </a:extLst>
          </p:cNvPr>
          <p:cNvSpPr/>
          <p:nvPr/>
        </p:nvSpPr>
        <p:spPr>
          <a:xfrm>
            <a:off x="0" y="9208304"/>
            <a:ext cx="17557750" cy="682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Espaço Reservado para Número de Slide 1">
            <a:extLst>
              <a:ext uri="{FF2B5EF4-FFF2-40B4-BE49-F238E27FC236}">
                <a16:creationId xmlns:a16="http://schemas.microsoft.com/office/drawing/2014/main" id="{74BD7FF2-B6F2-D8A8-C498-CFBDFF2B88B2}"/>
              </a:ext>
            </a:extLst>
          </p:cNvPr>
          <p:cNvSpPr txBox="1">
            <a:spLocks/>
          </p:cNvSpPr>
          <p:nvPr/>
        </p:nvSpPr>
        <p:spPr>
          <a:xfrm>
            <a:off x="16842645" y="9269624"/>
            <a:ext cx="364302" cy="3328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ctr" defTabSz="457200" rtl="0" eaLnBrk="1" latinLnBrk="0" hangingPunct="1">
              <a:defRPr sz="1440" b="1" kern="1200">
                <a:solidFill>
                  <a:srgbClr val="008D8B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smtClean="0"/>
              <a:pPr/>
              <a:t>12</a:t>
            </a:fld>
            <a:endParaRPr lang="pt-BR" dirty="0"/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ABBEAA7A-C7A3-2F03-4A82-F1846C6DD68F}"/>
              </a:ext>
            </a:extLst>
          </p:cNvPr>
          <p:cNvSpPr txBox="1"/>
          <p:nvPr/>
        </p:nvSpPr>
        <p:spPr>
          <a:xfrm>
            <a:off x="15600579" y="9082643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21A29DDC-7264-AFA6-6DA2-608FBB40E44E}"/>
              </a:ext>
            </a:extLst>
          </p:cNvPr>
          <p:cNvSpPr/>
          <p:nvPr/>
        </p:nvSpPr>
        <p:spPr>
          <a:xfrm>
            <a:off x="15600579" y="9082643"/>
            <a:ext cx="1957171" cy="791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" name="Espaço Reservado para Número de Slide 1">
            <a:extLst>
              <a:ext uri="{FF2B5EF4-FFF2-40B4-BE49-F238E27FC236}">
                <a16:creationId xmlns:a16="http://schemas.microsoft.com/office/drawing/2014/main" id="{527451A2-5E9D-143E-2EC5-5ADB2467455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6842645" y="9269624"/>
            <a:ext cx="364302" cy="332800"/>
          </a:xfrm>
        </p:spPr>
        <p:txBody>
          <a:bodyPr/>
          <a:lstStyle/>
          <a:p>
            <a:fld id="{86CB4B4D-7CA3-9044-876B-883B54F8677D}" type="slidenum">
              <a:rPr lang="pt-BR" smtClean="0"/>
              <a:t>12</a:t>
            </a:fld>
            <a:endParaRPr lang="pt-BR" dirty="0"/>
          </a:p>
        </p:txBody>
      </p:sp>
      <p:sp>
        <p:nvSpPr>
          <p:cNvPr id="31" name="TextBox 9">
            <a:extLst>
              <a:ext uri="{FF2B5EF4-FFF2-40B4-BE49-F238E27FC236}">
                <a16:creationId xmlns:a16="http://schemas.microsoft.com/office/drawing/2014/main" id="{A31884D2-ADAA-077F-79CA-F8ECC60AED2F}"/>
              </a:ext>
            </a:extLst>
          </p:cNvPr>
          <p:cNvSpPr txBox="1"/>
          <p:nvPr/>
        </p:nvSpPr>
        <p:spPr>
          <a:xfrm>
            <a:off x="15600579" y="9082643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C83604C1-E4EE-DC20-5AF7-A647EE669257}"/>
              </a:ext>
            </a:extLst>
          </p:cNvPr>
          <p:cNvSpPr/>
          <p:nvPr/>
        </p:nvSpPr>
        <p:spPr>
          <a:xfrm>
            <a:off x="15600580" y="9134164"/>
            <a:ext cx="1621040" cy="5318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ctr">
            <a:spAutoFit/>
          </a:bodyPr>
          <a:lstStyle/>
          <a:p>
            <a:pPr defTabSz="658277" hangingPunct="0"/>
            <a:endParaRPr lang="pt-BR" sz="2592">
              <a:solidFill>
                <a:srgbClr val="000000"/>
              </a:solidFill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48FE800-A868-5F4F-B1D4-A7A25E64EF80}"/>
              </a:ext>
            </a:extLst>
          </p:cNvPr>
          <p:cNvSpPr txBox="1"/>
          <p:nvPr/>
        </p:nvSpPr>
        <p:spPr>
          <a:xfrm>
            <a:off x="1091920" y="9346071"/>
            <a:ext cx="14531616" cy="4875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en-US" sz="1152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ch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M,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shenwal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E,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ong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J, et al. Final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ion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09 AJCC melanoma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tion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 </a:t>
            </a:r>
            <a:r>
              <a:rPr lang="pt-BR" sz="1152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col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09;27(36):6199-206. </a:t>
            </a:r>
            <a:r>
              <a:rPr lang="pt-BR" sz="1152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shenwal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E,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ly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, Hess KR, et al. Melanoma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e-base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s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erican Joint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ghth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tion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nual. 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 </a:t>
            </a:r>
            <a:r>
              <a:rPr lang="pt-BR" sz="1152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pt-BR" sz="1152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7;67(6):472-492.</a:t>
            </a:r>
          </a:p>
        </p:txBody>
      </p:sp>
    </p:spTree>
    <p:extLst>
      <p:ext uri="{BB962C8B-B14F-4D97-AF65-F5344CB8AC3E}">
        <p14:creationId xmlns:p14="http://schemas.microsoft.com/office/powerpoint/2010/main" val="2221125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 17">
            <a:extLst>
              <a:ext uri="{FF2B5EF4-FFF2-40B4-BE49-F238E27FC236}">
                <a16:creationId xmlns:a16="http://schemas.microsoft.com/office/drawing/2014/main" id="{E094222A-D3EB-1304-48DD-4729E2E6B863}"/>
              </a:ext>
            </a:extLst>
          </p:cNvPr>
          <p:cNvSpPr/>
          <p:nvPr/>
        </p:nvSpPr>
        <p:spPr>
          <a:xfrm>
            <a:off x="-1764" y="20823"/>
            <a:ext cx="17557750" cy="177981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9810F128-4D84-0242-AD0D-29E557F2EC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104433"/>
              </p:ext>
            </p:extLst>
          </p:nvPr>
        </p:nvGraphicFramePr>
        <p:xfrm>
          <a:off x="3190304" y="2156799"/>
          <a:ext cx="11177144" cy="66048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6150">
                  <a:extLst>
                    <a:ext uri="{9D8B030D-6E8A-4147-A177-3AD203B41FA5}">
                      <a16:colId xmlns:a16="http://schemas.microsoft.com/office/drawing/2014/main" val="4170056050"/>
                    </a:ext>
                  </a:extLst>
                </a:gridCol>
                <a:gridCol w="3394587">
                  <a:extLst>
                    <a:ext uri="{9D8B030D-6E8A-4147-A177-3AD203B41FA5}">
                      <a16:colId xmlns:a16="http://schemas.microsoft.com/office/drawing/2014/main" val="3816030984"/>
                    </a:ext>
                  </a:extLst>
                </a:gridCol>
                <a:gridCol w="4046407">
                  <a:extLst>
                    <a:ext uri="{9D8B030D-6E8A-4147-A177-3AD203B41FA5}">
                      <a16:colId xmlns:a16="http://schemas.microsoft.com/office/drawing/2014/main" val="1460775204"/>
                    </a:ext>
                  </a:extLst>
                </a:gridCol>
              </a:tblGrid>
              <a:tr h="744209">
                <a:tc>
                  <a:txBody>
                    <a:bodyPr/>
                    <a:lstStyle/>
                    <a:p>
                      <a:pPr algn="ctr" rtl="0"/>
                      <a:r>
                        <a:rPr lang="pt-BR" sz="3700" b="1" i="0" u="none" baseline="0" dirty="0">
                          <a:latin typeface="+mj-lt"/>
                        </a:rPr>
                        <a:t>Estadio - Grupo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700" b="1" i="0" u="none" baseline="0" dirty="0">
                          <a:latin typeface="+mj-lt"/>
                        </a:rPr>
                        <a:t>SME* 5 anos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700" b="1" i="0" u="none" baseline="0" dirty="0">
                          <a:latin typeface="+mj-lt"/>
                        </a:rPr>
                        <a:t>SME* 10 anos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2276510"/>
                  </a:ext>
                </a:extLst>
              </a:tr>
              <a:tr h="651182"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IA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99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98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889076"/>
                  </a:ext>
                </a:extLst>
              </a:tr>
              <a:tr h="651182"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IB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97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94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503109"/>
                  </a:ext>
                </a:extLst>
              </a:tr>
              <a:tr h="651182"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IIA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95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88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161182"/>
                  </a:ext>
                </a:extLst>
              </a:tr>
              <a:tr h="651182"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IIB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87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82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752272"/>
                  </a:ext>
                </a:extLst>
              </a:tr>
              <a:tr h="651182"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IIC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82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75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301983"/>
                  </a:ext>
                </a:extLst>
              </a:tr>
              <a:tr h="651182"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IIIA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93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88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2460889"/>
                  </a:ext>
                </a:extLst>
              </a:tr>
              <a:tr h="651182"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IIIB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83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77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1849221"/>
                  </a:ext>
                </a:extLst>
              </a:tr>
              <a:tr h="651182"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IIIC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69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60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59342"/>
                  </a:ext>
                </a:extLst>
              </a:tr>
              <a:tr h="651182"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IIID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32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pt-BR" sz="3200" b="0" i="0" u="none" baseline="0" dirty="0">
                          <a:latin typeface="+mj-lt"/>
                        </a:rPr>
                        <a:t>24%</a:t>
                      </a:r>
                    </a:p>
                  </a:txBody>
                  <a:tcPr marL="131657" marR="131657" marT="65828" marB="65828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545B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36893"/>
                  </a:ext>
                </a:extLst>
              </a:tr>
            </a:tbl>
          </a:graphicData>
        </a:graphic>
      </p:graphicFrame>
      <p:sp>
        <p:nvSpPr>
          <p:cNvPr id="6" name="Retângulo Arredondado 5">
            <a:extLst>
              <a:ext uri="{FF2B5EF4-FFF2-40B4-BE49-F238E27FC236}">
                <a16:creationId xmlns:a16="http://schemas.microsoft.com/office/drawing/2014/main" id="{D45FC94E-F7F3-8241-82CB-1C8A392F6730}"/>
              </a:ext>
            </a:extLst>
          </p:cNvPr>
          <p:cNvSpPr/>
          <p:nvPr/>
        </p:nvSpPr>
        <p:spPr>
          <a:xfrm>
            <a:off x="3190304" y="4226872"/>
            <a:ext cx="11177143" cy="4534776"/>
          </a:xfrm>
          <a:prstGeom prst="roundRect">
            <a:avLst>
              <a:gd name="adj" fmla="val 0"/>
            </a:avLst>
          </a:prstGeom>
          <a:solidFill>
            <a:srgbClr val="008D8B">
              <a:alpha val="16000"/>
            </a:srgbClr>
          </a:solidFill>
          <a:ln w="38100">
            <a:solidFill>
              <a:srgbClr val="008D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2592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28F2AB5-5B99-2C46-99D0-956B8F203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850" y="426695"/>
            <a:ext cx="16384200" cy="1127575"/>
          </a:xfrm>
        </p:spPr>
        <p:txBody>
          <a:bodyPr/>
          <a:lstStyle/>
          <a:p>
            <a:r>
              <a:rPr lang="pt-BR" dirty="0"/>
              <a:t>Agrupamentos TNM e Sobrevida – 8ª edição</a:t>
            </a:r>
            <a:r>
              <a:rPr lang="pt-BR" baseline="30000" dirty="0"/>
              <a:t>1</a:t>
            </a:r>
            <a:endParaRPr lang="pt-B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41D8033-E922-CE42-9695-7E872F38B180}"/>
              </a:ext>
            </a:extLst>
          </p:cNvPr>
          <p:cNvSpPr txBox="1"/>
          <p:nvPr/>
        </p:nvSpPr>
        <p:spPr>
          <a:xfrm>
            <a:off x="1236839" y="9402490"/>
            <a:ext cx="14531616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en-US" sz="1152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shenwal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E,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ly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, Hess KR, et al. Melanoma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e-base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s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erican Joint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ghth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tion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nual. 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 </a:t>
            </a:r>
            <a:r>
              <a:rPr lang="pt-BR" sz="1152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pt-BR" sz="1152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;67(6):472-492.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1CBD3867-DB4C-3E48-B9CB-EC12FFC0F630}"/>
              </a:ext>
            </a:extLst>
          </p:cNvPr>
          <p:cNvSpPr txBox="1"/>
          <p:nvPr/>
        </p:nvSpPr>
        <p:spPr>
          <a:xfrm>
            <a:off x="11566928" y="8761647"/>
            <a:ext cx="2960637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ad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shenwald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E, et al. 2017.</a:t>
            </a:r>
            <a:r>
              <a:rPr lang="pt-BR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altLang="pt-BR" sz="1152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78D9EC94-7C59-2040-8D96-BD304F43068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t>13</a:t>
            </a:fld>
            <a:endParaRPr lang="pt-BR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31B798-5716-492A-B44E-58A7DECBD17B}"/>
              </a:ext>
            </a:extLst>
          </p:cNvPr>
          <p:cNvSpPr txBox="1"/>
          <p:nvPr/>
        </p:nvSpPr>
        <p:spPr>
          <a:xfrm>
            <a:off x="15600579" y="9082643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15600580" y="9134164"/>
            <a:ext cx="1621040" cy="5318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ctr">
            <a:spAutoFit/>
          </a:bodyPr>
          <a:lstStyle/>
          <a:p>
            <a:pPr defTabSz="658277" hangingPunct="0"/>
            <a:endParaRPr lang="pt-BR" sz="2592">
              <a:solidFill>
                <a:srgbClr val="000000"/>
              </a:solidFill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1315F5EC-7233-80F2-0A9D-63857C45A384}"/>
              </a:ext>
            </a:extLst>
          </p:cNvPr>
          <p:cNvSpPr/>
          <p:nvPr/>
        </p:nvSpPr>
        <p:spPr>
          <a:xfrm>
            <a:off x="-1764" y="9290306"/>
            <a:ext cx="17557750" cy="682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Número de Slide 1">
            <a:extLst>
              <a:ext uri="{FF2B5EF4-FFF2-40B4-BE49-F238E27FC236}">
                <a16:creationId xmlns:a16="http://schemas.microsoft.com/office/drawing/2014/main" id="{BBDD34FB-420B-171C-40F8-5E9B0B0F0BEC}"/>
              </a:ext>
            </a:extLst>
          </p:cNvPr>
          <p:cNvSpPr txBox="1">
            <a:spLocks/>
          </p:cNvSpPr>
          <p:nvPr/>
        </p:nvSpPr>
        <p:spPr>
          <a:xfrm>
            <a:off x="16840881" y="9351626"/>
            <a:ext cx="364302" cy="3328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ctr" defTabSz="457200" rtl="0" eaLnBrk="1" latinLnBrk="0" hangingPunct="1">
              <a:defRPr sz="1440" b="1" kern="1200">
                <a:solidFill>
                  <a:srgbClr val="008D8B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8" name="TextBox 16">
            <a:extLst>
              <a:ext uri="{FF2B5EF4-FFF2-40B4-BE49-F238E27FC236}">
                <a16:creationId xmlns:a16="http://schemas.microsoft.com/office/drawing/2014/main" id="{F8B428A4-0C12-16D3-359C-1D97D1D10627}"/>
              </a:ext>
            </a:extLst>
          </p:cNvPr>
          <p:cNvSpPr txBox="1"/>
          <p:nvPr/>
        </p:nvSpPr>
        <p:spPr>
          <a:xfrm>
            <a:off x="15598815" y="9164645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C2F439B4-2CB0-DDA2-AC62-6E3EFC4C8CC7}"/>
              </a:ext>
            </a:extLst>
          </p:cNvPr>
          <p:cNvSpPr/>
          <p:nvPr/>
        </p:nvSpPr>
        <p:spPr>
          <a:xfrm>
            <a:off x="15598815" y="9164645"/>
            <a:ext cx="1957171" cy="791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spaço Reservado para Número de Slide 1">
            <a:extLst>
              <a:ext uri="{FF2B5EF4-FFF2-40B4-BE49-F238E27FC236}">
                <a16:creationId xmlns:a16="http://schemas.microsoft.com/office/drawing/2014/main" id="{69121DFD-C333-0FFD-CB4D-7960A9E988BE}"/>
              </a:ext>
            </a:extLst>
          </p:cNvPr>
          <p:cNvSpPr txBox="1">
            <a:spLocks/>
          </p:cNvSpPr>
          <p:nvPr/>
        </p:nvSpPr>
        <p:spPr>
          <a:xfrm>
            <a:off x="16840881" y="9351626"/>
            <a:ext cx="364302" cy="3328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ctr" defTabSz="457200" rtl="0" eaLnBrk="1" latinLnBrk="0" hangingPunct="1">
              <a:defRPr sz="1440" b="1" kern="1200">
                <a:solidFill>
                  <a:srgbClr val="008D8B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EF2B9A66-AC97-DA52-49A8-67896F0E1851}"/>
              </a:ext>
            </a:extLst>
          </p:cNvPr>
          <p:cNvSpPr txBox="1"/>
          <p:nvPr/>
        </p:nvSpPr>
        <p:spPr>
          <a:xfrm>
            <a:off x="15598815" y="9164645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5A2EDE4E-FBF5-6520-56B6-044D28BDBD0F}"/>
              </a:ext>
            </a:extLst>
          </p:cNvPr>
          <p:cNvSpPr/>
          <p:nvPr/>
        </p:nvSpPr>
        <p:spPr>
          <a:xfrm>
            <a:off x="15598816" y="9216166"/>
            <a:ext cx="1621040" cy="531831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ctr">
            <a:spAutoFit/>
          </a:bodyPr>
          <a:lstStyle/>
          <a:p>
            <a:pPr defTabSz="658277" hangingPunct="0"/>
            <a:endParaRPr lang="pt-BR" sz="2592">
              <a:solidFill>
                <a:srgbClr val="000000"/>
              </a:solidFill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71201A84-97BF-4077-9687-02A775EDE9B9}"/>
              </a:ext>
            </a:extLst>
          </p:cNvPr>
          <p:cNvSpPr txBox="1"/>
          <p:nvPr/>
        </p:nvSpPr>
        <p:spPr>
          <a:xfrm>
            <a:off x="0" y="9009474"/>
            <a:ext cx="3714564" cy="4875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NM, tumor, nódulos, metástase; SME, sobrevida especifica do melanoma.</a:t>
            </a:r>
            <a:endParaRPr lang="en-US" altLang="pt-BR" sz="1152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7231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2">
            <a:extLst>
              <a:ext uri="{FF2B5EF4-FFF2-40B4-BE49-F238E27FC236}">
                <a16:creationId xmlns:a16="http://schemas.microsoft.com/office/drawing/2014/main" id="{23F2F69E-A3FE-4292-9879-D3869D9FE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65" y="0"/>
            <a:ext cx="17554222" cy="9874250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D89EEFA-D706-44B1-84F0-33662D3884D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5470" y="2999822"/>
            <a:ext cx="4893284" cy="63254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20478B3-3B9D-4FB9-9B00-F4F872D2AC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82147" y="3754480"/>
            <a:ext cx="6252063" cy="4969589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FB49A9DD-221A-495F-800A-03B3E99B91B3}"/>
              </a:ext>
            </a:extLst>
          </p:cNvPr>
          <p:cNvSpPr/>
          <p:nvPr/>
        </p:nvSpPr>
        <p:spPr>
          <a:xfrm>
            <a:off x="14308770" y="4059414"/>
            <a:ext cx="1325439" cy="43885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592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BB9777-5199-488D-A07D-DEC27D23FA4D}"/>
              </a:ext>
            </a:extLst>
          </p:cNvPr>
          <p:cNvSpPr/>
          <p:nvPr/>
        </p:nvSpPr>
        <p:spPr bwMode="auto">
          <a:xfrm>
            <a:off x="1765" y="0"/>
            <a:ext cx="17554221" cy="21942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1657" tIns="65828" rIns="131657" bIns="65828" numCol="1" rtlCol="0" anchor="t" anchorCtr="0" compatLnSpc="1">
            <a:prstTxWarp prst="textNoShape">
              <a:avLst/>
            </a:prstTxWarp>
          </a:bodyPr>
          <a:lstStyle/>
          <a:p>
            <a:pPr defTabSz="1316553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3456">
              <a:solidFill>
                <a:schemeClr val="bg1"/>
              </a:solidFill>
              <a:latin typeface="Times New Roman" pitchFamily="16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02ABF3-3314-4A65-B352-3484FCB6CB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3181" y="214872"/>
            <a:ext cx="11839630" cy="263769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A9A700F-6837-40AC-AA68-C880FE150954}"/>
              </a:ext>
            </a:extLst>
          </p:cNvPr>
          <p:cNvSpPr txBox="1"/>
          <p:nvPr/>
        </p:nvSpPr>
        <p:spPr>
          <a:xfrm>
            <a:off x="12180005" y="9387866"/>
            <a:ext cx="5375981" cy="33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584" dirty="0">
                <a:latin typeface="Abadi" panose="020B0604020104020204" pitchFamily="34" charset="0"/>
              </a:rPr>
              <a:t>Código de Aprovação: </a:t>
            </a:r>
            <a:r>
              <a:rPr lang="pt-BR" sz="1584" dirty="0">
                <a:solidFill>
                  <a:srgbClr val="000000"/>
                </a:solidFill>
                <a:latin typeface="Abadi" panose="020B0604020104020204" pitchFamily="34" charset="0"/>
              </a:rPr>
              <a:t>BR-OOC-00304]</a:t>
            </a:r>
            <a:endParaRPr lang="pt-BR" sz="1584" dirty="0">
              <a:latin typeface="Abadi" panose="020B0604020104020204" pitchFamily="34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B149032B-9603-741C-C861-7FAF36B0DE22}"/>
              </a:ext>
            </a:extLst>
          </p:cNvPr>
          <p:cNvSpPr/>
          <p:nvPr/>
        </p:nvSpPr>
        <p:spPr>
          <a:xfrm>
            <a:off x="-1765" y="9325287"/>
            <a:ext cx="17557750" cy="5185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137CDA-E96E-4BBF-93B2-568D8CBF572A}"/>
              </a:ext>
            </a:extLst>
          </p:cNvPr>
          <p:cNvSpPr txBox="1"/>
          <p:nvPr/>
        </p:nvSpPr>
        <p:spPr>
          <a:xfrm>
            <a:off x="199271" y="9327237"/>
            <a:ext cx="9325681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8" dirty="0">
                <a:solidFill>
                  <a:srgbClr val="000000"/>
                </a:solidFill>
                <a:latin typeface="Segoe UI" panose="020B0502040204020203" pitchFamily="34" charset="0"/>
              </a:rPr>
              <a:t>de Melo AC, Wainstein AJA, Buzaid AC, Thuler LCS</a:t>
            </a:r>
            <a:r>
              <a:rPr lang="pt-BR" sz="1008" i="1" dirty="0">
                <a:solidFill>
                  <a:srgbClr val="000000"/>
                </a:solidFill>
                <a:latin typeface="Segoe UI" panose="020B0502040204020203" pitchFamily="34" charset="0"/>
              </a:rPr>
              <a:t>. Melanoma signature in Brazil</a:t>
            </a:r>
            <a:r>
              <a:rPr lang="pt-BR" sz="1008" dirty="0">
                <a:solidFill>
                  <a:srgbClr val="000000"/>
                </a:solidFill>
                <a:latin typeface="Segoe UI" panose="020B0502040204020203" pitchFamily="34" charset="0"/>
              </a:rPr>
              <a:t>: epidemiology, incidence, mortality, and trend lessons from a continental mixed population country in the past 15 years. Melanoma Res. 2018;28(6):629-636.</a:t>
            </a:r>
            <a:endParaRPr lang="pt-BR" sz="1008" dirty="0"/>
          </a:p>
        </p:txBody>
      </p:sp>
    </p:spTree>
    <p:extLst>
      <p:ext uri="{BB962C8B-B14F-4D97-AF65-F5344CB8AC3E}">
        <p14:creationId xmlns:p14="http://schemas.microsoft.com/office/powerpoint/2010/main" val="20822276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2">
            <a:extLst>
              <a:ext uri="{FF2B5EF4-FFF2-40B4-BE49-F238E27FC236}">
                <a16:creationId xmlns:a16="http://schemas.microsoft.com/office/drawing/2014/main" id="{23F2F69E-A3FE-4292-9879-D3869D9FE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65" y="0"/>
            <a:ext cx="17554222" cy="9874250"/>
          </a:xfrm>
          <a:prstGeom prst="rect">
            <a:avLst/>
          </a:prstGeom>
          <a:noFill/>
        </p:spPr>
      </p:pic>
      <p:sp>
        <p:nvSpPr>
          <p:cNvPr id="3" name="object 15">
            <a:extLst>
              <a:ext uri="{FF2B5EF4-FFF2-40B4-BE49-F238E27FC236}">
                <a16:creationId xmlns:a16="http://schemas.microsoft.com/office/drawing/2014/main" id="{3BAECBB2-DDE0-458A-9BC9-03E84FCA8873}"/>
              </a:ext>
            </a:extLst>
          </p:cNvPr>
          <p:cNvSpPr txBox="1"/>
          <p:nvPr/>
        </p:nvSpPr>
        <p:spPr>
          <a:xfrm>
            <a:off x="875233" y="897093"/>
            <a:ext cx="5602721" cy="637839"/>
          </a:xfrm>
          <a:prstGeom prst="rect">
            <a:avLst/>
          </a:prstGeom>
        </p:spPr>
        <p:txBody>
          <a:bodyPr vert="horz" wrap="square" lIns="0" tIns="17371" rIns="0" bIns="0" rtlCol="0">
            <a:spAutoFit/>
          </a:bodyPr>
          <a:lstStyle/>
          <a:p>
            <a:pPr marL="18285">
              <a:spcBef>
                <a:spcPts val="137"/>
              </a:spcBef>
            </a:pPr>
            <a:r>
              <a:rPr sz="4031" dirty="0">
                <a:solidFill>
                  <a:schemeClr val="bg1"/>
                </a:solidFill>
                <a:latin typeface="Arial Narrow"/>
                <a:cs typeface="Arial Narrow"/>
              </a:rPr>
              <a:t>Clinical</a:t>
            </a:r>
            <a:r>
              <a:rPr sz="4031" spc="202" dirty="0">
                <a:solidFill>
                  <a:schemeClr val="bg1"/>
                </a:solidFill>
                <a:latin typeface="Arial Narrow"/>
                <a:cs typeface="Arial Narrow"/>
              </a:rPr>
              <a:t> </a:t>
            </a:r>
            <a:r>
              <a:rPr sz="4031" dirty="0">
                <a:solidFill>
                  <a:schemeClr val="bg1"/>
                </a:solidFill>
                <a:latin typeface="Arial Narrow"/>
                <a:cs typeface="Arial Narrow"/>
              </a:rPr>
              <a:t>Staging</a:t>
            </a:r>
            <a:r>
              <a:rPr sz="4031" spc="187" dirty="0">
                <a:solidFill>
                  <a:schemeClr val="bg1"/>
                </a:solidFill>
                <a:latin typeface="Arial Narrow"/>
                <a:cs typeface="Arial Narrow"/>
              </a:rPr>
              <a:t> </a:t>
            </a:r>
            <a:r>
              <a:rPr sz="4031" dirty="0">
                <a:solidFill>
                  <a:schemeClr val="bg1"/>
                </a:solidFill>
                <a:latin typeface="Arial Narrow"/>
                <a:cs typeface="Arial Narrow"/>
              </a:rPr>
              <a:t>of</a:t>
            </a:r>
            <a:r>
              <a:rPr sz="4031" spc="130" dirty="0">
                <a:solidFill>
                  <a:schemeClr val="bg1"/>
                </a:solidFill>
                <a:latin typeface="Arial Narrow"/>
                <a:cs typeface="Arial Narrow"/>
              </a:rPr>
              <a:t> </a:t>
            </a:r>
            <a:r>
              <a:rPr sz="4031" spc="-14" dirty="0">
                <a:solidFill>
                  <a:schemeClr val="bg1"/>
                </a:solidFill>
                <a:latin typeface="Arial Narrow"/>
                <a:cs typeface="Arial Narrow"/>
              </a:rPr>
              <a:t>Melanoma</a:t>
            </a:r>
            <a:endParaRPr sz="403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sp>
        <p:nvSpPr>
          <p:cNvPr id="6" name="object 17">
            <a:extLst>
              <a:ext uri="{FF2B5EF4-FFF2-40B4-BE49-F238E27FC236}">
                <a16:creationId xmlns:a16="http://schemas.microsoft.com/office/drawing/2014/main" id="{61F44349-FB97-4F38-8DC5-9D275A48EF9B}"/>
              </a:ext>
            </a:extLst>
          </p:cNvPr>
          <p:cNvSpPr/>
          <p:nvPr/>
        </p:nvSpPr>
        <p:spPr>
          <a:xfrm>
            <a:off x="899224" y="1930963"/>
            <a:ext cx="6344206" cy="6330491"/>
          </a:xfrm>
          <a:custGeom>
            <a:avLst/>
            <a:gdLst/>
            <a:ahLst/>
            <a:cxnLst/>
            <a:rect l="l" t="t" r="r" b="b"/>
            <a:pathLst>
              <a:path w="4406265" h="4396740">
                <a:moveTo>
                  <a:pt x="4405884" y="0"/>
                </a:moveTo>
                <a:lnTo>
                  <a:pt x="0" y="0"/>
                </a:lnTo>
                <a:lnTo>
                  <a:pt x="0" y="4396740"/>
                </a:lnTo>
                <a:lnTo>
                  <a:pt x="4405884" y="4396740"/>
                </a:lnTo>
                <a:lnTo>
                  <a:pt x="4405884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2592"/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A1FFF08A-0975-43F1-B224-51A7F46D9480}"/>
              </a:ext>
            </a:extLst>
          </p:cNvPr>
          <p:cNvSpPr txBox="1"/>
          <p:nvPr/>
        </p:nvSpPr>
        <p:spPr>
          <a:xfrm>
            <a:off x="1126843" y="2039032"/>
            <a:ext cx="5493007" cy="950027"/>
          </a:xfrm>
          <a:prstGeom prst="rect">
            <a:avLst/>
          </a:prstGeom>
        </p:spPr>
        <p:txBody>
          <a:bodyPr vert="horz" wrap="square" lIns="0" tIns="19200" rIns="0" bIns="0" rtlCol="0">
            <a:spAutoFit/>
          </a:bodyPr>
          <a:lstStyle/>
          <a:p>
            <a:pPr marL="36571" marR="43885">
              <a:spcBef>
                <a:spcPts val="151"/>
              </a:spcBef>
            </a:pP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Melanoma</a:t>
            </a:r>
            <a:r>
              <a:rPr sz="2016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staging</a:t>
            </a:r>
            <a:r>
              <a:rPr sz="2016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follows</a:t>
            </a:r>
            <a:r>
              <a:rPr sz="2016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the</a:t>
            </a:r>
            <a:r>
              <a:rPr sz="2016" spc="-7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spc="-29" dirty="0">
                <a:solidFill>
                  <a:srgbClr val="374249"/>
                </a:solidFill>
                <a:latin typeface="Arial Narrow"/>
                <a:cs typeface="Arial Narrow"/>
              </a:rPr>
              <a:t>Tumor,</a:t>
            </a:r>
            <a:r>
              <a:rPr sz="2016" b="1" spc="-58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Node,</a:t>
            </a:r>
            <a:r>
              <a:rPr sz="2016" b="1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spc="-14" dirty="0">
                <a:solidFill>
                  <a:srgbClr val="374249"/>
                </a:solidFill>
                <a:latin typeface="Arial Narrow"/>
                <a:cs typeface="Arial Narrow"/>
              </a:rPr>
              <a:t>Metastasis </a:t>
            </a: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(TNM)</a:t>
            </a:r>
            <a:r>
              <a:rPr sz="2016" b="1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system</a:t>
            </a:r>
            <a:r>
              <a:rPr sz="2016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of</a:t>
            </a:r>
            <a:r>
              <a:rPr sz="2016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classification</a:t>
            </a:r>
            <a:r>
              <a:rPr sz="2016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developed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by</a:t>
            </a:r>
            <a:r>
              <a:rPr sz="2016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the</a:t>
            </a:r>
            <a:r>
              <a:rPr sz="2016" spc="-108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American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Joint</a:t>
            </a:r>
            <a:r>
              <a:rPr sz="2016" spc="-7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Committee on</a:t>
            </a:r>
            <a:r>
              <a:rPr sz="2016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Cancer (AJCC</a:t>
            </a:r>
            <a:r>
              <a:rPr sz="2016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8</a:t>
            </a:r>
            <a:r>
              <a:rPr sz="1944" baseline="24691" dirty="0">
                <a:solidFill>
                  <a:srgbClr val="374249"/>
                </a:solidFill>
                <a:latin typeface="Arial Narrow"/>
                <a:cs typeface="Arial Narrow"/>
              </a:rPr>
              <a:t>th</a:t>
            </a:r>
            <a:r>
              <a:rPr sz="1944" spc="216" baseline="24691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Edition)</a:t>
            </a:r>
            <a:r>
              <a:rPr sz="1944" spc="-22" baseline="24691" dirty="0">
                <a:solidFill>
                  <a:srgbClr val="374249"/>
                </a:solidFill>
                <a:latin typeface="Arial Narrow"/>
                <a:cs typeface="Arial Narrow"/>
              </a:rPr>
              <a:t>1,2</a:t>
            </a:r>
            <a:endParaRPr sz="1944" baseline="24691">
              <a:latin typeface="Arial Narrow"/>
              <a:cs typeface="Arial Narrow"/>
            </a:endParaRPr>
          </a:p>
        </p:txBody>
      </p:sp>
      <p:sp>
        <p:nvSpPr>
          <p:cNvPr id="8" name="object 19">
            <a:extLst>
              <a:ext uri="{FF2B5EF4-FFF2-40B4-BE49-F238E27FC236}">
                <a16:creationId xmlns:a16="http://schemas.microsoft.com/office/drawing/2014/main" id="{314E66B9-4B24-45AD-A9CC-A66F4AF17ADA}"/>
              </a:ext>
            </a:extLst>
          </p:cNvPr>
          <p:cNvSpPr txBox="1"/>
          <p:nvPr/>
        </p:nvSpPr>
        <p:spPr>
          <a:xfrm>
            <a:off x="2348361" y="3684739"/>
            <a:ext cx="3900329" cy="950027"/>
          </a:xfrm>
          <a:prstGeom prst="rect">
            <a:avLst/>
          </a:prstGeom>
        </p:spPr>
        <p:txBody>
          <a:bodyPr vert="horz" wrap="square" lIns="0" tIns="19200" rIns="0" bIns="0" rtlCol="0">
            <a:spAutoFit/>
          </a:bodyPr>
          <a:lstStyle/>
          <a:p>
            <a:pPr marR="7314">
              <a:spcBef>
                <a:spcPts val="151"/>
              </a:spcBef>
            </a:pP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Extent</a:t>
            </a:r>
            <a:r>
              <a:rPr sz="2016" b="1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of</a:t>
            </a:r>
            <a:r>
              <a:rPr sz="2016" b="1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the</a:t>
            </a:r>
            <a:r>
              <a:rPr sz="2016" b="1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primary</a:t>
            </a:r>
            <a:r>
              <a:rPr sz="2016" b="1" spc="7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u="sng" spc="-29" dirty="0">
                <a:solidFill>
                  <a:srgbClr val="374249"/>
                </a:solidFill>
                <a:uFill>
                  <a:solidFill>
                    <a:srgbClr val="374249"/>
                  </a:solidFill>
                </a:uFill>
                <a:latin typeface="Arial Narrow"/>
                <a:cs typeface="Arial Narrow"/>
              </a:rPr>
              <a:t>Tumor</a:t>
            </a:r>
            <a:r>
              <a:rPr sz="2016" b="1" spc="-29" dirty="0">
                <a:solidFill>
                  <a:srgbClr val="374249"/>
                </a:solidFill>
                <a:latin typeface="Arial Narrow"/>
                <a:cs typeface="Arial Narrow"/>
              </a:rPr>
              <a:t>,</a:t>
            </a:r>
            <a:r>
              <a:rPr sz="2016" b="1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defined </a:t>
            </a:r>
            <a:r>
              <a:rPr sz="2016" spc="-36" dirty="0">
                <a:solidFill>
                  <a:srgbClr val="374249"/>
                </a:solidFill>
                <a:latin typeface="Arial Narrow"/>
                <a:cs typeface="Arial Narrow"/>
              </a:rPr>
              <a:t>by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ulceration</a:t>
            </a:r>
            <a:r>
              <a:rPr sz="2016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status</a:t>
            </a:r>
            <a:r>
              <a:rPr sz="2016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and</a:t>
            </a:r>
            <a:r>
              <a:rPr sz="2016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tumor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 thickness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(Breslow</a:t>
            </a:r>
            <a:r>
              <a:rPr sz="2016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depth)</a:t>
            </a:r>
            <a:endParaRPr sz="2016" dirty="0">
              <a:latin typeface="Arial Narrow"/>
              <a:cs typeface="Arial Narrow"/>
            </a:endParaRPr>
          </a:p>
        </p:txBody>
      </p:sp>
      <p:sp>
        <p:nvSpPr>
          <p:cNvPr id="9" name="object 20">
            <a:extLst>
              <a:ext uri="{FF2B5EF4-FFF2-40B4-BE49-F238E27FC236}">
                <a16:creationId xmlns:a16="http://schemas.microsoft.com/office/drawing/2014/main" id="{F7A037AC-4D8B-4B76-B367-B567840CE0DD}"/>
              </a:ext>
            </a:extLst>
          </p:cNvPr>
          <p:cNvSpPr txBox="1"/>
          <p:nvPr/>
        </p:nvSpPr>
        <p:spPr>
          <a:xfrm>
            <a:off x="2348362" y="5440712"/>
            <a:ext cx="4422384" cy="63889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>
              <a:spcBef>
                <a:spcPts val="144"/>
              </a:spcBef>
            </a:pP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Spread</a:t>
            </a:r>
            <a:r>
              <a:rPr sz="2016" b="1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to nearby</a:t>
            </a:r>
            <a:r>
              <a:rPr sz="2016" b="1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lymph</a:t>
            </a:r>
            <a:r>
              <a:rPr sz="2016" b="1" spc="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b="1" u="sng" dirty="0">
                <a:solidFill>
                  <a:srgbClr val="374249"/>
                </a:solidFill>
                <a:uFill>
                  <a:solidFill>
                    <a:srgbClr val="374249"/>
                  </a:solidFill>
                </a:uFill>
                <a:latin typeface="Arial Narrow"/>
                <a:cs typeface="Arial Narrow"/>
              </a:rPr>
              <a:t>Nodes</a:t>
            </a:r>
            <a:r>
              <a:rPr sz="2016" b="1" dirty="0">
                <a:solidFill>
                  <a:srgbClr val="374249"/>
                </a:solidFill>
                <a:latin typeface="Arial Narrow"/>
                <a:cs typeface="Arial Narrow"/>
              </a:rPr>
              <a:t>,</a:t>
            </a:r>
            <a:r>
              <a:rPr sz="2016" b="1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or 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“in-transit”</a:t>
            </a:r>
            <a:endParaRPr sz="2016">
              <a:latin typeface="Arial Narrow"/>
              <a:cs typeface="Arial Narrow"/>
            </a:endParaRPr>
          </a:p>
          <a:p>
            <a:pPr>
              <a:spcBef>
                <a:spcPts val="7"/>
              </a:spcBef>
            </a:pP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tumors</a:t>
            </a:r>
            <a:endParaRPr sz="2016">
              <a:latin typeface="Arial Narrow"/>
              <a:cs typeface="Arial Narrow"/>
            </a:endParaRPr>
          </a:p>
        </p:txBody>
      </p:sp>
      <p:sp>
        <p:nvSpPr>
          <p:cNvPr id="10" name="object 21">
            <a:extLst>
              <a:ext uri="{FF2B5EF4-FFF2-40B4-BE49-F238E27FC236}">
                <a16:creationId xmlns:a16="http://schemas.microsoft.com/office/drawing/2014/main" id="{B2153304-3781-4F7E-8F47-014042014890}"/>
              </a:ext>
            </a:extLst>
          </p:cNvPr>
          <p:cNvSpPr txBox="1"/>
          <p:nvPr/>
        </p:nvSpPr>
        <p:spPr>
          <a:xfrm>
            <a:off x="2348361" y="6999015"/>
            <a:ext cx="4533012" cy="63889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R="7314">
              <a:spcBef>
                <a:spcPts val="144"/>
              </a:spcBef>
            </a:pPr>
            <a:r>
              <a:rPr sz="2016" b="1" u="sng" dirty="0">
                <a:solidFill>
                  <a:srgbClr val="374249"/>
                </a:solidFill>
                <a:uFill>
                  <a:solidFill>
                    <a:srgbClr val="374249"/>
                  </a:solidFill>
                </a:uFill>
                <a:latin typeface="Arial Narrow"/>
                <a:cs typeface="Arial Narrow"/>
              </a:rPr>
              <a:t>Metastasized</a:t>
            </a:r>
            <a:r>
              <a:rPr sz="2016" b="1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to</a:t>
            </a:r>
            <a:r>
              <a:rPr sz="2016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distant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lymph</a:t>
            </a:r>
            <a:r>
              <a:rPr sz="2016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nodes,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skin</a:t>
            </a:r>
            <a:r>
              <a:rPr sz="2016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sites, </a:t>
            </a:r>
            <a:r>
              <a:rPr sz="2016" dirty="0">
                <a:solidFill>
                  <a:srgbClr val="374249"/>
                </a:solidFill>
                <a:latin typeface="Arial Narrow"/>
                <a:cs typeface="Arial Narrow"/>
              </a:rPr>
              <a:t>or </a:t>
            </a:r>
            <a:r>
              <a:rPr sz="2016" spc="-14" dirty="0">
                <a:solidFill>
                  <a:srgbClr val="374249"/>
                </a:solidFill>
                <a:latin typeface="Arial Narrow"/>
                <a:cs typeface="Arial Narrow"/>
              </a:rPr>
              <a:t>organs</a:t>
            </a:r>
            <a:endParaRPr sz="2016">
              <a:latin typeface="Arial Narrow"/>
              <a:cs typeface="Arial Narrow"/>
            </a:endParaRPr>
          </a:p>
        </p:txBody>
      </p:sp>
      <p:sp>
        <p:nvSpPr>
          <p:cNvPr id="11" name="object 22">
            <a:extLst>
              <a:ext uri="{FF2B5EF4-FFF2-40B4-BE49-F238E27FC236}">
                <a16:creationId xmlns:a16="http://schemas.microsoft.com/office/drawing/2014/main" id="{1148AF70-0B4D-40D3-9455-79E9B0E4CD9A}"/>
              </a:ext>
            </a:extLst>
          </p:cNvPr>
          <p:cNvSpPr/>
          <p:nvPr/>
        </p:nvSpPr>
        <p:spPr>
          <a:xfrm>
            <a:off x="8539699" y="1900243"/>
            <a:ext cx="7349002" cy="6385348"/>
          </a:xfrm>
          <a:custGeom>
            <a:avLst/>
            <a:gdLst/>
            <a:ahLst/>
            <a:cxnLst/>
            <a:rect l="l" t="t" r="r" b="b"/>
            <a:pathLst>
              <a:path w="5104130" h="4434840">
                <a:moveTo>
                  <a:pt x="5103875" y="0"/>
                </a:moveTo>
                <a:lnTo>
                  <a:pt x="0" y="0"/>
                </a:lnTo>
                <a:lnTo>
                  <a:pt x="0" y="4434840"/>
                </a:lnTo>
                <a:lnTo>
                  <a:pt x="5103875" y="4434840"/>
                </a:lnTo>
                <a:lnTo>
                  <a:pt x="510387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2592"/>
          </a:p>
        </p:txBody>
      </p:sp>
      <p:sp>
        <p:nvSpPr>
          <p:cNvPr id="12" name="object 23">
            <a:extLst>
              <a:ext uri="{FF2B5EF4-FFF2-40B4-BE49-F238E27FC236}">
                <a16:creationId xmlns:a16="http://schemas.microsoft.com/office/drawing/2014/main" id="{523CAB8F-BB32-4CA4-9603-B31BF652BED5}"/>
              </a:ext>
            </a:extLst>
          </p:cNvPr>
          <p:cNvSpPr/>
          <p:nvPr/>
        </p:nvSpPr>
        <p:spPr>
          <a:xfrm>
            <a:off x="1015519" y="6852730"/>
            <a:ext cx="1035882" cy="1035882"/>
          </a:xfrm>
          <a:custGeom>
            <a:avLst/>
            <a:gdLst/>
            <a:ahLst/>
            <a:cxnLst/>
            <a:rect l="l" t="t" r="r" b="b"/>
            <a:pathLst>
              <a:path w="719455" h="719454">
                <a:moveTo>
                  <a:pt x="359664" y="0"/>
                </a:moveTo>
                <a:lnTo>
                  <a:pt x="310858" y="3283"/>
                </a:lnTo>
                <a:lnTo>
                  <a:pt x="264049" y="12848"/>
                </a:lnTo>
                <a:lnTo>
                  <a:pt x="219664" y="28265"/>
                </a:lnTo>
                <a:lnTo>
                  <a:pt x="178133" y="49106"/>
                </a:lnTo>
                <a:lnTo>
                  <a:pt x="139882" y="74943"/>
                </a:lnTo>
                <a:lnTo>
                  <a:pt x="105341" y="105346"/>
                </a:lnTo>
                <a:lnTo>
                  <a:pt x="74939" y="139887"/>
                </a:lnTo>
                <a:lnTo>
                  <a:pt x="49103" y="178138"/>
                </a:lnTo>
                <a:lnTo>
                  <a:pt x="28263" y="219670"/>
                </a:lnTo>
                <a:lnTo>
                  <a:pt x="12847" y="264054"/>
                </a:lnTo>
                <a:lnTo>
                  <a:pt x="3283" y="310861"/>
                </a:lnTo>
                <a:lnTo>
                  <a:pt x="0" y="359664"/>
                </a:lnTo>
                <a:lnTo>
                  <a:pt x="3283" y="408466"/>
                </a:lnTo>
                <a:lnTo>
                  <a:pt x="12847" y="455273"/>
                </a:lnTo>
                <a:lnTo>
                  <a:pt x="28263" y="499657"/>
                </a:lnTo>
                <a:lnTo>
                  <a:pt x="49103" y="541189"/>
                </a:lnTo>
                <a:lnTo>
                  <a:pt x="74939" y="579440"/>
                </a:lnTo>
                <a:lnTo>
                  <a:pt x="105341" y="613981"/>
                </a:lnTo>
                <a:lnTo>
                  <a:pt x="139882" y="644384"/>
                </a:lnTo>
                <a:lnTo>
                  <a:pt x="178133" y="670221"/>
                </a:lnTo>
                <a:lnTo>
                  <a:pt x="219664" y="691062"/>
                </a:lnTo>
                <a:lnTo>
                  <a:pt x="264049" y="706479"/>
                </a:lnTo>
                <a:lnTo>
                  <a:pt x="310858" y="716044"/>
                </a:lnTo>
                <a:lnTo>
                  <a:pt x="359664" y="719328"/>
                </a:lnTo>
                <a:lnTo>
                  <a:pt x="408469" y="716044"/>
                </a:lnTo>
                <a:lnTo>
                  <a:pt x="455278" y="706479"/>
                </a:lnTo>
                <a:lnTo>
                  <a:pt x="499663" y="691062"/>
                </a:lnTo>
                <a:lnTo>
                  <a:pt x="541194" y="670221"/>
                </a:lnTo>
                <a:lnTo>
                  <a:pt x="579445" y="644384"/>
                </a:lnTo>
                <a:lnTo>
                  <a:pt x="613986" y="613981"/>
                </a:lnTo>
                <a:lnTo>
                  <a:pt x="644388" y="579440"/>
                </a:lnTo>
                <a:lnTo>
                  <a:pt x="670224" y="541189"/>
                </a:lnTo>
                <a:lnTo>
                  <a:pt x="691064" y="499657"/>
                </a:lnTo>
                <a:lnTo>
                  <a:pt x="706480" y="455273"/>
                </a:lnTo>
                <a:lnTo>
                  <a:pt x="716044" y="408466"/>
                </a:lnTo>
                <a:lnTo>
                  <a:pt x="719328" y="359664"/>
                </a:lnTo>
                <a:lnTo>
                  <a:pt x="716044" y="310861"/>
                </a:lnTo>
                <a:lnTo>
                  <a:pt x="706480" y="264054"/>
                </a:lnTo>
                <a:lnTo>
                  <a:pt x="691064" y="219670"/>
                </a:lnTo>
                <a:lnTo>
                  <a:pt x="670224" y="178138"/>
                </a:lnTo>
                <a:lnTo>
                  <a:pt x="644388" y="139887"/>
                </a:lnTo>
                <a:lnTo>
                  <a:pt x="613986" y="105346"/>
                </a:lnTo>
                <a:lnTo>
                  <a:pt x="579445" y="74943"/>
                </a:lnTo>
                <a:lnTo>
                  <a:pt x="541194" y="49106"/>
                </a:lnTo>
                <a:lnTo>
                  <a:pt x="499663" y="28265"/>
                </a:lnTo>
                <a:lnTo>
                  <a:pt x="455278" y="12848"/>
                </a:lnTo>
                <a:lnTo>
                  <a:pt x="408469" y="3283"/>
                </a:lnTo>
                <a:lnTo>
                  <a:pt x="359664" y="0"/>
                </a:lnTo>
                <a:close/>
              </a:path>
            </a:pathLst>
          </a:custGeom>
          <a:solidFill>
            <a:srgbClr val="A8E1D1">
              <a:alpha val="74900"/>
            </a:srgbClr>
          </a:solidFill>
        </p:spPr>
        <p:txBody>
          <a:bodyPr wrap="square" lIns="0" tIns="0" rIns="0" bIns="0" rtlCol="0"/>
          <a:lstStyle/>
          <a:p>
            <a:endParaRPr sz="2592"/>
          </a:p>
        </p:txBody>
      </p:sp>
      <p:sp>
        <p:nvSpPr>
          <p:cNvPr id="13" name="object 24">
            <a:extLst>
              <a:ext uri="{FF2B5EF4-FFF2-40B4-BE49-F238E27FC236}">
                <a16:creationId xmlns:a16="http://schemas.microsoft.com/office/drawing/2014/main" id="{BBECF2D9-4C57-48A5-85AB-BE1C30F311B7}"/>
              </a:ext>
            </a:extLst>
          </p:cNvPr>
          <p:cNvSpPr txBox="1"/>
          <p:nvPr/>
        </p:nvSpPr>
        <p:spPr>
          <a:xfrm>
            <a:off x="1334568" y="6990237"/>
            <a:ext cx="418741" cy="72744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>
              <a:spcBef>
                <a:spcPts val="144"/>
              </a:spcBef>
            </a:pPr>
            <a:r>
              <a:rPr sz="4607" b="1" dirty="0">
                <a:solidFill>
                  <a:srgbClr val="1B2024"/>
                </a:solidFill>
                <a:latin typeface="Arial Narrow"/>
                <a:cs typeface="Arial Narrow"/>
              </a:rPr>
              <a:t>M</a:t>
            </a:r>
            <a:endParaRPr sz="4607">
              <a:latin typeface="Arial Narrow"/>
              <a:cs typeface="Arial Narrow"/>
            </a:endParaRPr>
          </a:p>
        </p:txBody>
      </p:sp>
      <p:sp>
        <p:nvSpPr>
          <p:cNvPr id="14" name="object 25">
            <a:extLst>
              <a:ext uri="{FF2B5EF4-FFF2-40B4-BE49-F238E27FC236}">
                <a16:creationId xmlns:a16="http://schemas.microsoft.com/office/drawing/2014/main" id="{2CD4279C-DB34-4C80-AA32-0F4A7F8B88DA}"/>
              </a:ext>
            </a:extLst>
          </p:cNvPr>
          <p:cNvSpPr/>
          <p:nvPr/>
        </p:nvSpPr>
        <p:spPr>
          <a:xfrm>
            <a:off x="1070376" y="3690774"/>
            <a:ext cx="1035882" cy="1038625"/>
          </a:xfrm>
          <a:custGeom>
            <a:avLst/>
            <a:gdLst/>
            <a:ahLst/>
            <a:cxnLst/>
            <a:rect l="l" t="t" r="r" b="b"/>
            <a:pathLst>
              <a:path w="719455" h="721360">
                <a:moveTo>
                  <a:pt x="359664" y="0"/>
                </a:moveTo>
                <a:lnTo>
                  <a:pt x="310858" y="3291"/>
                </a:lnTo>
                <a:lnTo>
                  <a:pt x="264049" y="12878"/>
                </a:lnTo>
                <a:lnTo>
                  <a:pt x="219664" y="28330"/>
                </a:lnTo>
                <a:lnTo>
                  <a:pt x="178133" y="49219"/>
                </a:lnTo>
                <a:lnTo>
                  <a:pt x="139882" y="75114"/>
                </a:lnTo>
                <a:lnTo>
                  <a:pt x="105341" y="105584"/>
                </a:lnTo>
                <a:lnTo>
                  <a:pt x="74939" y="140201"/>
                </a:lnTo>
                <a:lnTo>
                  <a:pt x="49103" y="178533"/>
                </a:lnTo>
                <a:lnTo>
                  <a:pt x="28263" y="220152"/>
                </a:lnTo>
                <a:lnTo>
                  <a:pt x="12847" y="264627"/>
                </a:lnTo>
                <a:lnTo>
                  <a:pt x="3283" y="311528"/>
                </a:lnTo>
                <a:lnTo>
                  <a:pt x="0" y="360426"/>
                </a:lnTo>
                <a:lnTo>
                  <a:pt x="3283" y="409323"/>
                </a:lnTo>
                <a:lnTo>
                  <a:pt x="12847" y="456224"/>
                </a:lnTo>
                <a:lnTo>
                  <a:pt x="28263" y="500699"/>
                </a:lnTo>
                <a:lnTo>
                  <a:pt x="49103" y="542318"/>
                </a:lnTo>
                <a:lnTo>
                  <a:pt x="74939" y="580650"/>
                </a:lnTo>
                <a:lnTo>
                  <a:pt x="105341" y="615267"/>
                </a:lnTo>
                <a:lnTo>
                  <a:pt x="139882" y="645737"/>
                </a:lnTo>
                <a:lnTo>
                  <a:pt x="178133" y="671632"/>
                </a:lnTo>
                <a:lnTo>
                  <a:pt x="219664" y="692521"/>
                </a:lnTo>
                <a:lnTo>
                  <a:pt x="264049" y="707973"/>
                </a:lnTo>
                <a:lnTo>
                  <a:pt x="310858" y="717560"/>
                </a:lnTo>
                <a:lnTo>
                  <a:pt x="359664" y="720852"/>
                </a:lnTo>
                <a:lnTo>
                  <a:pt x="408466" y="717560"/>
                </a:lnTo>
                <a:lnTo>
                  <a:pt x="455273" y="707973"/>
                </a:lnTo>
                <a:lnTo>
                  <a:pt x="499657" y="692521"/>
                </a:lnTo>
                <a:lnTo>
                  <a:pt x="541189" y="671632"/>
                </a:lnTo>
                <a:lnTo>
                  <a:pt x="579440" y="645737"/>
                </a:lnTo>
                <a:lnTo>
                  <a:pt x="613981" y="615267"/>
                </a:lnTo>
                <a:lnTo>
                  <a:pt x="644384" y="580650"/>
                </a:lnTo>
                <a:lnTo>
                  <a:pt x="670221" y="542318"/>
                </a:lnTo>
                <a:lnTo>
                  <a:pt x="691062" y="500699"/>
                </a:lnTo>
                <a:lnTo>
                  <a:pt x="706479" y="456224"/>
                </a:lnTo>
                <a:lnTo>
                  <a:pt x="716044" y="409323"/>
                </a:lnTo>
                <a:lnTo>
                  <a:pt x="719328" y="360426"/>
                </a:lnTo>
                <a:lnTo>
                  <a:pt x="716044" y="311528"/>
                </a:lnTo>
                <a:lnTo>
                  <a:pt x="706479" y="264627"/>
                </a:lnTo>
                <a:lnTo>
                  <a:pt x="691062" y="220152"/>
                </a:lnTo>
                <a:lnTo>
                  <a:pt x="670221" y="178533"/>
                </a:lnTo>
                <a:lnTo>
                  <a:pt x="644384" y="140201"/>
                </a:lnTo>
                <a:lnTo>
                  <a:pt x="613981" y="105584"/>
                </a:lnTo>
                <a:lnTo>
                  <a:pt x="579440" y="75114"/>
                </a:lnTo>
                <a:lnTo>
                  <a:pt x="541189" y="49219"/>
                </a:lnTo>
                <a:lnTo>
                  <a:pt x="499657" y="28330"/>
                </a:lnTo>
                <a:lnTo>
                  <a:pt x="455273" y="12878"/>
                </a:lnTo>
                <a:lnTo>
                  <a:pt x="408466" y="3291"/>
                </a:lnTo>
                <a:lnTo>
                  <a:pt x="359664" y="0"/>
                </a:lnTo>
                <a:close/>
              </a:path>
            </a:pathLst>
          </a:custGeom>
          <a:solidFill>
            <a:srgbClr val="00867B">
              <a:alpha val="74900"/>
            </a:srgbClr>
          </a:solidFill>
        </p:spPr>
        <p:txBody>
          <a:bodyPr wrap="square" lIns="0" tIns="0" rIns="0" bIns="0" rtlCol="0"/>
          <a:lstStyle/>
          <a:p>
            <a:endParaRPr sz="2592"/>
          </a:p>
        </p:txBody>
      </p:sp>
      <p:sp>
        <p:nvSpPr>
          <p:cNvPr id="15" name="object 26">
            <a:extLst>
              <a:ext uri="{FF2B5EF4-FFF2-40B4-BE49-F238E27FC236}">
                <a16:creationId xmlns:a16="http://schemas.microsoft.com/office/drawing/2014/main" id="{A71E5FF0-5B03-42E7-914A-9A0C65838490}"/>
              </a:ext>
            </a:extLst>
          </p:cNvPr>
          <p:cNvSpPr txBox="1"/>
          <p:nvPr/>
        </p:nvSpPr>
        <p:spPr>
          <a:xfrm>
            <a:off x="1441648" y="3828283"/>
            <a:ext cx="312685" cy="728364"/>
          </a:xfrm>
          <a:prstGeom prst="rect">
            <a:avLst/>
          </a:prstGeom>
        </p:spPr>
        <p:txBody>
          <a:bodyPr vert="horz" wrap="square" lIns="0" tIns="19200" rIns="0" bIns="0" rtlCol="0">
            <a:spAutoFit/>
          </a:bodyPr>
          <a:lstStyle/>
          <a:p>
            <a:pPr>
              <a:spcBef>
                <a:spcPts val="151"/>
              </a:spcBef>
            </a:pPr>
            <a:r>
              <a:rPr sz="4607" b="1" dirty="0">
                <a:solidFill>
                  <a:srgbClr val="1B2024"/>
                </a:solidFill>
                <a:latin typeface="Arial Narrow"/>
                <a:cs typeface="Arial Narrow"/>
              </a:rPr>
              <a:t>T</a:t>
            </a:r>
            <a:endParaRPr sz="4607">
              <a:latin typeface="Arial Narrow"/>
              <a:cs typeface="Arial Narrow"/>
            </a:endParaRPr>
          </a:p>
        </p:txBody>
      </p:sp>
      <p:sp>
        <p:nvSpPr>
          <p:cNvPr id="16" name="object 27">
            <a:extLst>
              <a:ext uri="{FF2B5EF4-FFF2-40B4-BE49-F238E27FC236}">
                <a16:creationId xmlns:a16="http://schemas.microsoft.com/office/drawing/2014/main" id="{A820D6EE-C2D9-4E2B-988B-483F65FE6B0C}"/>
              </a:ext>
            </a:extLst>
          </p:cNvPr>
          <p:cNvSpPr/>
          <p:nvPr/>
        </p:nvSpPr>
        <p:spPr>
          <a:xfrm>
            <a:off x="1039657" y="5253100"/>
            <a:ext cx="1035882" cy="1035882"/>
          </a:xfrm>
          <a:custGeom>
            <a:avLst/>
            <a:gdLst/>
            <a:ahLst/>
            <a:cxnLst/>
            <a:rect l="l" t="t" r="r" b="b"/>
            <a:pathLst>
              <a:path w="719455" h="719454">
                <a:moveTo>
                  <a:pt x="359664" y="0"/>
                </a:moveTo>
                <a:lnTo>
                  <a:pt x="310858" y="3283"/>
                </a:lnTo>
                <a:lnTo>
                  <a:pt x="264049" y="12848"/>
                </a:lnTo>
                <a:lnTo>
                  <a:pt x="219664" y="28265"/>
                </a:lnTo>
                <a:lnTo>
                  <a:pt x="178133" y="49106"/>
                </a:lnTo>
                <a:lnTo>
                  <a:pt x="139882" y="74943"/>
                </a:lnTo>
                <a:lnTo>
                  <a:pt x="105341" y="105346"/>
                </a:lnTo>
                <a:lnTo>
                  <a:pt x="74939" y="139887"/>
                </a:lnTo>
                <a:lnTo>
                  <a:pt x="49103" y="178138"/>
                </a:lnTo>
                <a:lnTo>
                  <a:pt x="28263" y="219670"/>
                </a:lnTo>
                <a:lnTo>
                  <a:pt x="12847" y="264054"/>
                </a:lnTo>
                <a:lnTo>
                  <a:pt x="3283" y="310861"/>
                </a:lnTo>
                <a:lnTo>
                  <a:pt x="0" y="359664"/>
                </a:lnTo>
                <a:lnTo>
                  <a:pt x="3283" y="408466"/>
                </a:lnTo>
                <a:lnTo>
                  <a:pt x="12847" y="455273"/>
                </a:lnTo>
                <a:lnTo>
                  <a:pt x="28263" y="499657"/>
                </a:lnTo>
                <a:lnTo>
                  <a:pt x="49103" y="541189"/>
                </a:lnTo>
                <a:lnTo>
                  <a:pt x="74939" y="579440"/>
                </a:lnTo>
                <a:lnTo>
                  <a:pt x="105341" y="613981"/>
                </a:lnTo>
                <a:lnTo>
                  <a:pt x="139882" y="644384"/>
                </a:lnTo>
                <a:lnTo>
                  <a:pt x="178133" y="670221"/>
                </a:lnTo>
                <a:lnTo>
                  <a:pt x="219664" y="691062"/>
                </a:lnTo>
                <a:lnTo>
                  <a:pt x="264049" y="706479"/>
                </a:lnTo>
                <a:lnTo>
                  <a:pt x="310858" y="716044"/>
                </a:lnTo>
                <a:lnTo>
                  <a:pt x="359664" y="719328"/>
                </a:lnTo>
                <a:lnTo>
                  <a:pt x="408466" y="716044"/>
                </a:lnTo>
                <a:lnTo>
                  <a:pt x="455273" y="706479"/>
                </a:lnTo>
                <a:lnTo>
                  <a:pt x="499657" y="691062"/>
                </a:lnTo>
                <a:lnTo>
                  <a:pt x="541189" y="670221"/>
                </a:lnTo>
                <a:lnTo>
                  <a:pt x="579440" y="644384"/>
                </a:lnTo>
                <a:lnTo>
                  <a:pt x="613981" y="613981"/>
                </a:lnTo>
                <a:lnTo>
                  <a:pt x="644384" y="579440"/>
                </a:lnTo>
                <a:lnTo>
                  <a:pt x="670221" y="541189"/>
                </a:lnTo>
                <a:lnTo>
                  <a:pt x="691062" y="499657"/>
                </a:lnTo>
                <a:lnTo>
                  <a:pt x="706479" y="455273"/>
                </a:lnTo>
                <a:lnTo>
                  <a:pt x="716044" y="408466"/>
                </a:lnTo>
                <a:lnTo>
                  <a:pt x="719328" y="359664"/>
                </a:lnTo>
                <a:lnTo>
                  <a:pt x="716044" y="310861"/>
                </a:lnTo>
                <a:lnTo>
                  <a:pt x="706479" y="264054"/>
                </a:lnTo>
                <a:lnTo>
                  <a:pt x="691062" y="219670"/>
                </a:lnTo>
                <a:lnTo>
                  <a:pt x="670221" y="178138"/>
                </a:lnTo>
                <a:lnTo>
                  <a:pt x="644384" y="139887"/>
                </a:lnTo>
                <a:lnTo>
                  <a:pt x="613981" y="105346"/>
                </a:lnTo>
                <a:lnTo>
                  <a:pt x="579440" y="74943"/>
                </a:lnTo>
                <a:lnTo>
                  <a:pt x="541189" y="49106"/>
                </a:lnTo>
                <a:lnTo>
                  <a:pt x="499657" y="28265"/>
                </a:lnTo>
                <a:lnTo>
                  <a:pt x="455273" y="12848"/>
                </a:lnTo>
                <a:lnTo>
                  <a:pt x="408466" y="3283"/>
                </a:lnTo>
                <a:lnTo>
                  <a:pt x="359664" y="0"/>
                </a:lnTo>
                <a:close/>
              </a:path>
            </a:pathLst>
          </a:custGeom>
          <a:solidFill>
            <a:srgbClr val="6DCEB1">
              <a:alpha val="74900"/>
            </a:srgbClr>
          </a:solidFill>
        </p:spPr>
        <p:txBody>
          <a:bodyPr wrap="square" lIns="0" tIns="0" rIns="0" bIns="0" rtlCol="0"/>
          <a:lstStyle/>
          <a:p>
            <a:endParaRPr sz="2592"/>
          </a:p>
        </p:txBody>
      </p:sp>
      <p:sp>
        <p:nvSpPr>
          <p:cNvPr id="17" name="object 28">
            <a:extLst>
              <a:ext uri="{FF2B5EF4-FFF2-40B4-BE49-F238E27FC236}">
                <a16:creationId xmlns:a16="http://schemas.microsoft.com/office/drawing/2014/main" id="{4A7C4DCD-DE02-4CF9-9460-1BF0D818589C}"/>
              </a:ext>
            </a:extLst>
          </p:cNvPr>
          <p:cNvSpPr txBox="1"/>
          <p:nvPr/>
        </p:nvSpPr>
        <p:spPr>
          <a:xfrm>
            <a:off x="1384597" y="5389330"/>
            <a:ext cx="365713" cy="72744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>
              <a:spcBef>
                <a:spcPts val="144"/>
              </a:spcBef>
            </a:pPr>
            <a:r>
              <a:rPr sz="4607" b="1" dirty="0">
                <a:solidFill>
                  <a:srgbClr val="1B2024"/>
                </a:solidFill>
                <a:latin typeface="Arial Narrow"/>
                <a:cs typeface="Arial Narrow"/>
              </a:rPr>
              <a:t>N</a:t>
            </a:r>
            <a:endParaRPr sz="4607">
              <a:latin typeface="Arial Narrow"/>
              <a:cs typeface="Arial Narrow"/>
            </a:endParaRPr>
          </a:p>
        </p:txBody>
      </p:sp>
      <p:sp>
        <p:nvSpPr>
          <p:cNvPr id="18" name="object 29">
            <a:extLst>
              <a:ext uri="{FF2B5EF4-FFF2-40B4-BE49-F238E27FC236}">
                <a16:creationId xmlns:a16="http://schemas.microsoft.com/office/drawing/2014/main" id="{F4055CC4-8FD1-4260-BDBD-4C31849A6D81}"/>
              </a:ext>
            </a:extLst>
          </p:cNvPr>
          <p:cNvSpPr txBox="1"/>
          <p:nvPr/>
        </p:nvSpPr>
        <p:spPr>
          <a:xfrm>
            <a:off x="10135853" y="2005753"/>
            <a:ext cx="4155414" cy="329601"/>
          </a:xfrm>
          <a:prstGeom prst="rect">
            <a:avLst/>
          </a:prstGeom>
        </p:spPr>
        <p:txBody>
          <a:bodyPr vert="horz" wrap="square" lIns="0" tIns="19200" rIns="0" bIns="0" rtlCol="0">
            <a:spAutoFit/>
          </a:bodyPr>
          <a:lstStyle/>
          <a:p>
            <a:pPr marL="54856">
              <a:spcBef>
                <a:spcPts val="151"/>
              </a:spcBef>
            </a:pPr>
            <a:r>
              <a:rPr sz="2016" b="1" dirty="0">
                <a:solidFill>
                  <a:srgbClr val="00867B"/>
                </a:solidFill>
                <a:latin typeface="Arial Narrow"/>
                <a:cs typeface="Arial Narrow"/>
              </a:rPr>
              <a:t>AJCC</a:t>
            </a:r>
            <a:r>
              <a:rPr sz="2016" b="1" spc="-29" dirty="0">
                <a:solidFill>
                  <a:srgbClr val="00867B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00867B"/>
                </a:solidFill>
                <a:latin typeface="Arial Narrow"/>
                <a:cs typeface="Arial Narrow"/>
              </a:rPr>
              <a:t>8th</a:t>
            </a:r>
            <a:r>
              <a:rPr sz="2016" b="1" spc="7" dirty="0">
                <a:solidFill>
                  <a:srgbClr val="00867B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00867B"/>
                </a:solidFill>
                <a:latin typeface="Arial Narrow"/>
                <a:cs typeface="Arial Narrow"/>
              </a:rPr>
              <a:t>Edition</a:t>
            </a:r>
            <a:r>
              <a:rPr sz="2016" b="1" spc="-36" dirty="0">
                <a:solidFill>
                  <a:srgbClr val="00867B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00867B"/>
                </a:solidFill>
                <a:latin typeface="Arial Narrow"/>
                <a:cs typeface="Arial Narrow"/>
              </a:rPr>
              <a:t>Clinical</a:t>
            </a:r>
            <a:r>
              <a:rPr sz="2016" b="1" spc="7" dirty="0">
                <a:solidFill>
                  <a:srgbClr val="00867B"/>
                </a:solidFill>
                <a:latin typeface="Arial Narrow"/>
                <a:cs typeface="Arial Narrow"/>
              </a:rPr>
              <a:t> </a:t>
            </a:r>
            <a:r>
              <a:rPr sz="2016" b="1" dirty="0">
                <a:solidFill>
                  <a:srgbClr val="00867B"/>
                </a:solidFill>
                <a:latin typeface="Arial Narrow"/>
                <a:cs typeface="Arial Narrow"/>
              </a:rPr>
              <a:t>Stage </a:t>
            </a:r>
            <a:r>
              <a:rPr sz="2016" b="1" spc="-14" dirty="0">
                <a:solidFill>
                  <a:srgbClr val="00867B"/>
                </a:solidFill>
                <a:latin typeface="Arial Narrow"/>
                <a:cs typeface="Arial Narrow"/>
              </a:rPr>
              <a:t>Groups</a:t>
            </a:r>
            <a:r>
              <a:rPr sz="1944" b="1" spc="-22" baseline="24691" dirty="0">
                <a:solidFill>
                  <a:srgbClr val="00867B"/>
                </a:solidFill>
                <a:latin typeface="Arial Narrow"/>
                <a:cs typeface="Arial Narrow"/>
              </a:rPr>
              <a:t>3</a:t>
            </a:r>
            <a:endParaRPr sz="1944" baseline="24691">
              <a:latin typeface="Arial Narrow"/>
              <a:cs typeface="Arial Narrow"/>
            </a:endParaRPr>
          </a:p>
        </p:txBody>
      </p:sp>
      <p:graphicFrame>
        <p:nvGraphicFramePr>
          <p:cNvPr id="19" name="object 30">
            <a:extLst>
              <a:ext uri="{FF2B5EF4-FFF2-40B4-BE49-F238E27FC236}">
                <a16:creationId xmlns:a16="http://schemas.microsoft.com/office/drawing/2014/main" id="{E0467C40-9DD5-42DB-9A4C-282567DEF4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987291"/>
              </p:ext>
            </p:extLst>
          </p:nvPr>
        </p:nvGraphicFramePr>
        <p:xfrm>
          <a:off x="8724931" y="2421878"/>
          <a:ext cx="6978716" cy="56539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15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5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00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5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99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899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920682">
                <a:tc>
                  <a:txBody>
                    <a:bodyPr/>
                    <a:lstStyle/>
                    <a:p>
                      <a:pPr marL="96520" marR="895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b="1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Clinical Stage Group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B w="19050">
                      <a:solidFill>
                        <a:srgbClr val="1B2024"/>
                      </a:solidFill>
                      <a:prstDash val="solid"/>
                    </a:lnB>
                    <a:solidFill>
                      <a:srgbClr val="6DCEB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R="1143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Category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L w="9525">
                      <a:solidFill>
                        <a:srgbClr val="1B2024"/>
                      </a:solidFill>
                      <a:prstDash val="solid"/>
                    </a:lnL>
                    <a:lnB w="19050">
                      <a:solidFill>
                        <a:srgbClr val="1B2024"/>
                      </a:solidFill>
                      <a:prstDash val="solid"/>
                    </a:lnB>
                    <a:solidFill>
                      <a:srgbClr val="6DCEB1"/>
                    </a:solidFill>
                  </a:tcPr>
                </a:tc>
                <a:tc>
                  <a:txBody>
                    <a:bodyPr/>
                    <a:lstStyle/>
                    <a:p>
                      <a:pPr marR="156210" algn="r">
                        <a:lnSpc>
                          <a:spcPct val="100000"/>
                        </a:lnSpc>
                        <a:spcBef>
                          <a:spcPts val="520"/>
                        </a:spcBef>
                      </a:pPr>
                      <a:r>
                        <a:rPr sz="1700" b="1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  <a:p>
                      <a:pPr marL="177800">
                        <a:lnSpc>
                          <a:spcPct val="100000"/>
                        </a:lnSpc>
                        <a:spcBef>
                          <a:spcPts val="1080"/>
                        </a:spcBef>
                      </a:pP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hickness*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95085" marB="0">
                    <a:lnB w="19050">
                      <a:solidFill>
                        <a:srgbClr val="1B2024"/>
                      </a:solidFill>
                      <a:prstDash val="solid"/>
                    </a:lnB>
                    <a:solidFill>
                      <a:srgbClr val="6DCEB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R="1270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*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R w="9525">
                      <a:solidFill>
                        <a:srgbClr val="1B2024"/>
                      </a:solidFill>
                      <a:prstDash val="solid"/>
                    </a:lnR>
                    <a:lnB w="19050">
                      <a:solidFill>
                        <a:srgbClr val="1B2024"/>
                      </a:solidFill>
                      <a:prstDash val="solid"/>
                    </a:lnB>
                    <a:solidFill>
                      <a:srgbClr val="6DCEB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22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700" b="1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9143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B w="19050">
                      <a:solidFill>
                        <a:srgbClr val="1B2024"/>
                      </a:solidFill>
                      <a:prstDash val="solid"/>
                    </a:lnB>
                    <a:solidFill>
                      <a:srgbClr val="6DCEB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2200">
                        <a:latin typeface="Times New Roman"/>
                        <a:cs typeface="Times New Roman"/>
                      </a:endParaRPr>
                    </a:p>
                    <a:p>
                      <a:pPr marL="22352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700" b="1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9143" marB="0">
                    <a:lnL w="9525">
                      <a:solidFill>
                        <a:srgbClr val="1B2024"/>
                      </a:solidFill>
                      <a:prstDash val="solid"/>
                    </a:lnL>
                    <a:lnB w="19050">
                      <a:solidFill>
                        <a:srgbClr val="1B2024"/>
                      </a:solidFill>
                      <a:prstDash val="solid"/>
                    </a:lnB>
                    <a:solidFill>
                      <a:srgbClr val="6DCE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970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T w="19050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079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is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T w="19050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3175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/A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T w="19050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079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/A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T w="19050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T w="19050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T w="19050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970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IA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1a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&lt;0.8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m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R="1397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Without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02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IB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R="12700" algn="ctr">
                        <a:lnSpc>
                          <a:spcPct val="100000"/>
                        </a:lnSpc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1b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7314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&lt;0.8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m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  <a:p>
                      <a:pPr marL="167005">
                        <a:lnSpc>
                          <a:spcPct val="100000"/>
                        </a:lnSpc>
                        <a:spcBef>
                          <a:spcPts val="72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0.8-1.0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m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5209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With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  <a:p>
                      <a:pPr marL="334645">
                        <a:lnSpc>
                          <a:spcPct val="100000"/>
                        </a:lnSpc>
                        <a:spcBef>
                          <a:spcPts val="72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±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  <a:spcBef>
                          <a:spcPts val="72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  <a:spcBef>
                          <a:spcPts val="72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405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9525">
                      <a:solidFill>
                        <a:srgbClr val="1B2024"/>
                      </a:solidFill>
                      <a:prstDash val="solid"/>
                    </a:lnR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06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2a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13081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&gt;1.0-2.0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m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R="1397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Without</a:t>
                      </a:r>
                      <a:r>
                        <a:rPr sz="1700" spc="-3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4970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IIA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7314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2b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3081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&gt;1.0-2.0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m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06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With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405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5080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3a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13081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&gt;2.0-4.0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m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R="1397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Without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4056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IIB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7314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3b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3081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&gt;2.0-4.0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m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06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With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405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5080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4a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&gt;4.0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m</a:t>
                      </a:r>
                      <a:endParaRPr sz="1700" dirty="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R="1397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Without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R w="9525">
                      <a:solidFill>
                        <a:srgbClr val="1B2024"/>
                      </a:solidFill>
                      <a:prstDash val="solid"/>
                    </a:lnR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2171" marB="0">
                    <a:lnL w="9525">
                      <a:solidFill>
                        <a:srgbClr val="1B2024"/>
                      </a:solidFill>
                      <a:prstDash val="solid"/>
                    </a:lnL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4056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IIC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4b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&gt;4.0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m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2065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With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ulceratio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497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III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0160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Any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5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162560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ot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defined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R="13335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ot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defined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≥N1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0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lnB w="9525">
                      <a:solidFill>
                        <a:srgbClr val="1B2024"/>
                      </a:solidFill>
                      <a:prstDash val="solid"/>
                    </a:lnB>
                    <a:solidFill>
                      <a:srgbClr val="BEB8A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4056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IV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0160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Any</a:t>
                      </a: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5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T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62560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ot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defined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13335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ot </a:t>
                      </a:r>
                      <a:r>
                        <a:rPr sz="1700" spc="-1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defined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Any</a:t>
                      </a:r>
                      <a:r>
                        <a:rPr sz="1700" spc="-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1700" spc="-50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N</a:t>
                      </a:r>
                      <a:endParaRPr sz="170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L w="9525">
                      <a:solidFill>
                        <a:srgbClr val="1B2024"/>
                      </a:solidFill>
                      <a:prstDash val="solid"/>
                    </a:lnL>
                    <a:lnR w="9525">
                      <a:solidFill>
                        <a:srgbClr val="1B2024"/>
                      </a:solidFill>
                      <a:prstDash val="solid"/>
                    </a:lnR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88595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r>
                        <a:rPr sz="1700" spc="-25" dirty="0">
                          <a:solidFill>
                            <a:srgbClr val="374249"/>
                          </a:solidFill>
                          <a:latin typeface="Arial Narrow"/>
                          <a:cs typeface="Arial Narrow"/>
                        </a:rPr>
                        <a:t>M1</a:t>
                      </a:r>
                      <a:endParaRPr sz="1700" dirty="0">
                        <a:latin typeface="Arial Narrow"/>
                        <a:cs typeface="Arial Narrow"/>
                      </a:endParaRPr>
                    </a:p>
                  </a:txBody>
                  <a:tcPr marL="0" marR="0" marT="63085" marB="0">
                    <a:lnL w="9525">
                      <a:solidFill>
                        <a:srgbClr val="1B2024"/>
                      </a:solidFill>
                      <a:prstDash val="solid"/>
                    </a:lnL>
                    <a:lnT w="9525">
                      <a:solidFill>
                        <a:srgbClr val="1B2024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30409030-DE49-4AC8-BDA2-AF72F8667220}"/>
              </a:ext>
            </a:extLst>
          </p:cNvPr>
          <p:cNvSpPr txBox="1"/>
          <p:nvPr/>
        </p:nvSpPr>
        <p:spPr>
          <a:xfrm>
            <a:off x="12180005" y="9387866"/>
            <a:ext cx="5375981" cy="33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584" dirty="0">
                <a:latin typeface="Abadi" panose="020B0604020104020204" pitchFamily="34" charset="0"/>
              </a:rPr>
              <a:t>Código de Aprovação: </a:t>
            </a:r>
            <a:r>
              <a:rPr lang="pt-BR" sz="1584" dirty="0">
                <a:solidFill>
                  <a:srgbClr val="000000"/>
                </a:solidFill>
                <a:latin typeface="Abadi" panose="020B0604020104020204" pitchFamily="34" charset="0"/>
              </a:rPr>
              <a:t>BR-OOC-00304]</a:t>
            </a:r>
            <a:endParaRPr lang="pt-BR" sz="1584" dirty="0">
              <a:latin typeface="Abadi" panose="020B0604020104020204" pitchFamily="34" charset="0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C24119D7-2C27-83DF-55C7-87118F074509}"/>
              </a:ext>
            </a:extLst>
          </p:cNvPr>
          <p:cNvSpPr/>
          <p:nvPr/>
        </p:nvSpPr>
        <p:spPr>
          <a:xfrm>
            <a:off x="-1764" y="9195422"/>
            <a:ext cx="17559514" cy="7777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object 16">
            <a:extLst>
              <a:ext uri="{FF2B5EF4-FFF2-40B4-BE49-F238E27FC236}">
                <a16:creationId xmlns:a16="http://schemas.microsoft.com/office/drawing/2014/main" id="{4D652A5A-8C08-44F9-99D1-0FEE82DEE5DE}"/>
              </a:ext>
            </a:extLst>
          </p:cNvPr>
          <p:cNvSpPr txBox="1"/>
          <p:nvPr/>
        </p:nvSpPr>
        <p:spPr>
          <a:xfrm>
            <a:off x="1015519" y="8767558"/>
            <a:ext cx="15196288" cy="904002"/>
          </a:xfrm>
          <a:prstGeom prst="rect">
            <a:avLst/>
          </a:prstGeom>
        </p:spPr>
        <p:txBody>
          <a:bodyPr vert="horz" wrap="square" lIns="0" tIns="17371" rIns="0" bIns="0" rtlCol="0">
            <a:spAutoFit/>
          </a:bodyPr>
          <a:lstStyle/>
          <a:p>
            <a:pPr marL="7436697">
              <a:spcBef>
                <a:spcPts val="137"/>
              </a:spcBef>
            </a:pPr>
            <a:r>
              <a:rPr sz="1152" dirty="0">
                <a:latin typeface="+mj-lt"/>
                <a:cs typeface="Arial Narrow"/>
              </a:rPr>
              <a:t>* </a:t>
            </a:r>
            <a:r>
              <a:rPr sz="1152" spc="-14" dirty="0">
                <a:latin typeface="+mj-lt"/>
                <a:cs typeface="Arial Narrow"/>
              </a:rPr>
              <a:t>Thickness</a:t>
            </a:r>
            <a:r>
              <a:rPr sz="1152" spc="-7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and</a:t>
            </a:r>
            <a:r>
              <a:rPr sz="1152" spc="-43" dirty="0">
                <a:latin typeface="+mj-lt"/>
                <a:cs typeface="Arial Narrow"/>
              </a:rPr>
              <a:t> </a:t>
            </a:r>
            <a:r>
              <a:rPr sz="1152" spc="-14" dirty="0">
                <a:latin typeface="+mj-lt"/>
                <a:cs typeface="Arial Narrow"/>
              </a:rPr>
              <a:t>ulceration represent</a:t>
            </a:r>
            <a:r>
              <a:rPr sz="1152" spc="-58" dirty="0">
                <a:latin typeface="+mj-lt"/>
                <a:cs typeface="Arial Narrow"/>
              </a:rPr>
              <a:t> </a:t>
            </a:r>
            <a:r>
              <a:rPr sz="1152" spc="-14" dirty="0">
                <a:latin typeface="+mj-lt"/>
                <a:cs typeface="Arial Narrow"/>
              </a:rPr>
              <a:t>important</a:t>
            </a:r>
            <a:r>
              <a:rPr sz="1152" spc="-36" dirty="0">
                <a:latin typeface="+mj-lt"/>
                <a:cs typeface="Arial Narrow"/>
              </a:rPr>
              <a:t> </a:t>
            </a:r>
            <a:r>
              <a:rPr sz="1152" spc="-14" dirty="0">
                <a:latin typeface="+mj-lt"/>
                <a:cs typeface="Arial Narrow"/>
              </a:rPr>
              <a:t>prognostic</a:t>
            </a:r>
            <a:r>
              <a:rPr sz="1152" spc="-50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factors</a:t>
            </a:r>
            <a:r>
              <a:rPr sz="1152" spc="-22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for</a:t>
            </a:r>
            <a:r>
              <a:rPr sz="1152" spc="-1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survival and</a:t>
            </a:r>
            <a:r>
              <a:rPr sz="1152" spc="-36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are</a:t>
            </a:r>
            <a:r>
              <a:rPr sz="1152" spc="-22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used</a:t>
            </a:r>
            <a:r>
              <a:rPr sz="1152" spc="-1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to</a:t>
            </a:r>
            <a:r>
              <a:rPr sz="1152" spc="-22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define</a:t>
            </a:r>
            <a:r>
              <a:rPr sz="1152" spc="-36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T</a:t>
            </a:r>
            <a:r>
              <a:rPr sz="1152" spc="-14" dirty="0">
                <a:latin typeface="+mj-lt"/>
                <a:cs typeface="Arial Narrow"/>
              </a:rPr>
              <a:t> category</a:t>
            </a:r>
            <a:r>
              <a:rPr sz="1152" spc="-50" dirty="0">
                <a:latin typeface="+mj-lt"/>
                <a:cs typeface="Arial Narrow"/>
              </a:rPr>
              <a:t> </a:t>
            </a:r>
            <a:r>
              <a:rPr sz="1152" spc="-14" dirty="0">
                <a:latin typeface="+mj-lt"/>
                <a:cs typeface="Arial Narrow"/>
              </a:rPr>
              <a:t>strata</a:t>
            </a:r>
            <a:endParaRPr sz="1152" dirty="0">
              <a:latin typeface="+mj-lt"/>
              <a:cs typeface="Arial Narrow"/>
            </a:endParaRPr>
          </a:p>
          <a:p>
            <a:pPr>
              <a:spcBef>
                <a:spcPts val="22"/>
              </a:spcBef>
            </a:pPr>
            <a:endParaRPr sz="1152" dirty="0">
              <a:latin typeface="+mj-lt"/>
              <a:cs typeface="Arial Narrow"/>
            </a:endParaRPr>
          </a:p>
          <a:p>
            <a:pPr marL="18285" marR="639077"/>
            <a:r>
              <a:rPr sz="1152" b="1" dirty="0">
                <a:latin typeface="+mj-lt"/>
                <a:cs typeface="Arial Narrow"/>
              </a:rPr>
              <a:t>1.</a:t>
            </a:r>
            <a:r>
              <a:rPr sz="1152" b="1" spc="79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Melanoma</a:t>
            </a:r>
            <a:r>
              <a:rPr sz="1152" spc="108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Stages.</a:t>
            </a:r>
            <a:r>
              <a:rPr sz="1152" spc="9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Skin</a:t>
            </a:r>
            <a:r>
              <a:rPr sz="1152" spc="72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Cancer</a:t>
            </a:r>
            <a:r>
              <a:rPr sz="1152" spc="14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Foundation</a:t>
            </a:r>
            <a:r>
              <a:rPr sz="1152" spc="9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Web</a:t>
            </a:r>
            <a:r>
              <a:rPr sz="1152" spc="108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site.</a:t>
            </a:r>
            <a:r>
              <a:rPr sz="1152" spc="72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https://</a:t>
            </a:r>
            <a:r>
              <a:rPr sz="1152" dirty="0">
                <a:latin typeface="+mj-lt"/>
                <a:cs typeface="Arial Narrow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kincancer.org/skin-cancer-information/melanoma/the-stages-of-melanoma/.</a:t>
            </a:r>
            <a:r>
              <a:rPr sz="1152" spc="72" dirty="0">
                <a:latin typeface="+mj-lt"/>
                <a:cs typeface="Arial Narrow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sz="1152" dirty="0">
                <a:latin typeface="+mj-lt"/>
                <a:cs typeface="Arial Narrow"/>
              </a:rPr>
              <a:t>Accessed</a:t>
            </a:r>
            <a:r>
              <a:rPr sz="1152" spc="108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February</a:t>
            </a:r>
            <a:r>
              <a:rPr sz="1152" spc="14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15,</a:t>
            </a:r>
            <a:r>
              <a:rPr sz="1152" spc="108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2021.</a:t>
            </a:r>
            <a:r>
              <a:rPr sz="1152" spc="137" dirty="0">
                <a:latin typeface="+mj-lt"/>
                <a:cs typeface="Arial Narrow"/>
              </a:rPr>
              <a:t> </a:t>
            </a:r>
            <a:r>
              <a:rPr sz="1152" b="1" dirty="0">
                <a:latin typeface="+mj-lt"/>
                <a:cs typeface="Arial Narrow"/>
              </a:rPr>
              <a:t>2.</a:t>
            </a:r>
            <a:r>
              <a:rPr sz="1152" b="1" spc="115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Melanoma</a:t>
            </a:r>
            <a:r>
              <a:rPr sz="1152" spc="9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Skin</a:t>
            </a:r>
            <a:r>
              <a:rPr sz="1152" spc="9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Cancer</a:t>
            </a:r>
            <a:r>
              <a:rPr sz="1152" spc="122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Stages.</a:t>
            </a:r>
            <a:r>
              <a:rPr sz="1152" spc="29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American</a:t>
            </a:r>
            <a:r>
              <a:rPr sz="1152" spc="86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Cancer</a:t>
            </a:r>
            <a:r>
              <a:rPr sz="1152" spc="151" dirty="0">
                <a:latin typeface="+mj-lt"/>
                <a:cs typeface="Arial Narrow"/>
              </a:rPr>
              <a:t> </a:t>
            </a:r>
            <a:r>
              <a:rPr sz="1152" spc="-14" dirty="0">
                <a:latin typeface="+mj-lt"/>
                <a:cs typeface="Arial Narrow"/>
              </a:rPr>
              <a:t>Society</a:t>
            </a:r>
            <a:r>
              <a:rPr sz="1152" dirty="0">
                <a:latin typeface="+mj-lt"/>
                <a:cs typeface="Arial Narrow"/>
              </a:rPr>
              <a:t> Web</a:t>
            </a:r>
            <a:r>
              <a:rPr sz="1152" spc="122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site.</a:t>
            </a:r>
            <a:r>
              <a:rPr sz="1152" spc="108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https://</a:t>
            </a:r>
            <a:r>
              <a:rPr sz="1152" dirty="0">
                <a:latin typeface="+mj-lt"/>
                <a:cs typeface="Arial Narrow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ancer.org/cancer/melanoma-skin-cancer/detection-diagnosis-staging/melanoma-skin-cancer-stages.html.</a:t>
            </a:r>
            <a:r>
              <a:rPr sz="1152" spc="122" dirty="0">
                <a:latin typeface="+mj-lt"/>
                <a:cs typeface="Arial Narrow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sz="1152" dirty="0">
                <a:latin typeface="+mj-lt"/>
                <a:cs typeface="Arial Narrow"/>
              </a:rPr>
              <a:t>Accessed</a:t>
            </a:r>
            <a:r>
              <a:rPr sz="1152" spc="14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February</a:t>
            </a:r>
            <a:r>
              <a:rPr sz="1152" spc="180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15,</a:t>
            </a:r>
            <a:r>
              <a:rPr sz="1152" spc="144" dirty="0">
                <a:latin typeface="+mj-lt"/>
                <a:cs typeface="Arial Narrow"/>
              </a:rPr>
              <a:t> </a:t>
            </a:r>
            <a:r>
              <a:rPr sz="1152" dirty="0">
                <a:latin typeface="+mj-lt"/>
                <a:cs typeface="Arial Narrow"/>
              </a:rPr>
              <a:t>2021.</a:t>
            </a:r>
            <a:r>
              <a:rPr sz="1152" spc="180" dirty="0">
                <a:latin typeface="+mj-lt"/>
                <a:cs typeface="Arial Narrow"/>
              </a:rPr>
              <a:t> </a:t>
            </a:r>
            <a:r>
              <a:rPr lang="pt-BR" sz="1152" dirty="0">
                <a:solidFill>
                  <a:srgbClr val="000000"/>
                </a:solidFill>
                <a:latin typeface="+mj-lt"/>
              </a:rPr>
              <a:t>3. Keung EZ, Gershenwald JE. The eighth edition American </a:t>
            </a:r>
            <a:r>
              <a:rPr lang="pt-BR" sz="1152" i="1" dirty="0">
                <a:solidFill>
                  <a:srgbClr val="000000"/>
                </a:solidFill>
                <a:latin typeface="+mj-lt"/>
              </a:rPr>
              <a:t>Joint Committee on Cancer (AJCC)</a:t>
            </a:r>
            <a:r>
              <a:rPr lang="pt-BR" sz="1152" dirty="0">
                <a:solidFill>
                  <a:srgbClr val="000000"/>
                </a:solidFill>
                <a:latin typeface="+mj-lt"/>
              </a:rPr>
              <a:t> melanoma staging system: implications for melanoma treatment and care. Expert Rev Anticancer Ther. 2018;18(8):775-784.</a:t>
            </a:r>
            <a:endParaRPr sz="1152" dirty="0">
              <a:latin typeface="+mj-lt"/>
              <a:cs typeface="Arial Narrow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25980885-87CF-E729-E467-0C322E197BAC}"/>
              </a:ext>
            </a:extLst>
          </p:cNvPr>
          <p:cNvSpPr/>
          <p:nvPr/>
        </p:nvSpPr>
        <p:spPr>
          <a:xfrm>
            <a:off x="0" y="-33813"/>
            <a:ext cx="17557750" cy="177981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Título 4">
            <a:extLst>
              <a:ext uri="{FF2B5EF4-FFF2-40B4-BE49-F238E27FC236}">
                <a16:creationId xmlns:a16="http://schemas.microsoft.com/office/drawing/2014/main" id="{850E1CB3-9B8A-299D-139F-79ECE50A8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1054" y="424828"/>
            <a:ext cx="16384200" cy="1127575"/>
          </a:xfrm>
        </p:spPr>
        <p:txBody>
          <a:bodyPr/>
          <a:lstStyle/>
          <a:p>
            <a:pPr algn="ctr"/>
            <a:r>
              <a:rPr lang="pt-BR" dirty="0" err="1">
                <a:solidFill>
                  <a:schemeClr val="bg1"/>
                </a:solidFill>
              </a:rPr>
              <a:t>Estadio</a:t>
            </a:r>
            <a:r>
              <a:rPr lang="pt-BR" dirty="0">
                <a:solidFill>
                  <a:schemeClr val="bg1"/>
                </a:solidFill>
              </a:rPr>
              <a:t> II no Melanoma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AB840C45-164B-BE69-2C98-4E6E786C1065}"/>
              </a:ext>
            </a:extLst>
          </p:cNvPr>
          <p:cNvSpPr/>
          <p:nvPr/>
        </p:nvSpPr>
        <p:spPr>
          <a:xfrm>
            <a:off x="8724931" y="6079603"/>
            <a:ext cx="6978716" cy="123885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05991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2">
            <a:extLst>
              <a:ext uri="{FF2B5EF4-FFF2-40B4-BE49-F238E27FC236}">
                <a16:creationId xmlns:a16="http://schemas.microsoft.com/office/drawing/2014/main" id="{23F2F69E-A3FE-4292-9879-D3869D9FE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529" y="416912"/>
            <a:ext cx="17554222" cy="9874250"/>
          </a:xfrm>
          <a:prstGeom prst="rect">
            <a:avLst/>
          </a:prstGeom>
          <a:noFill/>
        </p:spPr>
      </p:pic>
      <p:sp>
        <p:nvSpPr>
          <p:cNvPr id="3" name="object 15">
            <a:extLst>
              <a:ext uri="{FF2B5EF4-FFF2-40B4-BE49-F238E27FC236}">
                <a16:creationId xmlns:a16="http://schemas.microsoft.com/office/drawing/2014/main" id="{A2863C22-2BE0-4AAF-824D-DA2F35128ADE}"/>
              </a:ext>
            </a:extLst>
          </p:cNvPr>
          <p:cNvSpPr txBox="1"/>
          <p:nvPr/>
        </p:nvSpPr>
        <p:spPr>
          <a:xfrm>
            <a:off x="875232" y="897093"/>
            <a:ext cx="10008650" cy="637839"/>
          </a:xfrm>
          <a:prstGeom prst="rect">
            <a:avLst/>
          </a:prstGeom>
        </p:spPr>
        <p:txBody>
          <a:bodyPr vert="horz" wrap="square" lIns="0" tIns="17371" rIns="0" bIns="0" rtlCol="0">
            <a:spAutoFit/>
          </a:bodyPr>
          <a:lstStyle/>
          <a:p>
            <a:pPr marL="18285">
              <a:spcBef>
                <a:spcPts val="137"/>
              </a:spcBef>
            </a:pPr>
            <a:r>
              <a:rPr sz="4031" dirty="0">
                <a:solidFill>
                  <a:schemeClr val="bg1"/>
                </a:solidFill>
                <a:latin typeface="Arial Narrow"/>
                <a:cs typeface="Arial Narrow"/>
              </a:rPr>
              <a:t>Recurrence</a:t>
            </a:r>
            <a:r>
              <a:rPr sz="4031" spc="216" dirty="0">
                <a:solidFill>
                  <a:schemeClr val="bg1"/>
                </a:solidFill>
                <a:latin typeface="Arial Narrow"/>
                <a:cs typeface="Arial Narrow"/>
              </a:rPr>
              <a:t> </a:t>
            </a:r>
            <a:r>
              <a:rPr sz="4031" dirty="0">
                <a:solidFill>
                  <a:schemeClr val="bg1"/>
                </a:solidFill>
                <a:latin typeface="Arial Narrow"/>
                <a:cs typeface="Arial Narrow"/>
              </a:rPr>
              <a:t>Rates</a:t>
            </a:r>
            <a:r>
              <a:rPr sz="4031" spc="209" dirty="0">
                <a:solidFill>
                  <a:schemeClr val="bg1"/>
                </a:solidFill>
                <a:latin typeface="Arial Narrow"/>
                <a:cs typeface="Arial Narrow"/>
              </a:rPr>
              <a:t> </a:t>
            </a:r>
            <a:r>
              <a:rPr sz="4031" dirty="0">
                <a:solidFill>
                  <a:schemeClr val="bg1"/>
                </a:solidFill>
                <a:latin typeface="Arial Narrow"/>
                <a:cs typeface="Arial Narrow"/>
              </a:rPr>
              <a:t>for</a:t>
            </a:r>
            <a:r>
              <a:rPr sz="4031" spc="164" dirty="0">
                <a:solidFill>
                  <a:schemeClr val="bg1"/>
                </a:solidFill>
                <a:latin typeface="Arial Narrow"/>
                <a:cs typeface="Arial Narrow"/>
              </a:rPr>
              <a:t> </a:t>
            </a:r>
            <a:r>
              <a:rPr sz="4031" dirty="0">
                <a:solidFill>
                  <a:schemeClr val="bg1"/>
                </a:solidFill>
                <a:latin typeface="Arial Narrow"/>
                <a:cs typeface="Arial Narrow"/>
              </a:rPr>
              <a:t>Resected</a:t>
            </a:r>
            <a:r>
              <a:rPr sz="4031" spc="216" dirty="0">
                <a:solidFill>
                  <a:schemeClr val="bg1"/>
                </a:solidFill>
                <a:latin typeface="Arial Narrow"/>
                <a:cs typeface="Arial Narrow"/>
              </a:rPr>
              <a:t> </a:t>
            </a:r>
            <a:r>
              <a:rPr sz="4031" dirty="0">
                <a:solidFill>
                  <a:schemeClr val="bg1"/>
                </a:solidFill>
                <a:latin typeface="Arial Narrow"/>
                <a:cs typeface="Arial Narrow"/>
              </a:rPr>
              <a:t>High-risk</a:t>
            </a:r>
            <a:r>
              <a:rPr sz="4031" spc="252" dirty="0">
                <a:solidFill>
                  <a:schemeClr val="bg1"/>
                </a:solidFill>
                <a:latin typeface="Arial Narrow"/>
                <a:cs typeface="Arial Narrow"/>
              </a:rPr>
              <a:t> </a:t>
            </a:r>
            <a:r>
              <a:rPr sz="4031" spc="-14" dirty="0">
                <a:solidFill>
                  <a:schemeClr val="bg1"/>
                </a:solidFill>
                <a:latin typeface="Arial Narrow"/>
                <a:cs typeface="Arial Narrow"/>
              </a:rPr>
              <a:t>Melanoma</a:t>
            </a:r>
            <a:endParaRPr sz="403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sp>
        <p:nvSpPr>
          <p:cNvPr id="5" name="object 16">
            <a:extLst>
              <a:ext uri="{FF2B5EF4-FFF2-40B4-BE49-F238E27FC236}">
                <a16:creationId xmlns:a16="http://schemas.microsoft.com/office/drawing/2014/main" id="{F89F6107-76E7-499A-83E8-F2F2D2024F8E}"/>
              </a:ext>
            </a:extLst>
          </p:cNvPr>
          <p:cNvSpPr txBox="1"/>
          <p:nvPr/>
        </p:nvSpPr>
        <p:spPr>
          <a:xfrm>
            <a:off x="2623561" y="2141249"/>
            <a:ext cx="5066039" cy="372125"/>
          </a:xfrm>
          <a:prstGeom prst="rect">
            <a:avLst/>
          </a:prstGeom>
        </p:spPr>
        <p:txBody>
          <a:bodyPr vert="horz" wrap="square" lIns="0" tIns="17371" rIns="0" bIns="0" rtlCol="0">
            <a:spAutoFit/>
          </a:bodyPr>
          <a:lstStyle/>
          <a:p>
            <a:pPr marL="54856">
              <a:spcBef>
                <a:spcPts val="137"/>
              </a:spcBef>
            </a:pPr>
            <a:r>
              <a:rPr sz="2304" b="1" dirty="0">
                <a:solidFill>
                  <a:srgbClr val="040404"/>
                </a:solidFill>
                <a:latin typeface="Arial Narrow"/>
                <a:cs typeface="Arial Narrow"/>
              </a:rPr>
              <a:t>Stage</a:t>
            </a:r>
            <a:r>
              <a:rPr sz="2304" b="1" spc="-43" dirty="0">
                <a:solidFill>
                  <a:srgbClr val="040404"/>
                </a:solidFill>
                <a:latin typeface="Arial Narrow"/>
                <a:cs typeface="Arial Narrow"/>
              </a:rPr>
              <a:t> </a:t>
            </a:r>
            <a:r>
              <a:rPr sz="2304" b="1" dirty="0">
                <a:solidFill>
                  <a:srgbClr val="040404"/>
                </a:solidFill>
                <a:latin typeface="Arial Narrow"/>
                <a:cs typeface="Arial Narrow"/>
              </a:rPr>
              <a:t>IIB/IIC</a:t>
            </a:r>
            <a:r>
              <a:rPr sz="2304" b="1" spc="7" dirty="0">
                <a:solidFill>
                  <a:srgbClr val="040404"/>
                </a:solidFill>
                <a:latin typeface="Arial Narrow"/>
                <a:cs typeface="Arial Narrow"/>
              </a:rPr>
              <a:t> </a:t>
            </a:r>
            <a:r>
              <a:rPr sz="2304" b="1" spc="-14" dirty="0">
                <a:solidFill>
                  <a:srgbClr val="040404"/>
                </a:solidFill>
                <a:latin typeface="Arial Narrow"/>
                <a:cs typeface="Arial Narrow"/>
              </a:rPr>
              <a:t>Melanoma</a:t>
            </a:r>
            <a:r>
              <a:rPr sz="2304" b="1" spc="-79" dirty="0">
                <a:solidFill>
                  <a:srgbClr val="040404"/>
                </a:solidFill>
                <a:latin typeface="Arial Narrow"/>
                <a:cs typeface="Arial Narrow"/>
              </a:rPr>
              <a:t> </a:t>
            </a:r>
            <a:r>
              <a:rPr sz="2304" b="1" spc="-14" dirty="0">
                <a:solidFill>
                  <a:srgbClr val="040404"/>
                </a:solidFill>
                <a:latin typeface="Arial Narrow"/>
                <a:cs typeface="Arial Narrow"/>
              </a:rPr>
              <a:t>Recurrence</a:t>
            </a:r>
            <a:r>
              <a:rPr sz="2304" b="1" spc="-50" dirty="0">
                <a:solidFill>
                  <a:srgbClr val="040404"/>
                </a:solidFill>
                <a:latin typeface="Arial Narrow"/>
                <a:cs typeface="Arial Narrow"/>
              </a:rPr>
              <a:t> </a:t>
            </a:r>
            <a:r>
              <a:rPr sz="2304" b="1" spc="-14" dirty="0">
                <a:solidFill>
                  <a:srgbClr val="040404"/>
                </a:solidFill>
                <a:latin typeface="Arial Narrow"/>
                <a:cs typeface="Arial Narrow"/>
              </a:rPr>
              <a:t>Rates</a:t>
            </a:r>
            <a:r>
              <a:rPr sz="2268" b="1" spc="-22" baseline="26455" dirty="0">
                <a:solidFill>
                  <a:srgbClr val="040404"/>
                </a:solidFill>
                <a:latin typeface="Arial Narrow"/>
                <a:cs typeface="Arial Narrow"/>
              </a:rPr>
              <a:t>1,a</a:t>
            </a:r>
            <a:endParaRPr sz="2268" baseline="26455">
              <a:latin typeface="Arial Narrow"/>
              <a:cs typeface="Arial Narrow"/>
            </a:endParaRPr>
          </a:p>
        </p:txBody>
      </p:sp>
      <p:sp>
        <p:nvSpPr>
          <p:cNvPr id="6" name="object 17">
            <a:extLst>
              <a:ext uri="{FF2B5EF4-FFF2-40B4-BE49-F238E27FC236}">
                <a16:creationId xmlns:a16="http://schemas.microsoft.com/office/drawing/2014/main" id="{E654C88A-3A49-4D6A-BE60-1EC743A51D16}"/>
              </a:ext>
            </a:extLst>
          </p:cNvPr>
          <p:cNvSpPr txBox="1"/>
          <p:nvPr/>
        </p:nvSpPr>
        <p:spPr>
          <a:xfrm>
            <a:off x="1886649" y="7964495"/>
            <a:ext cx="6365234" cy="993603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54856" marR="43885">
              <a:spcBef>
                <a:spcPts val="144"/>
              </a:spcBef>
            </a:pPr>
            <a:r>
              <a:rPr sz="1512" spc="-22" baseline="27777" dirty="0">
                <a:solidFill>
                  <a:srgbClr val="374249"/>
                </a:solidFill>
                <a:latin typeface="Arial Narrow"/>
                <a:cs typeface="Arial Narrow"/>
              </a:rPr>
              <a:t>a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Retrospective</a:t>
            </a:r>
            <a:r>
              <a:rPr sz="1584" spc="-7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review</a:t>
            </a:r>
            <a:r>
              <a:rPr sz="1584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of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738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adult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patients</a:t>
            </a:r>
            <a:r>
              <a:rPr sz="1584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with</a:t>
            </a:r>
            <a:r>
              <a:rPr sz="1584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stage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II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resected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melanoma</a:t>
            </a:r>
            <a:r>
              <a:rPr sz="1584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29" dirty="0">
                <a:solidFill>
                  <a:srgbClr val="374249"/>
                </a:solidFill>
                <a:latin typeface="Arial Narrow"/>
                <a:cs typeface="Arial Narrow"/>
              </a:rPr>
              <a:t>from</a:t>
            </a:r>
            <a:r>
              <a:rPr sz="1584" spc="72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1993</a:t>
            </a:r>
            <a:r>
              <a:rPr sz="1584" spc="-65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to</a:t>
            </a:r>
            <a:r>
              <a:rPr sz="1584" spc="-7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2013;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338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patients</a:t>
            </a:r>
            <a:r>
              <a:rPr sz="1584" spc="-65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had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melanoma</a:t>
            </a:r>
            <a:r>
              <a:rPr sz="1584" spc="-58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stage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IIB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or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IIC.</a:t>
            </a:r>
            <a:r>
              <a:rPr sz="1584" spc="-7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Median</a:t>
            </a:r>
            <a:r>
              <a:rPr sz="1584" spc="-58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follow-up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time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was</a:t>
            </a:r>
            <a:endParaRPr sz="1584">
              <a:latin typeface="Arial Narrow"/>
              <a:cs typeface="Arial Narrow"/>
            </a:endParaRPr>
          </a:p>
          <a:p>
            <a:pPr marL="54856" marR="407766">
              <a:spcBef>
                <a:spcPts val="7"/>
              </a:spcBef>
            </a:pP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4.3</a:t>
            </a:r>
            <a:r>
              <a:rPr sz="1584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years.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Patients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in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this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study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were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treated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at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Memorial</a:t>
            </a:r>
            <a:r>
              <a:rPr sz="1584" spc="-65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Sloan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Kettering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Cancer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Center.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Staging</a:t>
            </a:r>
            <a:r>
              <a:rPr sz="1584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based</a:t>
            </a:r>
            <a:r>
              <a:rPr sz="1584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on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AJCC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7</a:t>
            </a:r>
            <a:r>
              <a:rPr sz="1512" baseline="27777" dirty="0">
                <a:solidFill>
                  <a:srgbClr val="374249"/>
                </a:solidFill>
                <a:latin typeface="Arial Narrow"/>
                <a:cs typeface="Arial Narrow"/>
              </a:rPr>
              <a:t>th</a:t>
            </a:r>
            <a:r>
              <a:rPr sz="1512" spc="140" baseline="27777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edition.</a:t>
            </a:r>
            <a:endParaRPr sz="1584">
              <a:latin typeface="Arial Narrow"/>
              <a:cs typeface="Arial Narrow"/>
            </a:endParaRP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B97180FA-2A64-49A0-9588-1EE6818ED28D}"/>
              </a:ext>
            </a:extLst>
          </p:cNvPr>
          <p:cNvSpPr txBox="1"/>
          <p:nvPr/>
        </p:nvSpPr>
        <p:spPr>
          <a:xfrm>
            <a:off x="9721500" y="7964496"/>
            <a:ext cx="6340548" cy="993603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54856" marR="43885">
              <a:spcBef>
                <a:spcPts val="144"/>
              </a:spcBef>
            </a:pPr>
            <a:r>
              <a:rPr sz="1512" spc="-22" baseline="27777" dirty="0">
                <a:solidFill>
                  <a:srgbClr val="374249"/>
                </a:solidFill>
                <a:latin typeface="Arial Narrow"/>
                <a:cs typeface="Arial Narrow"/>
              </a:rPr>
              <a:t>b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Retrospective</a:t>
            </a:r>
            <a:r>
              <a:rPr sz="1584" spc="-7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chart</a:t>
            </a:r>
            <a:r>
              <a:rPr sz="1584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review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of</a:t>
            </a:r>
            <a:r>
              <a:rPr sz="1584" spc="-7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251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patients</a:t>
            </a:r>
            <a:r>
              <a:rPr sz="1584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from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2011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to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2016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with</a:t>
            </a:r>
            <a:r>
              <a:rPr sz="1584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stage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III</a:t>
            </a:r>
            <a:r>
              <a:rPr sz="1584" spc="-7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resected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melanoma</a:t>
            </a:r>
            <a:r>
              <a:rPr sz="1584" spc="-7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followed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by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 watch-and-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wait.</a:t>
            </a:r>
            <a:r>
              <a:rPr sz="1584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Median</a:t>
            </a:r>
            <a:r>
              <a:rPr sz="1584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follow-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up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time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was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3.1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years.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Patients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included</a:t>
            </a:r>
            <a:r>
              <a:rPr sz="1584" spc="-8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in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this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study</a:t>
            </a:r>
            <a:r>
              <a:rPr sz="1584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were</a:t>
            </a:r>
            <a:r>
              <a:rPr sz="1584" spc="-50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from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North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America,</a:t>
            </a:r>
            <a:r>
              <a:rPr sz="1584" spc="-58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South</a:t>
            </a:r>
            <a:r>
              <a:rPr sz="1584" spc="-65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America,</a:t>
            </a:r>
            <a:r>
              <a:rPr sz="1584" spc="-58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and</a:t>
            </a:r>
            <a:r>
              <a:rPr sz="1584" spc="-36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Europe.</a:t>
            </a:r>
            <a:r>
              <a:rPr sz="1584" spc="-22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Staging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based</a:t>
            </a:r>
            <a:r>
              <a:rPr sz="1584" spc="-43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on</a:t>
            </a:r>
            <a:r>
              <a:rPr sz="1584" spc="-29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AJCC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dirty="0">
                <a:solidFill>
                  <a:srgbClr val="374249"/>
                </a:solidFill>
                <a:latin typeface="Arial Narrow"/>
                <a:cs typeface="Arial Narrow"/>
              </a:rPr>
              <a:t>7</a:t>
            </a:r>
            <a:r>
              <a:rPr sz="1512" baseline="27777" dirty="0">
                <a:solidFill>
                  <a:srgbClr val="374249"/>
                </a:solidFill>
                <a:latin typeface="Arial Narrow"/>
                <a:cs typeface="Arial Narrow"/>
              </a:rPr>
              <a:t>th</a:t>
            </a:r>
            <a:r>
              <a:rPr sz="1512" spc="150" baseline="27777" dirty="0">
                <a:solidFill>
                  <a:srgbClr val="374249"/>
                </a:solidFill>
                <a:latin typeface="Arial Narrow"/>
                <a:cs typeface="Arial Narrow"/>
              </a:rPr>
              <a:t> </a:t>
            </a:r>
            <a:r>
              <a:rPr sz="1584" spc="-14" dirty="0">
                <a:solidFill>
                  <a:srgbClr val="374249"/>
                </a:solidFill>
                <a:latin typeface="Arial Narrow"/>
                <a:cs typeface="Arial Narrow"/>
              </a:rPr>
              <a:t>edition.</a:t>
            </a:r>
            <a:endParaRPr sz="1584">
              <a:latin typeface="Arial Narrow"/>
              <a:cs typeface="Arial Narrow"/>
            </a:endParaRPr>
          </a:p>
        </p:txBody>
      </p:sp>
      <p:grpSp>
        <p:nvGrpSpPr>
          <p:cNvPr id="8" name="object 19">
            <a:extLst>
              <a:ext uri="{FF2B5EF4-FFF2-40B4-BE49-F238E27FC236}">
                <a16:creationId xmlns:a16="http://schemas.microsoft.com/office/drawing/2014/main" id="{9F7547DB-BE78-4C48-B9F7-BAE9D413B389}"/>
              </a:ext>
            </a:extLst>
          </p:cNvPr>
          <p:cNvGrpSpPr/>
          <p:nvPr/>
        </p:nvGrpSpPr>
        <p:grpSpPr>
          <a:xfrm>
            <a:off x="2689754" y="2942525"/>
            <a:ext cx="4823754" cy="4022843"/>
            <a:chOff x="1866900" y="2043683"/>
            <a:chExt cx="3350260" cy="2794000"/>
          </a:xfrm>
        </p:grpSpPr>
        <p:sp>
          <p:nvSpPr>
            <p:cNvPr id="9" name="object 20">
              <a:extLst>
                <a:ext uri="{FF2B5EF4-FFF2-40B4-BE49-F238E27FC236}">
                  <a16:creationId xmlns:a16="http://schemas.microsoft.com/office/drawing/2014/main" id="{ECE44B7E-6AE6-49CC-8155-29014087598F}"/>
                </a:ext>
              </a:extLst>
            </p:cNvPr>
            <p:cNvSpPr/>
            <p:nvPr/>
          </p:nvSpPr>
          <p:spPr>
            <a:xfrm>
              <a:off x="1921764" y="4827269"/>
              <a:ext cx="3290570" cy="5080"/>
            </a:xfrm>
            <a:custGeom>
              <a:avLst/>
              <a:gdLst/>
              <a:ahLst/>
              <a:cxnLst/>
              <a:rect l="l" t="t" r="r" b="b"/>
              <a:pathLst>
                <a:path w="3290570" h="5079">
                  <a:moveTo>
                    <a:pt x="0" y="0"/>
                  </a:moveTo>
                  <a:lnTo>
                    <a:pt x="2209800" y="0"/>
                  </a:lnTo>
                </a:path>
                <a:path w="3290570" h="5079">
                  <a:moveTo>
                    <a:pt x="2724912" y="0"/>
                  </a:moveTo>
                  <a:lnTo>
                    <a:pt x="3290316" y="0"/>
                  </a:lnTo>
                </a:path>
                <a:path w="3290570" h="5079">
                  <a:moveTo>
                    <a:pt x="0" y="4571"/>
                  </a:moveTo>
                  <a:lnTo>
                    <a:pt x="3290316" y="4571"/>
                  </a:lnTo>
                </a:path>
              </a:pathLst>
            </a:custGeom>
            <a:ln w="4572">
              <a:solidFill>
                <a:srgbClr val="DEE2E7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10" name="object 21">
              <a:extLst>
                <a:ext uri="{FF2B5EF4-FFF2-40B4-BE49-F238E27FC236}">
                  <a16:creationId xmlns:a16="http://schemas.microsoft.com/office/drawing/2014/main" id="{5B31551C-3992-4837-B8A6-CF5216B90239}"/>
                </a:ext>
              </a:extLst>
            </p:cNvPr>
            <p:cNvSpPr/>
            <p:nvPr/>
          </p:nvSpPr>
          <p:spPr>
            <a:xfrm>
              <a:off x="1921764" y="4274819"/>
              <a:ext cx="2209800" cy="0"/>
            </a:xfrm>
            <a:custGeom>
              <a:avLst/>
              <a:gdLst/>
              <a:ahLst/>
              <a:cxnLst/>
              <a:rect l="l" t="t" r="r" b="b"/>
              <a:pathLst>
                <a:path w="2209800">
                  <a:moveTo>
                    <a:pt x="0" y="0"/>
                  </a:moveTo>
                  <a:lnTo>
                    <a:pt x="565404" y="0"/>
                  </a:lnTo>
                </a:path>
                <a:path w="2209800">
                  <a:moveTo>
                    <a:pt x="1080516" y="0"/>
                  </a:moveTo>
                  <a:lnTo>
                    <a:pt x="2209800" y="0"/>
                  </a:lnTo>
                </a:path>
              </a:pathLst>
            </a:custGeom>
            <a:ln w="9144">
              <a:solidFill>
                <a:srgbClr val="DEE2E7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11" name="object 22">
              <a:extLst>
                <a:ext uri="{FF2B5EF4-FFF2-40B4-BE49-F238E27FC236}">
                  <a16:creationId xmlns:a16="http://schemas.microsoft.com/office/drawing/2014/main" id="{9B0AC36D-88A4-4E2F-ABB8-A9BE2085F94B}"/>
                </a:ext>
              </a:extLst>
            </p:cNvPr>
            <p:cNvSpPr/>
            <p:nvPr/>
          </p:nvSpPr>
          <p:spPr>
            <a:xfrm>
              <a:off x="2487168" y="3941063"/>
              <a:ext cx="515620" cy="889000"/>
            </a:xfrm>
            <a:custGeom>
              <a:avLst/>
              <a:gdLst/>
              <a:ahLst/>
              <a:cxnLst/>
              <a:rect l="l" t="t" r="r" b="b"/>
              <a:pathLst>
                <a:path w="515619" h="889000">
                  <a:moveTo>
                    <a:pt x="515112" y="0"/>
                  </a:moveTo>
                  <a:lnTo>
                    <a:pt x="0" y="0"/>
                  </a:lnTo>
                  <a:lnTo>
                    <a:pt x="0" y="888492"/>
                  </a:lnTo>
                  <a:lnTo>
                    <a:pt x="515112" y="888492"/>
                  </a:lnTo>
                  <a:lnTo>
                    <a:pt x="515112" y="0"/>
                  </a:lnTo>
                  <a:close/>
                </a:path>
              </a:pathLst>
            </a:custGeom>
            <a:solidFill>
              <a:srgbClr val="00867B"/>
            </a:solidFill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12" name="object 23">
              <a:extLst>
                <a:ext uri="{FF2B5EF4-FFF2-40B4-BE49-F238E27FC236}">
                  <a16:creationId xmlns:a16="http://schemas.microsoft.com/office/drawing/2014/main" id="{0A2FABE7-4383-49B5-8D32-31B2CA0CAD6C}"/>
                </a:ext>
              </a:extLst>
            </p:cNvPr>
            <p:cNvSpPr/>
            <p:nvPr/>
          </p:nvSpPr>
          <p:spPr>
            <a:xfrm>
              <a:off x="1921764" y="3718560"/>
              <a:ext cx="3290570" cy="556260"/>
            </a:xfrm>
            <a:custGeom>
              <a:avLst/>
              <a:gdLst/>
              <a:ahLst/>
              <a:cxnLst/>
              <a:rect l="l" t="t" r="r" b="b"/>
              <a:pathLst>
                <a:path w="3290570" h="556260">
                  <a:moveTo>
                    <a:pt x="2724912" y="556259"/>
                  </a:moveTo>
                  <a:lnTo>
                    <a:pt x="3290316" y="556259"/>
                  </a:lnTo>
                </a:path>
                <a:path w="3290570" h="556260">
                  <a:moveTo>
                    <a:pt x="0" y="0"/>
                  </a:moveTo>
                  <a:lnTo>
                    <a:pt x="2209800" y="0"/>
                  </a:lnTo>
                </a:path>
                <a:path w="3290570" h="556260">
                  <a:moveTo>
                    <a:pt x="2724912" y="0"/>
                  </a:moveTo>
                  <a:lnTo>
                    <a:pt x="3290316" y="0"/>
                  </a:lnTo>
                </a:path>
              </a:pathLst>
            </a:custGeom>
            <a:ln w="9144">
              <a:solidFill>
                <a:srgbClr val="DEE2E7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13" name="object 24">
              <a:extLst>
                <a:ext uri="{FF2B5EF4-FFF2-40B4-BE49-F238E27FC236}">
                  <a16:creationId xmlns:a16="http://schemas.microsoft.com/office/drawing/2014/main" id="{A3D5BF1E-24C9-4E0D-A35A-4E15AFA15477}"/>
                </a:ext>
              </a:extLst>
            </p:cNvPr>
            <p:cNvSpPr/>
            <p:nvPr/>
          </p:nvSpPr>
          <p:spPr>
            <a:xfrm>
              <a:off x="4131564" y="3552444"/>
              <a:ext cx="515620" cy="1277620"/>
            </a:xfrm>
            <a:custGeom>
              <a:avLst/>
              <a:gdLst/>
              <a:ahLst/>
              <a:cxnLst/>
              <a:rect l="l" t="t" r="r" b="b"/>
              <a:pathLst>
                <a:path w="515620" h="1277620">
                  <a:moveTo>
                    <a:pt x="515112" y="0"/>
                  </a:moveTo>
                  <a:lnTo>
                    <a:pt x="0" y="0"/>
                  </a:lnTo>
                  <a:lnTo>
                    <a:pt x="0" y="1277111"/>
                  </a:lnTo>
                  <a:lnTo>
                    <a:pt x="515112" y="1277111"/>
                  </a:lnTo>
                  <a:lnTo>
                    <a:pt x="515112" y="0"/>
                  </a:lnTo>
                  <a:close/>
                </a:path>
              </a:pathLst>
            </a:custGeom>
            <a:solidFill>
              <a:srgbClr val="00867B"/>
            </a:solidFill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14" name="object 25">
              <a:extLst>
                <a:ext uri="{FF2B5EF4-FFF2-40B4-BE49-F238E27FC236}">
                  <a16:creationId xmlns:a16="http://schemas.microsoft.com/office/drawing/2014/main" id="{F0A57A59-296C-4E87-921A-5EA4E4F0A077}"/>
                </a:ext>
              </a:extLst>
            </p:cNvPr>
            <p:cNvSpPr/>
            <p:nvPr/>
          </p:nvSpPr>
          <p:spPr>
            <a:xfrm>
              <a:off x="1921764" y="2051303"/>
              <a:ext cx="3290570" cy="1111250"/>
            </a:xfrm>
            <a:custGeom>
              <a:avLst/>
              <a:gdLst/>
              <a:ahLst/>
              <a:cxnLst/>
              <a:rect l="l" t="t" r="r" b="b"/>
              <a:pathLst>
                <a:path w="3290570" h="1111250">
                  <a:moveTo>
                    <a:pt x="0" y="1110996"/>
                  </a:moveTo>
                  <a:lnTo>
                    <a:pt x="3290316" y="1110996"/>
                  </a:lnTo>
                </a:path>
                <a:path w="3290570" h="1111250">
                  <a:moveTo>
                    <a:pt x="0" y="556260"/>
                  </a:moveTo>
                  <a:lnTo>
                    <a:pt x="3290316" y="556260"/>
                  </a:lnTo>
                </a:path>
                <a:path w="3290570" h="1111250">
                  <a:moveTo>
                    <a:pt x="0" y="0"/>
                  </a:moveTo>
                  <a:lnTo>
                    <a:pt x="3290316" y="0"/>
                  </a:lnTo>
                </a:path>
              </a:pathLst>
            </a:custGeom>
            <a:ln w="9144">
              <a:solidFill>
                <a:srgbClr val="DEE2E7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15" name="object 26">
              <a:extLst>
                <a:ext uri="{FF2B5EF4-FFF2-40B4-BE49-F238E27FC236}">
                  <a16:creationId xmlns:a16="http://schemas.microsoft.com/office/drawing/2014/main" id="{77FEC0CF-01AC-406F-93E8-C43DD43344F8}"/>
                </a:ext>
              </a:extLst>
            </p:cNvPr>
            <p:cNvSpPr/>
            <p:nvPr/>
          </p:nvSpPr>
          <p:spPr>
            <a:xfrm>
              <a:off x="1874520" y="2051303"/>
              <a:ext cx="47625" cy="2778760"/>
            </a:xfrm>
            <a:custGeom>
              <a:avLst/>
              <a:gdLst/>
              <a:ahLst/>
              <a:cxnLst/>
              <a:rect l="l" t="t" r="r" b="b"/>
              <a:pathLst>
                <a:path w="47625" h="2778760">
                  <a:moveTo>
                    <a:pt x="47243" y="2778252"/>
                  </a:moveTo>
                  <a:lnTo>
                    <a:pt x="47243" y="0"/>
                  </a:lnTo>
                </a:path>
                <a:path w="47625" h="2778760">
                  <a:moveTo>
                    <a:pt x="0" y="2778252"/>
                  </a:moveTo>
                  <a:lnTo>
                    <a:pt x="47243" y="2778252"/>
                  </a:lnTo>
                </a:path>
                <a:path w="47625" h="2778760">
                  <a:moveTo>
                    <a:pt x="0" y="2223516"/>
                  </a:moveTo>
                  <a:lnTo>
                    <a:pt x="47243" y="2223516"/>
                  </a:lnTo>
                </a:path>
                <a:path w="47625" h="2778760">
                  <a:moveTo>
                    <a:pt x="0" y="1667256"/>
                  </a:moveTo>
                  <a:lnTo>
                    <a:pt x="47243" y="1667256"/>
                  </a:lnTo>
                </a:path>
                <a:path w="47625" h="2778760">
                  <a:moveTo>
                    <a:pt x="0" y="1110996"/>
                  </a:moveTo>
                  <a:lnTo>
                    <a:pt x="47243" y="1110996"/>
                  </a:lnTo>
                </a:path>
                <a:path w="47625" h="2778760">
                  <a:moveTo>
                    <a:pt x="0" y="556260"/>
                  </a:moveTo>
                  <a:lnTo>
                    <a:pt x="47243" y="556260"/>
                  </a:lnTo>
                </a:path>
                <a:path w="47625" h="2778760">
                  <a:moveTo>
                    <a:pt x="0" y="0"/>
                  </a:moveTo>
                  <a:lnTo>
                    <a:pt x="47243" y="0"/>
                  </a:lnTo>
                </a:path>
              </a:pathLst>
            </a:custGeom>
            <a:ln w="15240">
              <a:solidFill>
                <a:srgbClr val="4F5F6B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</p:grpSp>
      <p:sp>
        <p:nvSpPr>
          <p:cNvPr id="16" name="object 27">
            <a:extLst>
              <a:ext uri="{FF2B5EF4-FFF2-40B4-BE49-F238E27FC236}">
                <a16:creationId xmlns:a16="http://schemas.microsoft.com/office/drawing/2014/main" id="{FEB03998-4928-4917-B4D0-9EBF75671AD9}"/>
              </a:ext>
            </a:extLst>
          </p:cNvPr>
          <p:cNvSpPr txBox="1"/>
          <p:nvPr/>
        </p:nvSpPr>
        <p:spPr>
          <a:xfrm>
            <a:off x="3756356" y="5308139"/>
            <a:ext cx="398627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spc="-36" dirty="0">
                <a:solidFill>
                  <a:srgbClr val="4F5F6B"/>
                </a:solidFill>
                <a:latin typeface="Arial Narrow"/>
                <a:cs typeface="Arial Narrow"/>
              </a:rPr>
              <a:t>32%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17" name="object 28">
            <a:extLst>
              <a:ext uri="{FF2B5EF4-FFF2-40B4-BE49-F238E27FC236}">
                <a16:creationId xmlns:a16="http://schemas.microsoft.com/office/drawing/2014/main" id="{F97BD9F7-8BA8-47D8-BE3A-BD0E9238B340}"/>
              </a:ext>
            </a:extLst>
          </p:cNvPr>
          <p:cNvSpPr txBox="1"/>
          <p:nvPr/>
        </p:nvSpPr>
        <p:spPr>
          <a:xfrm>
            <a:off x="6124896" y="4747247"/>
            <a:ext cx="399541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spc="-36" dirty="0">
                <a:solidFill>
                  <a:srgbClr val="4F5F6B"/>
                </a:solidFill>
                <a:latin typeface="Arial Narrow"/>
                <a:cs typeface="Arial Narrow"/>
              </a:rPr>
              <a:t>46%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18" name="object 29">
            <a:extLst>
              <a:ext uri="{FF2B5EF4-FFF2-40B4-BE49-F238E27FC236}">
                <a16:creationId xmlns:a16="http://schemas.microsoft.com/office/drawing/2014/main" id="{3709141A-DC27-4FBA-8ACB-FF9E0BD4038C}"/>
              </a:ext>
            </a:extLst>
          </p:cNvPr>
          <p:cNvSpPr txBox="1"/>
          <p:nvPr/>
        </p:nvSpPr>
        <p:spPr>
          <a:xfrm>
            <a:off x="2458624" y="6789278"/>
            <a:ext cx="137142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dirty="0">
                <a:solidFill>
                  <a:srgbClr val="4F5F6B"/>
                </a:solidFill>
                <a:latin typeface="Arial Narrow"/>
                <a:cs typeface="Arial Narrow"/>
              </a:rPr>
              <a:t>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19" name="object 30">
            <a:extLst>
              <a:ext uri="{FF2B5EF4-FFF2-40B4-BE49-F238E27FC236}">
                <a16:creationId xmlns:a16="http://schemas.microsoft.com/office/drawing/2014/main" id="{BDA759A8-D198-4084-A5A6-9EE944446714}"/>
              </a:ext>
            </a:extLst>
          </p:cNvPr>
          <p:cNvSpPr txBox="1"/>
          <p:nvPr/>
        </p:nvSpPr>
        <p:spPr>
          <a:xfrm>
            <a:off x="2358967" y="5988733"/>
            <a:ext cx="238628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2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20" name="object 31">
            <a:extLst>
              <a:ext uri="{FF2B5EF4-FFF2-40B4-BE49-F238E27FC236}">
                <a16:creationId xmlns:a16="http://schemas.microsoft.com/office/drawing/2014/main" id="{C4212E5D-F3E1-481E-BCCB-C8F9FAA7F324}"/>
              </a:ext>
            </a:extLst>
          </p:cNvPr>
          <p:cNvSpPr txBox="1"/>
          <p:nvPr/>
        </p:nvSpPr>
        <p:spPr>
          <a:xfrm>
            <a:off x="2358967" y="5187931"/>
            <a:ext cx="238628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4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21" name="object 32">
            <a:extLst>
              <a:ext uri="{FF2B5EF4-FFF2-40B4-BE49-F238E27FC236}">
                <a16:creationId xmlns:a16="http://schemas.microsoft.com/office/drawing/2014/main" id="{779F09DB-A718-491B-BA78-8F4A911253FF}"/>
              </a:ext>
            </a:extLst>
          </p:cNvPr>
          <p:cNvSpPr txBox="1"/>
          <p:nvPr/>
        </p:nvSpPr>
        <p:spPr>
          <a:xfrm>
            <a:off x="2358967" y="4388190"/>
            <a:ext cx="238628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6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22" name="object 33">
            <a:extLst>
              <a:ext uri="{FF2B5EF4-FFF2-40B4-BE49-F238E27FC236}">
                <a16:creationId xmlns:a16="http://schemas.microsoft.com/office/drawing/2014/main" id="{31433FDF-66A3-4C4B-AF41-32417A2AD280}"/>
              </a:ext>
            </a:extLst>
          </p:cNvPr>
          <p:cNvSpPr txBox="1"/>
          <p:nvPr/>
        </p:nvSpPr>
        <p:spPr>
          <a:xfrm>
            <a:off x="2358967" y="3587826"/>
            <a:ext cx="238628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8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23" name="object 34">
            <a:extLst>
              <a:ext uri="{FF2B5EF4-FFF2-40B4-BE49-F238E27FC236}">
                <a16:creationId xmlns:a16="http://schemas.microsoft.com/office/drawing/2014/main" id="{4CBA2DFF-0E58-491A-A893-2646B448AD0B}"/>
              </a:ext>
            </a:extLst>
          </p:cNvPr>
          <p:cNvSpPr txBox="1"/>
          <p:nvPr/>
        </p:nvSpPr>
        <p:spPr>
          <a:xfrm>
            <a:off x="2258945" y="2787280"/>
            <a:ext cx="336454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10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24" name="object 35">
            <a:extLst>
              <a:ext uri="{FF2B5EF4-FFF2-40B4-BE49-F238E27FC236}">
                <a16:creationId xmlns:a16="http://schemas.microsoft.com/office/drawing/2014/main" id="{6D93856A-A20E-49F7-9E97-F28F8EF9310F}"/>
              </a:ext>
            </a:extLst>
          </p:cNvPr>
          <p:cNvSpPr txBox="1"/>
          <p:nvPr/>
        </p:nvSpPr>
        <p:spPr>
          <a:xfrm>
            <a:off x="3551738" y="7058261"/>
            <a:ext cx="804569" cy="548966"/>
          </a:xfrm>
          <a:prstGeom prst="rect">
            <a:avLst/>
          </a:prstGeom>
        </p:spPr>
        <p:txBody>
          <a:bodyPr vert="horz" wrap="square" lIns="0" tIns="35657" rIns="0" bIns="0" rtlCol="0">
            <a:spAutoFit/>
          </a:bodyPr>
          <a:lstStyle/>
          <a:p>
            <a:pPr marL="85027" marR="7314" indent="-67656">
              <a:lnSpc>
                <a:spcPts val="1987"/>
              </a:lnSpc>
              <a:spcBef>
                <a:spcPts val="281"/>
              </a:spcBef>
            </a:pPr>
            <a:r>
              <a:rPr sz="1728" b="1" dirty="0">
                <a:solidFill>
                  <a:srgbClr val="4F5F6B"/>
                </a:solidFill>
                <a:latin typeface="Arial Narrow"/>
                <a:cs typeface="Arial Narrow"/>
              </a:rPr>
              <a:t>Stage</a:t>
            </a: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 IIB </a:t>
            </a:r>
            <a:r>
              <a:rPr sz="1728" b="1" spc="-14" dirty="0">
                <a:solidFill>
                  <a:srgbClr val="4F5F6B"/>
                </a:solidFill>
                <a:latin typeface="Arial Narrow"/>
                <a:cs typeface="Arial Narrow"/>
              </a:rPr>
              <a:t>(n=226)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25" name="object 36">
            <a:extLst>
              <a:ext uri="{FF2B5EF4-FFF2-40B4-BE49-F238E27FC236}">
                <a16:creationId xmlns:a16="http://schemas.microsoft.com/office/drawing/2014/main" id="{3A93CD1B-82E3-40F2-9D1B-A8CFD5463877}"/>
              </a:ext>
            </a:extLst>
          </p:cNvPr>
          <p:cNvSpPr txBox="1"/>
          <p:nvPr/>
        </p:nvSpPr>
        <p:spPr>
          <a:xfrm>
            <a:off x="5919912" y="7058261"/>
            <a:ext cx="804569" cy="548966"/>
          </a:xfrm>
          <a:prstGeom prst="rect">
            <a:avLst/>
          </a:prstGeom>
        </p:spPr>
        <p:txBody>
          <a:bodyPr vert="horz" wrap="square" lIns="0" tIns="35657" rIns="0" bIns="0" rtlCol="0">
            <a:spAutoFit/>
          </a:bodyPr>
          <a:lstStyle/>
          <a:p>
            <a:pPr marL="85027" marR="7314" indent="-67656">
              <a:lnSpc>
                <a:spcPts val="1987"/>
              </a:lnSpc>
              <a:spcBef>
                <a:spcPts val="281"/>
              </a:spcBef>
            </a:pPr>
            <a:r>
              <a:rPr sz="1728" b="1" dirty="0">
                <a:solidFill>
                  <a:srgbClr val="4F5F6B"/>
                </a:solidFill>
                <a:latin typeface="Arial Narrow"/>
                <a:cs typeface="Arial Narrow"/>
              </a:rPr>
              <a:t>Stage</a:t>
            </a: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 IIC </a:t>
            </a:r>
            <a:r>
              <a:rPr sz="1728" b="1" spc="-14" dirty="0">
                <a:solidFill>
                  <a:srgbClr val="4F5F6B"/>
                </a:solidFill>
                <a:latin typeface="Arial Narrow"/>
                <a:cs typeface="Arial Narrow"/>
              </a:rPr>
              <a:t>(n=112)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26" name="object 37">
            <a:extLst>
              <a:ext uri="{FF2B5EF4-FFF2-40B4-BE49-F238E27FC236}">
                <a16:creationId xmlns:a16="http://schemas.microsoft.com/office/drawing/2014/main" id="{3E439B1A-52C9-48AF-98D5-E3A8BCBCDAE0}"/>
              </a:ext>
            </a:extLst>
          </p:cNvPr>
          <p:cNvSpPr txBox="1"/>
          <p:nvPr/>
        </p:nvSpPr>
        <p:spPr>
          <a:xfrm>
            <a:off x="1818166" y="4447692"/>
            <a:ext cx="310213" cy="1169367"/>
          </a:xfrm>
          <a:prstGeom prst="rect">
            <a:avLst/>
          </a:prstGeom>
        </p:spPr>
        <p:txBody>
          <a:bodyPr vert="vert270" wrap="square" lIns="0" tIns="1829" rIns="0" bIns="0" rtlCol="0">
            <a:spAutoFit/>
          </a:bodyPr>
          <a:lstStyle/>
          <a:p>
            <a:pPr marL="18285">
              <a:spcBef>
                <a:spcPts val="14"/>
              </a:spcBef>
            </a:pPr>
            <a:r>
              <a:rPr sz="2016" b="1" spc="-14" dirty="0">
                <a:solidFill>
                  <a:srgbClr val="4F5F6B"/>
                </a:solidFill>
                <a:latin typeface="Arial Narrow"/>
                <a:cs typeface="Arial Narrow"/>
              </a:rPr>
              <a:t>Percentage</a:t>
            </a:r>
            <a:endParaRPr sz="2016">
              <a:latin typeface="Arial Narrow"/>
              <a:cs typeface="Arial Narrow"/>
            </a:endParaRPr>
          </a:p>
        </p:txBody>
      </p:sp>
      <p:sp>
        <p:nvSpPr>
          <p:cNvPr id="27" name="object 38">
            <a:extLst>
              <a:ext uri="{FF2B5EF4-FFF2-40B4-BE49-F238E27FC236}">
                <a16:creationId xmlns:a16="http://schemas.microsoft.com/office/drawing/2014/main" id="{2680235D-7AED-4BC0-9B67-B2805D3253D7}"/>
              </a:ext>
            </a:extLst>
          </p:cNvPr>
          <p:cNvSpPr txBox="1"/>
          <p:nvPr/>
        </p:nvSpPr>
        <p:spPr>
          <a:xfrm>
            <a:off x="10628650" y="2141249"/>
            <a:ext cx="4597012" cy="372125"/>
          </a:xfrm>
          <a:prstGeom prst="rect">
            <a:avLst/>
          </a:prstGeom>
        </p:spPr>
        <p:txBody>
          <a:bodyPr vert="horz" wrap="square" lIns="0" tIns="17371" rIns="0" bIns="0" rtlCol="0">
            <a:spAutoFit/>
          </a:bodyPr>
          <a:lstStyle/>
          <a:p>
            <a:pPr marL="54856">
              <a:spcBef>
                <a:spcPts val="137"/>
              </a:spcBef>
            </a:pPr>
            <a:r>
              <a:rPr sz="2304" b="1" dirty="0">
                <a:solidFill>
                  <a:srgbClr val="040404"/>
                </a:solidFill>
                <a:latin typeface="Arial Narrow"/>
                <a:cs typeface="Arial Narrow"/>
              </a:rPr>
              <a:t>Stage</a:t>
            </a:r>
            <a:r>
              <a:rPr sz="2304" b="1" spc="-36" dirty="0">
                <a:solidFill>
                  <a:srgbClr val="040404"/>
                </a:solidFill>
                <a:latin typeface="Arial Narrow"/>
                <a:cs typeface="Arial Narrow"/>
              </a:rPr>
              <a:t> </a:t>
            </a:r>
            <a:r>
              <a:rPr sz="2304" b="1" dirty="0">
                <a:solidFill>
                  <a:srgbClr val="040404"/>
                </a:solidFill>
                <a:latin typeface="Arial Narrow"/>
                <a:cs typeface="Arial Narrow"/>
              </a:rPr>
              <a:t>III</a:t>
            </a:r>
            <a:r>
              <a:rPr sz="2304" b="1" spc="-14" dirty="0">
                <a:solidFill>
                  <a:srgbClr val="040404"/>
                </a:solidFill>
                <a:latin typeface="Arial Narrow"/>
                <a:cs typeface="Arial Narrow"/>
              </a:rPr>
              <a:t> Melanoma</a:t>
            </a:r>
            <a:r>
              <a:rPr sz="2304" b="1" spc="-58" dirty="0">
                <a:solidFill>
                  <a:srgbClr val="040404"/>
                </a:solidFill>
                <a:latin typeface="Arial Narrow"/>
                <a:cs typeface="Arial Narrow"/>
              </a:rPr>
              <a:t> </a:t>
            </a:r>
            <a:r>
              <a:rPr sz="2304" b="1" spc="-14" dirty="0">
                <a:solidFill>
                  <a:srgbClr val="040404"/>
                </a:solidFill>
                <a:latin typeface="Arial Narrow"/>
                <a:cs typeface="Arial Narrow"/>
              </a:rPr>
              <a:t>Recurrence</a:t>
            </a:r>
            <a:r>
              <a:rPr sz="2304" b="1" spc="-29" dirty="0">
                <a:solidFill>
                  <a:srgbClr val="040404"/>
                </a:solidFill>
                <a:latin typeface="Arial Narrow"/>
                <a:cs typeface="Arial Narrow"/>
              </a:rPr>
              <a:t> </a:t>
            </a:r>
            <a:r>
              <a:rPr sz="2304" b="1" spc="-14" dirty="0">
                <a:solidFill>
                  <a:srgbClr val="040404"/>
                </a:solidFill>
                <a:latin typeface="Arial Narrow"/>
                <a:cs typeface="Arial Narrow"/>
              </a:rPr>
              <a:t>Rates</a:t>
            </a:r>
            <a:r>
              <a:rPr sz="2268" b="1" spc="-22" baseline="26455" dirty="0">
                <a:solidFill>
                  <a:srgbClr val="040404"/>
                </a:solidFill>
                <a:latin typeface="Arial Narrow"/>
                <a:cs typeface="Arial Narrow"/>
              </a:rPr>
              <a:t>2,b</a:t>
            </a:r>
            <a:endParaRPr sz="2268" baseline="26455">
              <a:latin typeface="Arial Narrow"/>
              <a:cs typeface="Arial Narrow"/>
            </a:endParaRPr>
          </a:p>
        </p:txBody>
      </p:sp>
      <p:grpSp>
        <p:nvGrpSpPr>
          <p:cNvPr id="28" name="object 39">
            <a:extLst>
              <a:ext uri="{FF2B5EF4-FFF2-40B4-BE49-F238E27FC236}">
                <a16:creationId xmlns:a16="http://schemas.microsoft.com/office/drawing/2014/main" id="{24F8D8F7-0793-40C4-A88D-309BEF94C202}"/>
              </a:ext>
            </a:extLst>
          </p:cNvPr>
          <p:cNvGrpSpPr/>
          <p:nvPr/>
        </p:nvGrpSpPr>
        <p:grpSpPr>
          <a:xfrm>
            <a:off x="10503578" y="2942525"/>
            <a:ext cx="4821925" cy="4022843"/>
            <a:chOff x="7293864" y="2043683"/>
            <a:chExt cx="3348990" cy="2794000"/>
          </a:xfrm>
        </p:grpSpPr>
        <p:sp>
          <p:nvSpPr>
            <p:cNvPr id="29" name="object 40">
              <a:extLst>
                <a:ext uri="{FF2B5EF4-FFF2-40B4-BE49-F238E27FC236}">
                  <a16:creationId xmlns:a16="http://schemas.microsoft.com/office/drawing/2014/main" id="{E375DE09-2F89-41EC-98A3-B2C5020F918E}"/>
                </a:ext>
              </a:extLst>
            </p:cNvPr>
            <p:cNvSpPr/>
            <p:nvPr/>
          </p:nvSpPr>
          <p:spPr>
            <a:xfrm>
              <a:off x="7348728" y="4827269"/>
              <a:ext cx="3289300" cy="5080"/>
            </a:xfrm>
            <a:custGeom>
              <a:avLst/>
              <a:gdLst/>
              <a:ahLst/>
              <a:cxnLst/>
              <a:rect l="l" t="t" r="r" b="b"/>
              <a:pathLst>
                <a:path w="3289300" h="5079">
                  <a:moveTo>
                    <a:pt x="0" y="0"/>
                  </a:moveTo>
                  <a:lnTo>
                    <a:pt x="1472183" y="0"/>
                  </a:lnTo>
                </a:path>
                <a:path w="3289300" h="5079">
                  <a:moveTo>
                    <a:pt x="1815083" y="0"/>
                  </a:moveTo>
                  <a:lnTo>
                    <a:pt x="2567940" y="0"/>
                  </a:lnTo>
                </a:path>
                <a:path w="3289300" h="5079">
                  <a:moveTo>
                    <a:pt x="2912364" y="0"/>
                  </a:moveTo>
                  <a:lnTo>
                    <a:pt x="3288792" y="0"/>
                  </a:lnTo>
                </a:path>
                <a:path w="3289300" h="5079">
                  <a:moveTo>
                    <a:pt x="0" y="4571"/>
                  </a:moveTo>
                  <a:lnTo>
                    <a:pt x="3288792" y="4571"/>
                  </a:lnTo>
                </a:path>
              </a:pathLst>
            </a:custGeom>
            <a:ln w="4572">
              <a:solidFill>
                <a:srgbClr val="DEE2E7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30" name="object 41">
              <a:extLst>
                <a:ext uri="{FF2B5EF4-FFF2-40B4-BE49-F238E27FC236}">
                  <a16:creationId xmlns:a16="http://schemas.microsoft.com/office/drawing/2014/main" id="{9AB0B88A-3770-46A6-A0D6-22A824C8BFC0}"/>
                </a:ext>
              </a:extLst>
            </p:cNvPr>
            <p:cNvSpPr/>
            <p:nvPr/>
          </p:nvSpPr>
          <p:spPr>
            <a:xfrm>
              <a:off x="7348728" y="3718560"/>
              <a:ext cx="1472565" cy="556260"/>
            </a:xfrm>
            <a:custGeom>
              <a:avLst/>
              <a:gdLst/>
              <a:ahLst/>
              <a:cxnLst/>
              <a:rect l="l" t="t" r="r" b="b"/>
              <a:pathLst>
                <a:path w="1472565" h="556260">
                  <a:moveTo>
                    <a:pt x="0" y="556259"/>
                  </a:moveTo>
                  <a:lnTo>
                    <a:pt x="374903" y="556259"/>
                  </a:lnTo>
                </a:path>
                <a:path w="1472565" h="556260">
                  <a:moveTo>
                    <a:pt x="719327" y="556259"/>
                  </a:moveTo>
                  <a:lnTo>
                    <a:pt x="1472183" y="556259"/>
                  </a:lnTo>
                </a:path>
                <a:path w="1472565" h="556260">
                  <a:moveTo>
                    <a:pt x="0" y="0"/>
                  </a:moveTo>
                  <a:lnTo>
                    <a:pt x="374903" y="0"/>
                  </a:lnTo>
                </a:path>
                <a:path w="1472565" h="556260">
                  <a:moveTo>
                    <a:pt x="719327" y="0"/>
                  </a:moveTo>
                  <a:lnTo>
                    <a:pt x="1472183" y="0"/>
                  </a:lnTo>
                </a:path>
              </a:pathLst>
            </a:custGeom>
            <a:ln w="9144">
              <a:solidFill>
                <a:srgbClr val="DEE2E7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31" name="object 42">
              <a:extLst>
                <a:ext uri="{FF2B5EF4-FFF2-40B4-BE49-F238E27FC236}">
                  <a16:creationId xmlns:a16="http://schemas.microsoft.com/office/drawing/2014/main" id="{0FEEB91F-3A66-467E-8B55-4FCA15EEEA5B}"/>
                </a:ext>
              </a:extLst>
            </p:cNvPr>
            <p:cNvSpPr/>
            <p:nvPr/>
          </p:nvSpPr>
          <p:spPr>
            <a:xfrm>
              <a:off x="7723632" y="3607308"/>
              <a:ext cx="344805" cy="1222375"/>
            </a:xfrm>
            <a:custGeom>
              <a:avLst/>
              <a:gdLst/>
              <a:ahLst/>
              <a:cxnLst/>
              <a:rect l="l" t="t" r="r" b="b"/>
              <a:pathLst>
                <a:path w="344804" h="1222375">
                  <a:moveTo>
                    <a:pt x="344424" y="0"/>
                  </a:moveTo>
                  <a:lnTo>
                    <a:pt x="0" y="0"/>
                  </a:lnTo>
                  <a:lnTo>
                    <a:pt x="0" y="1222248"/>
                  </a:lnTo>
                  <a:lnTo>
                    <a:pt x="344424" y="1222248"/>
                  </a:lnTo>
                  <a:lnTo>
                    <a:pt x="344424" y="0"/>
                  </a:lnTo>
                  <a:close/>
                </a:path>
              </a:pathLst>
            </a:custGeom>
            <a:solidFill>
              <a:srgbClr val="F68D2D"/>
            </a:solidFill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32" name="object 43">
              <a:extLst>
                <a:ext uri="{FF2B5EF4-FFF2-40B4-BE49-F238E27FC236}">
                  <a16:creationId xmlns:a16="http://schemas.microsoft.com/office/drawing/2014/main" id="{F30C9C9D-AC70-4FD2-BFFF-4A46FD6639D2}"/>
                </a:ext>
              </a:extLst>
            </p:cNvPr>
            <p:cNvSpPr/>
            <p:nvPr/>
          </p:nvSpPr>
          <p:spPr>
            <a:xfrm>
              <a:off x="9163812" y="3718560"/>
              <a:ext cx="753110" cy="556260"/>
            </a:xfrm>
            <a:custGeom>
              <a:avLst/>
              <a:gdLst/>
              <a:ahLst/>
              <a:cxnLst/>
              <a:rect l="l" t="t" r="r" b="b"/>
              <a:pathLst>
                <a:path w="753109" h="556260">
                  <a:moveTo>
                    <a:pt x="0" y="556259"/>
                  </a:moveTo>
                  <a:lnTo>
                    <a:pt x="752856" y="556259"/>
                  </a:lnTo>
                </a:path>
                <a:path w="753109" h="556260">
                  <a:moveTo>
                    <a:pt x="0" y="0"/>
                  </a:moveTo>
                  <a:lnTo>
                    <a:pt x="752856" y="0"/>
                  </a:lnTo>
                </a:path>
              </a:pathLst>
            </a:custGeom>
            <a:ln w="9144">
              <a:solidFill>
                <a:srgbClr val="DEE2E7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33" name="object 44">
              <a:extLst>
                <a:ext uri="{FF2B5EF4-FFF2-40B4-BE49-F238E27FC236}">
                  <a16:creationId xmlns:a16="http://schemas.microsoft.com/office/drawing/2014/main" id="{89021790-1213-4DE2-BC65-BFFA469D1E37}"/>
                </a:ext>
              </a:extLst>
            </p:cNvPr>
            <p:cNvSpPr/>
            <p:nvPr/>
          </p:nvSpPr>
          <p:spPr>
            <a:xfrm>
              <a:off x="8820912" y="3579875"/>
              <a:ext cx="342900" cy="1249680"/>
            </a:xfrm>
            <a:custGeom>
              <a:avLst/>
              <a:gdLst/>
              <a:ahLst/>
              <a:cxnLst/>
              <a:rect l="l" t="t" r="r" b="b"/>
              <a:pathLst>
                <a:path w="342900" h="1249679">
                  <a:moveTo>
                    <a:pt x="342900" y="0"/>
                  </a:moveTo>
                  <a:lnTo>
                    <a:pt x="0" y="0"/>
                  </a:lnTo>
                  <a:lnTo>
                    <a:pt x="0" y="1249680"/>
                  </a:lnTo>
                  <a:lnTo>
                    <a:pt x="342900" y="1249680"/>
                  </a:lnTo>
                  <a:lnTo>
                    <a:pt x="342900" y="0"/>
                  </a:lnTo>
                  <a:close/>
                </a:path>
              </a:pathLst>
            </a:custGeom>
            <a:solidFill>
              <a:srgbClr val="F68D2D"/>
            </a:solidFill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34" name="object 45">
              <a:extLst>
                <a:ext uri="{FF2B5EF4-FFF2-40B4-BE49-F238E27FC236}">
                  <a16:creationId xmlns:a16="http://schemas.microsoft.com/office/drawing/2014/main" id="{4C0D1B9B-DC65-4221-BC28-EEEAC6A46765}"/>
                </a:ext>
              </a:extLst>
            </p:cNvPr>
            <p:cNvSpPr/>
            <p:nvPr/>
          </p:nvSpPr>
          <p:spPr>
            <a:xfrm>
              <a:off x="7348728" y="3162300"/>
              <a:ext cx="3289300" cy="1112520"/>
            </a:xfrm>
            <a:custGeom>
              <a:avLst/>
              <a:gdLst/>
              <a:ahLst/>
              <a:cxnLst/>
              <a:rect l="l" t="t" r="r" b="b"/>
              <a:pathLst>
                <a:path w="3289300" h="1112520">
                  <a:moveTo>
                    <a:pt x="2912364" y="1112520"/>
                  </a:moveTo>
                  <a:lnTo>
                    <a:pt x="3288792" y="1112520"/>
                  </a:lnTo>
                </a:path>
                <a:path w="3289300" h="1112520">
                  <a:moveTo>
                    <a:pt x="2912364" y="556260"/>
                  </a:moveTo>
                  <a:lnTo>
                    <a:pt x="3288792" y="556260"/>
                  </a:lnTo>
                </a:path>
                <a:path w="3289300" h="1112520">
                  <a:moveTo>
                    <a:pt x="0" y="0"/>
                  </a:moveTo>
                  <a:lnTo>
                    <a:pt x="2567940" y="0"/>
                  </a:lnTo>
                </a:path>
                <a:path w="3289300" h="1112520">
                  <a:moveTo>
                    <a:pt x="2912364" y="0"/>
                  </a:moveTo>
                  <a:lnTo>
                    <a:pt x="3288792" y="0"/>
                  </a:lnTo>
                </a:path>
              </a:pathLst>
            </a:custGeom>
            <a:ln w="9144">
              <a:solidFill>
                <a:srgbClr val="DEE2E7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35" name="object 46">
              <a:extLst>
                <a:ext uri="{FF2B5EF4-FFF2-40B4-BE49-F238E27FC236}">
                  <a16:creationId xmlns:a16="http://schemas.microsoft.com/office/drawing/2014/main" id="{530F53F4-D797-4FD9-8A0F-143151F37825}"/>
                </a:ext>
              </a:extLst>
            </p:cNvPr>
            <p:cNvSpPr/>
            <p:nvPr/>
          </p:nvSpPr>
          <p:spPr>
            <a:xfrm>
              <a:off x="9916668" y="2773679"/>
              <a:ext cx="344805" cy="2056130"/>
            </a:xfrm>
            <a:custGeom>
              <a:avLst/>
              <a:gdLst/>
              <a:ahLst/>
              <a:cxnLst/>
              <a:rect l="l" t="t" r="r" b="b"/>
              <a:pathLst>
                <a:path w="344804" h="2056129">
                  <a:moveTo>
                    <a:pt x="344424" y="0"/>
                  </a:moveTo>
                  <a:lnTo>
                    <a:pt x="0" y="0"/>
                  </a:lnTo>
                  <a:lnTo>
                    <a:pt x="0" y="2055876"/>
                  </a:lnTo>
                  <a:lnTo>
                    <a:pt x="344424" y="2055876"/>
                  </a:lnTo>
                  <a:lnTo>
                    <a:pt x="344424" y="0"/>
                  </a:lnTo>
                  <a:close/>
                </a:path>
              </a:pathLst>
            </a:custGeom>
            <a:solidFill>
              <a:srgbClr val="F68D2D"/>
            </a:solidFill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36" name="object 47">
              <a:extLst>
                <a:ext uri="{FF2B5EF4-FFF2-40B4-BE49-F238E27FC236}">
                  <a16:creationId xmlns:a16="http://schemas.microsoft.com/office/drawing/2014/main" id="{076ADE27-1F1F-4293-8379-2AD2BFE5A909}"/>
                </a:ext>
              </a:extLst>
            </p:cNvPr>
            <p:cNvSpPr/>
            <p:nvPr/>
          </p:nvSpPr>
          <p:spPr>
            <a:xfrm>
              <a:off x="7348728" y="2051303"/>
              <a:ext cx="3289300" cy="0"/>
            </a:xfrm>
            <a:custGeom>
              <a:avLst/>
              <a:gdLst/>
              <a:ahLst/>
              <a:cxnLst/>
              <a:rect l="l" t="t" r="r" b="b"/>
              <a:pathLst>
                <a:path w="3289300">
                  <a:moveTo>
                    <a:pt x="0" y="0"/>
                  </a:moveTo>
                  <a:lnTo>
                    <a:pt x="3288792" y="0"/>
                  </a:lnTo>
                </a:path>
              </a:pathLst>
            </a:custGeom>
            <a:ln w="9144">
              <a:solidFill>
                <a:srgbClr val="DEE2E7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37" name="object 48">
              <a:extLst>
                <a:ext uri="{FF2B5EF4-FFF2-40B4-BE49-F238E27FC236}">
                  <a16:creationId xmlns:a16="http://schemas.microsoft.com/office/drawing/2014/main" id="{2766E451-C3AA-4EF5-B9C5-0C2A38FE6808}"/>
                </a:ext>
              </a:extLst>
            </p:cNvPr>
            <p:cNvSpPr/>
            <p:nvPr/>
          </p:nvSpPr>
          <p:spPr>
            <a:xfrm>
              <a:off x="7301484" y="2051303"/>
              <a:ext cx="47625" cy="2778760"/>
            </a:xfrm>
            <a:custGeom>
              <a:avLst/>
              <a:gdLst/>
              <a:ahLst/>
              <a:cxnLst/>
              <a:rect l="l" t="t" r="r" b="b"/>
              <a:pathLst>
                <a:path w="47625" h="2778760">
                  <a:moveTo>
                    <a:pt x="47244" y="2778252"/>
                  </a:moveTo>
                  <a:lnTo>
                    <a:pt x="47244" y="0"/>
                  </a:lnTo>
                </a:path>
                <a:path w="47625" h="2778760">
                  <a:moveTo>
                    <a:pt x="0" y="2778252"/>
                  </a:moveTo>
                  <a:lnTo>
                    <a:pt x="47244" y="2778252"/>
                  </a:lnTo>
                </a:path>
                <a:path w="47625" h="2778760">
                  <a:moveTo>
                    <a:pt x="0" y="2223516"/>
                  </a:moveTo>
                  <a:lnTo>
                    <a:pt x="47244" y="2223516"/>
                  </a:lnTo>
                </a:path>
                <a:path w="47625" h="2778760">
                  <a:moveTo>
                    <a:pt x="0" y="1667256"/>
                  </a:moveTo>
                  <a:lnTo>
                    <a:pt x="47244" y="1667256"/>
                  </a:lnTo>
                </a:path>
                <a:path w="47625" h="2778760">
                  <a:moveTo>
                    <a:pt x="0" y="1110996"/>
                  </a:moveTo>
                  <a:lnTo>
                    <a:pt x="47244" y="1110996"/>
                  </a:lnTo>
                </a:path>
                <a:path w="47625" h="2778760">
                  <a:moveTo>
                    <a:pt x="0" y="556260"/>
                  </a:moveTo>
                  <a:lnTo>
                    <a:pt x="47244" y="556260"/>
                  </a:lnTo>
                </a:path>
                <a:path w="47625" h="2778760">
                  <a:moveTo>
                    <a:pt x="0" y="0"/>
                  </a:moveTo>
                  <a:lnTo>
                    <a:pt x="47244" y="0"/>
                  </a:lnTo>
                </a:path>
              </a:pathLst>
            </a:custGeom>
            <a:ln w="15240">
              <a:solidFill>
                <a:srgbClr val="4F5F6B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</p:grpSp>
      <p:sp>
        <p:nvSpPr>
          <p:cNvPr id="38" name="object 49">
            <a:extLst>
              <a:ext uri="{FF2B5EF4-FFF2-40B4-BE49-F238E27FC236}">
                <a16:creationId xmlns:a16="http://schemas.microsoft.com/office/drawing/2014/main" id="{4628FFD2-5E2C-49E2-A00F-1932B97A9087}"/>
              </a:ext>
            </a:extLst>
          </p:cNvPr>
          <p:cNvSpPr txBox="1"/>
          <p:nvPr/>
        </p:nvSpPr>
        <p:spPr>
          <a:xfrm>
            <a:off x="11174296" y="4827958"/>
            <a:ext cx="399541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spc="-36" dirty="0">
                <a:solidFill>
                  <a:srgbClr val="4F5F6B"/>
                </a:solidFill>
                <a:latin typeface="Arial Narrow"/>
                <a:cs typeface="Arial Narrow"/>
              </a:rPr>
              <a:t>44%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39" name="object 50">
            <a:extLst>
              <a:ext uri="{FF2B5EF4-FFF2-40B4-BE49-F238E27FC236}">
                <a16:creationId xmlns:a16="http://schemas.microsoft.com/office/drawing/2014/main" id="{E8C2474F-8552-4366-95E9-6874E0A03663}"/>
              </a:ext>
            </a:extLst>
          </p:cNvPr>
          <p:cNvSpPr txBox="1"/>
          <p:nvPr/>
        </p:nvSpPr>
        <p:spPr>
          <a:xfrm>
            <a:off x="12753259" y="4788097"/>
            <a:ext cx="398627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spc="-36" dirty="0">
                <a:solidFill>
                  <a:srgbClr val="4F5F6B"/>
                </a:solidFill>
                <a:latin typeface="Arial Narrow"/>
                <a:cs typeface="Arial Narrow"/>
              </a:rPr>
              <a:t>45%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0" name="object 51">
            <a:extLst>
              <a:ext uri="{FF2B5EF4-FFF2-40B4-BE49-F238E27FC236}">
                <a16:creationId xmlns:a16="http://schemas.microsoft.com/office/drawing/2014/main" id="{19194CB8-988D-4E5B-B43A-30C9E56733D5}"/>
              </a:ext>
            </a:extLst>
          </p:cNvPr>
          <p:cNvSpPr txBox="1"/>
          <p:nvPr/>
        </p:nvSpPr>
        <p:spPr>
          <a:xfrm>
            <a:off x="10564286" y="3627323"/>
            <a:ext cx="4772554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  <a:tabLst>
                <a:tab pos="3785090" algn="l"/>
                <a:tab pos="4753305" algn="l"/>
              </a:tabLst>
            </a:pPr>
            <a:r>
              <a:rPr sz="1728" strike="sngStrike" dirty="0">
                <a:solidFill>
                  <a:srgbClr val="4F5F6B"/>
                </a:solidFill>
                <a:latin typeface="Arial Narrow"/>
                <a:cs typeface="Arial Narrow"/>
              </a:rPr>
              <a:t>	</a:t>
            </a:r>
            <a:r>
              <a:rPr sz="1728" strike="sngStrike" spc="-36" dirty="0">
                <a:solidFill>
                  <a:srgbClr val="4F5F6B"/>
                </a:solidFill>
                <a:latin typeface="Arial Narrow"/>
                <a:cs typeface="Arial Narrow"/>
              </a:rPr>
              <a:t>74%</a:t>
            </a:r>
            <a:r>
              <a:rPr sz="1728" strike="sngStrike" dirty="0">
                <a:solidFill>
                  <a:srgbClr val="4F5F6B"/>
                </a:solidFill>
                <a:latin typeface="Arial Narrow"/>
                <a:cs typeface="Arial Narrow"/>
              </a:rPr>
              <a:t>	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1" name="object 52">
            <a:extLst>
              <a:ext uri="{FF2B5EF4-FFF2-40B4-BE49-F238E27FC236}">
                <a16:creationId xmlns:a16="http://schemas.microsoft.com/office/drawing/2014/main" id="{8190912F-8671-4EF8-8738-570E61EA1EB5}"/>
              </a:ext>
            </a:extLst>
          </p:cNvPr>
          <p:cNvSpPr txBox="1"/>
          <p:nvPr/>
        </p:nvSpPr>
        <p:spPr>
          <a:xfrm>
            <a:off x="10271533" y="6789278"/>
            <a:ext cx="137142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dirty="0">
                <a:solidFill>
                  <a:srgbClr val="4F5F6B"/>
                </a:solidFill>
                <a:latin typeface="Arial Narrow"/>
                <a:cs typeface="Arial Narrow"/>
              </a:rPr>
              <a:t>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2" name="object 53">
            <a:extLst>
              <a:ext uri="{FF2B5EF4-FFF2-40B4-BE49-F238E27FC236}">
                <a16:creationId xmlns:a16="http://schemas.microsoft.com/office/drawing/2014/main" id="{FA4F9019-A5FB-46EC-A075-6C6D3C79A85C}"/>
              </a:ext>
            </a:extLst>
          </p:cNvPr>
          <p:cNvSpPr txBox="1"/>
          <p:nvPr/>
        </p:nvSpPr>
        <p:spPr>
          <a:xfrm>
            <a:off x="10171509" y="5988733"/>
            <a:ext cx="238628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2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3" name="object 54">
            <a:extLst>
              <a:ext uri="{FF2B5EF4-FFF2-40B4-BE49-F238E27FC236}">
                <a16:creationId xmlns:a16="http://schemas.microsoft.com/office/drawing/2014/main" id="{D3A7D05E-1EB4-40C3-A817-FF6F7CEB28A6}"/>
              </a:ext>
            </a:extLst>
          </p:cNvPr>
          <p:cNvSpPr txBox="1"/>
          <p:nvPr/>
        </p:nvSpPr>
        <p:spPr>
          <a:xfrm>
            <a:off x="10171509" y="5187931"/>
            <a:ext cx="238628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4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4" name="object 55">
            <a:extLst>
              <a:ext uri="{FF2B5EF4-FFF2-40B4-BE49-F238E27FC236}">
                <a16:creationId xmlns:a16="http://schemas.microsoft.com/office/drawing/2014/main" id="{790D15DC-E7F2-42F2-93E3-6FA8AF92D493}"/>
              </a:ext>
            </a:extLst>
          </p:cNvPr>
          <p:cNvSpPr txBox="1"/>
          <p:nvPr/>
        </p:nvSpPr>
        <p:spPr>
          <a:xfrm>
            <a:off x="10171509" y="4388190"/>
            <a:ext cx="238628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6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5" name="object 56">
            <a:extLst>
              <a:ext uri="{FF2B5EF4-FFF2-40B4-BE49-F238E27FC236}">
                <a16:creationId xmlns:a16="http://schemas.microsoft.com/office/drawing/2014/main" id="{F342725F-1318-4973-80DF-6579E1DBACA4}"/>
              </a:ext>
            </a:extLst>
          </p:cNvPr>
          <p:cNvSpPr txBox="1"/>
          <p:nvPr/>
        </p:nvSpPr>
        <p:spPr>
          <a:xfrm>
            <a:off x="10171509" y="3587826"/>
            <a:ext cx="238628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8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6" name="object 57">
            <a:extLst>
              <a:ext uri="{FF2B5EF4-FFF2-40B4-BE49-F238E27FC236}">
                <a16:creationId xmlns:a16="http://schemas.microsoft.com/office/drawing/2014/main" id="{D10F7E18-6E32-4EA2-851D-C17774474FAE}"/>
              </a:ext>
            </a:extLst>
          </p:cNvPr>
          <p:cNvSpPr txBox="1"/>
          <p:nvPr/>
        </p:nvSpPr>
        <p:spPr>
          <a:xfrm>
            <a:off x="10071854" y="2787280"/>
            <a:ext cx="336454" cy="284371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marL="18285">
              <a:spcBef>
                <a:spcPts val="144"/>
              </a:spcBef>
            </a:pP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100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7" name="object 58">
            <a:extLst>
              <a:ext uri="{FF2B5EF4-FFF2-40B4-BE49-F238E27FC236}">
                <a16:creationId xmlns:a16="http://schemas.microsoft.com/office/drawing/2014/main" id="{9B40449D-C5D0-433F-8838-4F1F47D60F9A}"/>
              </a:ext>
            </a:extLst>
          </p:cNvPr>
          <p:cNvSpPr txBox="1"/>
          <p:nvPr/>
        </p:nvSpPr>
        <p:spPr>
          <a:xfrm>
            <a:off x="10944811" y="7058261"/>
            <a:ext cx="854854" cy="548966"/>
          </a:xfrm>
          <a:prstGeom prst="rect">
            <a:avLst/>
          </a:prstGeom>
        </p:spPr>
        <p:txBody>
          <a:bodyPr vert="horz" wrap="square" lIns="0" tIns="35657" rIns="0" bIns="0" rtlCol="0">
            <a:spAutoFit/>
          </a:bodyPr>
          <a:lstStyle/>
          <a:p>
            <a:pPr marL="159998" marR="7314" indent="-142627">
              <a:lnSpc>
                <a:spcPts val="1987"/>
              </a:lnSpc>
              <a:spcBef>
                <a:spcPts val="281"/>
              </a:spcBef>
            </a:pPr>
            <a:r>
              <a:rPr sz="1728" b="1" dirty="0">
                <a:solidFill>
                  <a:srgbClr val="4F5F6B"/>
                </a:solidFill>
                <a:latin typeface="Arial Narrow"/>
                <a:cs typeface="Arial Narrow"/>
              </a:rPr>
              <a:t>Stage</a:t>
            </a: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 </a:t>
            </a:r>
            <a:r>
              <a:rPr sz="1728" b="1" spc="-29" dirty="0">
                <a:solidFill>
                  <a:srgbClr val="4F5F6B"/>
                </a:solidFill>
                <a:latin typeface="Arial Narrow"/>
                <a:cs typeface="Arial Narrow"/>
              </a:rPr>
              <a:t>IIIA </a:t>
            </a:r>
            <a:r>
              <a:rPr sz="1728" b="1" spc="-14" dirty="0">
                <a:solidFill>
                  <a:srgbClr val="4F5F6B"/>
                </a:solidFill>
                <a:latin typeface="Arial Narrow"/>
                <a:cs typeface="Arial Narrow"/>
              </a:rPr>
              <a:t>(n=91)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8" name="object 59">
            <a:extLst>
              <a:ext uri="{FF2B5EF4-FFF2-40B4-BE49-F238E27FC236}">
                <a16:creationId xmlns:a16="http://schemas.microsoft.com/office/drawing/2014/main" id="{D855CDE1-1C54-4A4A-9508-285B3A33A322}"/>
              </a:ext>
            </a:extLst>
          </p:cNvPr>
          <p:cNvSpPr txBox="1"/>
          <p:nvPr/>
        </p:nvSpPr>
        <p:spPr>
          <a:xfrm>
            <a:off x="12523775" y="7058261"/>
            <a:ext cx="854854" cy="548966"/>
          </a:xfrm>
          <a:prstGeom prst="rect">
            <a:avLst/>
          </a:prstGeom>
        </p:spPr>
        <p:txBody>
          <a:bodyPr vert="horz" wrap="square" lIns="0" tIns="35657" rIns="0" bIns="0" rtlCol="0">
            <a:spAutoFit/>
          </a:bodyPr>
          <a:lstStyle/>
          <a:p>
            <a:pPr marL="109713" marR="7314" indent="-92342">
              <a:lnSpc>
                <a:spcPts val="1987"/>
              </a:lnSpc>
              <a:spcBef>
                <a:spcPts val="281"/>
              </a:spcBef>
            </a:pPr>
            <a:r>
              <a:rPr sz="1728" b="1" dirty="0">
                <a:solidFill>
                  <a:srgbClr val="4F5F6B"/>
                </a:solidFill>
                <a:latin typeface="Arial Narrow"/>
                <a:cs typeface="Arial Narrow"/>
              </a:rPr>
              <a:t>Stage</a:t>
            </a: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 </a:t>
            </a:r>
            <a:r>
              <a:rPr sz="1728" b="1" spc="-29" dirty="0">
                <a:solidFill>
                  <a:srgbClr val="4F5F6B"/>
                </a:solidFill>
                <a:latin typeface="Arial Narrow"/>
                <a:cs typeface="Arial Narrow"/>
              </a:rPr>
              <a:t>IIIB </a:t>
            </a:r>
            <a:r>
              <a:rPr sz="1728" b="1" spc="-14" dirty="0">
                <a:solidFill>
                  <a:srgbClr val="4F5F6B"/>
                </a:solidFill>
                <a:latin typeface="Arial Narrow"/>
                <a:cs typeface="Arial Narrow"/>
              </a:rPr>
              <a:t>(n=110)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49" name="object 60">
            <a:extLst>
              <a:ext uri="{FF2B5EF4-FFF2-40B4-BE49-F238E27FC236}">
                <a16:creationId xmlns:a16="http://schemas.microsoft.com/office/drawing/2014/main" id="{DE2D17D3-B247-4D95-85F9-5E1E63D51437}"/>
              </a:ext>
            </a:extLst>
          </p:cNvPr>
          <p:cNvSpPr txBox="1"/>
          <p:nvPr/>
        </p:nvSpPr>
        <p:spPr>
          <a:xfrm>
            <a:off x="14102376" y="7058261"/>
            <a:ext cx="854854" cy="548966"/>
          </a:xfrm>
          <a:prstGeom prst="rect">
            <a:avLst/>
          </a:prstGeom>
        </p:spPr>
        <p:txBody>
          <a:bodyPr vert="horz" wrap="square" lIns="0" tIns="35657" rIns="0" bIns="0" rtlCol="0">
            <a:spAutoFit/>
          </a:bodyPr>
          <a:lstStyle/>
          <a:p>
            <a:pPr marL="159998" marR="7314" indent="-142627">
              <a:lnSpc>
                <a:spcPts val="1987"/>
              </a:lnSpc>
              <a:spcBef>
                <a:spcPts val="281"/>
              </a:spcBef>
            </a:pPr>
            <a:r>
              <a:rPr sz="1728" b="1" dirty="0">
                <a:solidFill>
                  <a:srgbClr val="4F5F6B"/>
                </a:solidFill>
                <a:latin typeface="Arial Narrow"/>
                <a:cs typeface="Arial Narrow"/>
              </a:rPr>
              <a:t>Stage</a:t>
            </a:r>
            <a:r>
              <a:rPr sz="1728" b="1" spc="-36" dirty="0">
                <a:solidFill>
                  <a:srgbClr val="4F5F6B"/>
                </a:solidFill>
                <a:latin typeface="Arial Narrow"/>
                <a:cs typeface="Arial Narrow"/>
              </a:rPr>
              <a:t> </a:t>
            </a:r>
            <a:r>
              <a:rPr sz="1728" b="1" spc="-29" dirty="0">
                <a:solidFill>
                  <a:srgbClr val="4F5F6B"/>
                </a:solidFill>
                <a:latin typeface="Arial Narrow"/>
                <a:cs typeface="Arial Narrow"/>
              </a:rPr>
              <a:t>IIIC </a:t>
            </a:r>
            <a:r>
              <a:rPr sz="1728" b="1" spc="-14" dirty="0">
                <a:solidFill>
                  <a:srgbClr val="4F5F6B"/>
                </a:solidFill>
                <a:latin typeface="Arial Narrow"/>
                <a:cs typeface="Arial Narrow"/>
              </a:rPr>
              <a:t>(n=50)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50" name="object 61">
            <a:extLst>
              <a:ext uri="{FF2B5EF4-FFF2-40B4-BE49-F238E27FC236}">
                <a16:creationId xmlns:a16="http://schemas.microsoft.com/office/drawing/2014/main" id="{E3791118-1200-4791-B3C1-3D8FEA301C24}"/>
              </a:ext>
            </a:extLst>
          </p:cNvPr>
          <p:cNvSpPr txBox="1"/>
          <p:nvPr/>
        </p:nvSpPr>
        <p:spPr>
          <a:xfrm>
            <a:off x="9630710" y="4447692"/>
            <a:ext cx="310213" cy="1169367"/>
          </a:xfrm>
          <a:prstGeom prst="rect">
            <a:avLst/>
          </a:prstGeom>
        </p:spPr>
        <p:txBody>
          <a:bodyPr vert="vert270" wrap="square" lIns="0" tIns="1829" rIns="0" bIns="0" rtlCol="0">
            <a:spAutoFit/>
          </a:bodyPr>
          <a:lstStyle/>
          <a:p>
            <a:pPr marL="18285">
              <a:spcBef>
                <a:spcPts val="14"/>
              </a:spcBef>
            </a:pPr>
            <a:r>
              <a:rPr sz="2016" b="1" spc="-14" dirty="0">
                <a:solidFill>
                  <a:srgbClr val="4F5F6B"/>
                </a:solidFill>
                <a:latin typeface="Arial Narrow"/>
                <a:cs typeface="Arial Narrow"/>
              </a:rPr>
              <a:t>Percentage</a:t>
            </a:r>
            <a:endParaRPr sz="2016">
              <a:latin typeface="Arial Narrow"/>
              <a:cs typeface="Arial Narrow"/>
            </a:endParaRPr>
          </a:p>
        </p:txBody>
      </p:sp>
      <p:grpSp>
        <p:nvGrpSpPr>
          <p:cNvPr id="51" name="object 62">
            <a:extLst>
              <a:ext uri="{FF2B5EF4-FFF2-40B4-BE49-F238E27FC236}">
                <a16:creationId xmlns:a16="http://schemas.microsoft.com/office/drawing/2014/main" id="{2F3D6CB5-B11F-4A7B-B5A4-1304F7BB4BCA}"/>
              </a:ext>
            </a:extLst>
          </p:cNvPr>
          <p:cNvGrpSpPr/>
          <p:nvPr/>
        </p:nvGrpSpPr>
        <p:grpSpPr>
          <a:xfrm>
            <a:off x="11052148" y="3127942"/>
            <a:ext cx="3778729" cy="263313"/>
            <a:chOff x="7674864" y="2172461"/>
            <a:chExt cx="2624455" cy="182880"/>
          </a:xfrm>
        </p:grpSpPr>
        <p:sp>
          <p:nvSpPr>
            <p:cNvPr id="52" name="object 63">
              <a:extLst>
                <a:ext uri="{FF2B5EF4-FFF2-40B4-BE49-F238E27FC236}">
                  <a16:creationId xmlns:a16="http://schemas.microsoft.com/office/drawing/2014/main" id="{F41247CA-4E7D-4E5C-87D8-DA0E671D45BA}"/>
                </a:ext>
              </a:extLst>
            </p:cNvPr>
            <p:cNvSpPr/>
            <p:nvPr/>
          </p:nvSpPr>
          <p:spPr>
            <a:xfrm>
              <a:off x="7689342" y="2263901"/>
              <a:ext cx="2595245" cy="0"/>
            </a:xfrm>
            <a:custGeom>
              <a:avLst/>
              <a:gdLst/>
              <a:ahLst/>
              <a:cxnLst/>
              <a:rect l="l" t="t" r="r" b="b"/>
              <a:pathLst>
                <a:path w="2595245">
                  <a:moveTo>
                    <a:pt x="0" y="0"/>
                  </a:moveTo>
                  <a:lnTo>
                    <a:pt x="794765" y="0"/>
                  </a:lnTo>
                </a:path>
                <a:path w="2595245">
                  <a:moveTo>
                    <a:pt x="1812797" y="0"/>
                  </a:moveTo>
                  <a:lnTo>
                    <a:pt x="2594990" y="0"/>
                  </a:lnTo>
                </a:path>
              </a:pathLst>
            </a:custGeom>
            <a:ln w="28955">
              <a:solidFill>
                <a:srgbClr val="F68D2D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53" name="object 64">
              <a:extLst>
                <a:ext uri="{FF2B5EF4-FFF2-40B4-BE49-F238E27FC236}">
                  <a16:creationId xmlns:a16="http://schemas.microsoft.com/office/drawing/2014/main" id="{D27DBEBE-92D2-4AC5-A530-F61C4777A75C}"/>
                </a:ext>
              </a:extLst>
            </p:cNvPr>
            <p:cNvSpPr/>
            <p:nvPr/>
          </p:nvSpPr>
          <p:spPr>
            <a:xfrm>
              <a:off x="7689342" y="2172461"/>
              <a:ext cx="2595880" cy="182880"/>
            </a:xfrm>
            <a:custGeom>
              <a:avLst/>
              <a:gdLst/>
              <a:ahLst/>
              <a:cxnLst/>
              <a:rect l="l" t="t" r="r" b="b"/>
              <a:pathLst>
                <a:path w="2595879" h="182880">
                  <a:moveTo>
                    <a:pt x="2595372" y="0"/>
                  </a:moveTo>
                  <a:lnTo>
                    <a:pt x="2595372" y="182879"/>
                  </a:lnTo>
                </a:path>
                <a:path w="2595879" h="182880">
                  <a:moveTo>
                    <a:pt x="0" y="0"/>
                  </a:moveTo>
                  <a:lnTo>
                    <a:pt x="0" y="182879"/>
                  </a:lnTo>
                </a:path>
              </a:pathLst>
            </a:custGeom>
            <a:ln w="28956">
              <a:solidFill>
                <a:srgbClr val="F68D2D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</p:grpSp>
      <p:grpSp>
        <p:nvGrpSpPr>
          <p:cNvPr id="54" name="object 65">
            <a:extLst>
              <a:ext uri="{FF2B5EF4-FFF2-40B4-BE49-F238E27FC236}">
                <a16:creationId xmlns:a16="http://schemas.microsoft.com/office/drawing/2014/main" id="{64A32B11-7809-4D4E-8FB6-B3FD595B4C1F}"/>
              </a:ext>
            </a:extLst>
          </p:cNvPr>
          <p:cNvGrpSpPr/>
          <p:nvPr/>
        </p:nvGrpSpPr>
        <p:grpSpPr>
          <a:xfrm>
            <a:off x="3321705" y="3127942"/>
            <a:ext cx="3776901" cy="263313"/>
            <a:chOff x="2305811" y="2172461"/>
            <a:chExt cx="2623185" cy="182880"/>
          </a:xfrm>
        </p:grpSpPr>
        <p:sp>
          <p:nvSpPr>
            <p:cNvPr id="55" name="object 66">
              <a:extLst>
                <a:ext uri="{FF2B5EF4-FFF2-40B4-BE49-F238E27FC236}">
                  <a16:creationId xmlns:a16="http://schemas.microsoft.com/office/drawing/2014/main" id="{369E666A-5C87-4898-9F51-F35871FB844C}"/>
                </a:ext>
              </a:extLst>
            </p:cNvPr>
            <p:cNvSpPr/>
            <p:nvPr/>
          </p:nvSpPr>
          <p:spPr>
            <a:xfrm>
              <a:off x="2320289" y="2263901"/>
              <a:ext cx="2595245" cy="0"/>
            </a:xfrm>
            <a:custGeom>
              <a:avLst/>
              <a:gdLst/>
              <a:ahLst/>
              <a:cxnLst/>
              <a:rect l="l" t="t" r="r" b="b"/>
              <a:pathLst>
                <a:path w="2595245">
                  <a:moveTo>
                    <a:pt x="0" y="0"/>
                  </a:moveTo>
                  <a:lnTo>
                    <a:pt x="787146" y="0"/>
                  </a:lnTo>
                </a:path>
                <a:path w="2595245">
                  <a:moveTo>
                    <a:pt x="1805178" y="0"/>
                  </a:moveTo>
                  <a:lnTo>
                    <a:pt x="2594991" y="0"/>
                  </a:lnTo>
                </a:path>
              </a:pathLst>
            </a:custGeom>
            <a:ln w="28955">
              <a:solidFill>
                <a:srgbClr val="00867B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  <p:sp>
          <p:nvSpPr>
            <p:cNvPr id="56" name="object 67">
              <a:extLst>
                <a:ext uri="{FF2B5EF4-FFF2-40B4-BE49-F238E27FC236}">
                  <a16:creationId xmlns:a16="http://schemas.microsoft.com/office/drawing/2014/main" id="{CDACDC4C-9A57-4536-8EDE-04E9AFFBB32D}"/>
                </a:ext>
              </a:extLst>
            </p:cNvPr>
            <p:cNvSpPr/>
            <p:nvPr/>
          </p:nvSpPr>
          <p:spPr>
            <a:xfrm>
              <a:off x="2320289" y="2172461"/>
              <a:ext cx="2593975" cy="182880"/>
            </a:xfrm>
            <a:custGeom>
              <a:avLst/>
              <a:gdLst/>
              <a:ahLst/>
              <a:cxnLst/>
              <a:rect l="l" t="t" r="r" b="b"/>
              <a:pathLst>
                <a:path w="2593975" h="182880">
                  <a:moveTo>
                    <a:pt x="2593848" y="0"/>
                  </a:moveTo>
                  <a:lnTo>
                    <a:pt x="2593848" y="182879"/>
                  </a:lnTo>
                </a:path>
                <a:path w="2593975" h="182880">
                  <a:moveTo>
                    <a:pt x="0" y="0"/>
                  </a:moveTo>
                  <a:lnTo>
                    <a:pt x="0" y="182879"/>
                  </a:lnTo>
                </a:path>
              </a:pathLst>
            </a:custGeom>
            <a:ln w="28956">
              <a:solidFill>
                <a:srgbClr val="00867B"/>
              </a:solidFill>
            </a:ln>
          </p:spPr>
          <p:txBody>
            <a:bodyPr wrap="square" lIns="0" tIns="0" rIns="0" bIns="0" rtlCol="0"/>
            <a:lstStyle/>
            <a:p>
              <a:endParaRPr sz="2592"/>
            </a:p>
          </p:txBody>
        </p:sp>
      </p:grpSp>
      <p:sp>
        <p:nvSpPr>
          <p:cNvPr id="57" name="object 68">
            <a:extLst>
              <a:ext uri="{FF2B5EF4-FFF2-40B4-BE49-F238E27FC236}">
                <a16:creationId xmlns:a16="http://schemas.microsoft.com/office/drawing/2014/main" id="{BA148866-9398-4A8D-B074-2B81DB263EDC}"/>
              </a:ext>
            </a:extLst>
          </p:cNvPr>
          <p:cNvSpPr txBox="1"/>
          <p:nvPr/>
        </p:nvSpPr>
        <p:spPr>
          <a:xfrm>
            <a:off x="4570433" y="3066504"/>
            <a:ext cx="1277251" cy="550277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algn="ctr">
              <a:spcBef>
                <a:spcPts val="144"/>
              </a:spcBef>
            </a:pPr>
            <a:r>
              <a:rPr sz="1728" b="1" spc="-14" dirty="0">
                <a:solidFill>
                  <a:srgbClr val="374249"/>
                </a:solidFill>
                <a:latin typeface="Arial Narrow"/>
                <a:cs typeface="Arial Narrow"/>
              </a:rPr>
              <a:t>Node-negative</a:t>
            </a:r>
            <a:endParaRPr sz="1728">
              <a:latin typeface="Arial Narrow"/>
              <a:cs typeface="Arial Narrow"/>
            </a:endParaRPr>
          </a:p>
          <a:p>
            <a:pPr marL="1829" algn="ctr"/>
            <a:r>
              <a:rPr sz="1728" spc="-29" dirty="0">
                <a:solidFill>
                  <a:srgbClr val="374249"/>
                </a:solidFill>
                <a:latin typeface="Arial Narrow"/>
                <a:cs typeface="Arial Narrow"/>
              </a:rPr>
              <a:t>(M0)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59" name="object 69">
            <a:extLst>
              <a:ext uri="{FF2B5EF4-FFF2-40B4-BE49-F238E27FC236}">
                <a16:creationId xmlns:a16="http://schemas.microsoft.com/office/drawing/2014/main" id="{4883F3B8-29BF-45CD-A1D5-BA1F485DA530}"/>
              </a:ext>
            </a:extLst>
          </p:cNvPr>
          <p:cNvSpPr txBox="1"/>
          <p:nvPr/>
        </p:nvSpPr>
        <p:spPr>
          <a:xfrm>
            <a:off x="12337262" y="3066504"/>
            <a:ext cx="1227881" cy="550277"/>
          </a:xfrm>
          <a:prstGeom prst="rect">
            <a:avLst/>
          </a:prstGeom>
        </p:spPr>
        <p:txBody>
          <a:bodyPr vert="horz" wrap="square" lIns="0" tIns="18286" rIns="0" bIns="0" rtlCol="0">
            <a:spAutoFit/>
          </a:bodyPr>
          <a:lstStyle/>
          <a:p>
            <a:pPr algn="ctr">
              <a:spcBef>
                <a:spcPts val="144"/>
              </a:spcBef>
            </a:pPr>
            <a:r>
              <a:rPr sz="1728" b="1" spc="-14" dirty="0">
                <a:solidFill>
                  <a:srgbClr val="374249"/>
                </a:solidFill>
                <a:latin typeface="Arial Narrow"/>
                <a:cs typeface="Arial Narrow"/>
              </a:rPr>
              <a:t>Node-positive</a:t>
            </a:r>
            <a:endParaRPr sz="1728">
              <a:latin typeface="Arial Narrow"/>
              <a:cs typeface="Arial Narrow"/>
            </a:endParaRPr>
          </a:p>
          <a:p>
            <a:pPr marL="3657" algn="ctr"/>
            <a:r>
              <a:rPr sz="1728" spc="-29" dirty="0">
                <a:solidFill>
                  <a:srgbClr val="374249"/>
                </a:solidFill>
                <a:latin typeface="Arial Narrow"/>
                <a:cs typeface="Arial Narrow"/>
              </a:rPr>
              <a:t>(M0)</a:t>
            </a:r>
            <a:endParaRPr sz="1728">
              <a:latin typeface="Arial Narrow"/>
              <a:cs typeface="Arial Narrow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9D0CEFE-321A-4221-A98A-A2D9E0986E0E}"/>
              </a:ext>
            </a:extLst>
          </p:cNvPr>
          <p:cNvSpPr txBox="1"/>
          <p:nvPr/>
        </p:nvSpPr>
        <p:spPr>
          <a:xfrm>
            <a:off x="12180005" y="9387866"/>
            <a:ext cx="5375981" cy="33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584" dirty="0">
                <a:latin typeface="Abadi" panose="020B0604020104020204" pitchFamily="34" charset="0"/>
              </a:rPr>
              <a:t>Código de Aprovação: </a:t>
            </a:r>
            <a:r>
              <a:rPr lang="pt-BR" sz="1584" dirty="0">
                <a:solidFill>
                  <a:srgbClr val="000000"/>
                </a:solidFill>
                <a:latin typeface="Abadi" panose="020B0604020104020204" pitchFamily="34" charset="0"/>
              </a:rPr>
              <a:t>BR-OOC-00304]</a:t>
            </a:r>
            <a:endParaRPr lang="pt-BR" sz="1584" dirty="0">
              <a:latin typeface="Abadi" panose="020B0604020104020204" pitchFamily="34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85989D52-A2E3-FBCF-9162-364D6E66D2F0}"/>
              </a:ext>
            </a:extLst>
          </p:cNvPr>
          <p:cNvSpPr/>
          <p:nvPr/>
        </p:nvSpPr>
        <p:spPr>
          <a:xfrm>
            <a:off x="-10586" y="9495532"/>
            <a:ext cx="17559514" cy="7777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object 70">
            <a:extLst>
              <a:ext uri="{FF2B5EF4-FFF2-40B4-BE49-F238E27FC236}">
                <a16:creationId xmlns:a16="http://schemas.microsoft.com/office/drawing/2014/main" id="{5B382DA0-6E7A-43DA-BAD6-4A168D1FBFBD}"/>
              </a:ext>
            </a:extLst>
          </p:cNvPr>
          <p:cNvSpPr txBox="1"/>
          <p:nvPr/>
        </p:nvSpPr>
        <p:spPr>
          <a:xfrm>
            <a:off x="641030" y="9347387"/>
            <a:ext cx="11361237" cy="361970"/>
          </a:xfrm>
          <a:prstGeom prst="rect">
            <a:avLst/>
          </a:prstGeom>
        </p:spPr>
        <p:txBody>
          <a:bodyPr vert="horz" wrap="square" lIns="0" tIns="7314" rIns="0" bIns="0" rtlCol="0">
            <a:spAutoFit/>
          </a:bodyPr>
          <a:lstStyle/>
          <a:p>
            <a:pPr marL="18285">
              <a:spcBef>
                <a:spcPts val="58"/>
              </a:spcBef>
            </a:pPr>
            <a:r>
              <a:rPr sz="1152" b="1" dirty="0">
                <a:solidFill>
                  <a:srgbClr val="374249"/>
                </a:solidFill>
                <a:latin typeface="+mj-lt"/>
                <a:cs typeface="Arial Narrow"/>
              </a:rPr>
              <a:t>1</a:t>
            </a:r>
            <a:r>
              <a:rPr lang="pt-BR" sz="1152" dirty="0">
                <a:solidFill>
                  <a:srgbClr val="000000"/>
                </a:solidFill>
                <a:latin typeface="+mj-lt"/>
              </a:rPr>
              <a:t> Lee AY, Droppelmann N, Panageas KS, et al. Patterns and Timing of Initial Relapse in Pathologic Stage II Melanoma Patients. </a:t>
            </a:r>
            <a:r>
              <a:rPr lang="pt-BR" sz="1152" i="1" dirty="0">
                <a:solidFill>
                  <a:srgbClr val="000000"/>
                </a:solidFill>
                <a:latin typeface="+mj-lt"/>
              </a:rPr>
              <a:t>Ann Surg Oncol</a:t>
            </a:r>
            <a:r>
              <a:rPr lang="pt-BR" sz="1152" dirty="0">
                <a:solidFill>
                  <a:srgbClr val="000000"/>
                </a:solidFill>
                <a:latin typeface="+mj-lt"/>
              </a:rPr>
              <a:t>. 2017;24(4):939-946.</a:t>
            </a:r>
            <a:r>
              <a:rPr sz="1152" dirty="0">
                <a:solidFill>
                  <a:srgbClr val="374249"/>
                </a:solidFill>
                <a:latin typeface="+mj-lt"/>
                <a:cs typeface="Arial Narrow"/>
              </a:rPr>
              <a:t>.</a:t>
            </a:r>
            <a:r>
              <a:rPr sz="1152" spc="94" dirty="0">
                <a:solidFill>
                  <a:srgbClr val="374249"/>
                </a:solidFill>
                <a:latin typeface="+mj-lt"/>
                <a:cs typeface="Arial Narrow"/>
              </a:rPr>
              <a:t> </a:t>
            </a:r>
            <a:r>
              <a:rPr sz="1152" b="1" dirty="0">
                <a:solidFill>
                  <a:srgbClr val="374249"/>
                </a:solidFill>
                <a:latin typeface="+mj-lt"/>
                <a:cs typeface="Arial Narrow"/>
              </a:rPr>
              <a:t>2.</a:t>
            </a:r>
            <a:r>
              <a:rPr sz="1152" b="1" spc="36" dirty="0">
                <a:solidFill>
                  <a:srgbClr val="374249"/>
                </a:solidFill>
                <a:latin typeface="+mj-lt"/>
                <a:cs typeface="Arial Narrow"/>
              </a:rPr>
              <a:t> </a:t>
            </a:r>
            <a:r>
              <a:rPr lang="pt-BR" sz="1152" dirty="0">
                <a:solidFill>
                  <a:srgbClr val="000000"/>
                </a:solidFill>
                <a:latin typeface="+mj-lt"/>
              </a:rPr>
              <a:t>Mohr P, Kiecker F, Soriano V, et al. Adjuvant therapy versus watch-and-wait post surgery for stage III melanoma: a multicountry retrospective chart review. Melanoma Manag. 2019;6(4):MMT33.</a:t>
            </a:r>
            <a:endParaRPr sz="1152" dirty="0">
              <a:latin typeface="+mj-lt"/>
              <a:cs typeface="Arial Narrow"/>
            </a:endParaRPr>
          </a:p>
        </p:txBody>
      </p:sp>
      <p:sp>
        <p:nvSpPr>
          <p:cNvPr id="61" name="Retângulo 60">
            <a:extLst>
              <a:ext uri="{FF2B5EF4-FFF2-40B4-BE49-F238E27FC236}">
                <a16:creationId xmlns:a16="http://schemas.microsoft.com/office/drawing/2014/main" id="{954BAD39-2310-83CB-76B5-620073EE9CEB}"/>
              </a:ext>
            </a:extLst>
          </p:cNvPr>
          <p:cNvSpPr/>
          <p:nvPr/>
        </p:nvSpPr>
        <p:spPr>
          <a:xfrm>
            <a:off x="0" y="-89207"/>
            <a:ext cx="17557750" cy="227418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2" name="Título 4">
            <a:extLst>
              <a:ext uri="{FF2B5EF4-FFF2-40B4-BE49-F238E27FC236}">
                <a16:creationId xmlns:a16="http://schemas.microsoft.com/office/drawing/2014/main" id="{F112DC2F-C67B-8332-B643-BB91BB2C9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1054" y="424828"/>
            <a:ext cx="16384200" cy="1127575"/>
          </a:xfrm>
        </p:spPr>
        <p:txBody>
          <a:bodyPr/>
          <a:lstStyle/>
          <a:p>
            <a:pPr algn="ctr"/>
            <a:r>
              <a:rPr lang="pt-BR" dirty="0">
                <a:solidFill>
                  <a:schemeClr val="bg1"/>
                </a:solidFill>
              </a:rPr>
              <a:t>Recorrência do ECII no Melanoma</a:t>
            </a:r>
          </a:p>
        </p:txBody>
      </p:sp>
    </p:spTree>
    <p:extLst>
      <p:ext uri="{BB962C8B-B14F-4D97-AF65-F5344CB8AC3E}">
        <p14:creationId xmlns:p14="http://schemas.microsoft.com/office/powerpoint/2010/main" val="14923446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ângulo 21">
            <a:extLst>
              <a:ext uri="{FF2B5EF4-FFF2-40B4-BE49-F238E27FC236}">
                <a16:creationId xmlns:a16="http://schemas.microsoft.com/office/drawing/2014/main" id="{169B6B15-3522-450C-BF6F-6C6997587E61}"/>
              </a:ext>
            </a:extLst>
          </p:cNvPr>
          <p:cNvSpPr/>
          <p:nvPr/>
        </p:nvSpPr>
        <p:spPr>
          <a:xfrm>
            <a:off x="0" y="0"/>
            <a:ext cx="17557749" cy="9874250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93000">
                <a:srgbClr val="9851A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6E416401-DE28-4267-B993-BC3345BD6DFF}"/>
              </a:ext>
            </a:extLst>
          </p:cNvPr>
          <p:cNvGrpSpPr/>
          <p:nvPr/>
        </p:nvGrpSpPr>
        <p:grpSpPr>
          <a:xfrm>
            <a:off x="0" y="0"/>
            <a:ext cx="5570807" cy="9875540"/>
            <a:chOff x="0" y="0"/>
            <a:chExt cx="5570807" cy="9875540"/>
          </a:xfrm>
        </p:grpSpPr>
        <p:sp>
          <p:nvSpPr>
            <p:cNvPr id="29" name="Retângulo 28">
              <a:extLst>
                <a:ext uri="{FF2B5EF4-FFF2-40B4-BE49-F238E27FC236}">
                  <a16:creationId xmlns:a16="http://schemas.microsoft.com/office/drawing/2014/main" id="{E0093BE9-4E99-4470-8207-7989C49C44C0}"/>
                </a:ext>
              </a:extLst>
            </p:cNvPr>
            <p:cNvSpPr/>
            <p:nvPr/>
          </p:nvSpPr>
          <p:spPr>
            <a:xfrm>
              <a:off x="0" y="0"/>
              <a:ext cx="5570807" cy="9875540"/>
            </a:xfrm>
            <a:prstGeom prst="rect">
              <a:avLst/>
            </a:prstGeom>
            <a:solidFill>
              <a:schemeClr val="bg1">
                <a:alpha val="1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" name="Retângulo 2">
              <a:extLst>
                <a:ext uri="{FF2B5EF4-FFF2-40B4-BE49-F238E27FC236}">
                  <a16:creationId xmlns:a16="http://schemas.microsoft.com/office/drawing/2014/main" id="{046CBB78-ADE6-4F4C-BEFE-41CB91B004B6}"/>
                </a:ext>
              </a:extLst>
            </p:cNvPr>
            <p:cNvSpPr/>
            <p:nvPr/>
          </p:nvSpPr>
          <p:spPr>
            <a:xfrm>
              <a:off x="0" y="0"/>
              <a:ext cx="513805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itle 1">
              <a:extLst>
                <a:ext uri="{FF2B5EF4-FFF2-40B4-BE49-F238E27FC236}">
                  <a16:creationId xmlns:a16="http://schemas.microsoft.com/office/drawing/2014/main" id="{7A6BE426-F5F4-4223-AAA3-33D0FA43C242}"/>
                </a:ext>
              </a:extLst>
            </p:cNvPr>
            <p:cNvSpPr txBox="1">
              <a:spLocks/>
            </p:cNvSpPr>
            <p:nvPr/>
          </p:nvSpPr>
          <p:spPr>
            <a:xfrm>
              <a:off x="1051559" y="5263617"/>
              <a:ext cx="3429002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defTabSz="1316736" fontAlgn="auto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</a:defRPr>
              </a:lvl1pPr>
            </a:lstStyle>
            <a:p>
              <a:pPr marL="0" marR="0" lvl="0" indent="0" algn="ctr" defTabSz="131673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Estadiamento</a:t>
              </a:r>
              <a:endPara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30" name="Agrupar 29">
              <a:extLst>
                <a:ext uri="{FF2B5EF4-FFF2-40B4-BE49-F238E27FC236}">
                  <a16:creationId xmlns:a16="http://schemas.microsoft.com/office/drawing/2014/main" id="{22EF534B-4BF4-4793-A283-B8B6E6FF5F0A}"/>
                </a:ext>
              </a:extLst>
            </p:cNvPr>
            <p:cNvGrpSpPr/>
            <p:nvPr/>
          </p:nvGrpSpPr>
          <p:grpSpPr>
            <a:xfrm>
              <a:off x="2192924" y="4002975"/>
              <a:ext cx="1114156" cy="961177"/>
              <a:chOff x="3340916" y="2248973"/>
              <a:chExt cx="612775" cy="528638"/>
            </a:xfrm>
          </p:grpSpPr>
          <p:sp>
            <p:nvSpPr>
              <p:cNvPr id="31" name="Freeform 64">
                <a:extLst>
                  <a:ext uri="{FF2B5EF4-FFF2-40B4-BE49-F238E27FC236}">
                    <a16:creationId xmlns:a16="http://schemas.microsoft.com/office/drawing/2014/main" id="{EB694CFD-4F95-4C0F-BCF1-81E580B14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0916" y="2520436"/>
                <a:ext cx="612775" cy="180975"/>
              </a:xfrm>
              <a:custGeom>
                <a:avLst/>
                <a:gdLst>
                  <a:gd name="T0" fmla="*/ 0 w 386"/>
                  <a:gd name="T1" fmla="*/ 114 h 114"/>
                  <a:gd name="T2" fmla="*/ 48 w 386"/>
                  <a:gd name="T3" fmla="*/ 114 h 114"/>
                  <a:gd name="T4" fmla="*/ 80 w 386"/>
                  <a:gd name="T5" fmla="*/ 73 h 114"/>
                  <a:gd name="T6" fmla="*/ 113 w 386"/>
                  <a:gd name="T7" fmla="*/ 73 h 114"/>
                  <a:gd name="T8" fmla="*/ 145 w 386"/>
                  <a:gd name="T9" fmla="*/ 105 h 114"/>
                  <a:gd name="T10" fmla="*/ 193 w 386"/>
                  <a:gd name="T11" fmla="*/ 105 h 114"/>
                  <a:gd name="T12" fmla="*/ 257 w 386"/>
                  <a:gd name="T13" fmla="*/ 40 h 114"/>
                  <a:gd name="T14" fmla="*/ 314 w 386"/>
                  <a:gd name="T15" fmla="*/ 40 h 114"/>
                  <a:gd name="T16" fmla="*/ 338 w 386"/>
                  <a:gd name="T17" fmla="*/ 0 h 114"/>
                  <a:gd name="T18" fmla="*/ 386 w 386"/>
                  <a:gd name="T1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6" h="114">
                    <a:moveTo>
                      <a:pt x="0" y="114"/>
                    </a:moveTo>
                    <a:lnTo>
                      <a:pt x="48" y="114"/>
                    </a:lnTo>
                    <a:lnTo>
                      <a:pt x="80" y="73"/>
                    </a:lnTo>
                    <a:lnTo>
                      <a:pt x="113" y="73"/>
                    </a:lnTo>
                    <a:lnTo>
                      <a:pt x="145" y="105"/>
                    </a:lnTo>
                    <a:lnTo>
                      <a:pt x="193" y="105"/>
                    </a:lnTo>
                    <a:lnTo>
                      <a:pt x="257" y="40"/>
                    </a:lnTo>
                    <a:lnTo>
                      <a:pt x="314" y="40"/>
                    </a:lnTo>
                    <a:lnTo>
                      <a:pt x="338" y="0"/>
                    </a:lnTo>
                    <a:lnTo>
                      <a:pt x="386" y="0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Line 65">
                <a:extLst>
                  <a:ext uri="{FF2B5EF4-FFF2-40B4-BE49-F238E27FC236}">
                    <a16:creationId xmlns:a16="http://schemas.microsoft.com/office/drawing/2014/main" id="{F443A12F-43FF-4851-9076-0D85396346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0916" y="2777611"/>
                <a:ext cx="612775" cy="0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66">
                <a:extLst>
                  <a:ext uri="{FF2B5EF4-FFF2-40B4-BE49-F238E27FC236}">
                    <a16:creationId xmlns:a16="http://schemas.microsoft.com/office/drawing/2014/main" id="{DA7441E7-CCB2-4F83-98FE-4AD40909C8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6504" y="2390261"/>
                <a:ext cx="101600" cy="193675"/>
              </a:xfrm>
              <a:custGeom>
                <a:avLst/>
                <a:gdLst>
                  <a:gd name="T0" fmla="*/ 64 w 64"/>
                  <a:gd name="T1" fmla="*/ 122 h 122"/>
                  <a:gd name="T2" fmla="*/ 64 w 64"/>
                  <a:gd name="T3" fmla="*/ 0 h 122"/>
                  <a:gd name="T4" fmla="*/ 0 w 64"/>
                  <a:gd name="T5" fmla="*/ 0 h 122"/>
                  <a:gd name="T6" fmla="*/ 0 w 64"/>
                  <a:gd name="T7" fmla="*/ 7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22">
                    <a:moveTo>
                      <a:pt x="64" y="122"/>
                    </a:moveTo>
                    <a:lnTo>
                      <a:pt x="64" y="0"/>
                    </a:lnTo>
                    <a:lnTo>
                      <a:pt x="0" y="0"/>
                    </a:lnTo>
                    <a:lnTo>
                      <a:pt x="0" y="73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Line 67">
                <a:extLst>
                  <a:ext uri="{FF2B5EF4-FFF2-40B4-BE49-F238E27FC236}">
                    <a16:creationId xmlns:a16="http://schemas.microsoft.com/office/drawing/2014/main" id="{06BE72B4-5E41-455F-BCDC-161B1739EE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698104" y="2687123"/>
                <a:ext cx="0" cy="90488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Line 68">
                <a:extLst>
                  <a:ext uri="{FF2B5EF4-FFF2-40B4-BE49-F238E27FC236}">
                    <a16:creationId xmlns:a16="http://schemas.microsoft.com/office/drawing/2014/main" id="{1BAED797-D5F5-4A80-963D-F203A9F5DD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01291" y="2623623"/>
                <a:ext cx="0" cy="153988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69">
                <a:extLst>
                  <a:ext uri="{FF2B5EF4-FFF2-40B4-BE49-F238E27FC236}">
                    <a16:creationId xmlns:a16="http://schemas.microsoft.com/office/drawing/2014/main" id="{BF53F06B-476D-495B-BBAC-4F8944F51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104" y="2442648"/>
                <a:ext cx="103188" cy="103188"/>
              </a:xfrm>
              <a:custGeom>
                <a:avLst/>
                <a:gdLst>
                  <a:gd name="T0" fmla="*/ 0 w 65"/>
                  <a:gd name="T1" fmla="*/ 0 h 65"/>
                  <a:gd name="T2" fmla="*/ 65 w 65"/>
                  <a:gd name="T3" fmla="*/ 0 h 65"/>
                  <a:gd name="T4" fmla="*/ 65 w 65"/>
                  <a:gd name="T5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5" h="65">
                    <a:moveTo>
                      <a:pt x="0" y="0"/>
                    </a:moveTo>
                    <a:lnTo>
                      <a:pt x="65" y="0"/>
                    </a:lnTo>
                    <a:lnTo>
                      <a:pt x="65" y="65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Line 70">
                <a:extLst>
                  <a:ext uri="{FF2B5EF4-FFF2-40B4-BE49-F238E27FC236}">
                    <a16:creationId xmlns:a16="http://schemas.microsoft.com/office/drawing/2014/main" id="{EF07C89C-0112-4688-8199-A36A0921AE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96504" y="2726811"/>
                <a:ext cx="0" cy="50800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71">
                <a:extLst>
                  <a:ext uri="{FF2B5EF4-FFF2-40B4-BE49-F238E27FC236}">
                    <a16:creationId xmlns:a16="http://schemas.microsoft.com/office/drawing/2014/main" id="{C75CA41F-3837-45E3-8667-C447E8A2E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3316" y="2506148"/>
                <a:ext cx="103188" cy="142875"/>
              </a:xfrm>
              <a:custGeom>
                <a:avLst/>
                <a:gdLst>
                  <a:gd name="T0" fmla="*/ 0 w 65"/>
                  <a:gd name="T1" fmla="*/ 0 h 90"/>
                  <a:gd name="T2" fmla="*/ 65 w 65"/>
                  <a:gd name="T3" fmla="*/ 0 h 90"/>
                  <a:gd name="T4" fmla="*/ 65 w 65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5" h="90">
                    <a:moveTo>
                      <a:pt x="0" y="0"/>
                    </a:moveTo>
                    <a:lnTo>
                      <a:pt x="65" y="0"/>
                    </a:lnTo>
                    <a:lnTo>
                      <a:pt x="65" y="90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Line 72">
                <a:extLst>
                  <a:ext uri="{FF2B5EF4-FFF2-40B4-BE49-F238E27FC236}">
                    <a16:creationId xmlns:a16="http://schemas.microsoft.com/office/drawing/2014/main" id="{B0983949-E025-420F-B992-43B4C9D756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91716" y="2739511"/>
                <a:ext cx="0" cy="38100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Line 73">
                <a:extLst>
                  <a:ext uri="{FF2B5EF4-FFF2-40B4-BE49-F238E27FC236}">
                    <a16:creationId xmlns:a16="http://schemas.microsoft.com/office/drawing/2014/main" id="{C30C2DAA-75A5-49E0-994A-07846B51AC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93316" y="2674423"/>
                <a:ext cx="0" cy="103188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 74">
                <a:extLst>
                  <a:ext uri="{FF2B5EF4-FFF2-40B4-BE49-F238E27FC236}">
                    <a16:creationId xmlns:a16="http://schemas.microsoft.com/office/drawing/2014/main" id="{BF6633AC-5F68-47A0-BC8B-5ADA3D425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1716" y="2455348"/>
                <a:ext cx="101600" cy="206375"/>
              </a:xfrm>
              <a:custGeom>
                <a:avLst/>
                <a:gdLst>
                  <a:gd name="T0" fmla="*/ 0 w 64"/>
                  <a:gd name="T1" fmla="*/ 130 h 130"/>
                  <a:gd name="T2" fmla="*/ 0 w 64"/>
                  <a:gd name="T3" fmla="*/ 0 h 130"/>
                  <a:gd name="T4" fmla="*/ 64 w 64"/>
                  <a:gd name="T5" fmla="*/ 0 h 130"/>
                  <a:gd name="T6" fmla="*/ 64 w 64"/>
                  <a:gd name="T7" fmla="*/ 89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30">
                    <a:moveTo>
                      <a:pt x="0" y="130"/>
                    </a:moveTo>
                    <a:lnTo>
                      <a:pt x="0" y="0"/>
                    </a:lnTo>
                    <a:lnTo>
                      <a:pt x="64" y="0"/>
                    </a:lnTo>
                    <a:lnTo>
                      <a:pt x="64" y="89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Line 75">
                <a:extLst>
                  <a:ext uri="{FF2B5EF4-FFF2-40B4-BE49-F238E27FC236}">
                    <a16:creationId xmlns:a16="http://schemas.microsoft.com/office/drawing/2014/main" id="{379CA0A6-4996-4EFC-AD42-08D78992BF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02891" y="2558536"/>
                <a:ext cx="0" cy="219075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76">
                <a:extLst>
                  <a:ext uri="{FF2B5EF4-FFF2-40B4-BE49-F238E27FC236}">
                    <a16:creationId xmlns:a16="http://schemas.microsoft.com/office/drawing/2014/main" id="{65C1241A-1EF3-40E7-87A5-D96314DC7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1291" y="2248973"/>
                <a:ext cx="101600" cy="231775"/>
              </a:xfrm>
              <a:custGeom>
                <a:avLst/>
                <a:gdLst>
                  <a:gd name="T0" fmla="*/ 64 w 64"/>
                  <a:gd name="T1" fmla="*/ 146 h 146"/>
                  <a:gd name="T2" fmla="*/ 64 w 64"/>
                  <a:gd name="T3" fmla="*/ 0 h 146"/>
                  <a:gd name="T4" fmla="*/ 0 w 64"/>
                  <a:gd name="T5" fmla="*/ 0 h 146"/>
                  <a:gd name="T6" fmla="*/ 0 w 64"/>
                  <a:gd name="T7" fmla="*/ 12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46">
                    <a:moveTo>
                      <a:pt x="64" y="146"/>
                    </a:moveTo>
                    <a:lnTo>
                      <a:pt x="64" y="0"/>
                    </a:lnTo>
                    <a:lnTo>
                      <a:pt x="0" y="0"/>
                    </a:lnTo>
                    <a:lnTo>
                      <a:pt x="0" y="122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3" name="Retângulo 62">
              <a:extLst>
                <a:ext uri="{FF2B5EF4-FFF2-40B4-BE49-F238E27FC236}">
                  <a16:creationId xmlns:a16="http://schemas.microsoft.com/office/drawing/2014/main" id="{B7BAA914-A6AA-48D2-9426-C6F209D528ED}"/>
                </a:ext>
              </a:extLst>
            </p:cNvPr>
            <p:cNvSpPr/>
            <p:nvPr/>
          </p:nvSpPr>
          <p:spPr>
            <a:xfrm>
              <a:off x="908957" y="3257550"/>
              <a:ext cx="3691618" cy="3359150"/>
            </a:xfrm>
            <a:prstGeom prst="rect">
              <a:avLst/>
            </a:prstGeom>
            <a:solidFill>
              <a:schemeClr val="bg1"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4" name="Retângulo 63">
            <a:extLst>
              <a:ext uri="{FF2B5EF4-FFF2-40B4-BE49-F238E27FC236}">
                <a16:creationId xmlns:a16="http://schemas.microsoft.com/office/drawing/2014/main" id="{3903145E-A5BF-4010-BBE9-0C7E89990DA8}"/>
              </a:ext>
            </a:extLst>
          </p:cNvPr>
          <p:cNvSpPr/>
          <p:nvPr/>
        </p:nvSpPr>
        <p:spPr>
          <a:xfrm>
            <a:off x="0" y="0"/>
            <a:ext cx="17557749" cy="9874250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93000">
                <a:srgbClr val="9851A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FB85D404-5104-4027-9050-3DA1530D001A}"/>
              </a:ext>
            </a:extLst>
          </p:cNvPr>
          <p:cNvGrpSpPr/>
          <p:nvPr/>
        </p:nvGrpSpPr>
        <p:grpSpPr>
          <a:xfrm>
            <a:off x="12083118" y="0"/>
            <a:ext cx="6381826" cy="9874250"/>
            <a:chOff x="12083117" y="0"/>
            <a:chExt cx="12484967" cy="9875540"/>
          </a:xfrm>
        </p:grpSpPr>
        <p:sp>
          <p:nvSpPr>
            <p:cNvPr id="62" name="Retângulo 61">
              <a:extLst>
                <a:ext uri="{FF2B5EF4-FFF2-40B4-BE49-F238E27FC236}">
                  <a16:creationId xmlns:a16="http://schemas.microsoft.com/office/drawing/2014/main" id="{B0A95E5A-83E6-4358-8A78-13B45D867A60}"/>
                </a:ext>
              </a:extLst>
            </p:cNvPr>
            <p:cNvSpPr/>
            <p:nvPr/>
          </p:nvSpPr>
          <p:spPr>
            <a:xfrm>
              <a:off x="12083117" y="0"/>
              <a:ext cx="12484967" cy="9875540"/>
            </a:xfrm>
            <a:prstGeom prst="rect">
              <a:avLst/>
            </a:prstGeom>
            <a:solidFill>
              <a:schemeClr val="bg1">
                <a:alpha val="1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tângulo 60">
              <a:extLst>
                <a:ext uri="{FF2B5EF4-FFF2-40B4-BE49-F238E27FC236}">
                  <a16:creationId xmlns:a16="http://schemas.microsoft.com/office/drawing/2014/main" id="{088A066B-E64B-4DC4-99F0-BE367A004B36}"/>
                </a:ext>
              </a:extLst>
            </p:cNvPr>
            <p:cNvSpPr/>
            <p:nvPr/>
          </p:nvSpPr>
          <p:spPr>
            <a:xfrm>
              <a:off x="12419693" y="0"/>
              <a:ext cx="12148391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CA7FD93-5BAC-41C5-B280-B8DAADF4C215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557838" y="4078288"/>
            <a:ext cx="6442075" cy="2017712"/>
          </a:xfr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 defTabSz="1316736">
              <a:lnSpc>
                <a:spcPct val="100000"/>
              </a:lnSpc>
              <a:spcBef>
                <a:spcPts val="0"/>
              </a:spcBef>
            </a:pP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rgbClr val="56EFFD"/>
                </a:solidFill>
                <a:latin typeface="Bahnschrift" panose="020B0502040204020203" pitchFamily="34" charset="0"/>
                <a:ea typeface="+mn-ea"/>
                <a:cs typeface="+mn-cs"/>
              </a:rPr>
              <a:t>DIAGNÓSTICO</a:t>
            </a: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chemeClr val="bg1"/>
                </a:solidFill>
                <a:latin typeface="Bahnschrift" panose="020B0502040204020203" pitchFamily="34" charset="0"/>
                <a:ea typeface="+mn-ea"/>
                <a:cs typeface="+mn-cs"/>
              </a:rPr>
              <a:t> BÁSICO</a:t>
            </a:r>
            <a:endParaRPr lang="pt-BR" sz="6000" b="1" spc="-150" dirty="0">
              <a:ln w="5000" cmpd="sng">
                <a:noFill/>
                <a:prstDash val="solid"/>
              </a:ln>
              <a:solidFill>
                <a:schemeClr val="bg1"/>
              </a:solidFill>
              <a:latin typeface="Bahnschrif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2D3B4D0D-A724-413A-92D9-3191B7A2F18B}"/>
              </a:ext>
            </a:extLst>
          </p:cNvPr>
          <p:cNvGrpSpPr/>
          <p:nvPr/>
        </p:nvGrpSpPr>
        <p:grpSpPr>
          <a:xfrm>
            <a:off x="13473430" y="4004611"/>
            <a:ext cx="2604770" cy="1874559"/>
            <a:chOff x="13473430" y="4004611"/>
            <a:chExt cx="2604770" cy="1874559"/>
          </a:xfrm>
        </p:grpSpPr>
        <p:sp>
          <p:nvSpPr>
            <p:cNvPr id="5" name="Title 1">
              <a:extLst>
                <a:ext uri="{FF2B5EF4-FFF2-40B4-BE49-F238E27FC236}">
                  <a16:creationId xmlns:a16="http://schemas.microsoft.com/office/drawing/2014/main" id="{8AEDE0B5-60E3-4B8B-BB53-F2527CCE5472}"/>
                </a:ext>
              </a:extLst>
            </p:cNvPr>
            <p:cNvSpPr txBox="1">
              <a:spLocks/>
            </p:cNvSpPr>
            <p:nvPr/>
          </p:nvSpPr>
          <p:spPr>
            <a:xfrm>
              <a:off x="13473430" y="5263617"/>
              <a:ext cx="2604770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defTabSz="1316736" fontAlgn="auto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 kumimoji="0" sz="40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</a:defRPr>
              </a:lvl1pPr>
            </a:lstStyle>
            <a:p>
              <a:pPr marL="0" marR="0" lvl="0" indent="0" algn="ctr" defTabSz="131673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Mutação</a:t>
              </a:r>
              <a:endPara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44" name="Agrupar 43">
              <a:extLst>
                <a:ext uri="{FF2B5EF4-FFF2-40B4-BE49-F238E27FC236}">
                  <a16:creationId xmlns:a16="http://schemas.microsoft.com/office/drawing/2014/main" id="{CFB724FF-29A0-4D24-B5D5-749489092589}"/>
                </a:ext>
              </a:extLst>
            </p:cNvPr>
            <p:cNvGrpSpPr/>
            <p:nvPr/>
          </p:nvGrpSpPr>
          <p:grpSpPr>
            <a:xfrm>
              <a:off x="14363397" y="4004611"/>
              <a:ext cx="785163" cy="924035"/>
              <a:chOff x="17730744" y="4767991"/>
              <a:chExt cx="466725" cy="549275"/>
            </a:xfrm>
          </p:grpSpPr>
          <p:sp>
            <p:nvSpPr>
              <p:cNvPr id="45" name="Freeform 200">
                <a:extLst>
                  <a:ext uri="{FF2B5EF4-FFF2-40B4-BE49-F238E27FC236}">
                    <a16:creationId xmlns:a16="http://schemas.microsoft.com/office/drawing/2014/main" id="{8A4E5C03-6B92-46F1-AE19-2C6A609373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0119" y="4771166"/>
                <a:ext cx="387350" cy="546100"/>
              </a:xfrm>
              <a:custGeom>
                <a:avLst/>
                <a:gdLst>
                  <a:gd name="T0" fmla="*/ 105 w 121"/>
                  <a:gd name="T1" fmla="*/ 0 h 169"/>
                  <a:gd name="T2" fmla="*/ 117 w 121"/>
                  <a:gd name="T3" fmla="*/ 54 h 169"/>
                  <a:gd name="T4" fmla="*/ 53 w 121"/>
                  <a:gd name="T5" fmla="*/ 119 h 169"/>
                  <a:gd name="T6" fmla="*/ 2 w 121"/>
                  <a:gd name="T7" fmla="*/ 162 h 169"/>
                  <a:gd name="T8" fmla="*/ 0 w 121"/>
                  <a:gd name="T9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169">
                    <a:moveTo>
                      <a:pt x="105" y="0"/>
                    </a:moveTo>
                    <a:cubicBezTo>
                      <a:pt x="114" y="10"/>
                      <a:pt x="121" y="29"/>
                      <a:pt x="117" y="54"/>
                    </a:cubicBezTo>
                    <a:cubicBezTo>
                      <a:pt x="110" y="89"/>
                      <a:pt x="84" y="106"/>
                      <a:pt x="53" y="119"/>
                    </a:cubicBezTo>
                    <a:cubicBezTo>
                      <a:pt x="23" y="130"/>
                      <a:pt x="7" y="144"/>
                      <a:pt x="2" y="162"/>
                    </a:cubicBezTo>
                    <a:cubicBezTo>
                      <a:pt x="1" y="164"/>
                      <a:pt x="1" y="167"/>
                      <a:pt x="0" y="169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201">
                <a:extLst>
                  <a:ext uri="{FF2B5EF4-FFF2-40B4-BE49-F238E27FC236}">
                    <a16:creationId xmlns:a16="http://schemas.microsoft.com/office/drawing/2014/main" id="{5A99B16E-ECE2-4BE3-96C0-786B956E5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0269" y="4767991"/>
                <a:ext cx="379413" cy="549275"/>
              </a:xfrm>
              <a:custGeom>
                <a:avLst/>
                <a:gdLst>
                  <a:gd name="T0" fmla="*/ 0 w 119"/>
                  <a:gd name="T1" fmla="*/ 170 h 170"/>
                  <a:gd name="T2" fmla="*/ 1 w 119"/>
                  <a:gd name="T3" fmla="*/ 157 h 170"/>
                  <a:gd name="T4" fmla="*/ 65 w 119"/>
                  <a:gd name="T5" fmla="*/ 96 h 170"/>
                  <a:gd name="T6" fmla="*/ 116 w 119"/>
                  <a:gd name="T7" fmla="*/ 49 h 170"/>
                  <a:gd name="T8" fmla="*/ 119 w 119"/>
                  <a:gd name="T9" fmla="*/ 32 h 170"/>
                  <a:gd name="T10" fmla="*/ 112 w 119"/>
                  <a:gd name="T1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170">
                    <a:moveTo>
                      <a:pt x="0" y="170"/>
                    </a:moveTo>
                    <a:cubicBezTo>
                      <a:pt x="0" y="166"/>
                      <a:pt x="1" y="162"/>
                      <a:pt x="1" y="157"/>
                    </a:cubicBezTo>
                    <a:cubicBezTo>
                      <a:pt x="8" y="123"/>
                      <a:pt x="34" y="110"/>
                      <a:pt x="65" y="96"/>
                    </a:cubicBezTo>
                    <a:cubicBezTo>
                      <a:pt x="97" y="83"/>
                      <a:pt x="111" y="67"/>
                      <a:pt x="116" y="49"/>
                    </a:cubicBezTo>
                    <a:cubicBezTo>
                      <a:pt x="118" y="44"/>
                      <a:pt x="119" y="38"/>
                      <a:pt x="119" y="32"/>
                    </a:cubicBezTo>
                    <a:cubicBezTo>
                      <a:pt x="119" y="25"/>
                      <a:pt x="117" y="11"/>
                      <a:pt x="112" y="0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202">
                <a:extLst>
                  <a:ext uri="{FF2B5EF4-FFF2-40B4-BE49-F238E27FC236}">
                    <a16:creationId xmlns:a16="http://schemas.microsoft.com/office/drawing/2014/main" id="{4B5878F4-6A50-412D-8E58-7D948A29D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4107" y="5158516"/>
                <a:ext cx="152400" cy="158750"/>
              </a:xfrm>
              <a:custGeom>
                <a:avLst/>
                <a:gdLst>
                  <a:gd name="T0" fmla="*/ 0 w 48"/>
                  <a:gd name="T1" fmla="*/ 0 h 49"/>
                  <a:gd name="T2" fmla="*/ 46 w 48"/>
                  <a:gd name="T3" fmla="*/ 42 h 49"/>
                  <a:gd name="T4" fmla="*/ 48 w 48"/>
                  <a:gd name="T5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49">
                    <a:moveTo>
                      <a:pt x="0" y="0"/>
                    </a:moveTo>
                    <a:cubicBezTo>
                      <a:pt x="27" y="12"/>
                      <a:pt x="41" y="25"/>
                      <a:pt x="46" y="42"/>
                    </a:cubicBezTo>
                    <a:cubicBezTo>
                      <a:pt x="47" y="44"/>
                      <a:pt x="47" y="47"/>
                      <a:pt x="48" y="49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203">
                <a:extLst>
                  <a:ext uri="{FF2B5EF4-FFF2-40B4-BE49-F238E27FC236}">
                    <a16:creationId xmlns:a16="http://schemas.microsoft.com/office/drawing/2014/main" id="{80E8E2DB-0D15-47D0-9457-426E62973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30744" y="4771166"/>
                <a:ext cx="139700" cy="344488"/>
              </a:xfrm>
              <a:custGeom>
                <a:avLst/>
                <a:gdLst>
                  <a:gd name="T0" fmla="*/ 16 w 44"/>
                  <a:gd name="T1" fmla="*/ 0 h 107"/>
                  <a:gd name="T2" fmla="*/ 4 w 44"/>
                  <a:gd name="T3" fmla="*/ 54 h 107"/>
                  <a:gd name="T4" fmla="*/ 44 w 44"/>
                  <a:gd name="T5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107">
                    <a:moveTo>
                      <a:pt x="16" y="0"/>
                    </a:moveTo>
                    <a:cubicBezTo>
                      <a:pt x="7" y="10"/>
                      <a:pt x="0" y="29"/>
                      <a:pt x="4" y="54"/>
                    </a:cubicBezTo>
                    <a:cubicBezTo>
                      <a:pt x="9" y="79"/>
                      <a:pt x="24" y="95"/>
                      <a:pt x="44" y="107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204">
                <a:extLst>
                  <a:ext uri="{FF2B5EF4-FFF2-40B4-BE49-F238E27FC236}">
                    <a16:creationId xmlns:a16="http://schemas.microsoft.com/office/drawing/2014/main" id="{39503FA5-7DD8-4C38-B2A7-2DD99F53A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0119" y="4767991"/>
                <a:ext cx="153988" cy="303213"/>
              </a:xfrm>
              <a:custGeom>
                <a:avLst/>
                <a:gdLst>
                  <a:gd name="T0" fmla="*/ 48 w 48"/>
                  <a:gd name="T1" fmla="*/ 94 h 94"/>
                  <a:gd name="T2" fmla="*/ 2 w 48"/>
                  <a:gd name="T3" fmla="*/ 49 h 94"/>
                  <a:gd name="T4" fmla="*/ 0 w 48"/>
                  <a:gd name="T5" fmla="*/ 32 h 94"/>
                  <a:gd name="T6" fmla="*/ 6 w 48"/>
                  <a:gd name="T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94">
                    <a:moveTo>
                      <a:pt x="48" y="94"/>
                    </a:moveTo>
                    <a:cubicBezTo>
                      <a:pt x="20" y="81"/>
                      <a:pt x="7" y="66"/>
                      <a:pt x="2" y="49"/>
                    </a:cubicBezTo>
                    <a:cubicBezTo>
                      <a:pt x="0" y="44"/>
                      <a:pt x="0" y="38"/>
                      <a:pt x="0" y="32"/>
                    </a:cubicBezTo>
                    <a:cubicBezTo>
                      <a:pt x="0" y="25"/>
                      <a:pt x="1" y="11"/>
                      <a:pt x="6" y="0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206">
                <a:extLst>
                  <a:ext uri="{FF2B5EF4-FFF2-40B4-BE49-F238E27FC236}">
                    <a16:creationId xmlns:a16="http://schemas.microsoft.com/office/drawing/2014/main" id="{BE8879A0-5475-45DC-B400-900487BD0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59357" y="5120416"/>
                <a:ext cx="128588" cy="196850"/>
              </a:xfrm>
              <a:custGeom>
                <a:avLst/>
                <a:gdLst>
                  <a:gd name="T0" fmla="*/ 40 w 40"/>
                  <a:gd name="T1" fmla="*/ 61 h 61"/>
                  <a:gd name="T2" fmla="*/ 39 w 40"/>
                  <a:gd name="T3" fmla="*/ 48 h 61"/>
                  <a:gd name="T4" fmla="*/ 0 w 40"/>
                  <a:gd name="T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61">
                    <a:moveTo>
                      <a:pt x="40" y="61"/>
                    </a:moveTo>
                    <a:cubicBezTo>
                      <a:pt x="40" y="57"/>
                      <a:pt x="40" y="53"/>
                      <a:pt x="39" y="48"/>
                    </a:cubicBezTo>
                    <a:cubicBezTo>
                      <a:pt x="34" y="24"/>
                      <a:pt x="20" y="10"/>
                      <a:pt x="0" y="0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Line 207">
                <a:extLst>
                  <a:ext uri="{FF2B5EF4-FFF2-40B4-BE49-F238E27FC236}">
                    <a16:creationId xmlns:a16="http://schemas.microsoft.com/office/drawing/2014/main" id="{27B7FE69-C9D9-4E99-A988-218A4FD8DF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059357" y="4852129"/>
                <a:ext cx="508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Line 208">
                <a:extLst>
                  <a:ext uri="{FF2B5EF4-FFF2-40B4-BE49-F238E27FC236}">
                    <a16:creationId xmlns:a16="http://schemas.microsoft.com/office/drawing/2014/main" id="{CCC8EBA8-5BF8-4403-890B-F8D634AD8A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16469" y="4852129"/>
                <a:ext cx="1920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Line 209">
                <a:extLst>
                  <a:ext uri="{FF2B5EF4-FFF2-40B4-BE49-F238E27FC236}">
                    <a16:creationId xmlns:a16="http://schemas.microsoft.com/office/drawing/2014/main" id="{A96A538F-4B81-436D-8F7E-20BFDCA3BD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995857" y="4915629"/>
                <a:ext cx="1143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Line 210">
                <a:extLst>
                  <a:ext uri="{FF2B5EF4-FFF2-40B4-BE49-F238E27FC236}">
                    <a16:creationId xmlns:a16="http://schemas.microsoft.com/office/drawing/2014/main" id="{61D06A03-B6D1-4589-8F06-38F1846972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16469" y="4915629"/>
                <a:ext cx="1285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Line 211">
                <a:extLst>
                  <a:ext uri="{FF2B5EF4-FFF2-40B4-BE49-F238E27FC236}">
                    <a16:creationId xmlns:a16="http://schemas.microsoft.com/office/drawing/2014/main" id="{FECE182A-EC96-4CAE-A944-40031B8D9D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945057" y="4980716"/>
                <a:ext cx="1270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Line 212">
                <a:extLst>
                  <a:ext uri="{FF2B5EF4-FFF2-40B4-BE49-F238E27FC236}">
                    <a16:creationId xmlns:a16="http://schemas.microsoft.com/office/drawing/2014/main" id="{13F3D807-4ED4-4C7F-9F41-B6F4717580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54569" y="4980716"/>
                <a:ext cx="396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Line 213">
                <a:extLst>
                  <a:ext uri="{FF2B5EF4-FFF2-40B4-BE49-F238E27FC236}">
                    <a16:creationId xmlns:a16="http://schemas.microsoft.com/office/drawing/2014/main" id="{4EB48758-BE3B-4CDD-AFDF-78972F461A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008557" y="5302979"/>
                <a:ext cx="1016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Line 214">
                <a:extLst>
                  <a:ext uri="{FF2B5EF4-FFF2-40B4-BE49-F238E27FC236}">
                    <a16:creationId xmlns:a16="http://schemas.microsoft.com/office/drawing/2014/main" id="{6FC71B3F-A704-4122-B121-FA51FB2E25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16469" y="5302979"/>
                <a:ext cx="1412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Line 215">
                <a:extLst>
                  <a:ext uri="{FF2B5EF4-FFF2-40B4-BE49-F238E27FC236}">
                    <a16:creationId xmlns:a16="http://schemas.microsoft.com/office/drawing/2014/main" id="{732F8B69-9401-4CE6-8F68-EC1F886EDC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957757" y="5239479"/>
                <a:ext cx="1143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Line 216">
                <a:extLst>
                  <a:ext uri="{FF2B5EF4-FFF2-40B4-BE49-F238E27FC236}">
                    <a16:creationId xmlns:a16="http://schemas.microsoft.com/office/drawing/2014/main" id="{D4E26704-E95B-465E-BE20-7E367C7AA5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54569" y="5239479"/>
                <a:ext cx="523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5" name="Title 1">
            <a:extLst>
              <a:ext uri="{FF2B5EF4-FFF2-40B4-BE49-F238E27FC236}">
                <a16:creationId xmlns:a16="http://schemas.microsoft.com/office/drawing/2014/main" id="{2FB50B95-3DD6-4068-BB29-8D228EE8E34A}"/>
              </a:ext>
            </a:extLst>
          </p:cNvPr>
          <p:cNvSpPr txBox="1">
            <a:spLocks/>
          </p:cNvSpPr>
          <p:nvPr/>
        </p:nvSpPr>
        <p:spPr>
          <a:xfrm>
            <a:off x="0" y="4078288"/>
            <a:ext cx="6442075" cy="2017712"/>
          </a:xfr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131655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33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316736">
              <a:lnSpc>
                <a:spcPct val="100000"/>
              </a:lnSpc>
              <a:spcBef>
                <a:spcPts val="0"/>
              </a:spcBef>
            </a:pP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rgbClr val="56EFFD"/>
                </a:solidFill>
                <a:latin typeface="Bahnschrift" panose="020B0502040204020203" pitchFamily="34" charset="0"/>
                <a:ea typeface="+mn-ea"/>
                <a:cs typeface="+mn-cs"/>
              </a:rPr>
              <a:t>DIAGNÓSTICO</a:t>
            </a: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chemeClr val="bg1"/>
                </a:solidFill>
                <a:latin typeface="Bahnschrift" panose="020B0502040204020203" pitchFamily="34" charset="0"/>
                <a:ea typeface="+mn-ea"/>
                <a:cs typeface="+mn-cs"/>
              </a:rPr>
              <a:t> BÁSICO</a:t>
            </a:r>
            <a:endParaRPr lang="pt-BR" sz="6000" b="1" spc="-150" dirty="0">
              <a:ln w="5000" cmpd="sng">
                <a:noFill/>
                <a:prstDash val="solid"/>
              </a:ln>
              <a:solidFill>
                <a:schemeClr val="bg1"/>
              </a:solidFill>
              <a:latin typeface="Bahnschrif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88" name="Agrupar 87">
            <a:extLst>
              <a:ext uri="{FF2B5EF4-FFF2-40B4-BE49-F238E27FC236}">
                <a16:creationId xmlns:a16="http://schemas.microsoft.com/office/drawing/2014/main" id="{27E11172-DE18-40FE-9D15-4BD55A24D3DE}"/>
              </a:ext>
            </a:extLst>
          </p:cNvPr>
          <p:cNvGrpSpPr/>
          <p:nvPr/>
        </p:nvGrpSpPr>
        <p:grpSpPr>
          <a:xfrm>
            <a:off x="6026384" y="0"/>
            <a:ext cx="12484967" cy="9875540"/>
            <a:chOff x="12083117" y="0"/>
            <a:chExt cx="12484967" cy="9875540"/>
          </a:xfrm>
        </p:grpSpPr>
        <p:sp>
          <p:nvSpPr>
            <p:cNvPr id="89" name="Retângulo 88">
              <a:extLst>
                <a:ext uri="{FF2B5EF4-FFF2-40B4-BE49-F238E27FC236}">
                  <a16:creationId xmlns:a16="http://schemas.microsoft.com/office/drawing/2014/main" id="{826E0CF5-BAC8-416E-AD4D-BE93D488755A}"/>
                </a:ext>
              </a:extLst>
            </p:cNvPr>
            <p:cNvSpPr/>
            <p:nvPr/>
          </p:nvSpPr>
          <p:spPr>
            <a:xfrm>
              <a:off x="12083117" y="0"/>
              <a:ext cx="12484967" cy="9875540"/>
            </a:xfrm>
            <a:prstGeom prst="rect">
              <a:avLst/>
            </a:prstGeom>
            <a:solidFill>
              <a:schemeClr val="bg1">
                <a:alpha val="1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Retângulo 89">
              <a:extLst>
                <a:ext uri="{FF2B5EF4-FFF2-40B4-BE49-F238E27FC236}">
                  <a16:creationId xmlns:a16="http://schemas.microsoft.com/office/drawing/2014/main" id="{C28FDB39-8E75-4DF5-8554-98FB87C98957}"/>
                </a:ext>
              </a:extLst>
            </p:cNvPr>
            <p:cNvSpPr/>
            <p:nvPr/>
          </p:nvSpPr>
          <p:spPr>
            <a:xfrm>
              <a:off x="12419693" y="0"/>
              <a:ext cx="12148391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Agrupar 68">
            <a:extLst>
              <a:ext uri="{FF2B5EF4-FFF2-40B4-BE49-F238E27FC236}">
                <a16:creationId xmlns:a16="http://schemas.microsoft.com/office/drawing/2014/main" id="{12036F9F-16AC-4925-8364-116D692C5257}"/>
              </a:ext>
            </a:extLst>
          </p:cNvPr>
          <p:cNvGrpSpPr/>
          <p:nvPr/>
        </p:nvGrpSpPr>
        <p:grpSpPr>
          <a:xfrm>
            <a:off x="10778763" y="4004611"/>
            <a:ext cx="2604770" cy="1874559"/>
            <a:chOff x="13473430" y="4004611"/>
            <a:chExt cx="2604770" cy="1874559"/>
          </a:xfrm>
        </p:grpSpPr>
        <p:sp>
          <p:nvSpPr>
            <p:cNvPr id="70" name="Title 1">
              <a:extLst>
                <a:ext uri="{FF2B5EF4-FFF2-40B4-BE49-F238E27FC236}">
                  <a16:creationId xmlns:a16="http://schemas.microsoft.com/office/drawing/2014/main" id="{5B648F4F-6735-4EFD-BCE7-5E70EE60C66F}"/>
                </a:ext>
              </a:extLst>
            </p:cNvPr>
            <p:cNvSpPr txBox="1">
              <a:spLocks/>
            </p:cNvSpPr>
            <p:nvPr/>
          </p:nvSpPr>
          <p:spPr>
            <a:xfrm>
              <a:off x="13473430" y="5263617"/>
              <a:ext cx="2604770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defTabSz="1316736" fontAlgn="auto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 kumimoji="0" sz="40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</a:defRPr>
              </a:lvl1pPr>
            </a:lstStyle>
            <a:p>
              <a:pPr marL="0" marR="0" lvl="0" indent="0" algn="ctr" defTabSz="131673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Mutação</a:t>
              </a:r>
              <a:endPara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71" name="Agrupar 70">
              <a:extLst>
                <a:ext uri="{FF2B5EF4-FFF2-40B4-BE49-F238E27FC236}">
                  <a16:creationId xmlns:a16="http://schemas.microsoft.com/office/drawing/2014/main" id="{B2A28700-513D-4106-A770-B69943E2A8EC}"/>
                </a:ext>
              </a:extLst>
            </p:cNvPr>
            <p:cNvGrpSpPr/>
            <p:nvPr/>
          </p:nvGrpSpPr>
          <p:grpSpPr>
            <a:xfrm>
              <a:off x="14363397" y="4004611"/>
              <a:ext cx="785163" cy="924035"/>
              <a:chOff x="17730744" y="4767991"/>
              <a:chExt cx="466725" cy="549275"/>
            </a:xfrm>
          </p:grpSpPr>
          <p:sp>
            <p:nvSpPr>
              <p:cNvPr id="72" name="Freeform 200">
                <a:extLst>
                  <a:ext uri="{FF2B5EF4-FFF2-40B4-BE49-F238E27FC236}">
                    <a16:creationId xmlns:a16="http://schemas.microsoft.com/office/drawing/2014/main" id="{FAF86BCB-7DEA-4D7C-B42D-84E46E7B4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0119" y="4771166"/>
                <a:ext cx="387350" cy="546100"/>
              </a:xfrm>
              <a:custGeom>
                <a:avLst/>
                <a:gdLst>
                  <a:gd name="T0" fmla="*/ 105 w 121"/>
                  <a:gd name="T1" fmla="*/ 0 h 169"/>
                  <a:gd name="T2" fmla="*/ 117 w 121"/>
                  <a:gd name="T3" fmla="*/ 54 h 169"/>
                  <a:gd name="T4" fmla="*/ 53 w 121"/>
                  <a:gd name="T5" fmla="*/ 119 h 169"/>
                  <a:gd name="T6" fmla="*/ 2 w 121"/>
                  <a:gd name="T7" fmla="*/ 162 h 169"/>
                  <a:gd name="T8" fmla="*/ 0 w 121"/>
                  <a:gd name="T9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169">
                    <a:moveTo>
                      <a:pt x="105" y="0"/>
                    </a:moveTo>
                    <a:cubicBezTo>
                      <a:pt x="114" y="10"/>
                      <a:pt x="121" y="29"/>
                      <a:pt x="117" y="54"/>
                    </a:cubicBezTo>
                    <a:cubicBezTo>
                      <a:pt x="110" y="89"/>
                      <a:pt x="84" y="106"/>
                      <a:pt x="53" y="119"/>
                    </a:cubicBezTo>
                    <a:cubicBezTo>
                      <a:pt x="23" y="130"/>
                      <a:pt x="7" y="144"/>
                      <a:pt x="2" y="162"/>
                    </a:cubicBezTo>
                    <a:cubicBezTo>
                      <a:pt x="1" y="164"/>
                      <a:pt x="1" y="167"/>
                      <a:pt x="0" y="169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 201">
                <a:extLst>
                  <a:ext uri="{FF2B5EF4-FFF2-40B4-BE49-F238E27FC236}">
                    <a16:creationId xmlns:a16="http://schemas.microsoft.com/office/drawing/2014/main" id="{FD689EBF-DFBB-486D-99F3-FAAE493E11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0269" y="4767991"/>
                <a:ext cx="379413" cy="549275"/>
              </a:xfrm>
              <a:custGeom>
                <a:avLst/>
                <a:gdLst>
                  <a:gd name="T0" fmla="*/ 0 w 119"/>
                  <a:gd name="T1" fmla="*/ 170 h 170"/>
                  <a:gd name="T2" fmla="*/ 1 w 119"/>
                  <a:gd name="T3" fmla="*/ 157 h 170"/>
                  <a:gd name="T4" fmla="*/ 65 w 119"/>
                  <a:gd name="T5" fmla="*/ 96 h 170"/>
                  <a:gd name="T6" fmla="*/ 116 w 119"/>
                  <a:gd name="T7" fmla="*/ 49 h 170"/>
                  <a:gd name="T8" fmla="*/ 119 w 119"/>
                  <a:gd name="T9" fmla="*/ 32 h 170"/>
                  <a:gd name="T10" fmla="*/ 112 w 119"/>
                  <a:gd name="T1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170">
                    <a:moveTo>
                      <a:pt x="0" y="170"/>
                    </a:moveTo>
                    <a:cubicBezTo>
                      <a:pt x="0" y="166"/>
                      <a:pt x="1" y="162"/>
                      <a:pt x="1" y="157"/>
                    </a:cubicBezTo>
                    <a:cubicBezTo>
                      <a:pt x="8" y="123"/>
                      <a:pt x="34" y="110"/>
                      <a:pt x="65" y="96"/>
                    </a:cubicBezTo>
                    <a:cubicBezTo>
                      <a:pt x="97" y="83"/>
                      <a:pt x="111" y="67"/>
                      <a:pt x="116" y="49"/>
                    </a:cubicBezTo>
                    <a:cubicBezTo>
                      <a:pt x="118" y="44"/>
                      <a:pt x="119" y="38"/>
                      <a:pt x="119" y="32"/>
                    </a:cubicBezTo>
                    <a:cubicBezTo>
                      <a:pt x="119" y="25"/>
                      <a:pt x="117" y="11"/>
                      <a:pt x="112" y="0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Freeform 202">
                <a:extLst>
                  <a:ext uri="{FF2B5EF4-FFF2-40B4-BE49-F238E27FC236}">
                    <a16:creationId xmlns:a16="http://schemas.microsoft.com/office/drawing/2014/main" id="{9653412B-A86E-49E8-97A0-FE76D53124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4107" y="5158516"/>
                <a:ext cx="152400" cy="158750"/>
              </a:xfrm>
              <a:custGeom>
                <a:avLst/>
                <a:gdLst>
                  <a:gd name="T0" fmla="*/ 0 w 48"/>
                  <a:gd name="T1" fmla="*/ 0 h 49"/>
                  <a:gd name="T2" fmla="*/ 46 w 48"/>
                  <a:gd name="T3" fmla="*/ 42 h 49"/>
                  <a:gd name="T4" fmla="*/ 48 w 48"/>
                  <a:gd name="T5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49">
                    <a:moveTo>
                      <a:pt x="0" y="0"/>
                    </a:moveTo>
                    <a:cubicBezTo>
                      <a:pt x="27" y="12"/>
                      <a:pt x="41" y="25"/>
                      <a:pt x="46" y="42"/>
                    </a:cubicBezTo>
                    <a:cubicBezTo>
                      <a:pt x="47" y="44"/>
                      <a:pt x="47" y="47"/>
                      <a:pt x="48" y="49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 203">
                <a:extLst>
                  <a:ext uri="{FF2B5EF4-FFF2-40B4-BE49-F238E27FC236}">
                    <a16:creationId xmlns:a16="http://schemas.microsoft.com/office/drawing/2014/main" id="{ABA22D2C-E9C9-400E-ACE9-AC6B377102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30744" y="4771166"/>
                <a:ext cx="139700" cy="344488"/>
              </a:xfrm>
              <a:custGeom>
                <a:avLst/>
                <a:gdLst>
                  <a:gd name="T0" fmla="*/ 16 w 44"/>
                  <a:gd name="T1" fmla="*/ 0 h 107"/>
                  <a:gd name="T2" fmla="*/ 4 w 44"/>
                  <a:gd name="T3" fmla="*/ 54 h 107"/>
                  <a:gd name="T4" fmla="*/ 44 w 44"/>
                  <a:gd name="T5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107">
                    <a:moveTo>
                      <a:pt x="16" y="0"/>
                    </a:moveTo>
                    <a:cubicBezTo>
                      <a:pt x="7" y="10"/>
                      <a:pt x="0" y="29"/>
                      <a:pt x="4" y="54"/>
                    </a:cubicBezTo>
                    <a:cubicBezTo>
                      <a:pt x="9" y="79"/>
                      <a:pt x="24" y="95"/>
                      <a:pt x="44" y="107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Freeform 204">
                <a:extLst>
                  <a:ext uri="{FF2B5EF4-FFF2-40B4-BE49-F238E27FC236}">
                    <a16:creationId xmlns:a16="http://schemas.microsoft.com/office/drawing/2014/main" id="{C42CA28D-FF26-4C86-8D8A-8627E548B1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0119" y="4767991"/>
                <a:ext cx="153988" cy="303213"/>
              </a:xfrm>
              <a:custGeom>
                <a:avLst/>
                <a:gdLst>
                  <a:gd name="T0" fmla="*/ 48 w 48"/>
                  <a:gd name="T1" fmla="*/ 94 h 94"/>
                  <a:gd name="T2" fmla="*/ 2 w 48"/>
                  <a:gd name="T3" fmla="*/ 49 h 94"/>
                  <a:gd name="T4" fmla="*/ 0 w 48"/>
                  <a:gd name="T5" fmla="*/ 32 h 94"/>
                  <a:gd name="T6" fmla="*/ 6 w 48"/>
                  <a:gd name="T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94">
                    <a:moveTo>
                      <a:pt x="48" y="94"/>
                    </a:moveTo>
                    <a:cubicBezTo>
                      <a:pt x="20" y="81"/>
                      <a:pt x="7" y="66"/>
                      <a:pt x="2" y="49"/>
                    </a:cubicBezTo>
                    <a:cubicBezTo>
                      <a:pt x="0" y="44"/>
                      <a:pt x="0" y="38"/>
                      <a:pt x="0" y="32"/>
                    </a:cubicBezTo>
                    <a:cubicBezTo>
                      <a:pt x="0" y="25"/>
                      <a:pt x="1" y="11"/>
                      <a:pt x="6" y="0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 206">
                <a:extLst>
                  <a:ext uri="{FF2B5EF4-FFF2-40B4-BE49-F238E27FC236}">
                    <a16:creationId xmlns:a16="http://schemas.microsoft.com/office/drawing/2014/main" id="{125AA0D8-B4E1-4BA9-A61F-AF1ACEA14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59357" y="5120416"/>
                <a:ext cx="128588" cy="196850"/>
              </a:xfrm>
              <a:custGeom>
                <a:avLst/>
                <a:gdLst>
                  <a:gd name="T0" fmla="*/ 40 w 40"/>
                  <a:gd name="T1" fmla="*/ 61 h 61"/>
                  <a:gd name="T2" fmla="*/ 39 w 40"/>
                  <a:gd name="T3" fmla="*/ 48 h 61"/>
                  <a:gd name="T4" fmla="*/ 0 w 40"/>
                  <a:gd name="T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61">
                    <a:moveTo>
                      <a:pt x="40" y="61"/>
                    </a:moveTo>
                    <a:cubicBezTo>
                      <a:pt x="40" y="57"/>
                      <a:pt x="40" y="53"/>
                      <a:pt x="39" y="48"/>
                    </a:cubicBezTo>
                    <a:cubicBezTo>
                      <a:pt x="34" y="24"/>
                      <a:pt x="20" y="10"/>
                      <a:pt x="0" y="0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Line 207">
                <a:extLst>
                  <a:ext uri="{FF2B5EF4-FFF2-40B4-BE49-F238E27FC236}">
                    <a16:creationId xmlns:a16="http://schemas.microsoft.com/office/drawing/2014/main" id="{BB7114E9-921C-4E97-9DDD-D3BD94A5DF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059357" y="4852129"/>
                <a:ext cx="508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Line 208">
                <a:extLst>
                  <a:ext uri="{FF2B5EF4-FFF2-40B4-BE49-F238E27FC236}">
                    <a16:creationId xmlns:a16="http://schemas.microsoft.com/office/drawing/2014/main" id="{DB385F86-4263-4383-B66E-7D31329B25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16469" y="4852129"/>
                <a:ext cx="1920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Line 209">
                <a:extLst>
                  <a:ext uri="{FF2B5EF4-FFF2-40B4-BE49-F238E27FC236}">
                    <a16:creationId xmlns:a16="http://schemas.microsoft.com/office/drawing/2014/main" id="{1A1425F4-0394-4434-BE51-6A1B05BEE3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995857" y="4915629"/>
                <a:ext cx="1143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Line 210">
                <a:extLst>
                  <a:ext uri="{FF2B5EF4-FFF2-40B4-BE49-F238E27FC236}">
                    <a16:creationId xmlns:a16="http://schemas.microsoft.com/office/drawing/2014/main" id="{5160EB0D-8674-49E7-BE9F-6EBA0DB779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16469" y="4915629"/>
                <a:ext cx="1285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Line 211">
                <a:extLst>
                  <a:ext uri="{FF2B5EF4-FFF2-40B4-BE49-F238E27FC236}">
                    <a16:creationId xmlns:a16="http://schemas.microsoft.com/office/drawing/2014/main" id="{B8D181C3-B3BB-4DF8-88EC-8436FE9BD8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945057" y="4980716"/>
                <a:ext cx="1270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Line 212">
                <a:extLst>
                  <a:ext uri="{FF2B5EF4-FFF2-40B4-BE49-F238E27FC236}">
                    <a16:creationId xmlns:a16="http://schemas.microsoft.com/office/drawing/2014/main" id="{99182328-633C-4ED4-9B54-7730D95C41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54569" y="4980716"/>
                <a:ext cx="396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Line 213">
                <a:extLst>
                  <a:ext uri="{FF2B5EF4-FFF2-40B4-BE49-F238E27FC236}">
                    <a16:creationId xmlns:a16="http://schemas.microsoft.com/office/drawing/2014/main" id="{B0138CA4-E127-4441-B1D4-9DFD0690DB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008557" y="5302979"/>
                <a:ext cx="1016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Line 214">
                <a:extLst>
                  <a:ext uri="{FF2B5EF4-FFF2-40B4-BE49-F238E27FC236}">
                    <a16:creationId xmlns:a16="http://schemas.microsoft.com/office/drawing/2014/main" id="{A8EF0F15-93BC-4652-BC4D-C7E5863EA8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16469" y="5302979"/>
                <a:ext cx="1412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Line 215">
                <a:extLst>
                  <a:ext uri="{FF2B5EF4-FFF2-40B4-BE49-F238E27FC236}">
                    <a16:creationId xmlns:a16="http://schemas.microsoft.com/office/drawing/2014/main" id="{89BBD8FC-2E45-40D7-9672-1FEE4CC59F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957757" y="5239479"/>
                <a:ext cx="1143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Line 216">
                <a:extLst>
                  <a:ext uri="{FF2B5EF4-FFF2-40B4-BE49-F238E27FC236}">
                    <a16:creationId xmlns:a16="http://schemas.microsoft.com/office/drawing/2014/main" id="{FBEDA8F8-4B0D-4AE3-B861-6F04CCC8CF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54569" y="5239479"/>
                <a:ext cx="523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644521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7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7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54019E-6 L -0.31691 -2.54019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850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9.04159E-7 -2.31511E-6 L -0.15353 -2.31511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7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86076E-7 0 L -0.34638 0 " pathEditMode="relative" rAng="0" ptsTypes="AA">
                                      <p:cBhvr>
                                        <p:cTn id="1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324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2" grpId="0"/>
      <p:bldP spid="2" grpId="1"/>
      <p:bldP spid="6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Diagrama&#10;&#10;Descrição gerada automaticamente">
            <a:extLst>
              <a:ext uri="{FF2B5EF4-FFF2-40B4-BE49-F238E27FC236}">
                <a16:creationId xmlns:a16="http://schemas.microsoft.com/office/drawing/2014/main" id="{16B03F45-551D-7545-14C8-D9B7D93573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59" y="1783131"/>
            <a:ext cx="15704431" cy="6988469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70F7CC3D-8987-B8D7-8D3B-9A452F079D7C}"/>
              </a:ext>
            </a:extLst>
          </p:cNvPr>
          <p:cNvSpPr txBox="1"/>
          <p:nvPr/>
        </p:nvSpPr>
        <p:spPr>
          <a:xfrm>
            <a:off x="1257152" y="548652"/>
            <a:ext cx="1504344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600" dirty="0"/>
              <a:t>Desenvolvimento molecular do melanom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A234BFB7-FAC2-2802-FD5F-4D7780019296}"/>
              </a:ext>
            </a:extLst>
          </p:cNvPr>
          <p:cNvSpPr txBox="1"/>
          <p:nvPr/>
        </p:nvSpPr>
        <p:spPr>
          <a:xfrm>
            <a:off x="9356651" y="9126387"/>
            <a:ext cx="7995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Bastian</a:t>
            </a:r>
            <a:r>
              <a:rPr lang="pt-BR" dirty="0"/>
              <a:t> </a:t>
            </a:r>
            <a:r>
              <a:rPr lang="pt-BR" dirty="0" err="1"/>
              <a:t>B</a:t>
            </a:r>
            <a:r>
              <a:rPr lang="pt-BR" dirty="0"/>
              <a:t> et al.  Ann </a:t>
            </a:r>
            <a:r>
              <a:rPr lang="pt-BR" dirty="0" err="1"/>
              <a:t>Rev</a:t>
            </a:r>
            <a:r>
              <a:rPr lang="pt-BR" dirty="0"/>
              <a:t>  </a:t>
            </a:r>
            <a:r>
              <a:rPr lang="pt-BR" dirty="0" err="1"/>
              <a:t>Pathol</a:t>
            </a:r>
            <a:r>
              <a:rPr lang="pt-BR" dirty="0"/>
              <a:t> </a:t>
            </a:r>
            <a:r>
              <a:rPr lang="pt-BR" dirty="0" err="1"/>
              <a:t>Mech</a:t>
            </a:r>
            <a:r>
              <a:rPr lang="pt-BR" dirty="0"/>
              <a:t> </a:t>
            </a:r>
            <a:r>
              <a:rPr lang="pt-BR" dirty="0" err="1"/>
              <a:t>Dis</a:t>
            </a:r>
            <a:r>
              <a:rPr lang="pt-BR" dirty="0"/>
              <a:t>, 2014. </a:t>
            </a:r>
            <a:r>
              <a:rPr lang="pt-BR" dirty="0" err="1"/>
              <a:t>Yancovitz</a:t>
            </a:r>
            <a:r>
              <a:rPr lang="pt-BR" dirty="0"/>
              <a:t> M et al. PLoS </a:t>
            </a:r>
            <a:r>
              <a:rPr lang="pt-BR" dirty="0" err="1"/>
              <a:t>One</a:t>
            </a:r>
            <a:r>
              <a:rPr lang="pt-BR" dirty="0"/>
              <a:t>, 2012. </a:t>
            </a:r>
          </a:p>
        </p:txBody>
      </p:sp>
    </p:spTree>
    <p:extLst>
      <p:ext uri="{BB962C8B-B14F-4D97-AF65-F5344CB8AC3E}">
        <p14:creationId xmlns:p14="http://schemas.microsoft.com/office/powerpoint/2010/main" val="1967949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3" descr="C:\Users\mmathieu\Desktop\working\Miller AJ_N Engl J Med_2006_Page_05.png">
            <a:extLst>
              <a:ext uri="{FF2B5EF4-FFF2-40B4-BE49-F238E27FC236}">
                <a16:creationId xmlns:a16="http://schemas.microsoft.com/office/drawing/2014/main" id="{F4082A7F-1EEC-4DA0-8288-42812AB5EC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23" t="8871" r="77034" b="-32698"/>
          <a:stretch/>
        </p:blipFill>
        <p:spPr bwMode="gray">
          <a:xfrm>
            <a:off x="7589321" y="2653838"/>
            <a:ext cx="1144917" cy="4559915"/>
          </a:xfrm>
          <a:prstGeom prst="rect">
            <a:avLst/>
          </a:prstGeom>
          <a:noFill/>
          <a:ln w="12700">
            <a:noFill/>
          </a:ln>
        </p:spPr>
      </p:pic>
      <p:pic>
        <p:nvPicPr>
          <p:cNvPr id="84" name="Picture 3" descr="C:\Users\mmathieu\Desktop\working\Miller AJ_N Engl J Med_2006_Page_05.png">
            <a:extLst>
              <a:ext uri="{FF2B5EF4-FFF2-40B4-BE49-F238E27FC236}">
                <a16:creationId xmlns:a16="http://schemas.microsoft.com/office/drawing/2014/main" id="{D95F569E-8284-478F-8818-C29000869F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74" t="8871" r="62081" b="-32698"/>
          <a:stretch/>
        </p:blipFill>
        <p:spPr bwMode="gray">
          <a:xfrm>
            <a:off x="8819986" y="2623672"/>
            <a:ext cx="1445331" cy="4559915"/>
          </a:xfrm>
          <a:prstGeom prst="rect">
            <a:avLst/>
          </a:prstGeom>
          <a:noFill/>
          <a:ln w="12700">
            <a:noFill/>
          </a:ln>
        </p:spPr>
      </p:pic>
      <p:pic>
        <p:nvPicPr>
          <p:cNvPr id="86" name="Picture 3" descr="C:\Users\mmathieu\Desktop\working\Miller AJ_N Engl J Med_2006_Page_05.png">
            <a:extLst>
              <a:ext uri="{FF2B5EF4-FFF2-40B4-BE49-F238E27FC236}">
                <a16:creationId xmlns:a16="http://schemas.microsoft.com/office/drawing/2014/main" id="{189F6DE3-7C92-439C-BEAB-097B07284B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28" t="8871" r="40635" b="-32698"/>
          <a:stretch/>
        </p:blipFill>
        <p:spPr bwMode="gray">
          <a:xfrm>
            <a:off x="10316118" y="2670749"/>
            <a:ext cx="2094786" cy="4559915"/>
          </a:xfrm>
          <a:prstGeom prst="rect">
            <a:avLst/>
          </a:prstGeom>
          <a:noFill/>
          <a:ln w="12700">
            <a:noFill/>
          </a:ln>
        </p:spPr>
      </p:pic>
      <p:pic>
        <p:nvPicPr>
          <p:cNvPr id="88" name="Picture 3" descr="C:\Users\mmathieu\Desktop\working\Miller AJ_N Engl J Med_2006_Page_05.png">
            <a:extLst>
              <a:ext uri="{FF2B5EF4-FFF2-40B4-BE49-F238E27FC236}">
                <a16:creationId xmlns:a16="http://schemas.microsoft.com/office/drawing/2014/main" id="{DD9F603B-F869-4103-8E97-281779A08A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73" t="8871" r="20204" b="-32698"/>
          <a:stretch/>
        </p:blipFill>
        <p:spPr bwMode="gray">
          <a:xfrm>
            <a:off x="12461704" y="2670749"/>
            <a:ext cx="1993436" cy="4559915"/>
          </a:xfrm>
          <a:prstGeom prst="rect">
            <a:avLst/>
          </a:prstGeom>
          <a:noFill/>
          <a:ln w="12700">
            <a:noFill/>
          </a:ln>
        </p:spPr>
      </p:pic>
      <p:pic>
        <p:nvPicPr>
          <p:cNvPr id="90" name="Picture 3" descr="C:\Users\mmathieu\Desktop\working\Miller AJ_N Engl J Med_2006_Page_05.png">
            <a:extLst>
              <a:ext uri="{FF2B5EF4-FFF2-40B4-BE49-F238E27FC236}">
                <a16:creationId xmlns:a16="http://schemas.microsoft.com/office/drawing/2014/main" id="{51550CD9-0906-4B20-9047-536A182826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304" t="8871" b="-32698"/>
          <a:stretch/>
        </p:blipFill>
        <p:spPr bwMode="gray">
          <a:xfrm>
            <a:off x="14505940" y="2670749"/>
            <a:ext cx="1970588" cy="4559915"/>
          </a:xfrm>
          <a:prstGeom prst="rect">
            <a:avLst/>
          </a:prstGeom>
          <a:noFill/>
          <a:ln w="12700">
            <a:noFill/>
          </a:ln>
        </p:spPr>
      </p:pic>
      <p:grpSp>
        <p:nvGrpSpPr>
          <p:cNvPr id="231" name="Agrupar 230">
            <a:extLst>
              <a:ext uri="{FF2B5EF4-FFF2-40B4-BE49-F238E27FC236}">
                <a16:creationId xmlns:a16="http://schemas.microsoft.com/office/drawing/2014/main" id="{AC47DB91-4ECC-4672-826A-E07E53E0CFE0}"/>
              </a:ext>
            </a:extLst>
          </p:cNvPr>
          <p:cNvGrpSpPr/>
          <p:nvPr/>
        </p:nvGrpSpPr>
        <p:grpSpPr>
          <a:xfrm>
            <a:off x="6447486" y="1560780"/>
            <a:ext cx="10052177" cy="685608"/>
            <a:chOff x="6447486" y="1560780"/>
            <a:chExt cx="10052177" cy="685608"/>
          </a:xfrm>
        </p:grpSpPr>
        <p:grpSp>
          <p:nvGrpSpPr>
            <p:cNvPr id="166" name="Agrupar 165">
              <a:extLst>
                <a:ext uri="{FF2B5EF4-FFF2-40B4-BE49-F238E27FC236}">
                  <a16:creationId xmlns:a16="http://schemas.microsoft.com/office/drawing/2014/main" id="{B9861FE9-8965-46CF-A6B0-7F715FEFD5CB}"/>
                </a:ext>
              </a:extLst>
            </p:cNvPr>
            <p:cNvGrpSpPr/>
            <p:nvPr/>
          </p:nvGrpSpPr>
          <p:grpSpPr>
            <a:xfrm>
              <a:off x="6447486" y="1560780"/>
              <a:ext cx="10052177" cy="685608"/>
              <a:chOff x="4121619" y="3068220"/>
              <a:chExt cx="10052177" cy="685608"/>
            </a:xfrm>
          </p:grpSpPr>
          <p:sp>
            <p:nvSpPr>
              <p:cNvPr id="168" name="Retângulo 167">
                <a:extLst>
                  <a:ext uri="{FF2B5EF4-FFF2-40B4-BE49-F238E27FC236}">
                    <a16:creationId xmlns:a16="http://schemas.microsoft.com/office/drawing/2014/main" id="{86E2B2C8-E62F-4042-943B-EFF4B28A2CD3}"/>
                  </a:ext>
                </a:extLst>
              </p:cNvPr>
              <p:cNvSpPr/>
              <p:nvPr/>
            </p:nvSpPr>
            <p:spPr>
              <a:xfrm>
                <a:off x="4121619" y="3068220"/>
                <a:ext cx="10052177" cy="685608"/>
              </a:xfrm>
              <a:prstGeom prst="rect">
                <a:avLst/>
              </a:prstGeom>
              <a:solidFill>
                <a:srgbClr val="1496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167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592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9" name="Triângulo isósceles 168">
                <a:extLst>
                  <a:ext uri="{FF2B5EF4-FFF2-40B4-BE49-F238E27FC236}">
                    <a16:creationId xmlns:a16="http://schemas.microsoft.com/office/drawing/2014/main" id="{C96A3737-06B0-4394-AF02-DD7CD2FA7373}"/>
                  </a:ext>
                </a:extLst>
              </p:cNvPr>
              <p:cNvSpPr/>
              <p:nvPr/>
            </p:nvSpPr>
            <p:spPr>
              <a:xfrm>
                <a:off x="13844622" y="3378249"/>
                <a:ext cx="329174" cy="375579"/>
              </a:xfrm>
              <a:prstGeom prst="triangle">
                <a:avLst>
                  <a:gd name="adj" fmla="val 100000"/>
                </a:avLst>
              </a:prstGeom>
              <a:solidFill>
                <a:srgbClr val="3B61A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31673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592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" name="Content Placeholder 63">
              <a:extLst>
                <a:ext uri="{FF2B5EF4-FFF2-40B4-BE49-F238E27FC236}">
                  <a16:creationId xmlns:a16="http://schemas.microsoft.com/office/drawing/2014/main" id="{092AC5BC-3701-4B6D-91A7-3798FF066DE5}"/>
                </a:ext>
              </a:extLst>
            </p:cNvPr>
            <p:cNvSpPr txBox="1">
              <a:spLocks/>
            </p:cNvSpPr>
            <p:nvPr/>
          </p:nvSpPr>
          <p:spPr>
            <a:xfrm>
              <a:off x="7659173" y="1561551"/>
              <a:ext cx="7628803" cy="67710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>
              <a:defPPr>
                <a:defRPr lang="en-US"/>
              </a:defPPr>
              <a:lvl1pPr algn="ctr" defTabSz="1316553">
                <a:defRPr sz="1400" kern="0">
                  <a:solidFill>
                    <a:srgbClr val="73B844"/>
                  </a:solidFill>
                  <a:latin typeface="Bahnschrift" panose="020B0502040204020203" pitchFamily="34" charset="0"/>
                </a:defRPr>
              </a:lvl1pPr>
              <a:lvl2pPr marL="457200" indent="-2286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1800" b="1" dirty="0">
                  <a:solidFill>
                    <a:schemeClr val="bg1"/>
                  </a:solidFill>
                </a:rPr>
                <a:t>Alterações histológicas e potenciais mutações genéticas na progressão de melanócitos normais para melanoma </a:t>
              </a:r>
              <a:r>
                <a:rPr lang="en-US" sz="2000" b="1" dirty="0">
                  <a:solidFill>
                    <a:schemeClr val="bg1"/>
                  </a:solidFill>
                </a:rPr>
                <a:t>¹ ³</a:t>
              </a:r>
              <a:endParaRPr lang="en-US" sz="18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0" name="Picture 3" descr="C:\Users\mmathieu\Desktop\working\Miller AJ_N Engl J Med_2006_Page_05.png">
            <a:extLst>
              <a:ext uri="{FF2B5EF4-FFF2-40B4-BE49-F238E27FC236}">
                <a16:creationId xmlns:a16="http://schemas.microsoft.com/office/drawing/2014/main" id="{D6A53F83-A178-4394-977C-1BD17680FC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71" r="89758" b="-32698"/>
          <a:stretch/>
        </p:blipFill>
        <p:spPr bwMode="gray">
          <a:xfrm>
            <a:off x="6471397" y="2670749"/>
            <a:ext cx="1024697" cy="4559915"/>
          </a:xfrm>
          <a:prstGeom prst="rect">
            <a:avLst/>
          </a:prstGeom>
          <a:noFill/>
          <a:ln w="12700">
            <a:noFill/>
          </a:ln>
        </p:spPr>
      </p:pic>
      <p:grpSp>
        <p:nvGrpSpPr>
          <p:cNvPr id="171" name="Agrupar 170">
            <a:extLst>
              <a:ext uri="{FF2B5EF4-FFF2-40B4-BE49-F238E27FC236}">
                <a16:creationId xmlns:a16="http://schemas.microsoft.com/office/drawing/2014/main" id="{5E7DE3BC-EB6D-447B-9F21-C363BC42532E}"/>
              </a:ext>
            </a:extLst>
          </p:cNvPr>
          <p:cNvGrpSpPr/>
          <p:nvPr/>
        </p:nvGrpSpPr>
        <p:grpSpPr>
          <a:xfrm>
            <a:off x="6643475" y="2391512"/>
            <a:ext cx="9771758" cy="307782"/>
            <a:chOff x="6643475" y="3371675"/>
            <a:chExt cx="9771758" cy="30778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90B3CD1-C915-406E-B904-57B8D710F5E1}"/>
                </a:ext>
              </a:extLst>
            </p:cNvPr>
            <p:cNvSpPr txBox="1"/>
            <p:nvPr/>
          </p:nvSpPr>
          <p:spPr>
            <a:xfrm>
              <a:off x="6643475" y="3371680"/>
              <a:ext cx="643126" cy="30777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 defTabSz="1316553">
                <a:defRPr/>
              </a:pPr>
              <a:r>
                <a:rPr lang="en-US" sz="1400" kern="0" dirty="0">
                  <a:solidFill>
                    <a:srgbClr val="73B844"/>
                  </a:solidFill>
                  <a:latin typeface="Bahnschrift" panose="020B0502040204020203" pitchFamily="34" charset="0"/>
                </a:rPr>
                <a:t>Stag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801D1A8-4F38-4E41-9A6F-B9BAB2333973}"/>
                </a:ext>
              </a:extLst>
            </p:cNvPr>
            <p:cNvSpPr txBox="1"/>
            <p:nvPr/>
          </p:nvSpPr>
          <p:spPr>
            <a:xfrm>
              <a:off x="7431919" y="3371675"/>
              <a:ext cx="1392076" cy="30777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1316553">
                <a:defRPr/>
              </a:pPr>
              <a:r>
                <a:rPr lang="en-US" sz="1400" kern="0" dirty="0">
                  <a:solidFill>
                    <a:srgbClr val="73B844"/>
                  </a:solidFill>
                  <a:latin typeface="Bahnschrift" panose="020B0502040204020203" pitchFamily="34" charset="0"/>
                </a:rPr>
                <a:t>Benign </a:t>
              </a:r>
              <a:r>
                <a:rPr lang="en-US" sz="1400" kern="0" dirty="0" err="1">
                  <a:solidFill>
                    <a:srgbClr val="73B844"/>
                  </a:solidFill>
                  <a:latin typeface="Bahnschrift" panose="020B0502040204020203" pitchFamily="34" charset="0"/>
                </a:rPr>
                <a:t>naevus</a:t>
              </a:r>
              <a:endParaRPr lang="en-US" sz="1400" kern="0" dirty="0">
                <a:solidFill>
                  <a:srgbClr val="73B844"/>
                </a:solidFill>
                <a:latin typeface="Bahnschrift" panose="020B0502040204020203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6B28C0C-5B1F-41C8-9AD0-9D5CC50B6C73}"/>
                </a:ext>
              </a:extLst>
            </p:cNvPr>
            <p:cNvSpPr txBox="1"/>
            <p:nvPr/>
          </p:nvSpPr>
          <p:spPr>
            <a:xfrm>
              <a:off x="8734239" y="3371676"/>
              <a:ext cx="1638590" cy="30777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 defTabSz="1316553">
                <a:defRPr/>
              </a:pPr>
              <a:r>
                <a:rPr lang="en-US" sz="1400" kern="0" dirty="0">
                  <a:solidFill>
                    <a:srgbClr val="73B844"/>
                  </a:solidFill>
                  <a:latin typeface="Bahnschrift" panose="020B0502040204020203" pitchFamily="34" charset="0"/>
                </a:rPr>
                <a:t>Dysplastic </a:t>
              </a:r>
              <a:r>
                <a:rPr lang="en-US" sz="1400" kern="0" dirty="0" err="1">
                  <a:solidFill>
                    <a:srgbClr val="73B844"/>
                  </a:solidFill>
                  <a:latin typeface="Bahnschrift" panose="020B0502040204020203" pitchFamily="34" charset="0"/>
                </a:rPr>
                <a:t>naevus</a:t>
              </a:r>
              <a:endParaRPr lang="en-US" sz="1400" kern="0" dirty="0">
                <a:solidFill>
                  <a:srgbClr val="73B844"/>
                </a:solidFill>
                <a:latin typeface="Bahnschrift" panose="020B0502040204020203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8CF2C80-4E65-4FFE-947F-962C01B5B414}"/>
                </a:ext>
              </a:extLst>
            </p:cNvPr>
            <p:cNvSpPr txBox="1"/>
            <p:nvPr/>
          </p:nvSpPr>
          <p:spPr>
            <a:xfrm>
              <a:off x="10456357" y="3371676"/>
              <a:ext cx="1875835" cy="30777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 defTabSz="1316553">
                <a:defRPr/>
              </a:pPr>
              <a:r>
                <a:rPr lang="en-US" sz="1400" kern="0" dirty="0">
                  <a:solidFill>
                    <a:srgbClr val="73B844"/>
                  </a:solidFill>
                  <a:latin typeface="Bahnschrift" panose="020B0502040204020203" pitchFamily="34" charset="0"/>
                </a:rPr>
                <a:t>Radial-growth phas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0CFA6E3-17AF-4027-8785-DCB8D745EE44}"/>
                </a:ext>
              </a:extLst>
            </p:cNvPr>
            <p:cNvSpPr txBox="1"/>
            <p:nvPr/>
          </p:nvSpPr>
          <p:spPr>
            <a:xfrm>
              <a:off x="12481474" y="3371676"/>
              <a:ext cx="1994457" cy="30777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 defTabSz="1316553">
                <a:defRPr/>
              </a:pPr>
              <a:r>
                <a:rPr lang="en-US" sz="1400" kern="0" dirty="0">
                  <a:solidFill>
                    <a:srgbClr val="73B844"/>
                  </a:solidFill>
                  <a:latin typeface="Bahnschrift" panose="020B0502040204020203" pitchFamily="34" charset="0"/>
                </a:rPr>
                <a:t>Vertical-growth phas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E8321D-C116-49C0-AB4F-F4B1CABF9936}"/>
                </a:ext>
              </a:extLst>
            </p:cNvPr>
            <p:cNvSpPr txBox="1"/>
            <p:nvPr/>
          </p:nvSpPr>
          <p:spPr>
            <a:xfrm>
              <a:off x="14502530" y="3371676"/>
              <a:ext cx="1912703" cy="30777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 defTabSz="1316553">
                <a:defRPr/>
              </a:pPr>
              <a:r>
                <a:rPr lang="en-US" sz="1400" kern="0" dirty="0">
                  <a:solidFill>
                    <a:srgbClr val="73B844"/>
                  </a:solidFill>
                  <a:latin typeface="Bahnschrift" panose="020B0502040204020203" pitchFamily="34" charset="0"/>
                </a:rPr>
                <a:t>Metastatic melanoma</a:t>
              </a:r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76192297-336F-D148-96FE-94C0D43A323C}"/>
              </a:ext>
            </a:extLst>
          </p:cNvPr>
          <p:cNvSpPr/>
          <p:nvPr/>
        </p:nvSpPr>
        <p:spPr>
          <a:xfrm>
            <a:off x="6333810" y="8657998"/>
            <a:ext cx="9492243" cy="3631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16553">
              <a:lnSpc>
                <a:spcPct val="80000"/>
              </a:lnSpc>
            </a:pPr>
            <a:r>
              <a:rPr lang="en-US" sz="11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  <a:t>a In the majority of cases, these mutations are nonoverlapping and occur exclusively of each other but have overlapping activities.3</a:t>
            </a:r>
            <a:br>
              <a:rPr lang="en-US" sz="11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</a:br>
            <a:r>
              <a:rPr lang="en-US" sz="11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  <a:t>Figure adapted from Miller AJ, Mihm MC Jr. N Engl J Med. 2006;355(1):51-65.2</a:t>
            </a:r>
          </a:p>
        </p:txBody>
      </p:sp>
      <p:grpSp>
        <p:nvGrpSpPr>
          <p:cNvPr id="114" name="Agrupar 113">
            <a:extLst>
              <a:ext uri="{FF2B5EF4-FFF2-40B4-BE49-F238E27FC236}">
                <a16:creationId xmlns:a16="http://schemas.microsoft.com/office/drawing/2014/main" id="{87E10C36-3878-4423-B88D-604264707940}"/>
              </a:ext>
            </a:extLst>
          </p:cNvPr>
          <p:cNvGrpSpPr/>
          <p:nvPr/>
        </p:nvGrpSpPr>
        <p:grpSpPr>
          <a:xfrm rot="5400000">
            <a:off x="12523936" y="2003340"/>
            <a:ext cx="101600" cy="7680994"/>
            <a:chOff x="5854700" y="3650912"/>
            <a:chExt cx="101600" cy="7680994"/>
          </a:xfrm>
        </p:grpSpPr>
        <p:cxnSp>
          <p:nvCxnSpPr>
            <p:cNvPr id="115" name="Conector reto 114">
              <a:extLst>
                <a:ext uri="{FF2B5EF4-FFF2-40B4-BE49-F238E27FC236}">
                  <a16:creationId xmlns:a16="http://schemas.microsoft.com/office/drawing/2014/main" id="{0A275C97-0AE7-46F6-9767-99ABB41872F0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123904" y="7550309"/>
              <a:ext cx="7563194" cy="0"/>
            </a:xfrm>
            <a:prstGeom prst="lin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Triângulo isósceles 115">
              <a:extLst>
                <a:ext uri="{FF2B5EF4-FFF2-40B4-BE49-F238E27FC236}">
                  <a16:creationId xmlns:a16="http://schemas.microsoft.com/office/drawing/2014/main" id="{11FB95FC-BBE7-44D9-B663-A1569F8E7DF4}"/>
                </a:ext>
              </a:extLst>
            </p:cNvPr>
            <p:cNvSpPr/>
            <p:nvPr/>
          </p:nvSpPr>
          <p:spPr>
            <a:xfrm>
              <a:off x="5854700" y="3650912"/>
              <a:ext cx="101600" cy="87586"/>
            </a:xfrm>
            <a:prstGeom prst="triangl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20" name="Agrupar 119">
            <a:extLst>
              <a:ext uri="{FF2B5EF4-FFF2-40B4-BE49-F238E27FC236}">
                <a16:creationId xmlns:a16="http://schemas.microsoft.com/office/drawing/2014/main" id="{937CF19C-BDBF-4A99-B77D-88738FA5604D}"/>
              </a:ext>
            </a:extLst>
          </p:cNvPr>
          <p:cNvGrpSpPr/>
          <p:nvPr/>
        </p:nvGrpSpPr>
        <p:grpSpPr>
          <a:xfrm rot="5400000">
            <a:off x="13102391" y="2796620"/>
            <a:ext cx="101600" cy="6524085"/>
            <a:chOff x="5854700" y="3650912"/>
            <a:chExt cx="101600" cy="6524085"/>
          </a:xfrm>
        </p:grpSpPr>
        <p:cxnSp>
          <p:nvCxnSpPr>
            <p:cNvPr id="121" name="Conector reto 120">
              <a:extLst>
                <a:ext uri="{FF2B5EF4-FFF2-40B4-BE49-F238E27FC236}">
                  <a16:creationId xmlns:a16="http://schemas.microsoft.com/office/drawing/2014/main" id="{DA345AC2-ED91-4396-B68A-786F93C1D1DF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702359" y="6971855"/>
              <a:ext cx="6406285" cy="0"/>
            </a:xfrm>
            <a:prstGeom prst="line">
              <a:avLst/>
            </a:prstGeom>
            <a:ln w="1905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Triângulo isósceles 121">
              <a:extLst>
                <a:ext uri="{FF2B5EF4-FFF2-40B4-BE49-F238E27FC236}">
                  <a16:creationId xmlns:a16="http://schemas.microsoft.com/office/drawing/2014/main" id="{B3D1D6BE-DC7A-4F96-B97E-B36A1DD4A2FF}"/>
                </a:ext>
              </a:extLst>
            </p:cNvPr>
            <p:cNvSpPr/>
            <p:nvPr/>
          </p:nvSpPr>
          <p:spPr>
            <a:xfrm>
              <a:off x="5854700" y="3650912"/>
              <a:ext cx="101600" cy="87586"/>
            </a:xfrm>
            <a:prstGeom prst="triangle">
              <a:avLst/>
            </a:prstGeom>
            <a:ln w="1905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23" name="Agrupar 122">
            <a:extLst>
              <a:ext uri="{FF2B5EF4-FFF2-40B4-BE49-F238E27FC236}">
                <a16:creationId xmlns:a16="http://schemas.microsoft.com/office/drawing/2014/main" id="{6A4FD82F-0E56-4EB1-8CE3-E02CC77422FB}"/>
              </a:ext>
            </a:extLst>
          </p:cNvPr>
          <p:cNvGrpSpPr/>
          <p:nvPr/>
        </p:nvGrpSpPr>
        <p:grpSpPr>
          <a:xfrm rot="5400000">
            <a:off x="12996593" y="2905646"/>
            <a:ext cx="101600" cy="6735682"/>
            <a:chOff x="5854700" y="3650912"/>
            <a:chExt cx="101600" cy="6735682"/>
          </a:xfrm>
        </p:grpSpPr>
        <p:cxnSp>
          <p:nvCxnSpPr>
            <p:cNvPr id="124" name="Conector reto 123">
              <a:extLst>
                <a:ext uri="{FF2B5EF4-FFF2-40B4-BE49-F238E27FC236}">
                  <a16:creationId xmlns:a16="http://schemas.microsoft.com/office/drawing/2014/main" id="{0361F5C6-DA16-4CA1-83FF-5AB1331A7E86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596561" y="7077653"/>
              <a:ext cx="6617882" cy="0"/>
            </a:xfrm>
            <a:prstGeom prst="lin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riângulo isósceles 124">
              <a:extLst>
                <a:ext uri="{FF2B5EF4-FFF2-40B4-BE49-F238E27FC236}">
                  <a16:creationId xmlns:a16="http://schemas.microsoft.com/office/drawing/2014/main" id="{3230E9D3-BCD7-4E2B-B4BC-0D235AEF6F82}"/>
                </a:ext>
              </a:extLst>
            </p:cNvPr>
            <p:cNvSpPr/>
            <p:nvPr/>
          </p:nvSpPr>
          <p:spPr>
            <a:xfrm>
              <a:off x="5854700" y="3650912"/>
              <a:ext cx="101600" cy="87586"/>
            </a:xfrm>
            <a:prstGeom prst="triangl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28" name="Agrupar 127">
            <a:extLst>
              <a:ext uri="{FF2B5EF4-FFF2-40B4-BE49-F238E27FC236}">
                <a16:creationId xmlns:a16="http://schemas.microsoft.com/office/drawing/2014/main" id="{34149873-F13E-4BE5-A58E-E7988AFCEAC2}"/>
              </a:ext>
            </a:extLst>
          </p:cNvPr>
          <p:cNvGrpSpPr/>
          <p:nvPr/>
        </p:nvGrpSpPr>
        <p:grpSpPr>
          <a:xfrm rot="5400000">
            <a:off x="13861657" y="3985535"/>
            <a:ext cx="101600" cy="5005554"/>
            <a:chOff x="5854700" y="3650912"/>
            <a:chExt cx="101600" cy="5005554"/>
          </a:xfrm>
        </p:grpSpPr>
        <p:cxnSp>
          <p:nvCxnSpPr>
            <p:cNvPr id="129" name="Conector reto 128">
              <a:extLst>
                <a:ext uri="{FF2B5EF4-FFF2-40B4-BE49-F238E27FC236}">
                  <a16:creationId xmlns:a16="http://schemas.microsoft.com/office/drawing/2014/main" id="{97ADC75E-EF6C-4730-9468-DE8F1F2D438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3467721" y="6212589"/>
              <a:ext cx="4887754" cy="0"/>
            </a:xfrm>
            <a:prstGeom prst="line">
              <a:avLst/>
            </a:prstGeom>
            <a:ln w="1905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riângulo isósceles 129">
              <a:extLst>
                <a:ext uri="{FF2B5EF4-FFF2-40B4-BE49-F238E27FC236}">
                  <a16:creationId xmlns:a16="http://schemas.microsoft.com/office/drawing/2014/main" id="{A895564C-F9A6-4BAC-98B8-BCEA34A20FB4}"/>
                </a:ext>
              </a:extLst>
            </p:cNvPr>
            <p:cNvSpPr/>
            <p:nvPr/>
          </p:nvSpPr>
          <p:spPr>
            <a:xfrm>
              <a:off x="5854700" y="3650912"/>
              <a:ext cx="101600" cy="87586"/>
            </a:xfrm>
            <a:prstGeom prst="triangle">
              <a:avLst/>
            </a:prstGeom>
            <a:ln w="1905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32" name="Agrupar 131">
            <a:extLst>
              <a:ext uri="{FF2B5EF4-FFF2-40B4-BE49-F238E27FC236}">
                <a16:creationId xmlns:a16="http://schemas.microsoft.com/office/drawing/2014/main" id="{2E4B8E91-5331-42D6-9F42-87F496F0FEBF}"/>
              </a:ext>
            </a:extLst>
          </p:cNvPr>
          <p:cNvGrpSpPr/>
          <p:nvPr/>
        </p:nvGrpSpPr>
        <p:grpSpPr>
          <a:xfrm rot="5400000">
            <a:off x="14980280" y="5318983"/>
            <a:ext cx="101600" cy="2768308"/>
            <a:chOff x="5854700" y="3650912"/>
            <a:chExt cx="101600" cy="2768308"/>
          </a:xfrm>
        </p:grpSpPr>
        <p:cxnSp>
          <p:nvCxnSpPr>
            <p:cNvPr id="133" name="Conector reto 132">
              <a:extLst>
                <a:ext uri="{FF2B5EF4-FFF2-40B4-BE49-F238E27FC236}">
                  <a16:creationId xmlns:a16="http://schemas.microsoft.com/office/drawing/2014/main" id="{2E51A977-8798-49B5-B3DC-D8992417B352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580247" y="5093965"/>
              <a:ext cx="2650510" cy="0"/>
            </a:xfrm>
            <a:prstGeom prst="lin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Triângulo isósceles 133">
              <a:extLst>
                <a:ext uri="{FF2B5EF4-FFF2-40B4-BE49-F238E27FC236}">
                  <a16:creationId xmlns:a16="http://schemas.microsoft.com/office/drawing/2014/main" id="{1FB5A977-563B-4E68-9705-49054D85C699}"/>
                </a:ext>
              </a:extLst>
            </p:cNvPr>
            <p:cNvSpPr/>
            <p:nvPr/>
          </p:nvSpPr>
          <p:spPr>
            <a:xfrm>
              <a:off x="5854700" y="3650912"/>
              <a:ext cx="101600" cy="87586"/>
            </a:xfrm>
            <a:prstGeom prst="triangl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36" name="Agrupar 135">
            <a:extLst>
              <a:ext uri="{FF2B5EF4-FFF2-40B4-BE49-F238E27FC236}">
                <a16:creationId xmlns:a16="http://schemas.microsoft.com/office/drawing/2014/main" id="{B10E9E38-D08D-4987-9729-D734B2186157}"/>
              </a:ext>
            </a:extLst>
          </p:cNvPr>
          <p:cNvGrpSpPr/>
          <p:nvPr/>
        </p:nvGrpSpPr>
        <p:grpSpPr>
          <a:xfrm rot="5400000">
            <a:off x="15234356" y="5787884"/>
            <a:ext cx="101600" cy="2260156"/>
            <a:chOff x="5854700" y="3650912"/>
            <a:chExt cx="101600" cy="2260156"/>
          </a:xfrm>
        </p:grpSpPr>
        <p:cxnSp>
          <p:nvCxnSpPr>
            <p:cNvPr id="137" name="Conector reto 136">
              <a:extLst>
                <a:ext uri="{FF2B5EF4-FFF2-40B4-BE49-F238E27FC236}">
                  <a16:creationId xmlns:a16="http://schemas.microsoft.com/office/drawing/2014/main" id="{B0D50A19-9279-4EBA-A295-F1B4B24F64E1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840420" y="4839890"/>
              <a:ext cx="2142356" cy="0"/>
            </a:xfrm>
            <a:prstGeom prst="line">
              <a:avLst/>
            </a:prstGeom>
            <a:ln w="1905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riângulo isósceles 137">
              <a:extLst>
                <a:ext uri="{FF2B5EF4-FFF2-40B4-BE49-F238E27FC236}">
                  <a16:creationId xmlns:a16="http://schemas.microsoft.com/office/drawing/2014/main" id="{2F0558D5-DC2B-471B-B2D0-ED11FD0114DA}"/>
                </a:ext>
              </a:extLst>
            </p:cNvPr>
            <p:cNvSpPr/>
            <p:nvPr/>
          </p:nvSpPr>
          <p:spPr>
            <a:xfrm>
              <a:off x="5854700" y="3650912"/>
              <a:ext cx="101600" cy="87586"/>
            </a:xfrm>
            <a:prstGeom prst="triangle">
              <a:avLst/>
            </a:prstGeom>
            <a:ln w="1905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41" name="Agrupar 140">
            <a:extLst>
              <a:ext uri="{FF2B5EF4-FFF2-40B4-BE49-F238E27FC236}">
                <a16:creationId xmlns:a16="http://schemas.microsoft.com/office/drawing/2014/main" id="{C1F438B2-D9B6-47C9-8567-82DF4C37AA63}"/>
              </a:ext>
            </a:extLst>
          </p:cNvPr>
          <p:cNvGrpSpPr/>
          <p:nvPr/>
        </p:nvGrpSpPr>
        <p:grpSpPr>
          <a:xfrm rot="5400000">
            <a:off x="15300881" y="6069234"/>
            <a:ext cx="101600" cy="2127107"/>
            <a:chOff x="5854700" y="3650912"/>
            <a:chExt cx="101600" cy="2127107"/>
          </a:xfrm>
        </p:grpSpPr>
        <p:cxnSp>
          <p:nvCxnSpPr>
            <p:cNvPr id="142" name="Conector reto 141">
              <a:extLst>
                <a:ext uri="{FF2B5EF4-FFF2-40B4-BE49-F238E27FC236}">
                  <a16:creationId xmlns:a16="http://schemas.microsoft.com/office/drawing/2014/main" id="{7B91E79F-48ED-46DA-98FF-33E05ABB9E53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900848" y="4773365"/>
              <a:ext cx="2009309" cy="0"/>
            </a:xfrm>
            <a:prstGeom prst="lin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Triângulo isósceles 142">
              <a:extLst>
                <a:ext uri="{FF2B5EF4-FFF2-40B4-BE49-F238E27FC236}">
                  <a16:creationId xmlns:a16="http://schemas.microsoft.com/office/drawing/2014/main" id="{5F8B7789-5B45-47E8-A6EE-8DCE81F615B0}"/>
                </a:ext>
              </a:extLst>
            </p:cNvPr>
            <p:cNvSpPr/>
            <p:nvPr/>
          </p:nvSpPr>
          <p:spPr>
            <a:xfrm>
              <a:off x="5854700" y="3650912"/>
              <a:ext cx="101600" cy="87586"/>
            </a:xfrm>
            <a:prstGeom prst="triangl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45" name="Agrupar 144">
            <a:extLst>
              <a:ext uri="{FF2B5EF4-FFF2-40B4-BE49-F238E27FC236}">
                <a16:creationId xmlns:a16="http://schemas.microsoft.com/office/drawing/2014/main" id="{5E79646B-0724-4BF3-9A99-58E01E3FE268}"/>
              </a:ext>
            </a:extLst>
          </p:cNvPr>
          <p:cNvGrpSpPr/>
          <p:nvPr/>
        </p:nvGrpSpPr>
        <p:grpSpPr>
          <a:xfrm rot="5400000">
            <a:off x="15051615" y="6034792"/>
            <a:ext cx="101600" cy="2625641"/>
            <a:chOff x="5854700" y="3650912"/>
            <a:chExt cx="101600" cy="2625641"/>
          </a:xfrm>
        </p:grpSpPr>
        <p:cxnSp>
          <p:nvCxnSpPr>
            <p:cNvPr id="146" name="Conector reto 145">
              <a:extLst>
                <a:ext uri="{FF2B5EF4-FFF2-40B4-BE49-F238E27FC236}">
                  <a16:creationId xmlns:a16="http://schemas.microsoft.com/office/drawing/2014/main" id="{87356D66-38AC-4BA5-94FE-30CF10BFEE2A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657678" y="5022632"/>
              <a:ext cx="2507843" cy="0"/>
            </a:xfrm>
            <a:prstGeom prst="line">
              <a:avLst/>
            </a:prstGeom>
            <a:ln w="1905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Triângulo isósceles 146">
              <a:extLst>
                <a:ext uri="{FF2B5EF4-FFF2-40B4-BE49-F238E27FC236}">
                  <a16:creationId xmlns:a16="http://schemas.microsoft.com/office/drawing/2014/main" id="{94ED0EEC-774B-4E5B-ADAC-78DABFB9A7EF}"/>
                </a:ext>
              </a:extLst>
            </p:cNvPr>
            <p:cNvSpPr/>
            <p:nvPr/>
          </p:nvSpPr>
          <p:spPr>
            <a:xfrm>
              <a:off x="5854700" y="3650912"/>
              <a:ext cx="101600" cy="87586"/>
            </a:xfrm>
            <a:prstGeom prst="triangle">
              <a:avLst/>
            </a:prstGeom>
            <a:ln w="1905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50" name="Agrupar 149">
            <a:extLst>
              <a:ext uri="{FF2B5EF4-FFF2-40B4-BE49-F238E27FC236}">
                <a16:creationId xmlns:a16="http://schemas.microsoft.com/office/drawing/2014/main" id="{F941E734-9D21-4E24-8101-766F58E56815}"/>
              </a:ext>
            </a:extLst>
          </p:cNvPr>
          <p:cNvGrpSpPr/>
          <p:nvPr/>
        </p:nvGrpSpPr>
        <p:grpSpPr>
          <a:xfrm rot="5400000">
            <a:off x="14722999" y="5921002"/>
            <a:ext cx="101600" cy="3282875"/>
            <a:chOff x="5854700" y="3650912"/>
            <a:chExt cx="101600" cy="3282875"/>
          </a:xfrm>
        </p:grpSpPr>
        <p:cxnSp>
          <p:nvCxnSpPr>
            <p:cNvPr id="151" name="Conector reto 150">
              <a:extLst>
                <a:ext uri="{FF2B5EF4-FFF2-40B4-BE49-F238E27FC236}">
                  <a16:creationId xmlns:a16="http://schemas.microsoft.com/office/drawing/2014/main" id="{C9DFB04E-CCFA-4761-8948-3B2EB64C3C1C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322964" y="5351249"/>
              <a:ext cx="3165076" cy="0"/>
            </a:xfrm>
            <a:prstGeom prst="lin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Triângulo isósceles 151">
              <a:extLst>
                <a:ext uri="{FF2B5EF4-FFF2-40B4-BE49-F238E27FC236}">
                  <a16:creationId xmlns:a16="http://schemas.microsoft.com/office/drawing/2014/main" id="{3E6B1F83-FB9C-4773-8D83-B871D42F101D}"/>
                </a:ext>
              </a:extLst>
            </p:cNvPr>
            <p:cNvSpPr/>
            <p:nvPr/>
          </p:nvSpPr>
          <p:spPr>
            <a:xfrm>
              <a:off x="5854700" y="3650912"/>
              <a:ext cx="101600" cy="87586"/>
            </a:xfrm>
            <a:prstGeom prst="triangl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6" name="Rounded Rectangle 77">
            <a:extLst>
              <a:ext uri="{FF2B5EF4-FFF2-40B4-BE49-F238E27FC236}">
                <a16:creationId xmlns:a16="http://schemas.microsoft.com/office/drawing/2014/main" id="{685E2AF8-E97A-4CAC-A5E1-86AF7E73D238}"/>
              </a:ext>
            </a:extLst>
          </p:cNvPr>
          <p:cNvSpPr/>
          <p:nvPr/>
        </p:nvSpPr>
        <p:spPr>
          <a:xfrm>
            <a:off x="6294381" y="6890409"/>
            <a:ext cx="5000411" cy="978729"/>
          </a:xfrm>
          <a:prstGeom prst="roundRect">
            <a:avLst>
              <a:gd name="adj" fmla="val 0"/>
            </a:avLst>
          </a:prstGeom>
          <a:noFill/>
        </p:spPr>
        <p:txBody>
          <a:bodyPr wrap="square">
            <a:spAutoFit/>
          </a:bodyPr>
          <a:lstStyle/>
          <a:p>
            <a:pPr defTabSz="1316553">
              <a:lnSpc>
                <a:spcPct val="80000"/>
              </a:lnSpc>
            </a:pPr>
            <a:r>
              <a:rPr lang="pt-BR" sz="18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  <a:t>As mutações NRAS e BRAF são consideradas mutações condutoras, o que significa que ocorrem precocemente e contribuem para a patogênese do melanoma</a:t>
            </a:r>
            <a:r>
              <a:rPr lang="en-US" sz="18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  <a:t>²,</a:t>
            </a:r>
            <a:r>
              <a:rPr lang="en-US" dirty="0">
                <a:solidFill>
                  <a:srgbClr val="404040"/>
                </a:solidFill>
                <a:latin typeface="Bahnschrift" panose="020B0502040204020203" pitchFamily="34" charset="0"/>
              </a:rPr>
              <a:t> ⁴ </a:t>
            </a:r>
            <a:endParaRPr lang="en-US" sz="1800" dirty="0">
              <a:solidFill>
                <a:srgbClr val="404040"/>
              </a:solidFill>
              <a:latin typeface="Bahnschrift" panose="020B0502040204020203" pitchFamily="34" charset="0"/>
              <a:ea typeface="Verdana" panose="020B0604030504040204" pitchFamily="34" charset="0"/>
            </a:endParaRPr>
          </a:p>
        </p:txBody>
      </p:sp>
      <p:sp>
        <p:nvSpPr>
          <p:cNvPr id="178" name="Retângulo 177">
            <a:extLst>
              <a:ext uri="{FF2B5EF4-FFF2-40B4-BE49-F238E27FC236}">
                <a16:creationId xmlns:a16="http://schemas.microsoft.com/office/drawing/2014/main" id="{269F35A3-9BF2-4FA6-9D00-5E3E4C485F89}"/>
              </a:ext>
            </a:extLst>
          </p:cNvPr>
          <p:cNvSpPr/>
          <p:nvPr/>
        </p:nvSpPr>
        <p:spPr>
          <a:xfrm>
            <a:off x="0" y="0"/>
            <a:ext cx="6023397" cy="9874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Text Placeholder 69">
            <a:extLst>
              <a:ext uri="{FF2B5EF4-FFF2-40B4-BE49-F238E27FC236}">
                <a16:creationId xmlns:a16="http://schemas.microsoft.com/office/drawing/2014/main" id="{27660B18-DBFC-2B44-8612-8997C292AF34}"/>
              </a:ext>
            </a:extLst>
          </p:cNvPr>
          <p:cNvSpPr txBox="1">
            <a:spLocks/>
          </p:cNvSpPr>
          <p:nvPr/>
        </p:nvSpPr>
        <p:spPr>
          <a:xfrm>
            <a:off x="1136777" y="3529143"/>
            <a:ext cx="4368926" cy="44258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defTabSz="1316553">
              <a:lnSpc>
                <a:spcPct val="80000"/>
              </a:lnSpc>
              <a:spcBef>
                <a:spcPts val="0"/>
              </a:spcBef>
              <a:buNone/>
              <a:defRPr sz="2800" b="1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defRPr>
            </a:lvl1pPr>
          </a:lstStyle>
          <a:p>
            <a:r>
              <a:rPr lang="pt-BR" sz="4400" dirty="0"/>
              <a:t>ALTERAÇÕES VIA DE SINALIZAÇÃO DE MAPK IMPULSIONAM O </a:t>
            </a:r>
            <a:r>
              <a:rPr lang="pt-BR" sz="4400" dirty="0">
                <a:solidFill>
                  <a:srgbClr val="1496D4"/>
                </a:solidFill>
              </a:rPr>
              <a:t>CRESCIMENTO E A PROGRESSÃO DO MELANOMA</a:t>
            </a:r>
            <a:endParaRPr lang="en-US" sz="4400" dirty="0">
              <a:solidFill>
                <a:srgbClr val="1496D4"/>
              </a:solidFill>
            </a:endParaRPr>
          </a:p>
        </p:txBody>
      </p:sp>
      <p:grpSp>
        <p:nvGrpSpPr>
          <p:cNvPr id="208" name="Agrupar 207">
            <a:extLst>
              <a:ext uri="{FF2B5EF4-FFF2-40B4-BE49-F238E27FC236}">
                <a16:creationId xmlns:a16="http://schemas.microsoft.com/office/drawing/2014/main" id="{D459312B-C3FE-48F2-9C98-0A154510AB39}"/>
              </a:ext>
            </a:extLst>
          </p:cNvPr>
          <p:cNvGrpSpPr/>
          <p:nvPr/>
        </p:nvGrpSpPr>
        <p:grpSpPr>
          <a:xfrm>
            <a:off x="1" y="7998495"/>
            <a:ext cx="5368412" cy="0"/>
            <a:chOff x="1" y="7998495"/>
            <a:chExt cx="5368412" cy="0"/>
          </a:xfrm>
        </p:grpSpPr>
        <p:cxnSp>
          <p:nvCxnSpPr>
            <p:cNvPr id="181" name="Conector reto 180">
              <a:extLst>
                <a:ext uri="{FF2B5EF4-FFF2-40B4-BE49-F238E27FC236}">
                  <a16:creationId xmlns:a16="http://schemas.microsoft.com/office/drawing/2014/main" id="{EF3B7E4E-9911-4A56-AD7C-6559DFAFF3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" y="7998495"/>
              <a:ext cx="63304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Conector reto 181">
              <a:extLst>
                <a:ext uri="{FF2B5EF4-FFF2-40B4-BE49-F238E27FC236}">
                  <a16:creationId xmlns:a16="http://schemas.microsoft.com/office/drawing/2014/main" id="{07CD385D-C156-41A8-A073-C7D161375D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047" y="7998495"/>
              <a:ext cx="4735366" cy="0"/>
            </a:xfrm>
            <a:prstGeom prst="line">
              <a:avLst/>
            </a:prstGeom>
            <a:ln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7" name="Agrupar 186">
            <a:extLst>
              <a:ext uri="{FF2B5EF4-FFF2-40B4-BE49-F238E27FC236}">
                <a16:creationId xmlns:a16="http://schemas.microsoft.com/office/drawing/2014/main" id="{62545EE2-3F78-4F94-903A-8DFD247739E7}"/>
              </a:ext>
            </a:extLst>
          </p:cNvPr>
          <p:cNvGrpSpPr/>
          <p:nvPr/>
        </p:nvGrpSpPr>
        <p:grpSpPr>
          <a:xfrm>
            <a:off x="1281392" y="2322403"/>
            <a:ext cx="945614" cy="872473"/>
            <a:chOff x="5411016" y="1201223"/>
            <a:chExt cx="574675" cy="530225"/>
          </a:xfrm>
        </p:grpSpPr>
        <p:sp>
          <p:nvSpPr>
            <p:cNvPr id="188" name="Freeform 29">
              <a:extLst>
                <a:ext uri="{FF2B5EF4-FFF2-40B4-BE49-F238E27FC236}">
                  <a16:creationId xmlns:a16="http://schemas.microsoft.com/office/drawing/2014/main" id="{F0466514-F136-46A0-A1F8-44C6F5F5B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016" y="1201223"/>
              <a:ext cx="574675" cy="530225"/>
            </a:xfrm>
            <a:custGeom>
              <a:avLst/>
              <a:gdLst>
                <a:gd name="T0" fmla="*/ 362 w 362"/>
                <a:gd name="T1" fmla="*/ 334 h 334"/>
                <a:gd name="T2" fmla="*/ 0 w 362"/>
                <a:gd name="T3" fmla="*/ 334 h 334"/>
                <a:gd name="T4" fmla="*/ 0 w 362"/>
                <a:gd name="T5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2" h="334">
                  <a:moveTo>
                    <a:pt x="362" y="334"/>
                  </a:moveTo>
                  <a:lnTo>
                    <a:pt x="0" y="334"/>
                  </a:lnTo>
                  <a:lnTo>
                    <a:pt x="0" y="0"/>
                  </a:lnTo>
                </a:path>
              </a:pathLst>
            </a:cu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89" name="Line 30">
              <a:extLst>
                <a:ext uri="{FF2B5EF4-FFF2-40B4-BE49-F238E27FC236}">
                  <a16:creationId xmlns:a16="http://schemas.microsoft.com/office/drawing/2014/main" id="{AA0588CC-5444-4420-95EE-498575A05A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87216" y="1693348"/>
              <a:ext cx="0" cy="3810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0" name="Line 31">
              <a:extLst>
                <a:ext uri="{FF2B5EF4-FFF2-40B4-BE49-F238E27FC236}">
                  <a16:creationId xmlns:a16="http://schemas.microsoft.com/office/drawing/2014/main" id="{CDFF7DCE-18FC-4CCE-992D-87473A2A80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3416" y="1693348"/>
              <a:ext cx="0" cy="3810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1" name="Line 32">
              <a:extLst>
                <a:ext uri="{FF2B5EF4-FFF2-40B4-BE49-F238E27FC236}">
                  <a16:creationId xmlns:a16="http://schemas.microsoft.com/office/drawing/2014/main" id="{86E35B22-EC78-446B-A9A2-28DC0D760D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1204" y="1693348"/>
              <a:ext cx="0" cy="3810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2" name="Line 33">
              <a:extLst>
                <a:ext uri="{FF2B5EF4-FFF2-40B4-BE49-F238E27FC236}">
                  <a16:creationId xmlns:a16="http://schemas.microsoft.com/office/drawing/2014/main" id="{F8D29F4C-9D39-444F-B493-90CB7BB4A5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17404" y="1693348"/>
              <a:ext cx="0" cy="3810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3" name="Line 34">
              <a:extLst>
                <a:ext uri="{FF2B5EF4-FFF2-40B4-BE49-F238E27FC236}">
                  <a16:creationId xmlns:a16="http://schemas.microsoft.com/office/drawing/2014/main" id="{BDA1F508-EE67-4851-AC0F-D035135E65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3604" y="1693348"/>
              <a:ext cx="0" cy="3810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4" name="Line 35">
              <a:extLst>
                <a:ext uri="{FF2B5EF4-FFF2-40B4-BE49-F238E27FC236}">
                  <a16:creationId xmlns:a16="http://schemas.microsoft.com/office/drawing/2014/main" id="{224BEB5F-C9AA-4BD4-8746-A2B154BB7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69804" y="1693348"/>
              <a:ext cx="0" cy="3810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5" name="Line 36">
              <a:extLst>
                <a:ext uri="{FF2B5EF4-FFF2-40B4-BE49-F238E27FC236}">
                  <a16:creationId xmlns:a16="http://schemas.microsoft.com/office/drawing/2014/main" id="{C58FFF52-3ADC-4E05-BE91-C337887013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47591" y="1693348"/>
              <a:ext cx="0" cy="3810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6" name="Line 37">
              <a:extLst>
                <a:ext uri="{FF2B5EF4-FFF2-40B4-BE49-F238E27FC236}">
                  <a16:creationId xmlns:a16="http://schemas.microsoft.com/office/drawing/2014/main" id="{45DF89BF-90A2-44BC-8990-3E8BD0B5D5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1016" y="1653661"/>
              <a:ext cx="38100" cy="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7" name="Line 38">
              <a:extLst>
                <a:ext uri="{FF2B5EF4-FFF2-40B4-BE49-F238E27FC236}">
                  <a16:creationId xmlns:a16="http://schemas.microsoft.com/office/drawing/2014/main" id="{1F5364FD-F5FB-4DBA-802D-420C18FBC1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1016" y="1575873"/>
              <a:ext cx="38100" cy="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8" name="Line 39">
              <a:extLst>
                <a:ext uri="{FF2B5EF4-FFF2-40B4-BE49-F238E27FC236}">
                  <a16:creationId xmlns:a16="http://schemas.microsoft.com/office/drawing/2014/main" id="{9854F1C9-FBCE-46FE-9F07-70B169AA42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1016" y="1499673"/>
              <a:ext cx="38100" cy="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99" name="Line 40">
              <a:extLst>
                <a:ext uri="{FF2B5EF4-FFF2-40B4-BE49-F238E27FC236}">
                  <a16:creationId xmlns:a16="http://schemas.microsoft.com/office/drawing/2014/main" id="{2FA8C00C-AB81-4EE0-837E-4636E7CC71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1016" y="1421886"/>
              <a:ext cx="38100" cy="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0" name="Line 41">
              <a:extLst>
                <a:ext uri="{FF2B5EF4-FFF2-40B4-BE49-F238E27FC236}">
                  <a16:creationId xmlns:a16="http://schemas.microsoft.com/office/drawing/2014/main" id="{54A870DB-CA54-40C0-BB3E-BE6DABA6ED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1016" y="1344098"/>
              <a:ext cx="38100" cy="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1" name="Line 42">
              <a:extLst>
                <a:ext uri="{FF2B5EF4-FFF2-40B4-BE49-F238E27FC236}">
                  <a16:creationId xmlns:a16="http://schemas.microsoft.com/office/drawing/2014/main" id="{060B5D0D-066B-453C-91FF-579389289C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1016" y="1266311"/>
              <a:ext cx="38100" cy="0"/>
            </a:xfrm>
            <a:prstGeom prst="lin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2" name="Oval 43">
              <a:extLst>
                <a:ext uri="{FF2B5EF4-FFF2-40B4-BE49-F238E27FC236}">
                  <a16:creationId xmlns:a16="http://schemas.microsoft.com/office/drawing/2014/main" id="{330C7300-A625-4815-B298-1219CA0D7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5316" y="1537773"/>
              <a:ext cx="76200" cy="77788"/>
            </a:xfrm>
            <a:prstGeom prst="ellips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3" name="Oval 44">
              <a:extLst>
                <a:ext uri="{FF2B5EF4-FFF2-40B4-BE49-F238E27FC236}">
                  <a16:creationId xmlns:a16="http://schemas.microsoft.com/office/drawing/2014/main" id="{EC628CA1-50AB-4657-B10B-E71683497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1516" y="1356798"/>
              <a:ext cx="77788" cy="77788"/>
            </a:xfrm>
            <a:prstGeom prst="ellips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4" name="Oval 45">
              <a:extLst>
                <a:ext uri="{FF2B5EF4-FFF2-40B4-BE49-F238E27FC236}">
                  <a16:creationId xmlns:a16="http://schemas.microsoft.com/office/drawing/2014/main" id="{26331D2C-D2F6-4023-8708-B33474676D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3904" y="1485386"/>
              <a:ext cx="76200" cy="77788"/>
            </a:xfrm>
            <a:prstGeom prst="ellips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5" name="Oval 46">
              <a:extLst>
                <a:ext uri="{FF2B5EF4-FFF2-40B4-BE49-F238E27FC236}">
                  <a16:creationId xmlns:a16="http://schemas.microsoft.com/office/drawing/2014/main" id="{1C920358-C0D0-48C8-922B-8326D14C6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2804" y="1266311"/>
              <a:ext cx="76200" cy="77788"/>
            </a:xfrm>
            <a:prstGeom prst="ellips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6" name="Oval 47">
              <a:extLst>
                <a:ext uri="{FF2B5EF4-FFF2-40B4-BE49-F238E27FC236}">
                  <a16:creationId xmlns:a16="http://schemas.microsoft.com/office/drawing/2014/main" id="{73F9EE26-43D9-4469-84AA-F3260114C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1704" y="1409186"/>
              <a:ext cx="77788" cy="76200"/>
            </a:xfrm>
            <a:prstGeom prst="ellips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07" name="Oval 48">
              <a:extLst>
                <a:ext uri="{FF2B5EF4-FFF2-40B4-BE49-F238E27FC236}">
                  <a16:creationId xmlns:a16="http://schemas.microsoft.com/office/drawing/2014/main" id="{6E5FD925-5B1C-4706-BBD7-FCDE3A46D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4091" y="1228211"/>
              <a:ext cx="76200" cy="77788"/>
            </a:xfrm>
            <a:prstGeom prst="ellipse">
              <a:avLst/>
            </a:prstGeom>
            <a:noFill/>
            <a:ln w="25400" cap="flat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234" name="Agrupar 233">
            <a:extLst>
              <a:ext uri="{FF2B5EF4-FFF2-40B4-BE49-F238E27FC236}">
                <a16:creationId xmlns:a16="http://schemas.microsoft.com/office/drawing/2014/main" id="{DC28FCB2-54DE-4C6D-8D2F-99AA55724703}"/>
              </a:ext>
            </a:extLst>
          </p:cNvPr>
          <p:cNvGrpSpPr/>
          <p:nvPr/>
        </p:nvGrpSpPr>
        <p:grpSpPr>
          <a:xfrm>
            <a:off x="6389228" y="2797938"/>
            <a:ext cx="10087298" cy="5020052"/>
            <a:chOff x="6389228" y="2797938"/>
            <a:chExt cx="10087298" cy="502005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3C163AE-FCCF-4CFB-A18D-8385158A8DF8}"/>
                </a:ext>
              </a:extLst>
            </p:cNvPr>
            <p:cNvSpPr txBox="1"/>
            <p:nvPr/>
          </p:nvSpPr>
          <p:spPr>
            <a:xfrm>
              <a:off x="14965220" y="7648103"/>
              <a:ext cx="995785" cy="155107"/>
            </a:xfrm>
            <a:prstGeom prst="rect">
              <a:avLst/>
            </a:prstGeom>
            <a:noFill/>
          </p:spPr>
          <p:txBody>
            <a:bodyPr wrap="none" tIns="0" rIns="65828" bIns="0" rtlCol="0" anchor="ctr" anchorCtr="0">
              <a:spAutoFit/>
            </a:bodyPr>
            <a:lstStyle>
              <a:defPPr>
                <a:defRPr lang="en-US"/>
              </a:defPPr>
              <a:lvl1pPr defTabSz="1316553">
                <a:defRPr sz="1008" kern="0">
                  <a:solidFill>
                    <a:srgbClr val="73B844"/>
                  </a:solidFill>
                  <a:latin typeface="Bahnschrift" panose="020B0502040204020203" pitchFamily="34" charset="0"/>
                </a:defRPr>
              </a:lvl1pPr>
            </a:lstStyle>
            <a:p>
              <a:r>
                <a:rPr lang="en-US" dirty="0">
                  <a:solidFill>
                    <a:srgbClr val="3B61AC"/>
                  </a:solidFill>
                </a:rPr>
                <a:t>Absent TRPM1</a:t>
              </a:r>
            </a:p>
          </p:txBody>
        </p:sp>
        <p:grpSp>
          <p:nvGrpSpPr>
            <p:cNvPr id="233" name="Agrupar 232">
              <a:extLst>
                <a:ext uri="{FF2B5EF4-FFF2-40B4-BE49-F238E27FC236}">
                  <a16:creationId xmlns:a16="http://schemas.microsoft.com/office/drawing/2014/main" id="{27A6EF8D-AD5E-4DB3-866D-1F97C64E16EB}"/>
                </a:ext>
              </a:extLst>
            </p:cNvPr>
            <p:cNvGrpSpPr/>
            <p:nvPr/>
          </p:nvGrpSpPr>
          <p:grpSpPr>
            <a:xfrm>
              <a:off x="6389228" y="2797938"/>
              <a:ext cx="10087298" cy="5020052"/>
              <a:chOff x="6389228" y="2797938"/>
              <a:chExt cx="10087298" cy="5020052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C028EA1-3B7C-4291-B4D7-F2B6B72A2634}"/>
                  </a:ext>
                </a:extLst>
              </p:cNvPr>
              <p:cNvSpPr txBox="1"/>
              <p:nvPr/>
            </p:nvSpPr>
            <p:spPr>
              <a:xfrm>
                <a:off x="8794587" y="5956170"/>
                <a:ext cx="1096561" cy="184666"/>
              </a:xfrm>
              <a:prstGeom prst="rect">
                <a:avLst/>
              </a:prstGeom>
              <a:noFill/>
            </p:spPr>
            <p:txBody>
              <a:bodyPr wrap="none" tIns="0" rIns="65828" bIns="0" rtlCol="0" anchor="ctr" anchorCtr="0">
                <a:spAutoFit/>
              </a:bodyPr>
              <a:lstStyle/>
              <a:p>
                <a:pPr defTabSz="1316553">
                  <a:defRPr/>
                </a:pP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CDKN2A loss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4A74E4E-76D8-46A5-8942-38D1F334A0D9}"/>
                  </a:ext>
                </a:extLst>
              </p:cNvPr>
              <p:cNvSpPr txBox="1"/>
              <p:nvPr/>
            </p:nvSpPr>
            <p:spPr>
              <a:xfrm>
                <a:off x="8794587" y="6164657"/>
                <a:ext cx="884965" cy="184666"/>
              </a:xfrm>
              <a:prstGeom prst="rect">
                <a:avLst/>
              </a:prstGeom>
              <a:noFill/>
            </p:spPr>
            <p:txBody>
              <a:bodyPr wrap="none" tIns="0" rIns="65828" bIns="0" rtlCol="0" anchor="ctr" anchorCtr="0">
                <a:spAutoFit/>
              </a:bodyPr>
              <a:lstStyle/>
              <a:p>
                <a:pPr defTabSz="1316553">
                  <a:defRPr/>
                </a:pP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PTEN loss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6F9D5F3C-7BAF-4822-8813-8BF4614358C8}"/>
                  </a:ext>
                </a:extLst>
              </p:cNvPr>
              <p:cNvSpPr txBox="1"/>
              <p:nvPr/>
            </p:nvSpPr>
            <p:spPr>
              <a:xfrm>
                <a:off x="10265318" y="6396996"/>
                <a:ext cx="1127018" cy="184666"/>
              </a:xfrm>
              <a:prstGeom prst="rect">
                <a:avLst/>
              </a:prstGeom>
              <a:noFill/>
            </p:spPr>
            <p:txBody>
              <a:bodyPr wrap="none" tIns="0" rIns="65828" bIns="0" rtlCol="0" anchor="ctr" anchorCtr="0">
                <a:spAutoFit/>
              </a:bodyPr>
              <a:lstStyle/>
              <a:p>
                <a:pPr defTabSz="1316553">
                  <a:defRPr/>
                </a:pP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Increased CD1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9B630C93-8AE5-455A-B922-A53C8B9B8D21}"/>
                  </a:ext>
                </a:extLst>
              </p:cNvPr>
              <p:cNvSpPr txBox="1"/>
              <p:nvPr/>
            </p:nvSpPr>
            <p:spPr>
              <a:xfrm>
                <a:off x="12410904" y="6594355"/>
                <a:ext cx="1255258" cy="184666"/>
              </a:xfrm>
              <a:prstGeom prst="rect">
                <a:avLst/>
              </a:prstGeom>
              <a:noFill/>
            </p:spPr>
            <p:txBody>
              <a:bodyPr wrap="none" tIns="0" rIns="65828" bIns="0" rtlCol="0" anchor="ctr" anchorCtr="0">
                <a:spAutoFit/>
              </a:bodyPr>
              <a:lstStyle/>
              <a:p>
                <a:pPr defTabSz="1316553">
                  <a:defRPr/>
                </a:pP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E-cadherin los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5C381D12-4895-438C-94EF-C0A343C4FB17}"/>
                  </a:ext>
                </a:extLst>
              </p:cNvPr>
              <p:cNvSpPr txBox="1"/>
              <p:nvPr/>
            </p:nvSpPr>
            <p:spPr>
              <a:xfrm>
                <a:off x="12410904" y="6807239"/>
                <a:ext cx="1744174" cy="184666"/>
              </a:xfrm>
              <a:prstGeom prst="rect">
                <a:avLst/>
              </a:prstGeom>
              <a:noFill/>
            </p:spPr>
            <p:txBody>
              <a:bodyPr wrap="none" tIns="0" rIns="65828" bIns="0" rtlCol="0" anchor="ctr" anchorCtr="0">
                <a:spAutoFit/>
              </a:bodyPr>
              <a:lstStyle/>
              <a:p>
                <a:pPr defTabSz="1316553">
                  <a:defRPr/>
                </a:pP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N-cadherin expression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C2D1166A-D11C-4A12-B072-74BB761B3421}"/>
                  </a:ext>
                </a:extLst>
              </p:cNvPr>
              <p:cNvSpPr txBox="1"/>
              <p:nvPr/>
            </p:nvSpPr>
            <p:spPr>
              <a:xfrm>
                <a:off x="12410904" y="7020123"/>
                <a:ext cx="1877223" cy="184666"/>
              </a:xfrm>
              <a:prstGeom prst="rect">
                <a:avLst/>
              </a:prstGeom>
              <a:noFill/>
            </p:spPr>
            <p:txBody>
              <a:bodyPr wrap="none" tIns="0" rIns="65828" bIns="0" rtlCol="0" anchor="ctr" anchorCtr="0">
                <a:spAutoFit/>
              </a:bodyPr>
              <a:lstStyle/>
              <a:p>
                <a:pPr defTabSz="1316553">
                  <a:defRPr/>
                </a:pPr>
                <a:r>
                  <a:rPr lang="el-GR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α</a:t>
                </a: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V</a:t>
                </a:r>
                <a:r>
                  <a:rPr lang="el-GR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β</a:t>
                </a: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3 integrin expression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14CA7C0D-6984-4354-B553-FAFE713F918A}"/>
                  </a:ext>
                </a:extLst>
              </p:cNvPr>
              <p:cNvSpPr txBox="1"/>
              <p:nvPr/>
            </p:nvSpPr>
            <p:spPr>
              <a:xfrm>
                <a:off x="12410904" y="7233007"/>
                <a:ext cx="1378690" cy="184666"/>
              </a:xfrm>
              <a:prstGeom prst="rect">
                <a:avLst/>
              </a:prstGeom>
              <a:noFill/>
            </p:spPr>
            <p:txBody>
              <a:bodyPr wrap="none" tIns="0" rIns="65828" bIns="0" rtlCol="0" anchor="ctr" anchorCtr="0">
                <a:spAutoFit/>
              </a:bodyPr>
              <a:lstStyle/>
              <a:p>
                <a:pPr defTabSz="1316553">
                  <a:defRPr/>
                </a:pP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MMP2 expression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BE6002A9-D5DB-4E43-BB38-CCB71ADFCDC5}"/>
                  </a:ext>
                </a:extLst>
              </p:cNvPr>
              <p:cNvSpPr txBox="1"/>
              <p:nvPr/>
            </p:nvSpPr>
            <p:spPr>
              <a:xfrm>
                <a:off x="12410904" y="7633324"/>
                <a:ext cx="1236022" cy="184666"/>
              </a:xfrm>
              <a:prstGeom prst="rect">
                <a:avLst/>
              </a:prstGeom>
              <a:noFill/>
            </p:spPr>
            <p:txBody>
              <a:bodyPr wrap="none" tIns="0" rIns="65828" bIns="0" rtlCol="0" anchor="ctr" anchorCtr="0">
                <a:spAutoFit/>
              </a:bodyPr>
              <a:lstStyle/>
              <a:p>
                <a:pPr defTabSz="1316553">
                  <a:defRPr/>
                </a:pP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Reduced TRPM1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37D0F17F-9269-4E8C-889D-EDDF90391B67}"/>
                  </a:ext>
                </a:extLst>
              </p:cNvPr>
              <p:cNvSpPr txBox="1"/>
              <p:nvPr/>
            </p:nvSpPr>
            <p:spPr>
              <a:xfrm>
                <a:off x="12410904" y="7445892"/>
                <a:ext cx="721458" cy="184666"/>
              </a:xfrm>
              <a:prstGeom prst="rect">
                <a:avLst/>
              </a:prstGeom>
              <a:noFill/>
            </p:spPr>
            <p:txBody>
              <a:bodyPr wrap="none" tIns="0" rIns="65828" bIns="0" rtlCol="0" anchor="ctr" anchorCtr="0">
                <a:spAutoFit/>
              </a:bodyPr>
              <a:lstStyle/>
              <a:p>
                <a:pPr defTabSz="1316553">
                  <a:defRPr/>
                </a:pPr>
                <a:r>
                  <a:rPr lang="en-US" sz="1200" kern="0" dirty="0">
                    <a:solidFill>
                      <a:srgbClr val="73B844"/>
                    </a:solidFill>
                    <a:latin typeface="Bahnschrift" panose="020B0502040204020203" pitchFamily="34" charset="0"/>
                  </a:rPr>
                  <a:t>Survivin</a:t>
                </a:r>
              </a:p>
            </p:txBody>
          </p:sp>
          <p:grpSp>
            <p:nvGrpSpPr>
              <p:cNvPr id="119" name="Agrupar 118">
                <a:extLst>
                  <a:ext uri="{FF2B5EF4-FFF2-40B4-BE49-F238E27FC236}">
                    <a16:creationId xmlns:a16="http://schemas.microsoft.com/office/drawing/2014/main" id="{34E2EB68-FF05-4466-A05C-FF2DFE2296C5}"/>
                  </a:ext>
                </a:extLst>
              </p:cNvPr>
              <p:cNvGrpSpPr/>
              <p:nvPr/>
            </p:nvGrpSpPr>
            <p:grpSpPr>
              <a:xfrm>
                <a:off x="7416679" y="5733181"/>
                <a:ext cx="1263273" cy="356742"/>
                <a:chOff x="7496094" y="6713344"/>
                <a:chExt cx="1263273" cy="356742"/>
              </a:xfrm>
            </p:grpSpPr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CF1DE2F6-294A-4D3D-875A-5FE911BED3D0}"/>
                    </a:ext>
                  </a:extLst>
                </p:cNvPr>
                <p:cNvSpPr txBox="1"/>
                <p:nvPr/>
              </p:nvSpPr>
              <p:spPr>
                <a:xfrm>
                  <a:off x="7496094" y="6713344"/>
                  <a:ext cx="1247243" cy="184666"/>
                </a:xfrm>
                <a:prstGeom prst="rect">
                  <a:avLst/>
                </a:prstGeom>
                <a:noFill/>
              </p:spPr>
              <p:txBody>
                <a:bodyPr wrap="none" tIns="0" rIns="65828" bIns="0" rtlCol="0" anchor="ctr" anchorCtr="0">
                  <a:spAutoFit/>
                </a:bodyPr>
                <a:lstStyle/>
                <a:p>
                  <a:pPr defTabSz="1316553">
                    <a:defRPr/>
                  </a:pPr>
                  <a:r>
                    <a:rPr lang="en-US" sz="1200" b="1" kern="0" dirty="0">
                      <a:solidFill>
                        <a:srgbClr val="1496D4"/>
                      </a:solidFill>
                      <a:latin typeface="Bahnschrift" panose="020B0502040204020203" pitchFamily="34" charset="0"/>
                    </a:rPr>
                    <a:t>BRAF mutation</a:t>
                  </a:r>
                  <a:r>
                    <a:rPr lang="en-US" sz="1200" b="1" kern="0" baseline="30000" dirty="0">
                      <a:solidFill>
                        <a:srgbClr val="1496D4"/>
                      </a:solidFill>
                      <a:latin typeface="Bahnschrift" panose="020B0502040204020203" pitchFamily="34" charset="0"/>
                    </a:rPr>
                    <a:t>a</a:t>
                  </a:r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F8D44FCD-A5D1-4ED0-AB13-1908DC22DF6E}"/>
                    </a:ext>
                  </a:extLst>
                </p:cNvPr>
                <p:cNvSpPr txBox="1"/>
                <p:nvPr/>
              </p:nvSpPr>
              <p:spPr>
                <a:xfrm>
                  <a:off x="7496094" y="6885420"/>
                  <a:ext cx="1263273" cy="184666"/>
                </a:xfrm>
                <a:prstGeom prst="rect">
                  <a:avLst/>
                </a:prstGeom>
                <a:noFill/>
              </p:spPr>
              <p:txBody>
                <a:bodyPr wrap="none" tIns="0" rIns="65828" bIns="0" rtlCol="0" anchor="ctr" anchorCtr="0">
                  <a:spAutoFit/>
                </a:bodyPr>
                <a:lstStyle/>
                <a:p>
                  <a:pPr defTabSz="1316553">
                    <a:defRPr/>
                  </a:pPr>
                  <a:r>
                    <a:rPr lang="en-US" sz="1200" b="1" kern="0" dirty="0">
                      <a:solidFill>
                        <a:srgbClr val="1496D4"/>
                      </a:solidFill>
                      <a:latin typeface="Bahnschrift" panose="020B0502040204020203" pitchFamily="34" charset="0"/>
                    </a:rPr>
                    <a:t>NRAS mutation</a:t>
                  </a:r>
                  <a:r>
                    <a:rPr lang="en-US" sz="1200" b="1" kern="0" baseline="30000" dirty="0">
                      <a:solidFill>
                        <a:srgbClr val="1496D4"/>
                      </a:solidFill>
                      <a:latin typeface="Bahnschrift" panose="020B0502040204020203" pitchFamily="34" charset="0"/>
                    </a:rPr>
                    <a:t>a</a:t>
                  </a:r>
                </a:p>
              </p:txBody>
            </p:sp>
          </p:grpSp>
          <p:grpSp>
            <p:nvGrpSpPr>
              <p:cNvPr id="232" name="Agrupar 231">
                <a:extLst>
                  <a:ext uri="{FF2B5EF4-FFF2-40B4-BE49-F238E27FC236}">
                    <a16:creationId xmlns:a16="http://schemas.microsoft.com/office/drawing/2014/main" id="{F251CC5E-F1A4-44AC-8EBA-6C46B94D48C2}"/>
                  </a:ext>
                </a:extLst>
              </p:cNvPr>
              <p:cNvGrpSpPr/>
              <p:nvPr/>
            </p:nvGrpSpPr>
            <p:grpSpPr>
              <a:xfrm>
                <a:off x="6389228" y="2797938"/>
                <a:ext cx="1106866" cy="3331153"/>
                <a:chOff x="6389228" y="2797938"/>
                <a:chExt cx="1106866" cy="3331153"/>
              </a:xfrm>
            </p:grpSpPr>
            <p:sp>
              <p:nvSpPr>
                <p:cNvPr id="93" name="Retângulo 92">
                  <a:extLst>
                    <a:ext uri="{FF2B5EF4-FFF2-40B4-BE49-F238E27FC236}">
                      <a16:creationId xmlns:a16="http://schemas.microsoft.com/office/drawing/2014/main" id="{0DDDCAF7-BDFE-4578-B878-AB93FECF8FAE}"/>
                    </a:ext>
                  </a:extLst>
                </p:cNvPr>
                <p:cNvSpPr/>
                <p:nvPr/>
              </p:nvSpPr>
              <p:spPr>
                <a:xfrm>
                  <a:off x="6471397" y="4923988"/>
                  <a:ext cx="1024697" cy="192754"/>
                </a:xfrm>
                <a:prstGeom prst="rect">
                  <a:avLst/>
                </a:prstGeom>
                <a:solidFill>
                  <a:srgbClr val="FFFFFF">
                    <a:alpha val="69804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95" name="Retângulo 94">
                  <a:extLst>
                    <a:ext uri="{FF2B5EF4-FFF2-40B4-BE49-F238E27FC236}">
                      <a16:creationId xmlns:a16="http://schemas.microsoft.com/office/drawing/2014/main" id="{1A7B5289-F91F-41BB-A1E4-B17626AA61C1}"/>
                    </a:ext>
                  </a:extLst>
                </p:cNvPr>
                <p:cNvSpPr/>
                <p:nvPr/>
              </p:nvSpPr>
              <p:spPr>
                <a:xfrm>
                  <a:off x="6471397" y="3176707"/>
                  <a:ext cx="1024697" cy="192754"/>
                </a:xfrm>
                <a:prstGeom prst="rect">
                  <a:avLst/>
                </a:prstGeom>
                <a:solidFill>
                  <a:srgbClr val="FFFFFF">
                    <a:alpha val="69804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92" name="Retângulo 91">
                  <a:extLst>
                    <a:ext uri="{FF2B5EF4-FFF2-40B4-BE49-F238E27FC236}">
                      <a16:creationId xmlns:a16="http://schemas.microsoft.com/office/drawing/2014/main" id="{550400D4-5E31-4112-A26C-96BE9B7B3F84}"/>
                    </a:ext>
                  </a:extLst>
                </p:cNvPr>
                <p:cNvSpPr/>
                <p:nvPr/>
              </p:nvSpPr>
              <p:spPr>
                <a:xfrm>
                  <a:off x="6471397" y="3943859"/>
                  <a:ext cx="1024697" cy="397973"/>
                </a:xfrm>
                <a:prstGeom prst="rect">
                  <a:avLst/>
                </a:prstGeom>
                <a:solidFill>
                  <a:srgbClr val="FFFFFF">
                    <a:alpha val="69804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BA2A0D19-2C9D-4F32-A62F-65A380F5D31A}"/>
                    </a:ext>
                  </a:extLst>
                </p:cNvPr>
                <p:cNvSpPr txBox="1"/>
                <p:nvPr/>
              </p:nvSpPr>
              <p:spPr>
                <a:xfrm>
                  <a:off x="6477016" y="3134551"/>
                  <a:ext cx="976037" cy="259675"/>
                </a:xfrm>
                <a:prstGeom prst="ellipse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algn="ctr" defTabSz="1316553">
                    <a:defRPr/>
                  </a:pPr>
                  <a:r>
                    <a:rPr lang="en-US" sz="1200" b="1" kern="0" dirty="0">
                      <a:solidFill>
                        <a:srgbClr val="1496D4"/>
                      </a:solidFill>
                      <a:latin typeface="Bahnschrift" panose="020B0502040204020203" pitchFamily="34" charset="0"/>
                    </a:rPr>
                    <a:t>Epidermis</a:t>
                  </a:r>
                </a:p>
              </p:txBody>
            </p:sp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27F7AC27-8948-4A4B-9C79-BA35F25A2159}"/>
                    </a:ext>
                  </a:extLst>
                </p:cNvPr>
                <p:cNvSpPr txBox="1"/>
                <p:nvPr/>
              </p:nvSpPr>
              <p:spPr>
                <a:xfrm>
                  <a:off x="6560429" y="3979918"/>
                  <a:ext cx="809220" cy="328181"/>
                </a:xfrm>
                <a:prstGeom prst="ellipse">
                  <a:avLst/>
                </a:prstGeom>
                <a:noFill/>
              </p:spPr>
              <p:txBody>
                <a:bodyPr wrap="none" lIns="0" tIns="0" rIns="0" bIns="0" rtlCol="0" anchor="ctr" anchorCtr="0">
                  <a:noAutofit/>
                </a:bodyPr>
                <a:lstStyle/>
                <a:p>
                  <a:pPr algn="ctr" defTabSz="1316553">
                    <a:lnSpc>
                      <a:spcPct val="85000"/>
                    </a:lnSpc>
                    <a:defRPr/>
                  </a:pPr>
                  <a:r>
                    <a:rPr lang="en-US" sz="1200" b="1" kern="0" dirty="0">
                      <a:solidFill>
                        <a:srgbClr val="1496D4"/>
                      </a:solidFill>
                      <a:latin typeface="Bahnschrift" panose="020B0502040204020203" pitchFamily="34" charset="0"/>
                    </a:rPr>
                    <a:t>Basement </a:t>
                  </a:r>
                  <a:br>
                    <a:rPr lang="en-US" sz="1200" b="1" kern="0" dirty="0">
                      <a:solidFill>
                        <a:srgbClr val="1496D4"/>
                      </a:solidFill>
                      <a:latin typeface="Bahnschrift" panose="020B0502040204020203" pitchFamily="34" charset="0"/>
                    </a:rPr>
                  </a:br>
                  <a:r>
                    <a:rPr lang="en-US" sz="1200" b="1" kern="0" dirty="0">
                      <a:solidFill>
                        <a:srgbClr val="1496D4"/>
                      </a:solidFill>
                      <a:latin typeface="Bahnschrift" panose="020B0502040204020203" pitchFamily="34" charset="0"/>
                    </a:rPr>
                    <a:t>membrane</a:t>
                  </a: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E5BA6C5D-221B-431A-9A88-92E1DA922754}"/>
                    </a:ext>
                  </a:extLst>
                </p:cNvPr>
                <p:cNvSpPr txBox="1"/>
                <p:nvPr/>
              </p:nvSpPr>
              <p:spPr>
                <a:xfrm>
                  <a:off x="6614523" y="4884539"/>
                  <a:ext cx="701034" cy="259675"/>
                </a:xfrm>
                <a:prstGeom prst="ellipse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algn="ctr" defTabSz="1316553">
                    <a:defRPr/>
                  </a:pPr>
                  <a:r>
                    <a:rPr lang="en-US" sz="1200" b="1" kern="0" dirty="0">
                      <a:solidFill>
                        <a:srgbClr val="1496D4"/>
                      </a:solidFill>
                      <a:latin typeface="Bahnschrift" panose="020B0502040204020203" pitchFamily="34" charset="0"/>
                    </a:rPr>
                    <a:t>Dermis</a:t>
                  </a: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7F6A093D-5B0F-442F-8E28-12067264DE5D}"/>
                    </a:ext>
                  </a:extLst>
                </p:cNvPr>
                <p:cNvSpPr txBox="1"/>
                <p:nvPr/>
              </p:nvSpPr>
              <p:spPr>
                <a:xfrm>
                  <a:off x="6389228" y="5722826"/>
                  <a:ext cx="962123" cy="406265"/>
                </a:xfrm>
                <a:prstGeom prst="rect">
                  <a:avLst/>
                </a:prstGeom>
                <a:noFill/>
              </p:spPr>
              <p:txBody>
                <a:bodyPr wrap="none" rtlCol="0" anchor="ctr" anchorCtr="0">
                  <a:spAutoFit/>
                </a:bodyPr>
                <a:lstStyle/>
                <a:p>
                  <a:pPr defTabSz="1316553">
                    <a:lnSpc>
                      <a:spcPct val="85000"/>
                    </a:lnSpc>
                    <a:defRPr/>
                  </a:pPr>
                  <a:r>
                    <a:rPr lang="en-US" sz="1200" b="1" kern="0" dirty="0">
                      <a:solidFill>
                        <a:srgbClr val="73B844"/>
                      </a:solidFill>
                      <a:latin typeface="Arial"/>
                    </a:rPr>
                    <a:t>Genetic </a:t>
                  </a:r>
                  <a:br>
                    <a:rPr lang="en-US" sz="1200" b="1" kern="0" dirty="0">
                      <a:solidFill>
                        <a:srgbClr val="73B844"/>
                      </a:solidFill>
                      <a:latin typeface="Arial"/>
                    </a:rPr>
                  </a:br>
                  <a:r>
                    <a:rPr lang="en-US" sz="1200" b="1" kern="0" dirty="0">
                      <a:solidFill>
                        <a:srgbClr val="73B844"/>
                      </a:solidFill>
                      <a:latin typeface="Arial"/>
                    </a:rPr>
                    <a:t>alterations</a:t>
                  </a:r>
                </a:p>
              </p:txBody>
            </p:sp>
            <p:grpSp>
              <p:nvGrpSpPr>
                <p:cNvPr id="100" name="Agrupar 99">
                  <a:extLst>
                    <a:ext uri="{FF2B5EF4-FFF2-40B4-BE49-F238E27FC236}">
                      <a16:creationId xmlns:a16="http://schemas.microsoft.com/office/drawing/2014/main" id="{31F23BF0-4069-4669-9CC4-C21DB02C7BD3}"/>
                    </a:ext>
                  </a:extLst>
                </p:cNvPr>
                <p:cNvGrpSpPr/>
                <p:nvPr/>
              </p:nvGrpSpPr>
              <p:grpSpPr>
                <a:xfrm>
                  <a:off x="6911135" y="2797938"/>
                  <a:ext cx="101600" cy="268119"/>
                  <a:chOff x="5854700" y="3650912"/>
                  <a:chExt cx="101600" cy="268119"/>
                </a:xfrm>
              </p:grpSpPr>
              <p:cxnSp>
                <p:nvCxnSpPr>
                  <p:cNvPr id="98" name="Conector reto 97">
                    <a:extLst>
                      <a:ext uri="{FF2B5EF4-FFF2-40B4-BE49-F238E27FC236}">
                        <a16:creationId xmlns:a16="http://schemas.microsoft.com/office/drawing/2014/main" id="{1BD0555D-E3DB-442B-9730-2C65DE5BB2E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905500" y="3768713"/>
                    <a:ext cx="0" cy="150318"/>
                  </a:xfrm>
                  <a:prstGeom prst="line">
                    <a:avLst/>
                  </a:prstGeom>
                  <a:ln w="38100">
                    <a:solidFill>
                      <a:srgbClr val="1496D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9" name="Triângulo isósceles 98">
                    <a:extLst>
                      <a:ext uri="{FF2B5EF4-FFF2-40B4-BE49-F238E27FC236}">
                        <a16:creationId xmlns:a16="http://schemas.microsoft.com/office/drawing/2014/main" id="{9655EF39-4349-4CD1-BAC3-15D280FC4F2E}"/>
                      </a:ext>
                    </a:extLst>
                  </p:cNvPr>
                  <p:cNvSpPr/>
                  <p:nvPr/>
                </p:nvSpPr>
                <p:spPr>
                  <a:xfrm>
                    <a:off x="5854700" y="3650912"/>
                    <a:ext cx="101600" cy="87586"/>
                  </a:xfrm>
                  <a:prstGeom prst="triangle">
                    <a:avLst/>
                  </a:prstGeom>
                  <a:ln w="38100">
                    <a:solidFill>
                      <a:srgbClr val="1496D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/>
                  </a:p>
                </p:txBody>
              </p:sp>
            </p:grpSp>
            <p:grpSp>
              <p:nvGrpSpPr>
                <p:cNvPr id="103" name="Agrupar 102">
                  <a:extLst>
                    <a:ext uri="{FF2B5EF4-FFF2-40B4-BE49-F238E27FC236}">
                      <a16:creationId xmlns:a16="http://schemas.microsoft.com/office/drawing/2014/main" id="{6D6A717D-81EE-46D3-A02C-93D3187F9223}"/>
                    </a:ext>
                  </a:extLst>
                </p:cNvPr>
                <p:cNvGrpSpPr/>
                <p:nvPr/>
              </p:nvGrpSpPr>
              <p:grpSpPr>
                <a:xfrm flipV="1">
                  <a:off x="6911135" y="3478776"/>
                  <a:ext cx="101600" cy="268119"/>
                  <a:chOff x="5854700" y="3650912"/>
                  <a:chExt cx="101600" cy="268119"/>
                </a:xfrm>
              </p:grpSpPr>
              <p:cxnSp>
                <p:nvCxnSpPr>
                  <p:cNvPr id="104" name="Conector reto 103">
                    <a:extLst>
                      <a:ext uri="{FF2B5EF4-FFF2-40B4-BE49-F238E27FC236}">
                        <a16:creationId xmlns:a16="http://schemas.microsoft.com/office/drawing/2014/main" id="{0B88553A-9FB3-4A50-99D1-BE7C4C91BA2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905500" y="3768713"/>
                    <a:ext cx="0" cy="150318"/>
                  </a:xfrm>
                  <a:prstGeom prst="line">
                    <a:avLst/>
                  </a:prstGeom>
                  <a:ln w="38100">
                    <a:solidFill>
                      <a:srgbClr val="1496D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5" name="Triângulo isósceles 104">
                    <a:extLst>
                      <a:ext uri="{FF2B5EF4-FFF2-40B4-BE49-F238E27FC236}">
                        <a16:creationId xmlns:a16="http://schemas.microsoft.com/office/drawing/2014/main" id="{9040A2C0-D55C-4FC6-9234-525D3CDD4E11}"/>
                      </a:ext>
                    </a:extLst>
                  </p:cNvPr>
                  <p:cNvSpPr/>
                  <p:nvPr/>
                </p:nvSpPr>
                <p:spPr>
                  <a:xfrm>
                    <a:off x="5854700" y="3650912"/>
                    <a:ext cx="101600" cy="87586"/>
                  </a:xfrm>
                  <a:prstGeom prst="triangle">
                    <a:avLst/>
                  </a:prstGeom>
                  <a:ln w="38100">
                    <a:solidFill>
                      <a:srgbClr val="1496D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/>
                  </a:p>
                </p:txBody>
              </p:sp>
            </p:grpSp>
            <p:grpSp>
              <p:nvGrpSpPr>
                <p:cNvPr id="106" name="Agrupar 105">
                  <a:extLst>
                    <a:ext uri="{FF2B5EF4-FFF2-40B4-BE49-F238E27FC236}">
                      <a16:creationId xmlns:a16="http://schemas.microsoft.com/office/drawing/2014/main" id="{C6D28AB3-4F62-43A2-9645-E087942E5E46}"/>
                    </a:ext>
                  </a:extLst>
                </p:cNvPr>
                <p:cNvGrpSpPr/>
                <p:nvPr/>
              </p:nvGrpSpPr>
              <p:grpSpPr>
                <a:xfrm>
                  <a:off x="6911135" y="4510264"/>
                  <a:ext cx="101600" cy="268119"/>
                  <a:chOff x="5854700" y="3650912"/>
                  <a:chExt cx="101600" cy="268119"/>
                </a:xfrm>
              </p:grpSpPr>
              <p:cxnSp>
                <p:nvCxnSpPr>
                  <p:cNvPr id="107" name="Conector reto 106">
                    <a:extLst>
                      <a:ext uri="{FF2B5EF4-FFF2-40B4-BE49-F238E27FC236}">
                        <a16:creationId xmlns:a16="http://schemas.microsoft.com/office/drawing/2014/main" id="{C7DB288E-ECDB-4D41-83A9-EE6FA809E9C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905500" y="3768713"/>
                    <a:ext cx="0" cy="150318"/>
                  </a:xfrm>
                  <a:prstGeom prst="line">
                    <a:avLst/>
                  </a:prstGeom>
                  <a:ln w="38100">
                    <a:solidFill>
                      <a:srgbClr val="1496D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8" name="Triângulo isósceles 107">
                    <a:extLst>
                      <a:ext uri="{FF2B5EF4-FFF2-40B4-BE49-F238E27FC236}">
                        <a16:creationId xmlns:a16="http://schemas.microsoft.com/office/drawing/2014/main" id="{3C8E665F-6F1E-4A94-B433-781400EAD4CE}"/>
                      </a:ext>
                    </a:extLst>
                  </p:cNvPr>
                  <p:cNvSpPr/>
                  <p:nvPr/>
                </p:nvSpPr>
                <p:spPr>
                  <a:xfrm>
                    <a:off x="5854700" y="3650912"/>
                    <a:ext cx="101600" cy="87586"/>
                  </a:xfrm>
                  <a:prstGeom prst="triangle">
                    <a:avLst/>
                  </a:prstGeom>
                  <a:ln w="38100">
                    <a:solidFill>
                      <a:srgbClr val="1496D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/>
                  </a:p>
                </p:txBody>
              </p:sp>
            </p:grpSp>
            <p:grpSp>
              <p:nvGrpSpPr>
                <p:cNvPr id="109" name="Agrupar 108">
                  <a:extLst>
                    <a:ext uri="{FF2B5EF4-FFF2-40B4-BE49-F238E27FC236}">
                      <a16:creationId xmlns:a16="http://schemas.microsoft.com/office/drawing/2014/main" id="{92E85A55-64D2-4973-A0DC-C62250875922}"/>
                    </a:ext>
                  </a:extLst>
                </p:cNvPr>
                <p:cNvGrpSpPr/>
                <p:nvPr/>
              </p:nvGrpSpPr>
              <p:grpSpPr>
                <a:xfrm flipV="1">
                  <a:off x="6870290" y="5237974"/>
                  <a:ext cx="101600" cy="268119"/>
                  <a:chOff x="5854700" y="3650912"/>
                  <a:chExt cx="101600" cy="268119"/>
                </a:xfrm>
              </p:grpSpPr>
              <p:cxnSp>
                <p:nvCxnSpPr>
                  <p:cNvPr id="110" name="Conector reto 109">
                    <a:extLst>
                      <a:ext uri="{FF2B5EF4-FFF2-40B4-BE49-F238E27FC236}">
                        <a16:creationId xmlns:a16="http://schemas.microsoft.com/office/drawing/2014/main" id="{41E14DCC-8825-426B-A289-EE22E4330B8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905500" y="3768713"/>
                    <a:ext cx="0" cy="150318"/>
                  </a:xfrm>
                  <a:prstGeom prst="line">
                    <a:avLst/>
                  </a:prstGeom>
                  <a:ln w="38100">
                    <a:solidFill>
                      <a:srgbClr val="1496D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11" name="Triângulo isósceles 110">
                    <a:extLst>
                      <a:ext uri="{FF2B5EF4-FFF2-40B4-BE49-F238E27FC236}">
                        <a16:creationId xmlns:a16="http://schemas.microsoft.com/office/drawing/2014/main" id="{CE0AD189-249E-4BED-A102-64E53C3789D0}"/>
                      </a:ext>
                    </a:extLst>
                  </p:cNvPr>
                  <p:cNvSpPr/>
                  <p:nvPr/>
                </p:nvSpPr>
                <p:spPr>
                  <a:xfrm>
                    <a:off x="5854700" y="3650912"/>
                    <a:ext cx="101600" cy="87586"/>
                  </a:xfrm>
                  <a:prstGeom prst="triangle">
                    <a:avLst/>
                  </a:prstGeom>
                  <a:ln w="38100">
                    <a:solidFill>
                      <a:srgbClr val="1496D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/>
                  </a:p>
                </p:txBody>
              </p:sp>
            </p:grpSp>
          </p:grpSp>
          <p:sp>
            <p:nvSpPr>
              <p:cNvPr id="112" name="Retângulo 111">
                <a:extLst>
                  <a:ext uri="{FF2B5EF4-FFF2-40B4-BE49-F238E27FC236}">
                    <a16:creationId xmlns:a16="http://schemas.microsoft.com/office/drawing/2014/main" id="{17DA1CE3-3266-441F-B5DE-B130D5C86145}"/>
                  </a:ext>
                </a:extLst>
              </p:cNvPr>
              <p:cNvSpPr/>
              <p:nvPr/>
            </p:nvSpPr>
            <p:spPr>
              <a:xfrm>
                <a:off x="14502530" y="5351448"/>
                <a:ext cx="1973996" cy="324460"/>
              </a:xfrm>
              <a:prstGeom prst="rect">
                <a:avLst/>
              </a:prstGeom>
              <a:solidFill>
                <a:srgbClr val="FFFFFF">
                  <a:alpha val="6980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13" name="TextBox 23">
                <a:extLst>
                  <a:ext uri="{FF2B5EF4-FFF2-40B4-BE49-F238E27FC236}">
                    <a16:creationId xmlns:a16="http://schemas.microsoft.com/office/drawing/2014/main" id="{8B7D1CAC-C988-4789-B9D4-A0088896335F}"/>
                  </a:ext>
                </a:extLst>
              </p:cNvPr>
              <p:cNvSpPr txBox="1"/>
              <p:nvPr/>
            </p:nvSpPr>
            <p:spPr>
              <a:xfrm>
                <a:off x="14475931" y="5300609"/>
                <a:ext cx="1935792" cy="441448"/>
              </a:xfrm>
              <a:prstGeom prst="ellipse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algn="ctr" defTabSz="1316553">
                  <a:lnSpc>
                    <a:spcPct val="85000"/>
                  </a:lnSpc>
                  <a:defRPr/>
                </a:pPr>
                <a:r>
                  <a:rPr lang="en-US" sz="1200" b="1" kern="0" dirty="0">
                    <a:solidFill>
                      <a:srgbClr val="1496D4"/>
                    </a:solidFill>
                    <a:latin typeface="Bahnschrift" panose="020B0502040204020203" pitchFamily="34" charset="0"/>
                  </a:rPr>
                  <a:t>Metastasis to lung, liver, or brain</a:t>
                </a:r>
              </a:p>
            </p:txBody>
          </p:sp>
          <p:grpSp>
            <p:nvGrpSpPr>
              <p:cNvPr id="209" name="Agrupar 208">
                <a:extLst>
                  <a:ext uri="{FF2B5EF4-FFF2-40B4-BE49-F238E27FC236}">
                    <a16:creationId xmlns:a16="http://schemas.microsoft.com/office/drawing/2014/main" id="{792DB800-491B-4DAE-8D9C-E71D89E7EB28}"/>
                  </a:ext>
                </a:extLst>
              </p:cNvPr>
              <p:cNvGrpSpPr/>
              <p:nvPr/>
            </p:nvGrpSpPr>
            <p:grpSpPr>
              <a:xfrm flipV="1">
                <a:off x="10724327" y="4068931"/>
                <a:ext cx="101600" cy="268119"/>
                <a:chOff x="5854700" y="3650912"/>
                <a:chExt cx="101600" cy="268119"/>
              </a:xfrm>
            </p:grpSpPr>
            <p:cxnSp>
              <p:nvCxnSpPr>
                <p:cNvPr id="210" name="Conector reto 209">
                  <a:extLst>
                    <a:ext uri="{FF2B5EF4-FFF2-40B4-BE49-F238E27FC236}">
                      <a16:creationId xmlns:a16="http://schemas.microsoft.com/office/drawing/2014/main" id="{48148776-D7E5-4D17-A56A-E84F010DBA4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05500" y="3768713"/>
                  <a:ext cx="0" cy="150318"/>
                </a:xfrm>
                <a:prstGeom prst="lin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1" name="Triângulo isósceles 210">
                  <a:extLst>
                    <a:ext uri="{FF2B5EF4-FFF2-40B4-BE49-F238E27FC236}">
                      <a16:creationId xmlns:a16="http://schemas.microsoft.com/office/drawing/2014/main" id="{76095131-F209-4A99-9CAD-C642673A8DA7}"/>
                    </a:ext>
                  </a:extLst>
                </p:cNvPr>
                <p:cNvSpPr/>
                <p:nvPr/>
              </p:nvSpPr>
              <p:spPr>
                <a:xfrm>
                  <a:off x="5854700" y="3650912"/>
                  <a:ext cx="101600" cy="87586"/>
                </a:xfrm>
                <a:prstGeom prst="triangl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  <p:grpSp>
            <p:nvGrpSpPr>
              <p:cNvPr id="212" name="Agrupar 211">
                <a:extLst>
                  <a:ext uri="{FF2B5EF4-FFF2-40B4-BE49-F238E27FC236}">
                    <a16:creationId xmlns:a16="http://schemas.microsoft.com/office/drawing/2014/main" id="{7F75BA77-4B9A-4BFF-9335-A119CFB2342A}"/>
                  </a:ext>
                </a:extLst>
              </p:cNvPr>
              <p:cNvGrpSpPr/>
              <p:nvPr/>
            </p:nvGrpSpPr>
            <p:grpSpPr>
              <a:xfrm flipV="1">
                <a:off x="10978332" y="4242145"/>
                <a:ext cx="101600" cy="268119"/>
                <a:chOff x="5854700" y="3650912"/>
                <a:chExt cx="101600" cy="268119"/>
              </a:xfrm>
            </p:grpSpPr>
            <p:cxnSp>
              <p:nvCxnSpPr>
                <p:cNvPr id="213" name="Conector reto 212">
                  <a:extLst>
                    <a:ext uri="{FF2B5EF4-FFF2-40B4-BE49-F238E27FC236}">
                      <a16:creationId xmlns:a16="http://schemas.microsoft.com/office/drawing/2014/main" id="{176FBDF5-DD04-4BA3-995D-FCF8F07752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05500" y="3768713"/>
                  <a:ext cx="0" cy="150318"/>
                </a:xfrm>
                <a:prstGeom prst="lin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4" name="Triângulo isósceles 213">
                  <a:extLst>
                    <a:ext uri="{FF2B5EF4-FFF2-40B4-BE49-F238E27FC236}">
                      <a16:creationId xmlns:a16="http://schemas.microsoft.com/office/drawing/2014/main" id="{84648884-7C78-4332-90E3-1FCDA9F813C7}"/>
                    </a:ext>
                  </a:extLst>
                </p:cNvPr>
                <p:cNvSpPr/>
                <p:nvPr/>
              </p:nvSpPr>
              <p:spPr>
                <a:xfrm>
                  <a:off x="5854700" y="3650912"/>
                  <a:ext cx="101600" cy="87586"/>
                </a:xfrm>
                <a:prstGeom prst="triangl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  <p:grpSp>
            <p:nvGrpSpPr>
              <p:cNvPr id="215" name="Agrupar 214">
                <a:extLst>
                  <a:ext uri="{FF2B5EF4-FFF2-40B4-BE49-F238E27FC236}">
                    <a16:creationId xmlns:a16="http://schemas.microsoft.com/office/drawing/2014/main" id="{2A35119E-27E1-4924-962D-C263E15045DF}"/>
                  </a:ext>
                </a:extLst>
              </p:cNvPr>
              <p:cNvGrpSpPr/>
              <p:nvPr/>
            </p:nvGrpSpPr>
            <p:grpSpPr>
              <a:xfrm flipV="1">
                <a:off x="12064733" y="4085189"/>
                <a:ext cx="101600" cy="268119"/>
                <a:chOff x="5854700" y="3650912"/>
                <a:chExt cx="101600" cy="268119"/>
              </a:xfrm>
            </p:grpSpPr>
            <p:cxnSp>
              <p:nvCxnSpPr>
                <p:cNvPr id="216" name="Conector reto 215">
                  <a:extLst>
                    <a:ext uri="{FF2B5EF4-FFF2-40B4-BE49-F238E27FC236}">
                      <a16:creationId xmlns:a16="http://schemas.microsoft.com/office/drawing/2014/main" id="{7E98EFDB-CAA1-4A3E-BE14-8DC2BCA2A8A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05500" y="3768713"/>
                  <a:ext cx="0" cy="150318"/>
                </a:xfrm>
                <a:prstGeom prst="lin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7" name="Triângulo isósceles 216">
                  <a:extLst>
                    <a:ext uri="{FF2B5EF4-FFF2-40B4-BE49-F238E27FC236}">
                      <a16:creationId xmlns:a16="http://schemas.microsoft.com/office/drawing/2014/main" id="{369013F2-58C0-4A7E-8685-BBFCF851A2AB}"/>
                    </a:ext>
                  </a:extLst>
                </p:cNvPr>
                <p:cNvSpPr/>
                <p:nvPr/>
              </p:nvSpPr>
              <p:spPr>
                <a:xfrm>
                  <a:off x="5854700" y="3650912"/>
                  <a:ext cx="101600" cy="87586"/>
                </a:xfrm>
                <a:prstGeom prst="triangl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  <p:grpSp>
            <p:nvGrpSpPr>
              <p:cNvPr id="218" name="Agrupar 217">
                <a:extLst>
                  <a:ext uri="{FF2B5EF4-FFF2-40B4-BE49-F238E27FC236}">
                    <a16:creationId xmlns:a16="http://schemas.microsoft.com/office/drawing/2014/main" id="{5B1749AF-C48F-455B-80E2-79130EC2DB26}"/>
                  </a:ext>
                </a:extLst>
              </p:cNvPr>
              <p:cNvGrpSpPr/>
              <p:nvPr/>
            </p:nvGrpSpPr>
            <p:grpSpPr>
              <a:xfrm flipV="1">
                <a:off x="13429375" y="4510264"/>
                <a:ext cx="101600" cy="458923"/>
                <a:chOff x="5854700" y="3650912"/>
                <a:chExt cx="101600" cy="458923"/>
              </a:xfrm>
            </p:grpSpPr>
            <p:cxnSp>
              <p:nvCxnSpPr>
                <p:cNvPr id="219" name="Conector reto 218">
                  <a:extLst>
                    <a:ext uri="{FF2B5EF4-FFF2-40B4-BE49-F238E27FC236}">
                      <a16:creationId xmlns:a16="http://schemas.microsoft.com/office/drawing/2014/main" id="{3223B3F2-4581-4E96-BAC8-9468EB1C24A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05500" y="3768713"/>
                  <a:ext cx="0" cy="341122"/>
                </a:xfrm>
                <a:prstGeom prst="lin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0" name="Triângulo isósceles 219">
                  <a:extLst>
                    <a:ext uri="{FF2B5EF4-FFF2-40B4-BE49-F238E27FC236}">
                      <a16:creationId xmlns:a16="http://schemas.microsoft.com/office/drawing/2014/main" id="{D7948746-21B9-4D25-B4E4-C394D992C503}"/>
                    </a:ext>
                  </a:extLst>
                </p:cNvPr>
                <p:cNvSpPr/>
                <p:nvPr/>
              </p:nvSpPr>
              <p:spPr>
                <a:xfrm>
                  <a:off x="5854700" y="3650912"/>
                  <a:ext cx="101600" cy="87586"/>
                </a:xfrm>
                <a:prstGeom prst="triangl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  <p:grpSp>
            <p:nvGrpSpPr>
              <p:cNvPr id="222" name="Agrupar 221">
                <a:extLst>
                  <a:ext uri="{FF2B5EF4-FFF2-40B4-BE49-F238E27FC236}">
                    <a16:creationId xmlns:a16="http://schemas.microsoft.com/office/drawing/2014/main" id="{4D980FC3-6F8D-4066-AF9F-405BBDD49412}"/>
                  </a:ext>
                </a:extLst>
              </p:cNvPr>
              <p:cNvGrpSpPr/>
              <p:nvPr/>
            </p:nvGrpSpPr>
            <p:grpSpPr>
              <a:xfrm rot="2262300" flipV="1">
                <a:off x="13081562" y="4258995"/>
                <a:ext cx="101600" cy="458923"/>
                <a:chOff x="5854700" y="3650912"/>
                <a:chExt cx="101600" cy="458923"/>
              </a:xfrm>
            </p:grpSpPr>
            <p:cxnSp>
              <p:nvCxnSpPr>
                <p:cNvPr id="223" name="Conector reto 222">
                  <a:extLst>
                    <a:ext uri="{FF2B5EF4-FFF2-40B4-BE49-F238E27FC236}">
                      <a16:creationId xmlns:a16="http://schemas.microsoft.com/office/drawing/2014/main" id="{17EA3150-E15A-44D5-BC58-8E8CF9BA5A4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05500" y="3768713"/>
                  <a:ext cx="0" cy="341122"/>
                </a:xfrm>
                <a:prstGeom prst="lin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4" name="Triângulo isósceles 223">
                  <a:extLst>
                    <a:ext uri="{FF2B5EF4-FFF2-40B4-BE49-F238E27FC236}">
                      <a16:creationId xmlns:a16="http://schemas.microsoft.com/office/drawing/2014/main" id="{CC204BE0-EA50-4632-80A7-24CCF612697B}"/>
                    </a:ext>
                  </a:extLst>
                </p:cNvPr>
                <p:cNvSpPr/>
                <p:nvPr/>
              </p:nvSpPr>
              <p:spPr>
                <a:xfrm>
                  <a:off x="5854700" y="3650912"/>
                  <a:ext cx="101600" cy="87586"/>
                </a:xfrm>
                <a:prstGeom prst="triangl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  <p:grpSp>
            <p:nvGrpSpPr>
              <p:cNvPr id="225" name="Agrupar 224">
                <a:extLst>
                  <a:ext uri="{FF2B5EF4-FFF2-40B4-BE49-F238E27FC236}">
                    <a16:creationId xmlns:a16="http://schemas.microsoft.com/office/drawing/2014/main" id="{43174FE6-6F55-4B4F-BEA1-16A97D417E59}"/>
                  </a:ext>
                </a:extLst>
              </p:cNvPr>
              <p:cNvGrpSpPr/>
              <p:nvPr/>
            </p:nvGrpSpPr>
            <p:grpSpPr>
              <a:xfrm rot="19337700" flipH="1" flipV="1">
                <a:off x="13895956" y="4291249"/>
                <a:ext cx="101600" cy="458923"/>
                <a:chOff x="5854700" y="3650912"/>
                <a:chExt cx="101600" cy="458923"/>
              </a:xfrm>
            </p:grpSpPr>
            <p:cxnSp>
              <p:nvCxnSpPr>
                <p:cNvPr id="226" name="Conector reto 225">
                  <a:extLst>
                    <a:ext uri="{FF2B5EF4-FFF2-40B4-BE49-F238E27FC236}">
                      <a16:creationId xmlns:a16="http://schemas.microsoft.com/office/drawing/2014/main" id="{F543439D-D9A2-467D-B235-D5FCB3AA4A6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05500" y="3768713"/>
                  <a:ext cx="0" cy="341122"/>
                </a:xfrm>
                <a:prstGeom prst="lin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7" name="Triângulo isósceles 226">
                  <a:extLst>
                    <a:ext uri="{FF2B5EF4-FFF2-40B4-BE49-F238E27FC236}">
                      <a16:creationId xmlns:a16="http://schemas.microsoft.com/office/drawing/2014/main" id="{6141D4BC-AB58-4F39-B9D0-E1AD5FB01D71}"/>
                    </a:ext>
                  </a:extLst>
                </p:cNvPr>
                <p:cNvSpPr/>
                <p:nvPr/>
              </p:nvSpPr>
              <p:spPr>
                <a:xfrm>
                  <a:off x="5854700" y="3650912"/>
                  <a:ext cx="101600" cy="87586"/>
                </a:xfrm>
                <a:prstGeom prst="triangl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  <p:grpSp>
            <p:nvGrpSpPr>
              <p:cNvPr id="228" name="Agrupar 227">
                <a:extLst>
                  <a:ext uri="{FF2B5EF4-FFF2-40B4-BE49-F238E27FC236}">
                    <a16:creationId xmlns:a16="http://schemas.microsoft.com/office/drawing/2014/main" id="{E3794F90-4CCF-407A-B8B3-DA76757B9EC4}"/>
                  </a:ext>
                </a:extLst>
              </p:cNvPr>
              <p:cNvGrpSpPr/>
              <p:nvPr/>
            </p:nvGrpSpPr>
            <p:grpSpPr>
              <a:xfrm flipH="1" flipV="1">
                <a:off x="15384686" y="4694526"/>
                <a:ext cx="101600" cy="458923"/>
                <a:chOff x="5854700" y="3650912"/>
                <a:chExt cx="101600" cy="458923"/>
              </a:xfrm>
            </p:grpSpPr>
            <p:cxnSp>
              <p:nvCxnSpPr>
                <p:cNvPr id="229" name="Conector reto 228">
                  <a:extLst>
                    <a:ext uri="{FF2B5EF4-FFF2-40B4-BE49-F238E27FC236}">
                      <a16:creationId xmlns:a16="http://schemas.microsoft.com/office/drawing/2014/main" id="{8F77C99F-9473-47A9-8D28-8C6078F3BF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05500" y="3768713"/>
                  <a:ext cx="0" cy="341122"/>
                </a:xfrm>
                <a:prstGeom prst="lin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0" name="Triângulo isósceles 229">
                  <a:extLst>
                    <a:ext uri="{FF2B5EF4-FFF2-40B4-BE49-F238E27FC236}">
                      <a16:creationId xmlns:a16="http://schemas.microsoft.com/office/drawing/2014/main" id="{41D018D9-CF0E-4358-9217-687A2A093829}"/>
                    </a:ext>
                  </a:extLst>
                </p:cNvPr>
                <p:cNvSpPr/>
                <p:nvPr/>
              </p:nvSpPr>
              <p:spPr>
                <a:xfrm>
                  <a:off x="5854700" y="3650912"/>
                  <a:ext cx="101600" cy="87586"/>
                </a:xfrm>
                <a:prstGeom prst="triangle">
                  <a:avLst/>
                </a:prstGeom>
                <a:ln w="38100">
                  <a:solidFill>
                    <a:srgbClr val="1496D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98414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3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953E-6 4.72669E-6 L 0.03661 4.72669E-6 " pathEditMode="relative" rAng="0" ptsTypes="AA">
                                      <p:cBhvr>
                                        <p:cTn id="21" dur="750" spd="-1000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6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7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7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5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5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7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7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6" grpId="0"/>
      <p:bldP spid="178" grpId="0" animBg="1"/>
      <p:bldP spid="6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Declaração de Conflito de Interesse</a:t>
            </a:r>
          </a:p>
        </p:txBody>
      </p:sp>
      <p:pic>
        <p:nvPicPr>
          <p:cNvPr id="4" name="Imagem 3"/>
          <p:cNvPicPr>
            <a:picLocks noChangeAspect="1"/>
          </p:cNvPicPr>
          <p:nvPr>
            <p:custDataLst>
              <p:custData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597" y="1623067"/>
            <a:ext cx="6260558" cy="494584"/>
          </a:xfrm>
          <a:prstGeom prst="rect">
            <a:avLst/>
          </a:prstGeom>
        </p:spPr>
      </p:pic>
      <p:sp>
        <p:nvSpPr>
          <p:cNvPr id="7" name="object 4">
            <a:extLst>
              <a:ext uri="{FF2B5EF4-FFF2-40B4-BE49-F238E27FC236}">
                <a16:creationId xmlns:a16="http://schemas.microsoft.com/office/drawing/2014/main" id="{A559012E-ED29-6A9A-8BCA-D01CBE3A0ED0}"/>
              </a:ext>
            </a:extLst>
          </p:cNvPr>
          <p:cNvSpPr txBox="1"/>
          <p:nvPr/>
        </p:nvSpPr>
        <p:spPr>
          <a:xfrm>
            <a:off x="547805" y="2946878"/>
            <a:ext cx="16222860" cy="4350856"/>
          </a:xfrm>
          <a:prstGeom prst="rect">
            <a:avLst/>
          </a:prstGeom>
        </p:spPr>
        <p:txBody>
          <a:bodyPr vert="horz" wrap="square" lIns="0" tIns="15543" rIns="0" bIns="0" rtlCol="0">
            <a:spAutoFit/>
          </a:bodyPr>
          <a:lstStyle/>
          <a:p>
            <a:pPr marL="475438" marR="7314" indent="-458067" algn="just">
              <a:lnSpc>
                <a:spcPct val="100400"/>
              </a:lnSpc>
              <a:spcBef>
                <a:spcPts val="122"/>
              </a:spcBef>
              <a:buFont typeface="Arial"/>
              <a:buChar char="•"/>
              <a:tabLst>
                <a:tab pos="475438" algn="l"/>
                <a:tab pos="476353" algn="l"/>
              </a:tabLst>
            </a:pPr>
            <a:r>
              <a:rPr sz="3744" spc="-8" dirty="0">
                <a:solidFill>
                  <a:schemeClr val="bg1"/>
                </a:solidFill>
                <a:latin typeface="Calibri"/>
                <a:cs typeface="Calibri"/>
              </a:rPr>
              <a:t>De </a:t>
            </a:r>
            <a:r>
              <a:rPr sz="3744" spc="-22" dirty="0">
                <a:solidFill>
                  <a:schemeClr val="bg1"/>
                </a:solidFill>
                <a:latin typeface="Calibri"/>
                <a:cs typeface="Calibri"/>
              </a:rPr>
              <a:t>acordo </a:t>
            </a:r>
            <a:r>
              <a:rPr sz="3744" spc="-14" dirty="0">
                <a:solidFill>
                  <a:schemeClr val="bg1"/>
                </a:solidFill>
                <a:latin typeface="Calibri"/>
                <a:cs typeface="Calibri"/>
              </a:rPr>
              <a:t>com </a:t>
            </a:r>
            <a:r>
              <a:rPr sz="3744" dirty="0">
                <a:solidFill>
                  <a:schemeClr val="bg1"/>
                </a:solidFill>
                <a:latin typeface="Calibri"/>
                <a:cs typeface="Calibri"/>
              </a:rPr>
              <a:t>a </a:t>
            </a:r>
            <a:r>
              <a:rPr sz="3744" spc="-8" dirty="0">
                <a:solidFill>
                  <a:schemeClr val="bg1"/>
                </a:solidFill>
                <a:latin typeface="Calibri"/>
                <a:cs typeface="Calibri"/>
              </a:rPr>
              <a:t>norma 1.595/00 </a:t>
            </a:r>
            <a:r>
              <a:rPr sz="3744" dirty="0">
                <a:solidFill>
                  <a:schemeClr val="bg1"/>
                </a:solidFill>
                <a:latin typeface="Calibri"/>
                <a:cs typeface="Calibri"/>
              </a:rPr>
              <a:t>do </a:t>
            </a:r>
            <a:r>
              <a:rPr sz="3744" spc="-8" dirty="0">
                <a:solidFill>
                  <a:schemeClr val="bg1"/>
                </a:solidFill>
                <a:latin typeface="Calibri"/>
                <a:cs typeface="Calibri"/>
              </a:rPr>
              <a:t>Conselho </a:t>
            </a:r>
            <a:r>
              <a:rPr sz="3744" spc="-22" dirty="0">
                <a:solidFill>
                  <a:schemeClr val="bg1"/>
                </a:solidFill>
                <a:latin typeface="Calibri"/>
                <a:cs typeface="Calibri"/>
              </a:rPr>
              <a:t>Federal </a:t>
            </a:r>
            <a:r>
              <a:rPr sz="3744" dirty="0">
                <a:solidFill>
                  <a:schemeClr val="bg1"/>
                </a:solidFill>
                <a:latin typeface="Calibri"/>
                <a:cs typeface="Calibri"/>
              </a:rPr>
              <a:t>de  </a:t>
            </a:r>
            <a:r>
              <a:rPr sz="3744" spc="-8" dirty="0">
                <a:solidFill>
                  <a:schemeClr val="bg1"/>
                </a:solidFill>
                <a:latin typeface="Calibri"/>
                <a:cs typeface="Calibri"/>
              </a:rPr>
              <a:t>Medicina </a:t>
            </a:r>
            <a:r>
              <a:rPr sz="3744" dirty="0">
                <a:solidFill>
                  <a:schemeClr val="bg1"/>
                </a:solidFill>
                <a:latin typeface="Calibri"/>
                <a:cs typeface="Calibri"/>
              </a:rPr>
              <a:t>e a </a:t>
            </a:r>
            <a:r>
              <a:rPr sz="3744" spc="-14" dirty="0">
                <a:solidFill>
                  <a:schemeClr val="bg1"/>
                </a:solidFill>
                <a:latin typeface="Calibri"/>
                <a:cs typeface="Calibri"/>
              </a:rPr>
              <a:t>Resolução </a:t>
            </a:r>
            <a:r>
              <a:rPr sz="3744" dirty="0">
                <a:solidFill>
                  <a:schemeClr val="bg1"/>
                </a:solidFill>
                <a:latin typeface="Calibri"/>
                <a:cs typeface="Calibri"/>
              </a:rPr>
              <a:t>da </a:t>
            </a:r>
            <a:r>
              <a:rPr sz="3744" spc="-14" dirty="0">
                <a:solidFill>
                  <a:schemeClr val="bg1"/>
                </a:solidFill>
                <a:latin typeface="Calibri"/>
                <a:cs typeface="Calibri"/>
              </a:rPr>
              <a:t>Diretoria </a:t>
            </a:r>
            <a:r>
              <a:rPr sz="3744" spc="-8" dirty="0">
                <a:solidFill>
                  <a:schemeClr val="bg1"/>
                </a:solidFill>
                <a:latin typeface="Calibri"/>
                <a:cs typeface="Calibri"/>
              </a:rPr>
              <a:t>Colegiada 96/08 </a:t>
            </a:r>
            <a:r>
              <a:rPr sz="3744" dirty="0">
                <a:solidFill>
                  <a:schemeClr val="bg1"/>
                </a:solidFill>
                <a:latin typeface="Calibri"/>
                <a:cs typeface="Calibri"/>
              </a:rPr>
              <a:t>da  </a:t>
            </a:r>
            <a:r>
              <a:rPr sz="3744" spc="-8" dirty="0">
                <a:solidFill>
                  <a:schemeClr val="bg1"/>
                </a:solidFill>
                <a:latin typeface="Calibri"/>
                <a:cs typeface="Calibri"/>
              </a:rPr>
              <a:t>Agência Nacional </a:t>
            </a:r>
            <a:r>
              <a:rPr sz="3744" dirty="0">
                <a:solidFill>
                  <a:schemeClr val="bg1"/>
                </a:solidFill>
                <a:latin typeface="Calibri"/>
                <a:cs typeface="Calibri"/>
              </a:rPr>
              <a:t>de </a:t>
            </a:r>
            <a:r>
              <a:rPr sz="3744" spc="-8" dirty="0">
                <a:solidFill>
                  <a:schemeClr val="bg1"/>
                </a:solidFill>
                <a:latin typeface="Calibri"/>
                <a:cs typeface="Calibri"/>
              </a:rPr>
              <a:t>Vigilância Sanitária, </a:t>
            </a:r>
            <a:r>
              <a:rPr sz="3744" spc="-14" dirty="0" err="1">
                <a:solidFill>
                  <a:schemeClr val="bg1"/>
                </a:solidFill>
                <a:latin typeface="Calibri"/>
                <a:cs typeface="Calibri"/>
              </a:rPr>
              <a:t>declaro</a:t>
            </a:r>
            <a:r>
              <a:rPr sz="3744" spc="-14" dirty="0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sz="3744" dirty="0" err="1">
                <a:solidFill>
                  <a:schemeClr val="bg1"/>
                </a:solidFill>
                <a:latin typeface="Calibri"/>
                <a:cs typeface="Calibri"/>
              </a:rPr>
              <a:t>que</a:t>
            </a:r>
            <a:r>
              <a:rPr lang="pt-BR" sz="3744" spc="-43" dirty="0">
                <a:solidFill>
                  <a:schemeClr val="bg1"/>
                </a:solidFill>
                <a:latin typeface="Calibri"/>
                <a:cs typeface="Calibri"/>
              </a:rPr>
              <a:t>:</a:t>
            </a:r>
          </a:p>
          <a:p>
            <a:pPr marL="475438" marR="7314" indent="-458067" algn="just">
              <a:lnSpc>
                <a:spcPct val="100400"/>
              </a:lnSpc>
              <a:spcBef>
                <a:spcPts val="122"/>
              </a:spcBef>
              <a:buFont typeface="Arial"/>
              <a:buChar char="•"/>
              <a:tabLst>
                <a:tab pos="475438" algn="l"/>
                <a:tab pos="476353" algn="l"/>
              </a:tabLst>
            </a:pPr>
            <a:endParaRPr lang="pt-BR" sz="3456" spc="-43" dirty="0">
              <a:solidFill>
                <a:schemeClr val="bg1"/>
              </a:solidFill>
              <a:latin typeface="Calibri"/>
              <a:cs typeface="Calibri"/>
            </a:endParaRPr>
          </a:p>
          <a:p>
            <a:pPr marL="493725" indent="-493725" algn="just">
              <a:spcAft>
                <a:spcPts val="2592"/>
              </a:spcAft>
              <a:buFont typeface="Arial" panose="020B0604020202020204" pitchFamily="34" charset="0"/>
              <a:buChar char="•"/>
            </a:pPr>
            <a:r>
              <a:rPr lang="pt-BR" sz="3744" b="1" dirty="0">
                <a:solidFill>
                  <a:schemeClr val="bg1"/>
                </a:solidFill>
              </a:rPr>
              <a:t>Pesquisa Clínica:  </a:t>
            </a:r>
            <a:r>
              <a:rPr lang="pt-BR" sz="3744" dirty="0">
                <a:solidFill>
                  <a:schemeClr val="bg1"/>
                </a:solidFill>
              </a:rPr>
              <a:t>MSD, Lilly, AstraZeneca, </a:t>
            </a:r>
            <a:r>
              <a:rPr lang="pt-BR" sz="3744" dirty="0" err="1">
                <a:solidFill>
                  <a:schemeClr val="bg1"/>
                </a:solidFill>
              </a:rPr>
              <a:t>Amgen</a:t>
            </a:r>
            <a:endParaRPr lang="pt-BR" sz="3744" dirty="0">
              <a:solidFill>
                <a:schemeClr val="bg1"/>
              </a:solidFill>
            </a:endParaRPr>
          </a:p>
          <a:p>
            <a:pPr marL="493725" indent="-493725" algn="just">
              <a:spcAft>
                <a:spcPts val="2592"/>
              </a:spcAft>
              <a:buFont typeface="Arial" panose="020B0604020202020204" pitchFamily="34" charset="0"/>
              <a:buChar char="•"/>
            </a:pPr>
            <a:r>
              <a:rPr lang="pt-BR" sz="3744" b="1" dirty="0">
                <a:solidFill>
                  <a:schemeClr val="bg1"/>
                </a:solidFill>
              </a:rPr>
              <a:t>Palestrante e/ou Consultor como membro de Advisory Board: </a:t>
            </a:r>
            <a:r>
              <a:rPr lang="pt-BR" sz="3744" dirty="0">
                <a:solidFill>
                  <a:schemeClr val="bg1"/>
                </a:solidFill>
              </a:rPr>
              <a:t>MSD, Roche, Novartis, BMS. </a:t>
            </a:r>
            <a:endParaRPr sz="3456" dirty="0">
              <a:solidFill>
                <a:schemeClr val="bg1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618598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tângulo 42">
            <a:extLst>
              <a:ext uri="{FF2B5EF4-FFF2-40B4-BE49-F238E27FC236}">
                <a16:creationId xmlns:a16="http://schemas.microsoft.com/office/drawing/2014/main" id="{53185104-3589-445E-A0B3-1419F8E43981}"/>
              </a:ext>
            </a:extLst>
          </p:cNvPr>
          <p:cNvSpPr/>
          <p:nvPr/>
        </p:nvSpPr>
        <p:spPr>
          <a:xfrm>
            <a:off x="0" y="0"/>
            <a:ext cx="2773680" cy="9875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980888C6-DA82-4D46-B557-3E684433C8FD}"/>
              </a:ext>
            </a:extLst>
          </p:cNvPr>
          <p:cNvGrpSpPr/>
          <p:nvPr/>
        </p:nvGrpSpPr>
        <p:grpSpPr>
          <a:xfrm>
            <a:off x="8800123" y="5391726"/>
            <a:ext cx="7630160" cy="419789"/>
            <a:chOff x="8800123" y="5391726"/>
            <a:chExt cx="7630160" cy="419789"/>
          </a:xfrm>
        </p:grpSpPr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AB750BAA-AD06-4290-B523-83D624716361}"/>
                </a:ext>
              </a:extLst>
            </p:cNvPr>
            <p:cNvSpPr/>
            <p:nvPr/>
          </p:nvSpPr>
          <p:spPr>
            <a:xfrm>
              <a:off x="8800123" y="5391726"/>
              <a:ext cx="7630160" cy="419789"/>
            </a:xfrm>
            <a:prstGeom prst="rect">
              <a:avLst/>
            </a:prstGeom>
            <a:gradFill>
              <a:gsLst>
                <a:gs pos="0">
                  <a:srgbClr val="0980D1"/>
                </a:gs>
                <a:gs pos="100000">
                  <a:srgbClr val="1496D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Triângulo isósceles 38">
              <a:extLst>
                <a:ext uri="{FF2B5EF4-FFF2-40B4-BE49-F238E27FC236}">
                  <a16:creationId xmlns:a16="http://schemas.microsoft.com/office/drawing/2014/main" id="{6ADE9695-C9A5-46CF-B6C5-19B2669F870A}"/>
                </a:ext>
              </a:extLst>
            </p:cNvPr>
            <p:cNvSpPr/>
            <p:nvPr/>
          </p:nvSpPr>
          <p:spPr>
            <a:xfrm>
              <a:off x="16184886" y="5524836"/>
              <a:ext cx="245397" cy="279991"/>
            </a:xfrm>
            <a:prstGeom prst="triangle">
              <a:avLst>
                <a:gd name="adj" fmla="val 100000"/>
              </a:avLst>
            </a:prstGeom>
            <a:solidFill>
              <a:srgbClr val="56EF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" name="Agrupar 2">
            <a:extLst>
              <a:ext uri="{FF2B5EF4-FFF2-40B4-BE49-F238E27FC236}">
                <a16:creationId xmlns:a16="http://schemas.microsoft.com/office/drawing/2014/main" id="{6870F7AF-BE3E-4855-9F6E-BB9AB76F955C}"/>
              </a:ext>
            </a:extLst>
          </p:cNvPr>
          <p:cNvGrpSpPr/>
          <p:nvPr/>
        </p:nvGrpSpPr>
        <p:grpSpPr>
          <a:xfrm>
            <a:off x="8800123" y="2011918"/>
            <a:ext cx="7630160" cy="419789"/>
            <a:chOff x="8800123" y="2011918"/>
            <a:chExt cx="7630160" cy="419789"/>
          </a:xfrm>
        </p:grpSpPr>
        <p:sp>
          <p:nvSpPr>
            <p:cNvPr id="34" name="Retângulo 33">
              <a:extLst>
                <a:ext uri="{FF2B5EF4-FFF2-40B4-BE49-F238E27FC236}">
                  <a16:creationId xmlns:a16="http://schemas.microsoft.com/office/drawing/2014/main" id="{1AEB0C45-A536-4972-A5C9-E081E8AFEA6E}"/>
                </a:ext>
              </a:extLst>
            </p:cNvPr>
            <p:cNvSpPr/>
            <p:nvPr/>
          </p:nvSpPr>
          <p:spPr>
            <a:xfrm>
              <a:off x="8800123" y="2011918"/>
              <a:ext cx="7630160" cy="419789"/>
            </a:xfrm>
            <a:prstGeom prst="rect">
              <a:avLst/>
            </a:prstGeom>
            <a:gradFill>
              <a:gsLst>
                <a:gs pos="0">
                  <a:srgbClr val="0980D1"/>
                </a:gs>
                <a:gs pos="100000">
                  <a:srgbClr val="1496D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Triângulo isósceles 34">
              <a:extLst>
                <a:ext uri="{FF2B5EF4-FFF2-40B4-BE49-F238E27FC236}">
                  <a16:creationId xmlns:a16="http://schemas.microsoft.com/office/drawing/2014/main" id="{273221A5-39FE-4DB8-BB99-760E88690C8F}"/>
                </a:ext>
              </a:extLst>
            </p:cNvPr>
            <p:cNvSpPr/>
            <p:nvPr/>
          </p:nvSpPr>
          <p:spPr>
            <a:xfrm>
              <a:off x="16184886" y="2151716"/>
              <a:ext cx="245397" cy="279991"/>
            </a:xfrm>
            <a:prstGeom prst="triangle">
              <a:avLst>
                <a:gd name="adj" fmla="val 100000"/>
              </a:avLst>
            </a:prstGeom>
            <a:solidFill>
              <a:srgbClr val="56EF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2" name="Content Placeholder 61"/>
          <p:cNvSpPr>
            <a:spLocks noGrp="1"/>
          </p:cNvSpPr>
          <p:nvPr>
            <p:ph idx="4294967295"/>
          </p:nvPr>
        </p:nvSpPr>
        <p:spPr>
          <a:xfrm>
            <a:off x="8856785" y="1106488"/>
            <a:ext cx="5830887" cy="782637"/>
          </a:xfrm>
        </p:spPr>
        <p:txBody>
          <a:bodyPr>
            <a:noAutofit/>
          </a:bodyPr>
          <a:lstStyle/>
          <a:p>
            <a:pPr marL="0" indent="0">
              <a:spcBef>
                <a:spcPct val="20000"/>
              </a:spcBef>
              <a:spcAft>
                <a:spcPct val="0"/>
              </a:spcAft>
              <a:buNone/>
            </a:pPr>
            <a:r>
              <a:rPr lang="en-US" sz="2400" b="1" dirty="0" err="1">
                <a:solidFill>
                  <a:srgbClr val="1496D4"/>
                </a:solidFill>
                <a:latin typeface="Bahnschrift" panose="020B0502040204020203" pitchFamily="34" charset="0"/>
              </a:rPr>
              <a:t>Mutações</a:t>
            </a:r>
            <a:r>
              <a:rPr lang="en-US" sz="2400" b="1" dirty="0">
                <a:solidFill>
                  <a:srgbClr val="1496D4"/>
                </a:solidFill>
                <a:latin typeface="Bahnschrift" panose="020B0502040204020203" pitchFamily="34" charset="0"/>
              </a:rPr>
              <a:t> </a:t>
            </a:r>
            <a:r>
              <a:rPr lang="en-US" sz="2400" b="1" dirty="0" err="1">
                <a:solidFill>
                  <a:srgbClr val="1496D4"/>
                </a:solidFill>
                <a:latin typeface="Bahnschrift" panose="020B0502040204020203" pitchFamily="34" charset="0"/>
              </a:rPr>
              <a:t>na</a:t>
            </a:r>
            <a:r>
              <a:rPr lang="en-US" sz="2400" b="1" dirty="0">
                <a:solidFill>
                  <a:srgbClr val="1496D4"/>
                </a:solidFill>
                <a:latin typeface="Bahnschrift" panose="020B0502040204020203" pitchFamily="34" charset="0"/>
              </a:rPr>
              <a:t> </a:t>
            </a:r>
            <a:r>
              <a:rPr lang="en-US" sz="2400" b="1" dirty="0" err="1">
                <a:solidFill>
                  <a:srgbClr val="1496D4"/>
                </a:solidFill>
                <a:latin typeface="Bahnschrift" panose="020B0502040204020203" pitchFamily="34" charset="0"/>
              </a:rPr>
              <a:t>posição</a:t>
            </a:r>
            <a:r>
              <a:rPr lang="en-US" sz="2400" b="1" dirty="0">
                <a:solidFill>
                  <a:srgbClr val="1496D4"/>
                </a:solidFill>
                <a:latin typeface="Bahnschrift" panose="020B0502040204020203" pitchFamily="34" charset="0"/>
              </a:rPr>
              <a:t> V600 do gene BRAF </a:t>
            </a:r>
            <a:r>
              <a:rPr lang="en-US" sz="2400" b="1" dirty="0" err="1">
                <a:solidFill>
                  <a:srgbClr val="1496D4"/>
                </a:solidFill>
                <a:latin typeface="Bahnschrift" panose="020B0502040204020203" pitchFamily="34" charset="0"/>
              </a:rPr>
              <a:t>ocorrem</a:t>
            </a:r>
            <a:r>
              <a:rPr lang="en-US" sz="2400" b="1" dirty="0">
                <a:solidFill>
                  <a:srgbClr val="1496D4"/>
                </a:solidFill>
                <a:latin typeface="Bahnschrift" panose="020B0502040204020203" pitchFamily="34" charset="0"/>
              </a:rPr>
              <a:t> </a:t>
            </a:r>
            <a:r>
              <a:rPr lang="en-US" sz="2400" b="1" dirty="0" err="1">
                <a:solidFill>
                  <a:srgbClr val="1496D4"/>
                </a:solidFill>
                <a:latin typeface="Bahnschrift" panose="020B0502040204020203" pitchFamily="34" charset="0"/>
              </a:rPr>
              <a:t>em</a:t>
            </a:r>
            <a:r>
              <a:rPr lang="en-US" sz="2400" b="1" dirty="0">
                <a:solidFill>
                  <a:srgbClr val="1496D4"/>
                </a:solidFill>
                <a:latin typeface="Bahnschrift" panose="020B0502040204020203" pitchFamily="34" charset="0"/>
              </a:rPr>
              <a:t>  ~50% dos melanomas</a:t>
            </a:r>
            <a:r>
              <a:rPr lang="en-US" sz="2400" b="1" baseline="30000" dirty="0">
                <a:solidFill>
                  <a:srgbClr val="1496D4"/>
                </a:solidFill>
                <a:latin typeface="Bahnschrift" panose="020B0502040204020203" pitchFamily="34" charset="0"/>
              </a:rPr>
              <a:t>3,4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067051" y="2946400"/>
            <a:ext cx="4548188" cy="1198562"/>
          </a:xfr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defTabSz="1316736">
              <a:lnSpc>
                <a:spcPct val="85000"/>
              </a:lnSpc>
              <a:spcBef>
                <a:spcPts val="0"/>
              </a:spcBef>
            </a:pPr>
            <a:r>
              <a:rPr lang="en-GB" sz="4000" b="1" spc="-30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Descoberta</a:t>
            </a:r>
            <a:r>
              <a:rPr lang="en-GB" sz="40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 </a:t>
            </a:r>
            <a:br>
              <a:rPr lang="en-GB" sz="40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</a:br>
            <a:r>
              <a:rPr lang="en-GB" sz="40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das </a:t>
            </a:r>
            <a:r>
              <a:rPr lang="en-GB" sz="4000" b="1" spc="-30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mutações</a:t>
            </a:r>
            <a:r>
              <a:rPr lang="en-GB" sz="40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 </a:t>
            </a:r>
            <a:br>
              <a:rPr lang="en-GB" sz="40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</a:br>
            <a:r>
              <a:rPr lang="en-GB" sz="40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BRAF </a:t>
            </a:r>
            <a:r>
              <a:rPr lang="en-GB" sz="4000" b="1" spc="-30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em</a:t>
            </a:r>
            <a:r>
              <a:rPr lang="en-GB" sz="40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 Melanoma</a:t>
            </a:r>
          </a:p>
        </p:txBody>
      </p:sp>
      <p:pic>
        <p:nvPicPr>
          <p:cNvPr id="6" name="Picture 2" descr="Screen shot 2012-01-20 at 07.04.08.png"/>
          <p:cNvPicPr>
            <a:picLocks noChangeAspect="1"/>
          </p:cNvPicPr>
          <p:nvPr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05090" y="4573547"/>
            <a:ext cx="4636165" cy="3649693"/>
          </a:xfrm>
          <a:prstGeom prst="rect">
            <a:avLst/>
          </a:prstGeom>
          <a:noFill/>
          <a:ln w="9525">
            <a:solidFill>
              <a:srgbClr val="1496D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3" name="Table 62"/>
          <p:cNvGraphicFramePr>
            <a:graphicFrameLocks noGrp="1"/>
          </p:cNvGraphicFramePr>
          <p:nvPr/>
        </p:nvGraphicFramePr>
        <p:xfrm>
          <a:off x="8878485" y="2022423"/>
          <a:ext cx="7782915" cy="16141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495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34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2056">
                <a:tc>
                  <a:txBody>
                    <a:bodyPr/>
                    <a:lstStyle/>
                    <a:p>
                      <a:pPr algn="l"/>
                      <a:r>
                        <a:rPr lang="en-US" sz="2000" dirty="0" err="1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rPr>
                        <a:t>Mutação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rPr>
                        <a:t> V600 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err="1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rPr>
                        <a:t>Proporção</a:t>
                      </a:r>
                      <a:endParaRPr lang="en-US" sz="2000" dirty="0">
                        <a:solidFill>
                          <a:schemeClr val="bg1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056"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V600E (</a:t>
                      </a:r>
                      <a:r>
                        <a:rPr lang="en-US" sz="200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valina</a:t>
                      </a:r>
                      <a:r>
                        <a:rPr lang="en-US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[V] para </a:t>
                      </a:r>
                      <a:r>
                        <a:rPr lang="en-US" sz="2000" baseline="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ácido</a:t>
                      </a:r>
                      <a:r>
                        <a:rPr lang="en-US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</a:t>
                      </a:r>
                      <a:r>
                        <a:rPr lang="en-US" sz="2000" baseline="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glutâmico</a:t>
                      </a:r>
                      <a:r>
                        <a:rPr lang="en-US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[E])</a:t>
                      </a:r>
                      <a:endParaRPr lang="en-US" sz="2000" dirty="0">
                        <a:solidFill>
                          <a:srgbClr val="404040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80-90%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20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V600K (</a:t>
                      </a:r>
                      <a:r>
                        <a:rPr lang="en-US" sz="200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valina</a:t>
                      </a:r>
                      <a:r>
                        <a:rPr lang="en-US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[V] para </a:t>
                      </a:r>
                      <a:r>
                        <a:rPr lang="en-US" sz="2000" baseline="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lisina</a:t>
                      </a:r>
                      <a:r>
                        <a:rPr lang="en-US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[K])</a:t>
                      </a:r>
                      <a:endParaRPr lang="en-US" sz="2000" dirty="0">
                        <a:solidFill>
                          <a:srgbClr val="404040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5-12%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20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V600D (</a:t>
                      </a:r>
                      <a:r>
                        <a:rPr lang="en-US" sz="200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valina</a:t>
                      </a:r>
                      <a:r>
                        <a:rPr lang="en-US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[V] para </a:t>
                      </a:r>
                      <a:r>
                        <a:rPr lang="en-US" sz="2000" baseline="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ácido</a:t>
                      </a:r>
                      <a:r>
                        <a:rPr lang="en-US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</a:t>
                      </a:r>
                      <a:r>
                        <a:rPr lang="en-US" sz="2000" baseline="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aspártico</a:t>
                      </a:r>
                      <a:r>
                        <a:rPr lang="en-US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[D])</a:t>
                      </a:r>
                      <a:endParaRPr lang="en-US" sz="2000" dirty="0">
                        <a:solidFill>
                          <a:srgbClr val="404040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&lt; 1%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72" name="Table 71"/>
          <p:cNvGraphicFramePr>
            <a:graphicFrameLocks noGrp="1"/>
          </p:cNvGraphicFramePr>
          <p:nvPr/>
        </p:nvGraphicFramePr>
        <p:xfrm>
          <a:off x="8879059" y="5393887"/>
          <a:ext cx="7774744" cy="28349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849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98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3675">
                <a:tc>
                  <a:txBody>
                    <a:bodyPr/>
                    <a:lstStyle/>
                    <a:p>
                      <a:pPr algn="l"/>
                      <a:r>
                        <a:rPr lang="pt-BR" sz="2000" dirty="0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rPr>
                        <a:t>Tipo</a:t>
                      </a:r>
                      <a:r>
                        <a:rPr lang="pt-BR" sz="2000" baseline="0" dirty="0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rPr>
                        <a:t> de Tumor</a:t>
                      </a:r>
                      <a:endParaRPr lang="en-US" sz="2000" dirty="0">
                        <a:solidFill>
                          <a:schemeClr val="bg1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2000" dirty="0">
                          <a:solidFill>
                            <a:schemeClr val="bg1"/>
                          </a:solidFill>
                          <a:latin typeface="Bahnschrift" panose="020B0502040204020203" pitchFamily="34" charset="0"/>
                        </a:rPr>
                        <a:t>Frequência</a:t>
                      </a:r>
                      <a:endParaRPr lang="en-US" sz="2000" dirty="0">
                        <a:solidFill>
                          <a:schemeClr val="bg1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810"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Melanoma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b="1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50%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5626">
                <a:tc>
                  <a:txBody>
                    <a:bodyPr/>
                    <a:lstStyle/>
                    <a:p>
                      <a:pPr algn="l"/>
                      <a:r>
                        <a:rPr lang="en-US" sz="200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Leucemia</a:t>
                      </a:r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de </a:t>
                      </a:r>
                      <a:r>
                        <a:rPr lang="en-US" sz="200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células</a:t>
                      </a:r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pilosas</a:t>
                      </a:r>
                      <a:endParaRPr lang="en-US" sz="2000" dirty="0">
                        <a:solidFill>
                          <a:srgbClr val="404040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80-90%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8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LGSOC 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33-50%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38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Câncer</a:t>
                      </a:r>
                      <a:r>
                        <a:rPr lang="en-US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</a:t>
                      </a:r>
                      <a:r>
                        <a:rPr lang="en-US" sz="2000" baseline="0" dirty="0" err="1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Colorretal</a:t>
                      </a:r>
                      <a:endParaRPr lang="en-US" sz="2000" dirty="0">
                        <a:solidFill>
                          <a:srgbClr val="404040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5-20%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38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Câncer</a:t>
                      </a:r>
                      <a:r>
                        <a:rPr lang="pt-BR" sz="2000" baseline="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 de Tiroide </a:t>
                      </a:r>
                      <a:endParaRPr lang="en-US" sz="2000" dirty="0">
                        <a:solidFill>
                          <a:srgbClr val="404040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5-12%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38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NSCLC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>
                          <a:solidFill>
                            <a:srgbClr val="404040"/>
                          </a:solidFill>
                          <a:latin typeface="Bahnschrift" panose="020B0502040204020203" pitchFamily="34" charset="0"/>
                        </a:rPr>
                        <a:t>4%</a:t>
                      </a:r>
                    </a:p>
                  </a:txBody>
                  <a:tcPr marL="98743" marR="98743" marT="49371" marB="4937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3" name="Content Placeholder 61"/>
          <p:cNvSpPr txBox="1">
            <a:spLocks/>
          </p:cNvSpPr>
          <p:nvPr/>
        </p:nvSpPr>
        <p:spPr bwMode="auto">
          <a:xfrm>
            <a:off x="8856785" y="4485986"/>
            <a:ext cx="5380132" cy="512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03213" marR="0" indent="-30321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F9FD0"/>
              </a:buClr>
              <a:buSzTx/>
              <a:buFontTx/>
              <a:buBlip>
                <a:blip r:embed="rId3"/>
              </a:buBlip>
              <a:tabLst/>
              <a:defRPr sz="1800" b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93725" marR="0" indent="-2794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988E"/>
              </a:buClr>
              <a:buSzPct val="100000"/>
              <a:buFont typeface="Calibri" pitchFamily="34" charset="0"/>
              <a:buChar char="–"/>
              <a:tabLst/>
              <a:defRPr sz="1800">
                <a:solidFill>
                  <a:schemeClr val="accent1"/>
                </a:solidFill>
                <a:latin typeface="+mn-lt"/>
              </a:defRPr>
            </a:lvl2pPr>
            <a:lvl3pPr marL="866775" marR="0" indent="-2667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F9FD0"/>
              </a:buClr>
              <a:buSzTx/>
              <a:buFontTx/>
              <a:buBlip>
                <a:blip r:embed="rId3"/>
              </a:buBlip>
              <a:tabLst/>
              <a:defRPr sz="1600">
                <a:solidFill>
                  <a:schemeClr val="accent1"/>
                </a:solidFill>
                <a:latin typeface="+mn-lt"/>
              </a:defRPr>
            </a:lvl3pPr>
            <a:lvl4pPr marL="1116013" marR="0" indent="-242888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988E"/>
              </a:buClr>
              <a:buSzTx/>
              <a:buFont typeface="Calibri" pitchFamily="34" charset="0"/>
              <a:buChar char="–"/>
              <a:tabLst/>
              <a:defRPr sz="1400">
                <a:solidFill>
                  <a:schemeClr val="accent1"/>
                </a:solidFill>
                <a:latin typeface="+mn-lt"/>
              </a:defRPr>
            </a:lvl4pPr>
            <a:lvl5pPr marL="1347788" marR="0" indent="-21907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F9FD0"/>
              </a:buClr>
              <a:buSzTx/>
              <a:buFontTx/>
              <a:buBlip>
                <a:blip r:embed="rId3"/>
              </a:buBlip>
              <a:tabLst/>
              <a:defRPr sz="1200">
                <a:solidFill>
                  <a:schemeClr val="accent1"/>
                </a:solidFill>
                <a:latin typeface="+mn-lt"/>
              </a:defRPr>
            </a:lvl5pPr>
            <a:lvl6pPr marL="1654175" indent="-166688" algn="l" rtl="0" fontAlgn="base">
              <a:lnSpc>
                <a:spcPct val="94000"/>
              </a:lnSpc>
              <a:spcBef>
                <a:spcPct val="0"/>
              </a:spcBef>
              <a:spcAft>
                <a:spcPts val="600"/>
              </a:spcAft>
              <a:buClr>
                <a:srgbClr val="6F619B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111375" indent="-166688" algn="l" rtl="0" fontAlgn="base">
              <a:lnSpc>
                <a:spcPct val="94000"/>
              </a:lnSpc>
              <a:spcBef>
                <a:spcPct val="0"/>
              </a:spcBef>
              <a:spcAft>
                <a:spcPts val="600"/>
              </a:spcAft>
              <a:buClr>
                <a:srgbClr val="6F619B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68575" indent="-166688" algn="l" rtl="0" fontAlgn="base">
              <a:lnSpc>
                <a:spcPct val="94000"/>
              </a:lnSpc>
              <a:spcBef>
                <a:spcPct val="0"/>
              </a:spcBef>
              <a:spcAft>
                <a:spcPts val="600"/>
              </a:spcAft>
              <a:buClr>
                <a:srgbClr val="6F619B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025775" indent="-166688" algn="l" rtl="0" fontAlgn="base">
              <a:lnSpc>
                <a:spcPct val="94000"/>
              </a:lnSpc>
              <a:spcBef>
                <a:spcPct val="0"/>
              </a:spcBef>
              <a:spcAft>
                <a:spcPts val="600"/>
              </a:spcAft>
              <a:buClr>
                <a:srgbClr val="6F619B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8F9FD0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Mutaçõe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no gene BRAF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ocorrem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numa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variedade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de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tipo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tumorais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2400" b="1" i="0" u="none" strike="noStrike" kern="0" cap="none" spc="0" normalizeH="0" baseline="30000" noProof="0" dirty="0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1,2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1496D4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76061C05-D9F7-47EA-8B12-AD44402B7BB8}"/>
              </a:ext>
            </a:extLst>
          </p:cNvPr>
          <p:cNvGrpSpPr/>
          <p:nvPr/>
        </p:nvGrpSpPr>
        <p:grpSpPr>
          <a:xfrm>
            <a:off x="3145595" y="8711451"/>
            <a:ext cx="11542077" cy="556364"/>
            <a:chOff x="3145595" y="8711451"/>
            <a:chExt cx="11542077" cy="556364"/>
          </a:xfrm>
        </p:grpSpPr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E0615EF8-154D-4C23-B9A8-9E87E0FD1D26}"/>
                </a:ext>
              </a:extLst>
            </p:cNvPr>
            <p:cNvSpPr txBox="1"/>
            <p:nvPr/>
          </p:nvSpPr>
          <p:spPr>
            <a:xfrm>
              <a:off x="3145595" y="9006205"/>
              <a:ext cx="11542077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1. Davies H, </a:t>
              </a:r>
              <a:r>
                <a:rPr kumimoji="0" lang="en-GB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et al. Nature</a:t>
              </a: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 2002;417:949–954; 2. </a:t>
              </a:r>
              <a:r>
                <a:rPr kumimoji="0" lang="en-GB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Burotto</a:t>
              </a: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 M, et al. </a:t>
              </a:r>
              <a:r>
                <a:rPr kumimoji="0" lang="en-GB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Cancer</a:t>
              </a: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. 2014;120:3446-3456; 3. </a:t>
              </a:r>
              <a:r>
                <a:rPr kumimoji="0" lang="en-GB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Ascierto</a:t>
              </a: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 PA, </a:t>
              </a:r>
              <a:r>
                <a:rPr kumimoji="0" lang="en-GB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et al. J Trans Med </a:t>
              </a: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2012;10:85; 4. http://www.mycancergenome.org/.</a:t>
              </a:r>
            </a:p>
          </p:txBody>
        </p:sp>
        <p:sp>
          <p:nvSpPr>
            <p:cNvPr id="28" name="CaixaDeTexto 27">
              <a:extLst>
                <a:ext uri="{FF2B5EF4-FFF2-40B4-BE49-F238E27FC236}">
                  <a16:creationId xmlns:a16="http://schemas.microsoft.com/office/drawing/2014/main" id="{6FC431F3-6C73-46FC-8AE8-ED4014F5F0A8}"/>
                </a:ext>
              </a:extLst>
            </p:cNvPr>
            <p:cNvSpPr txBox="1"/>
            <p:nvPr/>
          </p:nvSpPr>
          <p:spPr>
            <a:xfrm>
              <a:off x="3145595" y="8711451"/>
              <a:ext cx="1125474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LGSCO, low-grade serous ovarian cancer; NSCLC, non-small cell lung cancer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.</a:t>
              </a: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79AC1637-639C-4229-8956-1AB0126C575C}"/>
              </a:ext>
            </a:extLst>
          </p:cNvPr>
          <p:cNvSpPr txBox="1">
            <a:spLocks/>
          </p:cNvSpPr>
          <p:nvPr/>
        </p:nvSpPr>
        <p:spPr>
          <a:xfrm>
            <a:off x="3031249" y="541693"/>
            <a:ext cx="4890367" cy="1909445"/>
          </a:xfrm>
          <a:noFill/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n-US"/>
            </a:defPPr>
            <a:lvl1pPr defTabSz="1316736">
              <a:lnSpc>
                <a:spcPct val="100000"/>
              </a:lnSpc>
              <a:spcBef>
                <a:spcPts val="0"/>
              </a:spcBef>
              <a:buNone/>
              <a:defRPr sz="4800" b="1" spc="-500">
                <a:ln w="5000" cmpd="sng">
                  <a:noFill/>
                  <a:prstDash val="solid"/>
                </a:ln>
                <a:solidFill>
                  <a:srgbClr val="1496D4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0" b="1" i="0" u="none" strike="noStrike" kern="1200" cap="none" spc="-500" normalizeH="0" baseline="0" noProof="0" dirty="0">
                <a:ln w="5000" cmpd="sng">
                  <a:noFill/>
                  <a:prstDash val="solid"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2002</a:t>
            </a:r>
          </a:p>
        </p:txBody>
      </p:sp>
    </p:spTree>
    <p:extLst>
      <p:ext uri="{BB962C8B-B14F-4D97-AF65-F5344CB8AC3E}">
        <p14:creationId xmlns:p14="http://schemas.microsoft.com/office/powerpoint/2010/main" val="2831273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62" grpId="0" build="p"/>
      <p:bldP spid="2" grpId="0"/>
      <p:bldP spid="73" grpId="0"/>
      <p:bldP spid="4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tângulo 81">
            <a:extLst>
              <a:ext uri="{FF2B5EF4-FFF2-40B4-BE49-F238E27FC236}">
                <a16:creationId xmlns:a16="http://schemas.microsoft.com/office/drawing/2014/main" id="{97972223-1A7B-45A2-BA16-F00D9C7E02FE}"/>
              </a:ext>
            </a:extLst>
          </p:cNvPr>
          <p:cNvSpPr/>
          <p:nvPr/>
        </p:nvSpPr>
        <p:spPr>
          <a:xfrm>
            <a:off x="0" y="0"/>
            <a:ext cx="12027877" cy="9875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Elipse 54">
            <a:extLst>
              <a:ext uri="{FF2B5EF4-FFF2-40B4-BE49-F238E27FC236}">
                <a16:creationId xmlns:a16="http://schemas.microsoft.com/office/drawing/2014/main" id="{F1CD925D-D916-45A6-B784-CBC9E5F3A376}"/>
              </a:ext>
            </a:extLst>
          </p:cNvPr>
          <p:cNvSpPr/>
          <p:nvPr/>
        </p:nvSpPr>
        <p:spPr>
          <a:xfrm>
            <a:off x="7413115" y="5922970"/>
            <a:ext cx="3549962" cy="3549962"/>
          </a:xfrm>
          <a:prstGeom prst="ellipse">
            <a:avLst/>
          </a:prstGeom>
          <a:gradFill>
            <a:gsLst>
              <a:gs pos="0">
                <a:srgbClr val="56EFFD">
                  <a:alpha val="22000"/>
                </a:srgbClr>
              </a:gs>
              <a:gs pos="54000">
                <a:srgbClr val="9851A0">
                  <a:alpha val="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idx="4294967295"/>
          </p:nvPr>
        </p:nvSpPr>
        <p:spPr>
          <a:xfrm>
            <a:off x="1333843" y="1916824"/>
            <a:ext cx="4457357" cy="4227513"/>
          </a:xfr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defTabSz="1316736">
              <a:lnSpc>
                <a:spcPct val="85000"/>
              </a:lnSpc>
              <a:spcBef>
                <a:spcPts val="0"/>
              </a:spcBef>
            </a:pPr>
            <a:r>
              <a:rPr lang="pt-BR" sz="44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BRAF+  PROMOVE </a:t>
            </a:r>
            <a:r>
              <a:rPr lang="pt-BR" sz="4400" b="1" spc="-300" dirty="0">
                <a:ln w="5000" cmpd="sng">
                  <a:noFill/>
                  <a:prstDash val="solid"/>
                </a:ln>
                <a:solidFill>
                  <a:srgbClr val="1496D4"/>
                </a:solidFill>
                <a:latin typeface="Bahnschrift" panose="020B0502040204020203" pitchFamily="34" charset="0"/>
                <a:ea typeface="+mn-ea"/>
                <a:cs typeface="+mn-cs"/>
              </a:rPr>
              <a:t>CRESCIMENTO E PROLIFERAÇÃO </a:t>
            </a:r>
            <a:r>
              <a:rPr lang="pt-BR" sz="44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DESCONTROLADA DE TUMORES</a:t>
            </a:r>
            <a:endParaRPr lang="en-US" sz="4400" b="1" spc="-300" dirty="0">
              <a:ln w="5000" cmpd="sng">
                <a:noFill/>
                <a:prstDash val="solid"/>
              </a:ln>
              <a:solidFill>
                <a:srgbClr val="404040"/>
              </a:solidFill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318162" y="5754548"/>
            <a:ext cx="4457798" cy="25545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BRAF mutado é &gt; 10 vezes mais ativo que BRAF de tipo selvagem, levando à ativação constitutiva da via da MAP quinase</a:t>
            </a:r>
            <a:endParaRPr kumimoji="0" lang="en-US" sz="3200" b="0" i="0" u="none" strike="noStrike" kern="1200" cap="none" spc="-150" normalizeH="0" baseline="0" noProof="0" dirty="0">
              <a:ln w="5000" cmpd="sng">
                <a:noFill/>
                <a:prstDash val="solid"/>
              </a:ln>
              <a:solidFill>
                <a:srgbClr val="404040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095581" y="4171801"/>
            <a:ext cx="3272180" cy="302236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n-US"/>
            </a:defPPr>
            <a:lvl1pPr defTabSz="1316736">
              <a:lnSpc>
                <a:spcPct val="85000"/>
              </a:lnSpc>
              <a:defRPr sz="2800" spc="-15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o que resulta na ativação de genes que impulsionam o </a:t>
            </a:r>
            <a:r>
              <a:rPr kumimoji="0" lang="pt-BR" sz="2800" b="1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crescimento descontrolado de células</a:t>
            </a:r>
            <a:r>
              <a:rPr kumimoji="0" lang="pt-BR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, proliferação e sobrevivência de células tumorais</a:t>
            </a:r>
            <a:endParaRPr kumimoji="0" lang="en-US" sz="2800" b="0" i="0" u="none" strike="noStrike" kern="1200" cap="none" spc="-150" normalizeH="0" baseline="0" noProof="0" dirty="0">
              <a:ln w="5000" cmpd="sng">
                <a:noFill/>
                <a:prstDash val="solid"/>
              </a:ln>
              <a:solidFill>
                <a:srgbClr val="404040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069843" y="2171061"/>
            <a:ext cx="3257277" cy="1557349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n-US"/>
            </a:defPPr>
            <a:lvl1pPr defTabSz="1316736">
              <a:defRPr sz="3200" spc="-15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A </a:t>
            </a:r>
            <a:r>
              <a:rPr kumimoji="0" lang="en-US" sz="2800" b="0" i="0" u="none" strike="noStrike" kern="1200" cap="none" spc="-150" normalizeH="0" baseline="0" noProof="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mutação</a:t>
            </a: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-150" normalizeH="0" baseline="0" noProof="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em</a:t>
            </a: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BRAF </a:t>
            </a:r>
            <a:r>
              <a:rPr kumimoji="0" lang="en-US" sz="2800" b="0" i="0" u="none" strike="noStrike" kern="1200" cap="none" spc="-150" normalizeH="0" baseline="0" noProof="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ativa</a:t>
            </a: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a via das </a:t>
            </a:r>
            <a:r>
              <a:rPr kumimoji="0" lang="en-US" sz="2800" b="1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MAP</a:t>
            </a: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-150" normalizeH="0" baseline="0" noProof="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quinase</a:t>
            </a: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-150" normalizeH="0" baseline="0" noProof="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na</a:t>
            </a: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-150" normalizeH="0" baseline="0" noProof="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ausência</a:t>
            </a: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de </a:t>
            </a:r>
            <a:r>
              <a:rPr kumimoji="0" lang="en-US" sz="2800" b="0" i="0" u="none" strike="noStrike" kern="1200" cap="none" spc="-150" normalizeH="0" baseline="0" noProof="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sinais</a:t>
            </a: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-150" normalizeH="0" baseline="0" noProof="0" dirty="0" err="1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externos</a:t>
            </a:r>
            <a:endParaRPr kumimoji="0" lang="en-US" sz="2800" b="0" i="0" u="none" strike="noStrike" kern="1200" cap="none" spc="-150" normalizeH="0" baseline="0" noProof="0" dirty="0">
              <a:ln w="5000" cmpd="sng">
                <a:noFill/>
                <a:prstDash val="solid"/>
              </a:ln>
              <a:solidFill>
                <a:srgbClr val="404040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11" name="Text Placeholder 5"/>
          <p:cNvSpPr txBox="1">
            <a:spLocks/>
          </p:cNvSpPr>
          <p:nvPr/>
        </p:nvSpPr>
        <p:spPr>
          <a:xfrm>
            <a:off x="13108778" y="7675724"/>
            <a:ext cx="2688119" cy="1133305"/>
          </a:xfrm>
          <a:prstGeom prst="rect">
            <a:avLst/>
          </a:prstGeom>
        </p:spPr>
        <p:txBody>
          <a:bodyPr vert="horz" lIns="131657" tIns="65828" rIns="131657" bIns="6582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.LucidaGrandeUI" charset="0"/>
              <a:buChar char="●"/>
              <a:defRPr sz="18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90563" indent="-2825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STIXGeneral-Regular" charset="0"/>
              <a:buChar char="⏤"/>
              <a:tabLst/>
              <a:defRPr sz="14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30288" indent="-1158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/>
              <a:defRPr sz="12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95425" indent="-238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STIXGeneral-Regular" charset="0"/>
              <a:buChar char="⏤"/>
              <a:tabLst/>
              <a:defRPr sz="11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79588" indent="-101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/>
              <a:defRPr sz="11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.LucidaGrandeUI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ERK, extracellular signal-regulated kinase; MAP, mitogen-activated protein; MEK, MAPK/ERK kinas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.LucidaGrandeUI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Inamda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GS et al.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Biochem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Pharmaco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. 2010;80(5):624-637.</a:t>
            </a:r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id="{10A8CCDD-7192-4243-9C04-67DACCD7C1C6}"/>
              </a:ext>
            </a:extLst>
          </p:cNvPr>
          <p:cNvSpPr/>
          <p:nvPr/>
        </p:nvSpPr>
        <p:spPr>
          <a:xfrm>
            <a:off x="4518230" y="1706105"/>
            <a:ext cx="6959278" cy="6959278"/>
          </a:xfrm>
          <a:prstGeom prst="ellipse">
            <a:avLst/>
          </a:prstGeom>
          <a:gradFill>
            <a:gsLst>
              <a:gs pos="1000">
                <a:srgbClr val="1496D4">
                  <a:alpha val="30000"/>
                </a:srgbClr>
              </a:gs>
              <a:gs pos="54000">
                <a:srgbClr val="9851A0">
                  <a:alpha val="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8" name="Agrupar 87">
            <a:extLst>
              <a:ext uri="{FF2B5EF4-FFF2-40B4-BE49-F238E27FC236}">
                <a16:creationId xmlns:a16="http://schemas.microsoft.com/office/drawing/2014/main" id="{D18093DD-9C15-46D6-AD7C-A0843B999ABB}"/>
              </a:ext>
            </a:extLst>
          </p:cNvPr>
          <p:cNvGrpSpPr/>
          <p:nvPr/>
        </p:nvGrpSpPr>
        <p:grpSpPr>
          <a:xfrm>
            <a:off x="8196690" y="2991683"/>
            <a:ext cx="1952373" cy="3740858"/>
            <a:chOff x="8196690" y="2991683"/>
            <a:chExt cx="1952373" cy="3740858"/>
          </a:xfrm>
        </p:grpSpPr>
        <p:cxnSp>
          <p:nvCxnSpPr>
            <p:cNvPr id="44" name="Conector reto 43">
              <a:extLst>
                <a:ext uri="{FF2B5EF4-FFF2-40B4-BE49-F238E27FC236}">
                  <a16:creationId xmlns:a16="http://schemas.microsoft.com/office/drawing/2014/main" id="{365222C1-60ED-4FE4-BD57-51284C6CECA9}"/>
                </a:ext>
              </a:extLst>
            </p:cNvPr>
            <p:cNvCxnSpPr>
              <a:cxnSpLocks/>
            </p:cNvCxnSpPr>
            <p:nvPr/>
          </p:nvCxnSpPr>
          <p:spPr>
            <a:xfrm>
              <a:off x="9138928" y="2991683"/>
              <a:ext cx="0" cy="372419"/>
            </a:xfrm>
            <a:prstGeom prst="line">
              <a:avLst/>
            </a:prstGeom>
            <a:ln w="38100">
              <a:solidFill>
                <a:srgbClr val="40404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ector reto 45">
              <a:extLst>
                <a:ext uri="{FF2B5EF4-FFF2-40B4-BE49-F238E27FC236}">
                  <a16:creationId xmlns:a16="http://schemas.microsoft.com/office/drawing/2014/main" id="{5E2DBFB4-4ED7-4445-82A3-A0CAB6815D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196690" y="3853960"/>
              <a:ext cx="698937" cy="530179"/>
            </a:xfrm>
            <a:prstGeom prst="line">
              <a:avLst/>
            </a:prstGeom>
            <a:ln w="38100">
              <a:solidFill>
                <a:srgbClr val="40404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to 47">
              <a:extLst>
                <a:ext uri="{FF2B5EF4-FFF2-40B4-BE49-F238E27FC236}">
                  <a16:creationId xmlns:a16="http://schemas.microsoft.com/office/drawing/2014/main" id="{9FBEC3AF-4470-4E11-87B3-283902CB51A4}"/>
                </a:ext>
              </a:extLst>
            </p:cNvPr>
            <p:cNvCxnSpPr>
              <a:cxnSpLocks/>
            </p:cNvCxnSpPr>
            <p:nvPr/>
          </p:nvCxnSpPr>
          <p:spPr>
            <a:xfrm>
              <a:off x="9450126" y="3853960"/>
              <a:ext cx="698937" cy="530179"/>
            </a:xfrm>
            <a:prstGeom prst="line">
              <a:avLst/>
            </a:prstGeom>
            <a:ln w="38100">
              <a:solidFill>
                <a:srgbClr val="40404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to 48">
              <a:extLst>
                <a:ext uri="{FF2B5EF4-FFF2-40B4-BE49-F238E27FC236}">
                  <a16:creationId xmlns:a16="http://schemas.microsoft.com/office/drawing/2014/main" id="{3FECA136-F139-42EA-97C4-29BD6DD5FE8D}"/>
                </a:ext>
              </a:extLst>
            </p:cNvPr>
            <p:cNvCxnSpPr>
              <a:cxnSpLocks/>
            </p:cNvCxnSpPr>
            <p:nvPr/>
          </p:nvCxnSpPr>
          <p:spPr>
            <a:xfrm>
              <a:off x="8274490" y="4808300"/>
              <a:ext cx="545499" cy="413788"/>
            </a:xfrm>
            <a:prstGeom prst="line">
              <a:avLst/>
            </a:prstGeom>
            <a:ln w="38100">
              <a:solidFill>
                <a:srgbClr val="40404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ector reto 50">
              <a:extLst>
                <a:ext uri="{FF2B5EF4-FFF2-40B4-BE49-F238E27FC236}">
                  <a16:creationId xmlns:a16="http://schemas.microsoft.com/office/drawing/2014/main" id="{99659FA6-1429-421B-9190-DAAB42C46A9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439321" y="4808300"/>
              <a:ext cx="545499" cy="413788"/>
            </a:xfrm>
            <a:prstGeom prst="line">
              <a:avLst/>
            </a:prstGeom>
            <a:ln w="38100">
              <a:solidFill>
                <a:srgbClr val="40404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ector reto 51">
              <a:extLst>
                <a:ext uri="{FF2B5EF4-FFF2-40B4-BE49-F238E27FC236}">
                  <a16:creationId xmlns:a16="http://schemas.microsoft.com/office/drawing/2014/main" id="{3043DA47-AB1D-41CB-B542-2B09F322D88F}"/>
                </a:ext>
              </a:extLst>
            </p:cNvPr>
            <p:cNvCxnSpPr>
              <a:cxnSpLocks/>
            </p:cNvCxnSpPr>
            <p:nvPr/>
          </p:nvCxnSpPr>
          <p:spPr>
            <a:xfrm>
              <a:off x="9138928" y="5827041"/>
              <a:ext cx="0" cy="905500"/>
            </a:xfrm>
            <a:prstGeom prst="line">
              <a:avLst/>
            </a:prstGeom>
            <a:ln w="38100">
              <a:solidFill>
                <a:srgbClr val="40404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Arco 57">
            <a:extLst>
              <a:ext uri="{FF2B5EF4-FFF2-40B4-BE49-F238E27FC236}">
                <a16:creationId xmlns:a16="http://schemas.microsoft.com/office/drawing/2014/main" id="{F0EE022F-24F5-46B5-B792-D07818F17701}"/>
              </a:ext>
            </a:extLst>
          </p:cNvPr>
          <p:cNvSpPr/>
          <p:nvPr/>
        </p:nvSpPr>
        <p:spPr>
          <a:xfrm>
            <a:off x="4283847" y="1563198"/>
            <a:ext cx="7330440" cy="7330440"/>
          </a:xfrm>
          <a:prstGeom prst="arc">
            <a:avLst>
              <a:gd name="adj1" fmla="val 14131070"/>
              <a:gd name="adj2" fmla="val 1293464"/>
            </a:avLst>
          </a:prstGeom>
          <a:ln w="73025" cap="rnd">
            <a:solidFill>
              <a:srgbClr val="1496D4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7" name="Agrupar 86">
            <a:extLst>
              <a:ext uri="{FF2B5EF4-FFF2-40B4-BE49-F238E27FC236}">
                <a16:creationId xmlns:a16="http://schemas.microsoft.com/office/drawing/2014/main" id="{6B49A3E8-EAF6-4652-870F-845095E0FF1F}"/>
              </a:ext>
            </a:extLst>
          </p:cNvPr>
          <p:cNvGrpSpPr/>
          <p:nvPr/>
        </p:nvGrpSpPr>
        <p:grpSpPr>
          <a:xfrm>
            <a:off x="6627653" y="1301680"/>
            <a:ext cx="5637073" cy="7008599"/>
            <a:chOff x="6627653" y="1301680"/>
            <a:chExt cx="5637073" cy="7008599"/>
          </a:xfrm>
        </p:grpSpPr>
        <p:grpSp>
          <p:nvGrpSpPr>
            <p:cNvPr id="86" name="Agrupar 85">
              <a:extLst>
                <a:ext uri="{FF2B5EF4-FFF2-40B4-BE49-F238E27FC236}">
                  <a16:creationId xmlns:a16="http://schemas.microsoft.com/office/drawing/2014/main" id="{BD80CCCF-D848-435B-91B4-2A203387E156}"/>
                </a:ext>
              </a:extLst>
            </p:cNvPr>
            <p:cNvGrpSpPr/>
            <p:nvPr/>
          </p:nvGrpSpPr>
          <p:grpSpPr>
            <a:xfrm>
              <a:off x="7712787" y="2318141"/>
              <a:ext cx="2911717" cy="3530771"/>
              <a:chOff x="7712787" y="2318141"/>
              <a:chExt cx="2911717" cy="3530771"/>
            </a:xfrm>
          </p:grpSpPr>
          <p:grpSp>
            <p:nvGrpSpPr>
              <p:cNvPr id="29" name="Agrupar 28">
                <a:extLst>
                  <a:ext uri="{FF2B5EF4-FFF2-40B4-BE49-F238E27FC236}">
                    <a16:creationId xmlns:a16="http://schemas.microsoft.com/office/drawing/2014/main" id="{D73EBA88-5435-4C3C-99C0-A16102AC083C}"/>
                  </a:ext>
                </a:extLst>
              </p:cNvPr>
              <p:cNvGrpSpPr/>
              <p:nvPr/>
            </p:nvGrpSpPr>
            <p:grpSpPr>
              <a:xfrm>
                <a:off x="8730518" y="2318141"/>
                <a:ext cx="812573" cy="691551"/>
                <a:chOff x="4696967" y="2692400"/>
                <a:chExt cx="716281" cy="609600"/>
              </a:xfrm>
            </p:grpSpPr>
            <p:sp>
              <p:nvSpPr>
                <p:cNvPr id="27" name="Elipse 26">
                  <a:extLst>
                    <a:ext uri="{FF2B5EF4-FFF2-40B4-BE49-F238E27FC236}">
                      <a16:creationId xmlns:a16="http://schemas.microsoft.com/office/drawing/2014/main" id="{890D9690-FE8B-48B0-BBCB-D55490A79DE9}"/>
                    </a:ext>
                  </a:extLst>
                </p:cNvPr>
                <p:cNvSpPr/>
                <p:nvPr/>
              </p:nvSpPr>
              <p:spPr>
                <a:xfrm>
                  <a:off x="4754880" y="2692400"/>
                  <a:ext cx="609600" cy="609600"/>
                </a:xfrm>
                <a:prstGeom prst="ellipse">
                  <a:avLst/>
                </a:prstGeom>
                <a:solidFill>
                  <a:srgbClr val="1496D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Title 1">
                  <a:extLst>
                    <a:ext uri="{FF2B5EF4-FFF2-40B4-BE49-F238E27FC236}">
                      <a16:creationId xmlns:a16="http://schemas.microsoft.com/office/drawing/2014/main" id="{2EF7CF70-9575-46AC-824D-F2636D35A4A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696967" y="2833345"/>
                  <a:ext cx="716281" cy="35394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marR="0" lvl="0" indent="0" defTabSz="1316736" fontAlgn="auto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 kumimoji="0" sz="2400" b="0" i="0" u="none" strike="noStrike" cap="none" spc="0" normalizeH="0" baseline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Bahnschrift" panose="020B0502040204020203" pitchFamily="34" charset="0"/>
                    </a:defRPr>
                  </a:lvl1pPr>
                </a:lstStyle>
                <a:p>
                  <a:pPr marL="0" marR="0" lvl="0" indent="0" algn="ctr" defTabSz="1316736" rtl="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+mn-cs"/>
                    </a:rPr>
                    <a:t>RAS</a:t>
                  </a:r>
                  <a:endParaRPr kumimoji="0" lang="pt-B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2" name="Agrupar 31">
                <a:extLst>
                  <a:ext uri="{FF2B5EF4-FFF2-40B4-BE49-F238E27FC236}">
                    <a16:creationId xmlns:a16="http://schemas.microsoft.com/office/drawing/2014/main" id="{10B56B5D-056F-4BA2-909E-81FF03C8905F}"/>
                  </a:ext>
                </a:extLst>
              </p:cNvPr>
              <p:cNvGrpSpPr/>
              <p:nvPr/>
            </p:nvGrpSpPr>
            <p:grpSpPr>
              <a:xfrm>
                <a:off x="7712787" y="4358216"/>
                <a:ext cx="1074785" cy="461034"/>
                <a:chOff x="3799840" y="4490720"/>
                <a:chExt cx="947420" cy="406400"/>
              </a:xfrm>
            </p:grpSpPr>
            <p:sp>
              <p:nvSpPr>
                <p:cNvPr id="30" name="Elipse 29">
                  <a:extLst>
                    <a:ext uri="{FF2B5EF4-FFF2-40B4-BE49-F238E27FC236}">
                      <a16:creationId xmlns:a16="http://schemas.microsoft.com/office/drawing/2014/main" id="{DEC7CC1F-DEDC-4E4B-AFD7-BB01D981D09C}"/>
                    </a:ext>
                  </a:extLst>
                </p:cNvPr>
                <p:cNvSpPr/>
                <p:nvPr/>
              </p:nvSpPr>
              <p:spPr>
                <a:xfrm>
                  <a:off x="3799840" y="4490720"/>
                  <a:ext cx="944880" cy="406400"/>
                </a:xfrm>
                <a:prstGeom prst="ellipse">
                  <a:avLst/>
                </a:prstGeom>
                <a:solidFill>
                  <a:srgbClr val="1496D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Title 1">
                  <a:extLst>
                    <a:ext uri="{FF2B5EF4-FFF2-40B4-BE49-F238E27FC236}">
                      <a16:creationId xmlns:a16="http://schemas.microsoft.com/office/drawing/2014/main" id="{2B5C6694-B1E5-4262-8125-8F832BB3B33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814571" y="4528795"/>
                  <a:ext cx="932689" cy="35394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marR="0" lvl="0" indent="0" defTabSz="1316736" fontAlgn="auto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 kumimoji="0" sz="2400" b="0" i="0" u="none" strike="noStrike" cap="none" spc="0" normalizeH="0" baseline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Bahnschrift" panose="020B0502040204020203" pitchFamily="34" charset="0"/>
                    </a:defRPr>
                  </a:lvl1pPr>
                </a:lstStyle>
                <a:p>
                  <a:pPr marL="0" marR="0" lvl="0" indent="0" algn="ctr" defTabSz="1316736" rtl="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+mn-cs"/>
                    </a:rPr>
                    <a:t>MEK 1</a:t>
                  </a:r>
                  <a:endParaRPr kumimoji="0" lang="pt-B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3" name="Agrupar 32">
                <a:extLst>
                  <a:ext uri="{FF2B5EF4-FFF2-40B4-BE49-F238E27FC236}">
                    <a16:creationId xmlns:a16="http://schemas.microsoft.com/office/drawing/2014/main" id="{BA46A6ED-090A-44C5-AECD-DC11E7BEF4FE}"/>
                  </a:ext>
                </a:extLst>
              </p:cNvPr>
              <p:cNvGrpSpPr/>
              <p:nvPr/>
            </p:nvGrpSpPr>
            <p:grpSpPr>
              <a:xfrm>
                <a:off x="9549719" y="4366860"/>
                <a:ext cx="1074785" cy="461034"/>
                <a:chOff x="3799840" y="4490720"/>
                <a:chExt cx="947420" cy="406400"/>
              </a:xfrm>
            </p:grpSpPr>
            <p:sp>
              <p:nvSpPr>
                <p:cNvPr id="34" name="Elipse 33">
                  <a:extLst>
                    <a:ext uri="{FF2B5EF4-FFF2-40B4-BE49-F238E27FC236}">
                      <a16:creationId xmlns:a16="http://schemas.microsoft.com/office/drawing/2014/main" id="{E0089605-664F-4E38-9D3F-8E1CF492CB4C}"/>
                    </a:ext>
                  </a:extLst>
                </p:cNvPr>
                <p:cNvSpPr/>
                <p:nvPr/>
              </p:nvSpPr>
              <p:spPr>
                <a:xfrm>
                  <a:off x="3799840" y="4490720"/>
                  <a:ext cx="944880" cy="406400"/>
                </a:xfrm>
                <a:prstGeom prst="ellipse">
                  <a:avLst/>
                </a:prstGeom>
                <a:solidFill>
                  <a:srgbClr val="1496D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Title 1">
                  <a:extLst>
                    <a:ext uri="{FF2B5EF4-FFF2-40B4-BE49-F238E27FC236}">
                      <a16:creationId xmlns:a16="http://schemas.microsoft.com/office/drawing/2014/main" id="{3315C633-7464-49D7-A664-3267B2DA9697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814571" y="4528795"/>
                  <a:ext cx="932689" cy="35394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marR="0" lvl="0" indent="0" defTabSz="1316736" fontAlgn="auto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 kumimoji="0" sz="2400" b="0" i="0" u="none" strike="noStrike" cap="none" spc="0" normalizeH="0" baseline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Bahnschrift" panose="020B0502040204020203" pitchFamily="34" charset="0"/>
                    </a:defRPr>
                  </a:lvl1pPr>
                </a:lstStyle>
                <a:p>
                  <a:pPr marL="0" marR="0" lvl="0" indent="0" algn="ctr" defTabSz="1316736" rtl="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+mn-cs"/>
                    </a:rPr>
                    <a:t>MEK 2</a:t>
                  </a:r>
                  <a:endParaRPr kumimoji="0" lang="pt-B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6" name="Agrupar 35">
                <a:extLst>
                  <a:ext uri="{FF2B5EF4-FFF2-40B4-BE49-F238E27FC236}">
                    <a16:creationId xmlns:a16="http://schemas.microsoft.com/office/drawing/2014/main" id="{F7359380-F4A4-4BC0-B5A1-F5333E1D65BA}"/>
                  </a:ext>
                </a:extLst>
              </p:cNvPr>
              <p:cNvGrpSpPr/>
              <p:nvPr/>
            </p:nvGrpSpPr>
            <p:grpSpPr>
              <a:xfrm>
                <a:off x="8621599" y="4994039"/>
                <a:ext cx="1004480" cy="854873"/>
                <a:chOff x="4696967" y="2692400"/>
                <a:chExt cx="716281" cy="609600"/>
              </a:xfrm>
            </p:grpSpPr>
            <p:sp>
              <p:nvSpPr>
                <p:cNvPr id="37" name="Elipse 36">
                  <a:extLst>
                    <a:ext uri="{FF2B5EF4-FFF2-40B4-BE49-F238E27FC236}">
                      <a16:creationId xmlns:a16="http://schemas.microsoft.com/office/drawing/2014/main" id="{69E3EBBE-C8D3-4411-9ADB-86B595273E2C}"/>
                    </a:ext>
                  </a:extLst>
                </p:cNvPr>
                <p:cNvSpPr/>
                <p:nvPr/>
              </p:nvSpPr>
              <p:spPr>
                <a:xfrm>
                  <a:off x="4754880" y="2692400"/>
                  <a:ext cx="609600" cy="609600"/>
                </a:xfrm>
                <a:prstGeom prst="ellipse">
                  <a:avLst/>
                </a:prstGeom>
                <a:solidFill>
                  <a:srgbClr val="1496D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Title 1">
                  <a:extLst>
                    <a:ext uri="{FF2B5EF4-FFF2-40B4-BE49-F238E27FC236}">
                      <a16:creationId xmlns:a16="http://schemas.microsoft.com/office/drawing/2014/main" id="{0CA06141-0F70-4CF6-B5AF-B085CAF8B0A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696967" y="2870331"/>
                  <a:ext cx="716281" cy="35394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marR="0" lvl="0" indent="0" defTabSz="1316736" fontAlgn="auto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 kumimoji="0" sz="2400" b="0" i="0" u="none" strike="noStrike" cap="none" spc="0" normalizeH="0" baseline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Bahnschrift" panose="020B0502040204020203" pitchFamily="34" charset="0"/>
                    </a:defRPr>
                  </a:lvl1pPr>
                </a:lstStyle>
                <a:p>
                  <a:pPr marL="0" marR="0" lvl="0" indent="0" algn="ctr" defTabSz="1316736" rtl="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+mn-cs"/>
                    </a:rPr>
                    <a:t>ERK</a:t>
                  </a:r>
                  <a:endParaRPr kumimoji="0" lang="pt-B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0" name="Agrupar 39">
                <a:extLst>
                  <a:ext uri="{FF2B5EF4-FFF2-40B4-BE49-F238E27FC236}">
                    <a16:creationId xmlns:a16="http://schemas.microsoft.com/office/drawing/2014/main" id="{5731C5F3-FDD6-492B-A0D7-941A39DF9B37}"/>
                  </a:ext>
                </a:extLst>
              </p:cNvPr>
              <p:cNvGrpSpPr/>
              <p:nvPr/>
            </p:nvGrpSpPr>
            <p:grpSpPr>
              <a:xfrm>
                <a:off x="8304351" y="3337669"/>
                <a:ext cx="1766913" cy="622425"/>
                <a:chOff x="3704081" y="4490720"/>
                <a:chExt cx="1153670" cy="406400"/>
              </a:xfrm>
            </p:grpSpPr>
            <p:sp>
              <p:nvSpPr>
                <p:cNvPr id="41" name="Elipse 40">
                  <a:extLst>
                    <a:ext uri="{FF2B5EF4-FFF2-40B4-BE49-F238E27FC236}">
                      <a16:creationId xmlns:a16="http://schemas.microsoft.com/office/drawing/2014/main" id="{F681517E-EE9E-4E04-88D4-111426FFC93C}"/>
                    </a:ext>
                  </a:extLst>
                </p:cNvPr>
                <p:cNvSpPr/>
                <p:nvPr/>
              </p:nvSpPr>
              <p:spPr>
                <a:xfrm>
                  <a:off x="3799840" y="4490720"/>
                  <a:ext cx="944880" cy="406400"/>
                </a:xfrm>
                <a:prstGeom prst="ellipse">
                  <a:avLst/>
                </a:prstGeom>
                <a:solidFill>
                  <a:srgbClr val="9851A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Title 1">
                  <a:extLst>
                    <a:ext uri="{FF2B5EF4-FFF2-40B4-BE49-F238E27FC236}">
                      <a16:creationId xmlns:a16="http://schemas.microsoft.com/office/drawing/2014/main" id="{F00D36A7-AF3A-4C08-8C70-6CC07C9E784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704081" y="4579593"/>
                  <a:ext cx="1153670" cy="26216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marR="0" lvl="0" indent="0" defTabSz="1316736" fontAlgn="auto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 kumimoji="0" sz="2400" b="0" i="0" u="none" strike="noStrike" cap="none" spc="0" normalizeH="0" baseline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Bahnschrift" panose="020B0502040204020203" pitchFamily="34" charset="0"/>
                    </a:defRPr>
                  </a:lvl1pPr>
                </a:lstStyle>
                <a:p>
                  <a:pPr marL="0" marR="0" lvl="0" indent="0" algn="ctr" defTabSz="1316736" rtl="0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18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+mn-cs"/>
                    </a:rPr>
                    <a:t>BRAFm</a:t>
                  </a:r>
                  <a:r>
                    <a:rPr kumimoji="0" lang="en-US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+mn-cs"/>
                    </a:rPr>
                    <a:t>+</a:t>
                  </a:r>
                  <a:endParaRPr kumimoji="0" lang="pt-B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4" name="Title 1">
              <a:extLst>
                <a:ext uri="{FF2B5EF4-FFF2-40B4-BE49-F238E27FC236}">
                  <a16:creationId xmlns:a16="http://schemas.microsoft.com/office/drawing/2014/main" id="{5017BDCE-135E-45F4-8E49-8789AEC6F753}"/>
                </a:ext>
              </a:extLst>
            </p:cNvPr>
            <p:cNvSpPr txBox="1">
              <a:spLocks/>
            </p:cNvSpPr>
            <p:nvPr/>
          </p:nvSpPr>
          <p:spPr>
            <a:xfrm>
              <a:off x="8127129" y="6834805"/>
              <a:ext cx="2042406" cy="1138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defTabSz="1316736" fontAlgn="auto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</a:defRPr>
              </a:lvl1pPr>
            </a:lstStyle>
            <a:p>
              <a:pPr marL="0" marR="0" lvl="0" indent="0" algn="ctr" defTabSz="131673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Aberrant cell growth, proliferation and survival</a:t>
              </a:r>
              <a:endPara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72" name="Agrupar 71">
              <a:extLst>
                <a:ext uri="{FF2B5EF4-FFF2-40B4-BE49-F238E27FC236}">
                  <a16:creationId xmlns:a16="http://schemas.microsoft.com/office/drawing/2014/main" id="{A0C14892-2510-4598-B4B8-38D504334317}"/>
                </a:ext>
              </a:extLst>
            </p:cNvPr>
            <p:cNvGrpSpPr/>
            <p:nvPr/>
          </p:nvGrpSpPr>
          <p:grpSpPr>
            <a:xfrm rot="398311">
              <a:off x="9171617" y="1301680"/>
              <a:ext cx="780855" cy="631825"/>
              <a:chOff x="4872434" y="1720192"/>
              <a:chExt cx="688321" cy="556952"/>
            </a:xfrm>
          </p:grpSpPr>
          <p:grpSp>
            <p:nvGrpSpPr>
              <p:cNvPr id="65" name="Agrupar 64">
                <a:extLst>
                  <a:ext uri="{FF2B5EF4-FFF2-40B4-BE49-F238E27FC236}">
                    <a16:creationId xmlns:a16="http://schemas.microsoft.com/office/drawing/2014/main" id="{0BB2BFAE-AB31-41AB-B8B3-8840F037625F}"/>
                  </a:ext>
                </a:extLst>
              </p:cNvPr>
              <p:cNvGrpSpPr/>
              <p:nvPr/>
            </p:nvGrpSpPr>
            <p:grpSpPr>
              <a:xfrm>
                <a:off x="5116272" y="1781153"/>
                <a:ext cx="212073" cy="404551"/>
                <a:chOff x="5116272" y="1781153"/>
                <a:chExt cx="212073" cy="404551"/>
              </a:xfrm>
              <a:solidFill>
                <a:srgbClr val="1496D4"/>
              </a:solidFill>
            </p:grpSpPr>
            <p:sp>
              <p:nvSpPr>
                <p:cNvPr id="61" name="Forma Livre: Forma 60">
                  <a:extLst>
                    <a:ext uri="{FF2B5EF4-FFF2-40B4-BE49-F238E27FC236}">
                      <a16:creationId xmlns:a16="http://schemas.microsoft.com/office/drawing/2014/main" id="{A8389445-04FC-47AC-AAE1-A6EFBDAA8E1B}"/>
                    </a:ext>
                  </a:extLst>
                </p:cNvPr>
                <p:cNvSpPr/>
                <p:nvPr/>
              </p:nvSpPr>
              <p:spPr>
                <a:xfrm rot="17174354">
                  <a:off x="4980789" y="1916636"/>
                  <a:ext cx="369499" cy="98533"/>
                </a:xfrm>
                <a:custGeom>
                  <a:avLst/>
                  <a:gdLst>
                    <a:gd name="connsiteX0" fmla="*/ 101600 w 762000"/>
                    <a:gd name="connsiteY0" fmla="*/ 0 h 203200"/>
                    <a:gd name="connsiteX1" fmla="*/ 141147 w 762000"/>
                    <a:gd name="connsiteY1" fmla="*/ 7984 h 203200"/>
                    <a:gd name="connsiteX2" fmla="*/ 171236 w 762000"/>
                    <a:gd name="connsiteY2" fmla="*/ 28271 h 203200"/>
                    <a:gd name="connsiteX3" fmla="*/ 275042 w 762000"/>
                    <a:gd name="connsiteY3" fmla="*/ 7984 h 203200"/>
                    <a:gd name="connsiteX4" fmla="*/ 411480 w 762000"/>
                    <a:gd name="connsiteY4" fmla="*/ 0 h 203200"/>
                    <a:gd name="connsiteX5" fmla="*/ 762000 w 762000"/>
                    <a:gd name="connsiteY5" fmla="*/ 101600 h 203200"/>
                    <a:gd name="connsiteX6" fmla="*/ 411480 w 762000"/>
                    <a:gd name="connsiteY6" fmla="*/ 203200 h 203200"/>
                    <a:gd name="connsiteX7" fmla="*/ 275042 w 762000"/>
                    <a:gd name="connsiteY7" fmla="*/ 195216 h 203200"/>
                    <a:gd name="connsiteX8" fmla="*/ 171236 w 762000"/>
                    <a:gd name="connsiteY8" fmla="*/ 174930 h 203200"/>
                    <a:gd name="connsiteX9" fmla="*/ 141147 w 762000"/>
                    <a:gd name="connsiteY9" fmla="*/ 195216 h 203200"/>
                    <a:gd name="connsiteX10" fmla="*/ 101600 w 762000"/>
                    <a:gd name="connsiteY10" fmla="*/ 203200 h 203200"/>
                    <a:gd name="connsiteX11" fmla="*/ 0 w 762000"/>
                    <a:gd name="connsiteY11" fmla="*/ 101600 h 203200"/>
                    <a:gd name="connsiteX12" fmla="*/ 101600 w 762000"/>
                    <a:gd name="connsiteY12" fmla="*/ 0 h 203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62000" h="203200">
                      <a:moveTo>
                        <a:pt x="101600" y="0"/>
                      </a:moveTo>
                      <a:cubicBezTo>
                        <a:pt x="115628" y="0"/>
                        <a:pt x="128992" y="2843"/>
                        <a:pt x="141147" y="7984"/>
                      </a:cubicBezTo>
                      <a:lnTo>
                        <a:pt x="171236" y="28271"/>
                      </a:lnTo>
                      <a:lnTo>
                        <a:pt x="275042" y="7984"/>
                      </a:lnTo>
                      <a:cubicBezTo>
                        <a:pt x="316977" y="2843"/>
                        <a:pt x="363083" y="0"/>
                        <a:pt x="411480" y="0"/>
                      </a:cubicBezTo>
                      <a:cubicBezTo>
                        <a:pt x="605067" y="0"/>
                        <a:pt x="762000" y="45488"/>
                        <a:pt x="762000" y="101600"/>
                      </a:cubicBezTo>
                      <a:cubicBezTo>
                        <a:pt x="762000" y="157712"/>
                        <a:pt x="605067" y="203200"/>
                        <a:pt x="411480" y="203200"/>
                      </a:cubicBezTo>
                      <a:cubicBezTo>
                        <a:pt x="363083" y="203200"/>
                        <a:pt x="316977" y="200357"/>
                        <a:pt x="275042" y="195216"/>
                      </a:cubicBezTo>
                      <a:lnTo>
                        <a:pt x="171236" y="174930"/>
                      </a:lnTo>
                      <a:lnTo>
                        <a:pt x="141147" y="195216"/>
                      </a:lnTo>
                      <a:cubicBezTo>
                        <a:pt x="128992" y="200357"/>
                        <a:pt x="115628" y="203200"/>
                        <a:pt x="101600" y="203200"/>
                      </a:cubicBezTo>
                      <a:cubicBezTo>
                        <a:pt x="45488" y="203200"/>
                        <a:pt x="0" y="157712"/>
                        <a:pt x="0" y="101600"/>
                      </a:cubicBezTo>
                      <a:cubicBezTo>
                        <a:pt x="0" y="45488"/>
                        <a:pt x="45488" y="0"/>
                        <a:pt x="1016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7AC13F9F-F34E-4442-9C3E-C8CEBCDBEC31}"/>
                    </a:ext>
                  </a:extLst>
                </p:cNvPr>
                <p:cNvSpPr/>
                <p:nvPr/>
              </p:nvSpPr>
              <p:spPr>
                <a:xfrm rot="17389346">
                  <a:off x="5094329" y="1951688"/>
                  <a:ext cx="369499" cy="98533"/>
                </a:xfrm>
                <a:custGeom>
                  <a:avLst/>
                  <a:gdLst>
                    <a:gd name="connsiteX0" fmla="*/ 101600 w 762000"/>
                    <a:gd name="connsiteY0" fmla="*/ 0 h 203200"/>
                    <a:gd name="connsiteX1" fmla="*/ 141147 w 762000"/>
                    <a:gd name="connsiteY1" fmla="*/ 7984 h 203200"/>
                    <a:gd name="connsiteX2" fmla="*/ 171236 w 762000"/>
                    <a:gd name="connsiteY2" fmla="*/ 28271 h 203200"/>
                    <a:gd name="connsiteX3" fmla="*/ 275042 w 762000"/>
                    <a:gd name="connsiteY3" fmla="*/ 7984 h 203200"/>
                    <a:gd name="connsiteX4" fmla="*/ 411480 w 762000"/>
                    <a:gd name="connsiteY4" fmla="*/ 0 h 203200"/>
                    <a:gd name="connsiteX5" fmla="*/ 762000 w 762000"/>
                    <a:gd name="connsiteY5" fmla="*/ 101600 h 203200"/>
                    <a:gd name="connsiteX6" fmla="*/ 411480 w 762000"/>
                    <a:gd name="connsiteY6" fmla="*/ 203200 h 203200"/>
                    <a:gd name="connsiteX7" fmla="*/ 275042 w 762000"/>
                    <a:gd name="connsiteY7" fmla="*/ 195216 h 203200"/>
                    <a:gd name="connsiteX8" fmla="*/ 171236 w 762000"/>
                    <a:gd name="connsiteY8" fmla="*/ 174930 h 203200"/>
                    <a:gd name="connsiteX9" fmla="*/ 141147 w 762000"/>
                    <a:gd name="connsiteY9" fmla="*/ 195216 h 203200"/>
                    <a:gd name="connsiteX10" fmla="*/ 101600 w 762000"/>
                    <a:gd name="connsiteY10" fmla="*/ 203200 h 203200"/>
                    <a:gd name="connsiteX11" fmla="*/ 0 w 762000"/>
                    <a:gd name="connsiteY11" fmla="*/ 101600 h 203200"/>
                    <a:gd name="connsiteX12" fmla="*/ 101600 w 762000"/>
                    <a:gd name="connsiteY12" fmla="*/ 0 h 203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62000" h="203200">
                      <a:moveTo>
                        <a:pt x="101600" y="0"/>
                      </a:moveTo>
                      <a:cubicBezTo>
                        <a:pt x="115628" y="0"/>
                        <a:pt x="128992" y="2843"/>
                        <a:pt x="141147" y="7984"/>
                      </a:cubicBezTo>
                      <a:lnTo>
                        <a:pt x="171236" y="28271"/>
                      </a:lnTo>
                      <a:lnTo>
                        <a:pt x="275042" y="7984"/>
                      </a:lnTo>
                      <a:cubicBezTo>
                        <a:pt x="316977" y="2843"/>
                        <a:pt x="363083" y="0"/>
                        <a:pt x="411480" y="0"/>
                      </a:cubicBezTo>
                      <a:cubicBezTo>
                        <a:pt x="605067" y="0"/>
                        <a:pt x="762000" y="45488"/>
                        <a:pt x="762000" y="101600"/>
                      </a:cubicBezTo>
                      <a:cubicBezTo>
                        <a:pt x="762000" y="157712"/>
                        <a:pt x="605067" y="203200"/>
                        <a:pt x="411480" y="203200"/>
                      </a:cubicBezTo>
                      <a:cubicBezTo>
                        <a:pt x="363083" y="203200"/>
                        <a:pt x="316977" y="200357"/>
                        <a:pt x="275042" y="195216"/>
                      </a:cubicBezTo>
                      <a:lnTo>
                        <a:pt x="171236" y="174930"/>
                      </a:lnTo>
                      <a:lnTo>
                        <a:pt x="141147" y="195216"/>
                      </a:lnTo>
                      <a:cubicBezTo>
                        <a:pt x="128992" y="200357"/>
                        <a:pt x="115628" y="203200"/>
                        <a:pt x="101600" y="203200"/>
                      </a:cubicBezTo>
                      <a:cubicBezTo>
                        <a:pt x="45488" y="203200"/>
                        <a:pt x="0" y="157712"/>
                        <a:pt x="0" y="101600"/>
                      </a:cubicBezTo>
                      <a:cubicBezTo>
                        <a:pt x="0" y="45488"/>
                        <a:pt x="45488" y="0"/>
                        <a:pt x="1016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6" name="Agrupar 65">
                <a:extLst>
                  <a:ext uri="{FF2B5EF4-FFF2-40B4-BE49-F238E27FC236}">
                    <a16:creationId xmlns:a16="http://schemas.microsoft.com/office/drawing/2014/main" id="{1BB76EEF-A689-4352-BF37-403B6B57F0A0}"/>
                  </a:ext>
                </a:extLst>
              </p:cNvPr>
              <p:cNvGrpSpPr/>
              <p:nvPr/>
            </p:nvGrpSpPr>
            <p:grpSpPr>
              <a:xfrm rot="410074">
                <a:off x="5348682" y="1872593"/>
                <a:ext cx="212073" cy="404551"/>
                <a:chOff x="5116272" y="1781153"/>
                <a:chExt cx="212073" cy="404551"/>
              </a:xfrm>
              <a:solidFill>
                <a:srgbClr val="1496D4"/>
              </a:solidFill>
            </p:grpSpPr>
            <p:sp>
              <p:nvSpPr>
                <p:cNvPr id="67" name="Forma Livre: Forma 66">
                  <a:extLst>
                    <a:ext uri="{FF2B5EF4-FFF2-40B4-BE49-F238E27FC236}">
                      <a16:creationId xmlns:a16="http://schemas.microsoft.com/office/drawing/2014/main" id="{384733DC-0817-43E4-9700-8C63AE1B7CD0}"/>
                    </a:ext>
                  </a:extLst>
                </p:cNvPr>
                <p:cNvSpPr/>
                <p:nvPr/>
              </p:nvSpPr>
              <p:spPr>
                <a:xfrm rot="17174354">
                  <a:off x="4980789" y="1916636"/>
                  <a:ext cx="369499" cy="98533"/>
                </a:xfrm>
                <a:custGeom>
                  <a:avLst/>
                  <a:gdLst>
                    <a:gd name="connsiteX0" fmla="*/ 101600 w 762000"/>
                    <a:gd name="connsiteY0" fmla="*/ 0 h 203200"/>
                    <a:gd name="connsiteX1" fmla="*/ 141147 w 762000"/>
                    <a:gd name="connsiteY1" fmla="*/ 7984 h 203200"/>
                    <a:gd name="connsiteX2" fmla="*/ 171236 w 762000"/>
                    <a:gd name="connsiteY2" fmla="*/ 28271 h 203200"/>
                    <a:gd name="connsiteX3" fmla="*/ 275042 w 762000"/>
                    <a:gd name="connsiteY3" fmla="*/ 7984 h 203200"/>
                    <a:gd name="connsiteX4" fmla="*/ 411480 w 762000"/>
                    <a:gd name="connsiteY4" fmla="*/ 0 h 203200"/>
                    <a:gd name="connsiteX5" fmla="*/ 762000 w 762000"/>
                    <a:gd name="connsiteY5" fmla="*/ 101600 h 203200"/>
                    <a:gd name="connsiteX6" fmla="*/ 411480 w 762000"/>
                    <a:gd name="connsiteY6" fmla="*/ 203200 h 203200"/>
                    <a:gd name="connsiteX7" fmla="*/ 275042 w 762000"/>
                    <a:gd name="connsiteY7" fmla="*/ 195216 h 203200"/>
                    <a:gd name="connsiteX8" fmla="*/ 171236 w 762000"/>
                    <a:gd name="connsiteY8" fmla="*/ 174930 h 203200"/>
                    <a:gd name="connsiteX9" fmla="*/ 141147 w 762000"/>
                    <a:gd name="connsiteY9" fmla="*/ 195216 h 203200"/>
                    <a:gd name="connsiteX10" fmla="*/ 101600 w 762000"/>
                    <a:gd name="connsiteY10" fmla="*/ 203200 h 203200"/>
                    <a:gd name="connsiteX11" fmla="*/ 0 w 762000"/>
                    <a:gd name="connsiteY11" fmla="*/ 101600 h 203200"/>
                    <a:gd name="connsiteX12" fmla="*/ 101600 w 762000"/>
                    <a:gd name="connsiteY12" fmla="*/ 0 h 203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62000" h="203200">
                      <a:moveTo>
                        <a:pt x="101600" y="0"/>
                      </a:moveTo>
                      <a:cubicBezTo>
                        <a:pt x="115628" y="0"/>
                        <a:pt x="128992" y="2843"/>
                        <a:pt x="141147" y="7984"/>
                      </a:cubicBezTo>
                      <a:lnTo>
                        <a:pt x="171236" y="28271"/>
                      </a:lnTo>
                      <a:lnTo>
                        <a:pt x="275042" y="7984"/>
                      </a:lnTo>
                      <a:cubicBezTo>
                        <a:pt x="316977" y="2843"/>
                        <a:pt x="363083" y="0"/>
                        <a:pt x="411480" y="0"/>
                      </a:cubicBezTo>
                      <a:cubicBezTo>
                        <a:pt x="605067" y="0"/>
                        <a:pt x="762000" y="45488"/>
                        <a:pt x="762000" y="101600"/>
                      </a:cubicBezTo>
                      <a:cubicBezTo>
                        <a:pt x="762000" y="157712"/>
                        <a:pt x="605067" y="203200"/>
                        <a:pt x="411480" y="203200"/>
                      </a:cubicBezTo>
                      <a:cubicBezTo>
                        <a:pt x="363083" y="203200"/>
                        <a:pt x="316977" y="200357"/>
                        <a:pt x="275042" y="195216"/>
                      </a:cubicBezTo>
                      <a:lnTo>
                        <a:pt x="171236" y="174930"/>
                      </a:lnTo>
                      <a:lnTo>
                        <a:pt x="141147" y="195216"/>
                      </a:lnTo>
                      <a:cubicBezTo>
                        <a:pt x="128992" y="200357"/>
                        <a:pt x="115628" y="203200"/>
                        <a:pt x="101600" y="203200"/>
                      </a:cubicBezTo>
                      <a:cubicBezTo>
                        <a:pt x="45488" y="203200"/>
                        <a:pt x="0" y="157712"/>
                        <a:pt x="0" y="101600"/>
                      </a:cubicBezTo>
                      <a:cubicBezTo>
                        <a:pt x="0" y="45488"/>
                        <a:pt x="45488" y="0"/>
                        <a:pt x="1016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08F677EF-B577-4B72-BAED-B9C05FA4AC51}"/>
                    </a:ext>
                  </a:extLst>
                </p:cNvPr>
                <p:cNvSpPr/>
                <p:nvPr/>
              </p:nvSpPr>
              <p:spPr>
                <a:xfrm rot="17389346">
                  <a:off x="5094329" y="1951688"/>
                  <a:ext cx="369499" cy="98533"/>
                </a:xfrm>
                <a:custGeom>
                  <a:avLst/>
                  <a:gdLst>
                    <a:gd name="connsiteX0" fmla="*/ 101600 w 762000"/>
                    <a:gd name="connsiteY0" fmla="*/ 0 h 203200"/>
                    <a:gd name="connsiteX1" fmla="*/ 141147 w 762000"/>
                    <a:gd name="connsiteY1" fmla="*/ 7984 h 203200"/>
                    <a:gd name="connsiteX2" fmla="*/ 171236 w 762000"/>
                    <a:gd name="connsiteY2" fmla="*/ 28271 h 203200"/>
                    <a:gd name="connsiteX3" fmla="*/ 275042 w 762000"/>
                    <a:gd name="connsiteY3" fmla="*/ 7984 h 203200"/>
                    <a:gd name="connsiteX4" fmla="*/ 411480 w 762000"/>
                    <a:gd name="connsiteY4" fmla="*/ 0 h 203200"/>
                    <a:gd name="connsiteX5" fmla="*/ 762000 w 762000"/>
                    <a:gd name="connsiteY5" fmla="*/ 101600 h 203200"/>
                    <a:gd name="connsiteX6" fmla="*/ 411480 w 762000"/>
                    <a:gd name="connsiteY6" fmla="*/ 203200 h 203200"/>
                    <a:gd name="connsiteX7" fmla="*/ 275042 w 762000"/>
                    <a:gd name="connsiteY7" fmla="*/ 195216 h 203200"/>
                    <a:gd name="connsiteX8" fmla="*/ 171236 w 762000"/>
                    <a:gd name="connsiteY8" fmla="*/ 174930 h 203200"/>
                    <a:gd name="connsiteX9" fmla="*/ 141147 w 762000"/>
                    <a:gd name="connsiteY9" fmla="*/ 195216 h 203200"/>
                    <a:gd name="connsiteX10" fmla="*/ 101600 w 762000"/>
                    <a:gd name="connsiteY10" fmla="*/ 203200 h 203200"/>
                    <a:gd name="connsiteX11" fmla="*/ 0 w 762000"/>
                    <a:gd name="connsiteY11" fmla="*/ 101600 h 203200"/>
                    <a:gd name="connsiteX12" fmla="*/ 101600 w 762000"/>
                    <a:gd name="connsiteY12" fmla="*/ 0 h 203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62000" h="203200">
                      <a:moveTo>
                        <a:pt x="101600" y="0"/>
                      </a:moveTo>
                      <a:cubicBezTo>
                        <a:pt x="115628" y="0"/>
                        <a:pt x="128992" y="2843"/>
                        <a:pt x="141147" y="7984"/>
                      </a:cubicBezTo>
                      <a:lnTo>
                        <a:pt x="171236" y="28271"/>
                      </a:lnTo>
                      <a:lnTo>
                        <a:pt x="275042" y="7984"/>
                      </a:lnTo>
                      <a:cubicBezTo>
                        <a:pt x="316977" y="2843"/>
                        <a:pt x="363083" y="0"/>
                        <a:pt x="411480" y="0"/>
                      </a:cubicBezTo>
                      <a:cubicBezTo>
                        <a:pt x="605067" y="0"/>
                        <a:pt x="762000" y="45488"/>
                        <a:pt x="762000" y="101600"/>
                      </a:cubicBezTo>
                      <a:cubicBezTo>
                        <a:pt x="762000" y="157712"/>
                        <a:pt x="605067" y="203200"/>
                        <a:pt x="411480" y="203200"/>
                      </a:cubicBezTo>
                      <a:cubicBezTo>
                        <a:pt x="363083" y="203200"/>
                        <a:pt x="316977" y="200357"/>
                        <a:pt x="275042" y="195216"/>
                      </a:cubicBezTo>
                      <a:lnTo>
                        <a:pt x="171236" y="174930"/>
                      </a:lnTo>
                      <a:lnTo>
                        <a:pt x="141147" y="195216"/>
                      </a:lnTo>
                      <a:cubicBezTo>
                        <a:pt x="128992" y="200357"/>
                        <a:pt x="115628" y="203200"/>
                        <a:pt x="101600" y="203200"/>
                      </a:cubicBezTo>
                      <a:cubicBezTo>
                        <a:pt x="45488" y="203200"/>
                        <a:pt x="0" y="157712"/>
                        <a:pt x="0" y="101600"/>
                      </a:cubicBezTo>
                      <a:cubicBezTo>
                        <a:pt x="0" y="45488"/>
                        <a:pt x="45488" y="0"/>
                        <a:pt x="1016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9" name="Agrupar 68">
                <a:extLst>
                  <a:ext uri="{FF2B5EF4-FFF2-40B4-BE49-F238E27FC236}">
                    <a16:creationId xmlns:a16="http://schemas.microsoft.com/office/drawing/2014/main" id="{B285A04F-20C0-4A83-96D0-529946956CAA}"/>
                  </a:ext>
                </a:extLst>
              </p:cNvPr>
              <p:cNvGrpSpPr/>
              <p:nvPr/>
            </p:nvGrpSpPr>
            <p:grpSpPr>
              <a:xfrm rot="21208404">
                <a:off x="4872434" y="1720192"/>
                <a:ext cx="212073" cy="404551"/>
                <a:chOff x="5116272" y="1781153"/>
                <a:chExt cx="212073" cy="404551"/>
              </a:xfrm>
              <a:solidFill>
                <a:srgbClr val="1496D4"/>
              </a:solidFill>
            </p:grpSpPr>
            <p:sp>
              <p:nvSpPr>
                <p:cNvPr id="70" name="Forma Livre: Forma 69">
                  <a:extLst>
                    <a:ext uri="{FF2B5EF4-FFF2-40B4-BE49-F238E27FC236}">
                      <a16:creationId xmlns:a16="http://schemas.microsoft.com/office/drawing/2014/main" id="{14854F0A-E2A3-44AD-B7C5-10015AA66312}"/>
                    </a:ext>
                  </a:extLst>
                </p:cNvPr>
                <p:cNvSpPr/>
                <p:nvPr/>
              </p:nvSpPr>
              <p:spPr>
                <a:xfrm rot="17174354">
                  <a:off x="4980789" y="1916636"/>
                  <a:ext cx="369499" cy="98533"/>
                </a:xfrm>
                <a:custGeom>
                  <a:avLst/>
                  <a:gdLst>
                    <a:gd name="connsiteX0" fmla="*/ 101600 w 762000"/>
                    <a:gd name="connsiteY0" fmla="*/ 0 h 203200"/>
                    <a:gd name="connsiteX1" fmla="*/ 141147 w 762000"/>
                    <a:gd name="connsiteY1" fmla="*/ 7984 h 203200"/>
                    <a:gd name="connsiteX2" fmla="*/ 171236 w 762000"/>
                    <a:gd name="connsiteY2" fmla="*/ 28271 h 203200"/>
                    <a:gd name="connsiteX3" fmla="*/ 275042 w 762000"/>
                    <a:gd name="connsiteY3" fmla="*/ 7984 h 203200"/>
                    <a:gd name="connsiteX4" fmla="*/ 411480 w 762000"/>
                    <a:gd name="connsiteY4" fmla="*/ 0 h 203200"/>
                    <a:gd name="connsiteX5" fmla="*/ 762000 w 762000"/>
                    <a:gd name="connsiteY5" fmla="*/ 101600 h 203200"/>
                    <a:gd name="connsiteX6" fmla="*/ 411480 w 762000"/>
                    <a:gd name="connsiteY6" fmla="*/ 203200 h 203200"/>
                    <a:gd name="connsiteX7" fmla="*/ 275042 w 762000"/>
                    <a:gd name="connsiteY7" fmla="*/ 195216 h 203200"/>
                    <a:gd name="connsiteX8" fmla="*/ 171236 w 762000"/>
                    <a:gd name="connsiteY8" fmla="*/ 174930 h 203200"/>
                    <a:gd name="connsiteX9" fmla="*/ 141147 w 762000"/>
                    <a:gd name="connsiteY9" fmla="*/ 195216 h 203200"/>
                    <a:gd name="connsiteX10" fmla="*/ 101600 w 762000"/>
                    <a:gd name="connsiteY10" fmla="*/ 203200 h 203200"/>
                    <a:gd name="connsiteX11" fmla="*/ 0 w 762000"/>
                    <a:gd name="connsiteY11" fmla="*/ 101600 h 203200"/>
                    <a:gd name="connsiteX12" fmla="*/ 101600 w 762000"/>
                    <a:gd name="connsiteY12" fmla="*/ 0 h 203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62000" h="203200">
                      <a:moveTo>
                        <a:pt x="101600" y="0"/>
                      </a:moveTo>
                      <a:cubicBezTo>
                        <a:pt x="115628" y="0"/>
                        <a:pt x="128992" y="2843"/>
                        <a:pt x="141147" y="7984"/>
                      </a:cubicBezTo>
                      <a:lnTo>
                        <a:pt x="171236" y="28271"/>
                      </a:lnTo>
                      <a:lnTo>
                        <a:pt x="275042" y="7984"/>
                      </a:lnTo>
                      <a:cubicBezTo>
                        <a:pt x="316977" y="2843"/>
                        <a:pt x="363083" y="0"/>
                        <a:pt x="411480" y="0"/>
                      </a:cubicBezTo>
                      <a:cubicBezTo>
                        <a:pt x="605067" y="0"/>
                        <a:pt x="762000" y="45488"/>
                        <a:pt x="762000" y="101600"/>
                      </a:cubicBezTo>
                      <a:cubicBezTo>
                        <a:pt x="762000" y="157712"/>
                        <a:pt x="605067" y="203200"/>
                        <a:pt x="411480" y="203200"/>
                      </a:cubicBezTo>
                      <a:cubicBezTo>
                        <a:pt x="363083" y="203200"/>
                        <a:pt x="316977" y="200357"/>
                        <a:pt x="275042" y="195216"/>
                      </a:cubicBezTo>
                      <a:lnTo>
                        <a:pt x="171236" y="174930"/>
                      </a:lnTo>
                      <a:lnTo>
                        <a:pt x="141147" y="195216"/>
                      </a:lnTo>
                      <a:cubicBezTo>
                        <a:pt x="128992" y="200357"/>
                        <a:pt x="115628" y="203200"/>
                        <a:pt x="101600" y="203200"/>
                      </a:cubicBezTo>
                      <a:cubicBezTo>
                        <a:pt x="45488" y="203200"/>
                        <a:pt x="0" y="157712"/>
                        <a:pt x="0" y="101600"/>
                      </a:cubicBezTo>
                      <a:cubicBezTo>
                        <a:pt x="0" y="45488"/>
                        <a:pt x="45488" y="0"/>
                        <a:pt x="1016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orma Livre: Forma 70">
                  <a:extLst>
                    <a:ext uri="{FF2B5EF4-FFF2-40B4-BE49-F238E27FC236}">
                      <a16:creationId xmlns:a16="http://schemas.microsoft.com/office/drawing/2014/main" id="{948F0899-09AC-4D0D-8277-DBD3443F1C25}"/>
                    </a:ext>
                  </a:extLst>
                </p:cNvPr>
                <p:cNvSpPr/>
                <p:nvPr/>
              </p:nvSpPr>
              <p:spPr>
                <a:xfrm rot="17389346">
                  <a:off x="5094329" y="1951688"/>
                  <a:ext cx="369499" cy="98533"/>
                </a:xfrm>
                <a:custGeom>
                  <a:avLst/>
                  <a:gdLst>
                    <a:gd name="connsiteX0" fmla="*/ 101600 w 762000"/>
                    <a:gd name="connsiteY0" fmla="*/ 0 h 203200"/>
                    <a:gd name="connsiteX1" fmla="*/ 141147 w 762000"/>
                    <a:gd name="connsiteY1" fmla="*/ 7984 h 203200"/>
                    <a:gd name="connsiteX2" fmla="*/ 171236 w 762000"/>
                    <a:gd name="connsiteY2" fmla="*/ 28271 h 203200"/>
                    <a:gd name="connsiteX3" fmla="*/ 275042 w 762000"/>
                    <a:gd name="connsiteY3" fmla="*/ 7984 h 203200"/>
                    <a:gd name="connsiteX4" fmla="*/ 411480 w 762000"/>
                    <a:gd name="connsiteY4" fmla="*/ 0 h 203200"/>
                    <a:gd name="connsiteX5" fmla="*/ 762000 w 762000"/>
                    <a:gd name="connsiteY5" fmla="*/ 101600 h 203200"/>
                    <a:gd name="connsiteX6" fmla="*/ 411480 w 762000"/>
                    <a:gd name="connsiteY6" fmla="*/ 203200 h 203200"/>
                    <a:gd name="connsiteX7" fmla="*/ 275042 w 762000"/>
                    <a:gd name="connsiteY7" fmla="*/ 195216 h 203200"/>
                    <a:gd name="connsiteX8" fmla="*/ 171236 w 762000"/>
                    <a:gd name="connsiteY8" fmla="*/ 174930 h 203200"/>
                    <a:gd name="connsiteX9" fmla="*/ 141147 w 762000"/>
                    <a:gd name="connsiteY9" fmla="*/ 195216 h 203200"/>
                    <a:gd name="connsiteX10" fmla="*/ 101600 w 762000"/>
                    <a:gd name="connsiteY10" fmla="*/ 203200 h 203200"/>
                    <a:gd name="connsiteX11" fmla="*/ 0 w 762000"/>
                    <a:gd name="connsiteY11" fmla="*/ 101600 h 203200"/>
                    <a:gd name="connsiteX12" fmla="*/ 101600 w 762000"/>
                    <a:gd name="connsiteY12" fmla="*/ 0 h 203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62000" h="203200">
                      <a:moveTo>
                        <a:pt x="101600" y="0"/>
                      </a:moveTo>
                      <a:cubicBezTo>
                        <a:pt x="115628" y="0"/>
                        <a:pt x="128992" y="2843"/>
                        <a:pt x="141147" y="7984"/>
                      </a:cubicBezTo>
                      <a:lnTo>
                        <a:pt x="171236" y="28271"/>
                      </a:lnTo>
                      <a:lnTo>
                        <a:pt x="275042" y="7984"/>
                      </a:lnTo>
                      <a:cubicBezTo>
                        <a:pt x="316977" y="2843"/>
                        <a:pt x="363083" y="0"/>
                        <a:pt x="411480" y="0"/>
                      </a:cubicBezTo>
                      <a:cubicBezTo>
                        <a:pt x="605067" y="0"/>
                        <a:pt x="762000" y="45488"/>
                        <a:pt x="762000" y="101600"/>
                      </a:cubicBezTo>
                      <a:cubicBezTo>
                        <a:pt x="762000" y="157712"/>
                        <a:pt x="605067" y="203200"/>
                        <a:pt x="411480" y="203200"/>
                      </a:cubicBezTo>
                      <a:cubicBezTo>
                        <a:pt x="363083" y="203200"/>
                        <a:pt x="316977" y="200357"/>
                        <a:pt x="275042" y="195216"/>
                      </a:cubicBezTo>
                      <a:lnTo>
                        <a:pt x="171236" y="174930"/>
                      </a:lnTo>
                      <a:lnTo>
                        <a:pt x="141147" y="195216"/>
                      </a:lnTo>
                      <a:cubicBezTo>
                        <a:pt x="128992" y="200357"/>
                        <a:pt x="115628" y="203200"/>
                        <a:pt x="101600" y="203200"/>
                      </a:cubicBezTo>
                      <a:cubicBezTo>
                        <a:pt x="45488" y="203200"/>
                        <a:pt x="0" y="157712"/>
                        <a:pt x="0" y="101600"/>
                      </a:cubicBezTo>
                      <a:cubicBezTo>
                        <a:pt x="0" y="45488"/>
                        <a:pt x="45488" y="0"/>
                        <a:pt x="1016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84" name="TextBox 6">
              <a:extLst>
                <a:ext uri="{FF2B5EF4-FFF2-40B4-BE49-F238E27FC236}">
                  <a16:creationId xmlns:a16="http://schemas.microsoft.com/office/drawing/2014/main" id="{AC0E34A7-552C-4421-8C91-9E20B7BEF0E9}"/>
                </a:ext>
              </a:extLst>
            </p:cNvPr>
            <p:cNvSpPr txBox="1"/>
            <p:nvPr/>
          </p:nvSpPr>
          <p:spPr>
            <a:xfrm>
              <a:off x="6627653" y="2490899"/>
              <a:ext cx="1647667" cy="1400383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defTabSz="1316736">
                <a:defRPr sz="3200" spc="-150">
                  <a:ln w="5000" cmpd="sng">
                    <a:noFill/>
                    <a:prstDash val="solid"/>
                  </a:ln>
                  <a:solidFill>
                    <a:srgbClr val="404040"/>
                  </a:solidFill>
                  <a:latin typeface="Bahnschrift" panose="020B0502040204020203" pitchFamily="34" charset="0"/>
                </a:defRPr>
              </a:lvl1pPr>
            </a:lstStyle>
            <a:p>
              <a:pPr marL="0" marR="0" lvl="0" indent="0" algn="l" defTabSz="131673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-150" normalizeH="0" baseline="0" noProof="0" dirty="0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MEK¹/² </a:t>
              </a:r>
              <a:r>
                <a:rPr kumimoji="0" lang="en-US" sz="2000" b="0" i="0" u="none" strike="noStrike" kern="1200" cap="none" spc="-150" normalizeH="0" baseline="0" noProof="0" dirty="0" err="1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ão</a:t>
              </a:r>
              <a:r>
                <a:rPr kumimoji="0" lang="en-US" sz="2000" b="0" i="0" u="none" strike="noStrike" kern="1200" cap="none" spc="-150" normalizeH="0" baseline="0" noProof="0" dirty="0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 </a:t>
              </a:r>
              <a:r>
                <a:rPr kumimoji="0" lang="en-US" sz="2000" b="0" i="0" u="none" strike="noStrike" kern="1200" cap="none" spc="-150" normalizeH="0" baseline="0" noProof="0" dirty="0" err="1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ativadas</a:t>
              </a:r>
              <a:r>
                <a:rPr kumimoji="0" lang="en-US" sz="2000" b="0" i="0" u="none" strike="noStrike" kern="1200" cap="none" spc="-150" normalizeH="0" baseline="0" noProof="0" dirty="0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 por  </a:t>
              </a:r>
            </a:p>
            <a:p>
              <a:pPr marL="0" marR="0" lvl="0" indent="0" algn="l" defTabSz="131673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-150" normalizeH="0" baseline="0" noProof="0" dirty="0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BRAF e </a:t>
              </a:r>
              <a:r>
                <a:rPr kumimoji="0" lang="en-US" sz="2000" b="0" i="0" u="none" strike="noStrike" kern="1200" cap="none" spc="-150" normalizeH="0" baseline="0" noProof="0" dirty="0" err="1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enviam</a:t>
              </a:r>
              <a:r>
                <a:rPr kumimoji="0" lang="en-US" sz="2000" b="0" i="0" u="none" strike="noStrike" kern="1200" cap="none" spc="-150" normalizeH="0" baseline="0" noProof="0" dirty="0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 </a:t>
              </a:r>
              <a:r>
                <a:rPr kumimoji="0" lang="en-US" sz="2000" b="0" i="0" u="none" strike="noStrike" kern="1200" cap="none" spc="-150" normalizeH="0" baseline="0" noProof="0" dirty="0" err="1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sinais</a:t>
              </a:r>
              <a:r>
                <a:rPr kumimoji="0" lang="en-US" sz="2000" b="0" i="0" u="none" strike="noStrike" kern="1200" cap="none" spc="-150" normalizeH="0" baseline="0" noProof="0" dirty="0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 para o </a:t>
              </a:r>
              <a:r>
                <a:rPr kumimoji="0" lang="en-US" sz="2000" b="0" i="0" u="none" strike="noStrike" kern="1200" cap="none" spc="-150" normalizeH="0" baseline="0" noProof="0" dirty="0" err="1">
                  <a:ln w="5000" cmpd="sng">
                    <a:noFill/>
                    <a:prstDash val="solid"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núcleo</a:t>
              </a:r>
              <a:endParaRPr kumimoji="0" lang="en-US" sz="20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46622" y="6615795"/>
              <a:ext cx="2118104" cy="1694484"/>
            </a:xfrm>
            <a:prstGeom prst="ellipse">
              <a:avLst/>
            </a:prstGeom>
            <a:ln>
              <a:solidFill>
                <a:srgbClr val="1496D4"/>
              </a:solidFill>
            </a:ln>
          </p:spPr>
        </p:pic>
      </p:grpSp>
      <p:sp>
        <p:nvSpPr>
          <p:cNvPr id="85" name="TextBox 7">
            <a:extLst>
              <a:ext uri="{FF2B5EF4-FFF2-40B4-BE49-F238E27FC236}">
                <a16:creationId xmlns:a16="http://schemas.microsoft.com/office/drawing/2014/main" id="{B4D19C3A-68B1-4D11-B267-F69CD6AE22D5}"/>
              </a:ext>
            </a:extLst>
          </p:cNvPr>
          <p:cNvSpPr txBox="1"/>
          <p:nvPr/>
        </p:nvSpPr>
        <p:spPr>
          <a:xfrm>
            <a:off x="12892381" y="4161641"/>
            <a:ext cx="391820" cy="45858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n-US"/>
            </a:defPPr>
            <a:lvl1pPr defTabSz="1316736">
              <a:lnSpc>
                <a:spcPct val="85000"/>
              </a:lnSpc>
              <a:defRPr sz="2800" spc="-15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150" normalizeH="0" baseline="0" noProof="0" dirty="0">
                <a:ln w="5000" cmpd="sng">
                  <a:noFill/>
                  <a:prstDash val="solid"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40468974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55" grpId="0" animBg="1"/>
      <p:bldP spid="6" grpId="0"/>
      <p:bldP spid="4" grpId="0"/>
      <p:bldP spid="8" grpId="0"/>
      <p:bldP spid="9" grpId="0"/>
      <p:bldP spid="11" grpId="0"/>
      <p:bldP spid="56" grpId="0" animBg="1"/>
      <p:bldP spid="58" grpId="0" animBg="1"/>
      <p:bldP spid="8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360878CF-2540-FDEC-E7DA-3E83CB4824B1}"/>
              </a:ext>
            </a:extLst>
          </p:cNvPr>
          <p:cNvSpPr txBox="1"/>
          <p:nvPr/>
        </p:nvSpPr>
        <p:spPr>
          <a:xfrm>
            <a:off x="9377916" y="9325598"/>
            <a:ext cx="7995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 err="1"/>
              <a:t>Shain</a:t>
            </a:r>
            <a:r>
              <a:rPr lang="pt-BR" dirty="0"/>
              <a:t> H et al. N </a:t>
            </a:r>
            <a:r>
              <a:rPr lang="pt-BR" dirty="0" err="1"/>
              <a:t>Engl</a:t>
            </a:r>
            <a:r>
              <a:rPr lang="pt-BR" dirty="0"/>
              <a:t>  J Med, 2015</a:t>
            </a:r>
          </a:p>
        </p:txBody>
      </p:sp>
      <p:pic>
        <p:nvPicPr>
          <p:cNvPr id="5" name="Imagem 4" descr="Interface gráfica do usuário&#10;&#10;Descrição gerada automaticamente">
            <a:extLst>
              <a:ext uri="{FF2B5EF4-FFF2-40B4-BE49-F238E27FC236}">
                <a16:creationId xmlns:a16="http://schemas.microsoft.com/office/drawing/2014/main" id="{A3D176B4-6664-A351-3A15-D16871BE0D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152" y="1724467"/>
            <a:ext cx="14439013" cy="733410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A9678338-6C9B-1B97-A066-8F0EB684EF83}"/>
              </a:ext>
            </a:extLst>
          </p:cNvPr>
          <p:cNvSpPr txBox="1"/>
          <p:nvPr/>
        </p:nvSpPr>
        <p:spPr>
          <a:xfrm>
            <a:off x="1257152" y="548652"/>
            <a:ext cx="1504344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600" dirty="0"/>
              <a:t>Desenvolvimento molecular do melanoma</a:t>
            </a:r>
          </a:p>
        </p:txBody>
      </p:sp>
    </p:spTree>
    <p:extLst>
      <p:ext uri="{BB962C8B-B14F-4D97-AF65-F5344CB8AC3E}">
        <p14:creationId xmlns:p14="http://schemas.microsoft.com/office/powerpoint/2010/main" val="31693671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tângulo 41">
            <a:extLst>
              <a:ext uri="{FF2B5EF4-FFF2-40B4-BE49-F238E27FC236}">
                <a16:creationId xmlns:a16="http://schemas.microsoft.com/office/drawing/2014/main" id="{684EFA8C-73A8-4DE7-A151-0A4648F0180F}"/>
              </a:ext>
            </a:extLst>
          </p:cNvPr>
          <p:cNvSpPr/>
          <p:nvPr/>
        </p:nvSpPr>
        <p:spPr>
          <a:xfrm>
            <a:off x="1" y="0"/>
            <a:ext cx="8464061" cy="9875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947502" y="5922781"/>
            <a:ext cx="4828563" cy="16681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16553">
              <a:lnSpc>
                <a:spcPct val="80000"/>
              </a:lnSpc>
            </a:pPr>
            <a:r>
              <a:rPr lang="pt-BR" sz="32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  <a:t>Mutações em BRAF ocorrem em quase </a:t>
            </a:r>
            <a:br>
              <a:rPr lang="pt-BR" sz="32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rgbClr val="3B61AC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  <a:t>50% dos pacientes</a:t>
            </a:r>
            <a:r>
              <a:rPr lang="pt-BR" sz="32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  <a:t> </a:t>
            </a:r>
            <a:br>
              <a:rPr lang="pt-BR" sz="32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</a:br>
            <a:r>
              <a:rPr lang="pt-BR" sz="3200" dirty="0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rPr>
              <a:t>com melanoma cutâneo</a:t>
            </a:r>
            <a:endParaRPr lang="en-US" sz="3200" dirty="0">
              <a:solidFill>
                <a:srgbClr val="404040"/>
              </a:solidFill>
              <a:latin typeface="Bahnschrift" panose="020B0502040204020203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/>
        </p:nvGraphicFramePr>
        <p:xfrm>
          <a:off x="-670366" y="1657258"/>
          <a:ext cx="10033487" cy="6299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Rectangle 10"/>
          <p:cNvSpPr/>
          <p:nvPr/>
        </p:nvSpPr>
        <p:spPr>
          <a:xfrm>
            <a:off x="3931108" y="8207875"/>
            <a:ext cx="11705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58277">
              <a:defRPr/>
            </a:pPr>
            <a:r>
              <a:rPr lang="en-US" sz="2400" dirty="0">
                <a:solidFill>
                  <a:srgbClr val="1496D4"/>
                </a:solidFill>
                <a:latin typeface="Bahnschrift" panose="020B0502040204020203" pitchFamily="34" charset="0"/>
              </a:rPr>
              <a:t>(N=317)</a:t>
            </a:r>
          </a:p>
        </p:txBody>
      </p:sp>
      <p:grpSp>
        <p:nvGrpSpPr>
          <p:cNvPr id="66" name="Agrupar 65">
            <a:extLst>
              <a:ext uri="{FF2B5EF4-FFF2-40B4-BE49-F238E27FC236}">
                <a16:creationId xmlns:a16="http://schemas.microsoft.com/office/drawing/2014/main" id="{D5D83DF9-7C7D-4251-AFD4-179627750277}"/>
              </a:ext>
            </a:extLst>
          </p:cNvPr>
          <p:cNvGrpSpPr/>
          <p:nvPr/>
        </p:nvGrpSpPr>
        <p:grpSpPr>
          <a:xfrm>
            <a:off x="1637274" y="2197718"/>
            <a:ext cx="5356441" cy="3553850"/>
            <a:chOff x="1637274" y="2197718"/>
            <a:chExt cx="5356441" cy="3553850"/>
          </a:xfrm>
        </p:grpSpPr>
        <p:sp>
          <p:nvSpPr>
            <p:cNvPr id="12" name="TextBox 11"/>
            <p:cNvSpPr txBox="1"/>
            <p:nvPr/>
          </p:nvSpPr>
          <p:spPr>
            <a:xfrm>
              <a:off x="1637274" y="3405950"/>
              <a:ext cx="1712239" cy="110940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defTabSz="658277">
                <a:lnSpc>
                  <a:spcPct val="85000"/>
                </a:lnSpc>
                <a:defRPr/>
              </a:pPr>
              <a:r>
                <a:rPr lang="en-US" sz="2880" b="1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15% Triple WT</a:t>
              </a:r>
            </a:p>
            <a:p>
              <a:pPr algn="r" defTabSz="658277">
                <a:lnSpc>
                  <a:spcPct val="85000"/>
                </a:lnSpc>
                <a:defRPr/>
              </a:pPr>
              <a:r>
                <a:rPr lang="en-US" sz="2016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(n=46)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998642" y="2197718"/>
              <a:ext cx="2285706" cy="73270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defTabSz="658277">
                <a:lnSpc>
                  <a:spcPct val="85000"/>
                </a:lnSpc>
                <a:defRPr/>
              </a:pPr>
              <a:r>
                <a:rPr lang="en-US" sz="2880" b="1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9% NF1</a:t>
              </a:r>
            </a:p>
            <a:p>
              <a:pPr algn="r" defTabSz="658277">
                <a:lnSpc>
                  <a:spcPct val="85000"/>
                </a:lnSpc>
                <a:defRPr/>
              </a:pPr>
              <a:r>
                <a:rPr lang="en-US" sz="2016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(n=28)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540571" y="5018867"/>
              <a:ext cx="1743777" cy="73270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defTabSz="658277">
                <a:lnSpc>
                  <a:spcPct val="85000"/>
                </a:lnSpc>
                <a:defRPr/>
              </a:pPr>
              <a:r>
                <a:rPr lang="en-US" sz="2880" b="1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29% RAS</a:t>
              </a:r>
            </a:p>
            <a:p>
              <a:pPr algn="r" defTabSz="658277">
                <a:lnSpc>
                  <a:spcPct val="85000"/>
                </a:lnSpc>
                <a:defRPr/>
              </a:pPr>
              <a:r>
                <a:rPr lang="en-US" sz="2016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(n=93)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023074" y="3732053"/>
              <a:ext cx="1970641" cy="192360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658277">
                <a:lnSpc>
                  <a:spcPct val="85000"/>
                </a:lnSpc>
                <a:defRPr/>
              </a:pPr>
              <a:r>
                <a:rPr lang="en-US" sz="5400" b="1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47% BRAF</a:t>
              </a:r>
            </a:p>
            <a:p>
              <a:pPr defTabSz="658277">
                <a:lnSpc>
                  <a:spcPct val="85000"/>
                </a:lnSpc>
                <a:defRPr/>
              </a:pPr>
              <a:r>
                <a:rPr lang="en-US" sz="3200" dirty="0">
                  <a:solidFill>
                    <a:schemeClr val="bg1"/>
                  </a:solidFill>
                  <a:latin typeface="Bahnschrift" panose="020B0502040204020203" pitchFamily="34" charset="0"/>
                </a:rPr>
                <a:t>(n=150)</a:t>
              </a:r>
            </a:p>
          </p:txBody>
        </p:sp>
      </p:grpSp>
      <p:sp>
        <p:nvSpPr>
          <p:cNvPr id="20" name="Text Placeholder 5"/>
          <p:cNvSpPr txBox="1">
            <a:spLocks/>
          </p:cNvSpPr>
          <p:nvPr/>
        </p:nvSpPr>
        <p:spPr>
          <a:xfrm>
            <a:off x="879548" y="9015773"/>
            <a:ext cx="4363011" cy="606323"/>
          </a:xfrm>
          <a:prstGeom prst="rect">
            <a:avLst/>
          </a:prstGeom>
        </p:spPr>
        <p:txBody>
          <a:bodyPr vert="horz" lIns="131657" tIns="65828" rIns="131657" bIns="65828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.LucidaGrandeUI" charset="0"/>
              <a:buChar char="●"/>
              <a:defRPr sz="18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90563" indent="-2825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STIXGeneral-Regular" charset="0"/>
              <a:buChar char="⏤"/>
              <a:tabLst/>
              <a:defRPr sz="14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30288" indent="-1158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/>
              <a:defRPr sz="12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95425" indent="-238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STIXGeneral-Regular" charset="0"/>
              <a:buChar char="⏤"/>
              <a:tabLst/>
              <a:defRPr sz="11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79588" indent="-101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/>
              <a:defRPr sz="1100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16553">
              <a:spcBef>
                <a:spcPts val="0"/>
              </a:spcBef>
              <a:buClr>
                <a:srgbClr val="ED7D31"/>
              </a:buClr>
              <a:buNone/>
              <a:defRPr/>
            </a:pPr>
            <a:r>
              <a:rPr lang="en-US" sz="1200" dirty="0">
                <a:solidFill>
                  <a:srgbClr val="404040"/>
                </a:solidFill>
                <a:latin typeface="Bahnschrift" panose="020B0502040204020203" pitchFamily="34" charset="0"/>
              </a:rPr>
              <a:t>NF1, neurofibromatosis type 1; WT, wild-type.</a:t>
            </a:r>
          </a:p>
          <a:p>
            <a:pPr marL="0" indent="0" defTabSz="1316553">
              <a:spcBef>
                <a:spcPts val="0"/>
              </a:spcBef>
              <a:buClr>
                <a:srgbClr val="ED7D31"/>
              </a:buClr>
              <a:buNone/>
              <a:defRPr/>
            </a:pPr>
            <a:r>
              <a:rPr lang="en-US" sz="1200" dirty="0">
                <a:solidFill>
                  <a:srgbClr val="404040"/>
                </a:solidFill>
                <a:latin typeface="Bahnschrift" panose="020B0502040204020203" pitchFamily="34" charset="0"/>
              </a:rPr>
              <a:t>Cancer Genome Atlas Network. </a:t>
            </a:r>
            <a:r>
              <a:rPr lang="en-US" sz="1200" i="1" dirty="0">
                <a:solidFill>
                  <a:srgbClr val="404040"/>
                </a:solidFill>
                <a:latin typeface="Bahnschrift" panose="020B0502040204020203" pitchFamily="34" charset="0"/>
              </a:rPr>
              <a:t>Cell</a:t>
            </a:r>
            <a:r>
              <a:rPr lang="en-US" sz="1200" dirty="0">
                <a:solidFill>
                  <a:srgbClr val="404040"/>
                </a:solidFill>
                <a:latin typeface="Bahnschrift" panose="020B0502040204020203" pitchFamily="34" charset="0"/>
              </a:rPr>
              <a:t>. 2015;161(7):1681-1696</a:t>
            </a:r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DDF9FCCF-E68B-4157-A597-D3DCA485B7AB}"/>
              </a:ext>
            </a:extLst>
          </p:cNvPr>
          <p:cNvSpPr txBox="1">
            <a:spLocks/>
          </p:cNvSpPr>
          <p:nvPr/>
        </p:nvSpPr>
        <p:spPr>
          <a:xfrm>
            <a:off x="8947502" y="3101632"/>
            <a:ext cx="5916383" cy="275152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defTabSz="1316553">
              <a:lnSpc>
                <a:spcPct val="80000"/>
              </a:lnSpc>
              <a:spcBef>
                <a:spcPts val="0"/>
              </a:spcBef>
              <a:buNone/>
              <a:defRPr sz="4400" b="1">
                <a:solidFill>
                  <a:srgbClr val="404040"/>
                </a:solidFill>
                <a:latin typeface="Bahnschrift" panose="020B0502040204020203" pitchFamily="34" charset="0"/>
                <a:ea typeface="Verdana" panose="020B0604030504040204" pitchFamily="34" charset="0"/>
              </a:defRPr>
            </a:lvl1pPr>
          </a:lstStyle>
          <a:p>
            <a:r>
              <a:rPr lang="pt-BR" sz="5400" dirty="0"/>
              <a:t>AS MUTAÇÕES BRAF SÃO </a:t>
            </a:r>
            <a:br>
              <a:rPr lang="pt-BR" sz="5400" dirty="0"/>
            </a:br>
            <a:r>
              <a:rPr lang="pt-BR" sz="5400" dirty="0"/>
              <a:t>O MAIOR SUBTIPO GENÔMICO</a:t>
            </a: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1D944C51-01C9-433D-B97F-803E9F20D983}"/>
              </a:ext>
            </a:extLst>
          </p:cNvPr>
          <p:cNvSpPr/>
          <p:nvPr/>
        </p:nvSpPr>
        <p:spPr>
          <a:xfrm>
            <a:off x="1103171" y="1577732"/>
            <a:ext cx="6455098" cy="6455098"/>
          </a:xfrm>
          <a:prstGeom prst="ellipse">
            <a:avLst/>
          </a:prstGeom>
          <a:noFill/>
          <a:ln>
            <a:solidFill>
              <a:srgbClr val="1496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1D60DC7A-F645-4173-B8AB-32DB0D45D405}"/>
              </a:ext>
            </a:extLst>
          </p:cNvPr>
          <p:cNvGrpSpPr/>
          <p:nvPr/>
        </p:nvGrpSpPr>
        <p:grpSpPr>
          <a:xfrm flipH="1">
            <a:off x="5101621" y="8445693"/>
            <a:ext cx="12454365" cy="0"/>
            <a:chOff x="-1810462" y="7998495"/>
            <a:chExt cx="12454365" cy="0"/>
          </a:xfrm>
        </p:grpSpPr>
        <p:cxnSp>
          <p:nvCxnSpPr>
            <p:cNvPr id="46" name="Conector reto 45">
              <a:extLst>
                <a:ext uri="{FF2B5EF4-FFF2-40B4-BE49-F238E27FC236}">
                  <a16:creationId xmlns:a16="http://schemas.microsoft.com/office/drawing/2014/main" id="{3369DE6E-422A-4D48-AA39-0351E43A7A5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810462" y="7998495"/>
              <a:ext cx="2443508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to 46">
              <a:extLst>
                <a:ext uri="{FF2B5EF4-FFF2-40B4-BE49-F238E27FC236}">
                  <a16:creationId xmlns:a16="http://schemas.microsoft.com/office/drawing/2014/main" id="{7BC97045-75BE-4F51-9A06-18270DDEAF9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3047" y="7998495"/>
              <a:ext cx="10010856" cy="0"/>
            </a:xfrm>
            <a:prstGeom prst="line">
              <a:avLst/>
            </a:prstGeom>
            <a:ln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Agrupar 47">
            <a:extLst>
              <a:ext uri="{FF2B5EF4-FFF2-40B4-BE49-F238E27FC236}">
                <a16:creationId xmlns:a16="http://schemas.microsoft.com/office/drawing/2014/main" id="{2380EDA2-7275-428B-BA9B-6D037F2283B9}"/>
              </a:ext>
            </a:extLst>
          </p:cNvPr>
          <p:cNvGrpSpPr/>
          <p:nvPr/>
        </p:nvGrpSpPr>
        <p:grpSpPr>
          <a:xfrm>
            <a:off x="9047176" y="1900068"/>
            <a:ext cx="980744" cy="1016759"/>
            <a:chOff x="18724519" y="2693129"/>
            <a:chExt cx="561976" cy="582613"/>
          </a:xfrm>
        </p:grpSpPr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CF9AE13F-AECF-4926-AFF3-0138FE143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88057" y="2945541"/>
              <a:ext cx="69850" cy="71438"/>
            </a:xfrm>
            <a:custGeom>
              <a:avLst/>
              <a:gdLst>
                <a:gd name="T0" fmla="*/ 24 w 44"/>
                <a:gd name="T1" fmla="*/ 0 h 45"/>
                <a:gd name="T2" fmla="*/ 44 w 44"/>
                <a:gd name="T3" fmla="*/ 20 h 45"/>
                <a:gd name="T4" fmla="*/ 20 w 44"/>
                <a:gd name="T5" fmla="*/ 45 h 45"/>
                <a:gd name="T6" fmla="*/ 0 w 44"/>
                <a:gd name="T7" fmla="*/ 2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45">
                  <a:moveTo>
                    <a:pt x="24" y="0"/>
                  </a:moveTo>
                  <a:lnTo>
                    <a:pt x="44" y="20"/>
                  </a:lnTo>
                  <a:lnTo>
                    <a:pt x="20" y="45"/>
                  </a:lnTo>
                  <a:lnTo>
                    <a:pt x="0" y="25"/>
                  </a:lnTo>
                </a:path>
              </a:pathLst>
            </a:custGeom>
            <a:noFill/>
            <a:ln w="38100" cap="rnd">
              <a:solidFill>
                <a:srgbClr val="3B61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E00ABDED-EEAD-49CF-A610-E9697F9EA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18207" y="2874104"/>
              <a:ext cx="139700" cy="142875"/>
            </a:xfrm>
            <a:custGeom>
              <a:avLst/>
              <a:gdLst>
                <a:gd name="T0" fmla="*/ 0 w 88"/>
                <a:gd name="T1" fmla="*/ 65 h 90"/>
                <a:gd name="T2" fmla="*/ 64 w 88"/>
                <a:gd name="T3" fmla="*/ 0 h 90"/>
                <a:gd name="T4" fmla="*/ 88 w 88"/>
                <a:gd name="T5" fmla="*/ 25 h 90"/>
                <a:gd name="T6" fmla="*/ 24 w 88"/>
                <a:gd name="T7" fmla="*/ 90 h 90"/>
                <a:gd name="T8" fmla="*/ 0 w 88"/>
                <a:gd name="T9" fmla="*/ 6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90">
                  <a:moveTo>
                    <a:pt x="0" y="65"/>
                  </a:moveTo>
                  <a:lnTo>
                    <a:pt x="64" y="0"/>
                  </a:lnTo>
                  <a:lnTo>
                    <a:pt x="88" y="25"/>
                  </a:lnTo>
                  <a:lnTo>
                    <a:pt x="24" y="90"/>
                  </a:lnTo>
                  <a:lnTo>
                    <a:pt x="0" y="65"/>
                  </a:lnTo>
                  <a:close/>
                </a:path>
              </a:pathLst>
            </a:custGeom>
            <a:noFill/>
            <a:ln w="38100" cap="rnd">
              <a:solidFill>
                <a:srgbClr val="3B61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1" name="Line 63">
              <a:extLst>
                <a:ext uri="{FF2B5EF4-FFF2-40B4-BE49-F238E27FC236}">
                  <a16:creationId xmlns:a16="http://schemas.microsoft.com/office/drawing/2014/main" id="{7C05FBCE-D536-4F3F-B627-B44BB3FA68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056307" y="3067779"/>
              <a:ext cx="165100" cy="0"/>
            </a:xfrm>
            <a:prstGeom prst="line">
              <a:avLst/>
            </a:prstGeom>
            <a:noFill/>
            <a:ln w="38100" cap="flat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2" name="Oval 64">
              <a:extLst>
                <a:ext uri="{FF2B5EF4-FFF2-40B4-BE49-F238E27FC236}">
                  <a16:creationId xmlns:a16="http://schemas.microsoft.com/office/drawing/2014/main" id="{DF11FBEF-C83B-48C5-84B5-B61274BD8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15019" y="2836004"/>
              <a:ext cx="103188" cy="103188"/>
            </a:xfrm>
            <a:prstGeom prst="ellipse">
              <a:avLst/>
            </a:prstGeom>
            <a:noFill/>
            <a:ln w="38100" cap="rnd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3" name="Freeform 65">
              <a:extLst>
                <a:ext uri="{FF2B5EF4-FFF2-40B4-BE49-F238E27FC236}">
                  <a16:creationId xmlns:a16="http://schemas.microsoft.com/office/drawing/2014/main" id="{2561CCBD-9A8F-4C1F-8E8B-3F0C603A2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1519" y="3210654"/>
              <a:ext cx="306388" cy="65088"/>
            </a:xfrm>
            <a:custGeom>
              <a:avLst/>
              <a:gdLst>
                <a:gd name="T0" fmla="*/ 0 w 96"/>
                <a:gd name="T1" fmla="*/ 20 h 20"/>
                <a:gd name="T2" fmla="*/ 0 w 96"/>
                <a:gd name="T3" fmla="*/ 16 h 20"/>
                <a:gd name="T4" fmla="*/ 20 w 96"/>
                <a:gd name="T5" fmla="*/ 0 h 20"/>
                <a:gd name="T6" fmla="*/ 48 w 96"/>
                <a:gd name="T7" fmla="*/ 0 h 20"/>
                <a:gd name="T8" fmla="*/ 76 w 96"/>
                <a:gd name="T9" fmla="*/ 0 h 20"/>
                <a:gd name="T10" fmla="*/ 96 w 96"/>
                <a:gd name="T11" fmla="*/ 16 h 20"/>
                <a:gd name="T12" fmla="*/ 96 w 96"/>
                <a:gd name="T13" fmla="*/ 20 h 20"/>
                <a:gd name="T14" fmla="*/ 0 w 9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20">
                  <a:moveTo>
                    <a:pt x="0" y="2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5"/>
                    <a:pt x="9" y="0"/>
                    <a:pt x="2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87" y="0"/>
                    <a:pt x="96" y="5"/>
                    <a:pt x="96" y="16"/>
                  </a:cubicBezTo>
                  <a:cubicBezTo>
                    <a:pt x="96" y="20"/>
                    <a:pt x="96" y="20"/>
                    <a:pt x="96" y="20"/>
                  </a:cubicBezTo>
                  <a:lnTo>
                    <a:pt x="0" y="20"/>
                  </a:lnTo>
                  <a:close/>
                </a:path>
              </a:pathLst>
            </a:custGeom>
            <a:noFill/>
            <a:ln w="38100" cap="rnd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4" name="Line 66">
              <a:extLst>
                <a:ext uri="{FF2B5EF4-FFF2-40B4-BE49-F238E27FC236}">
                  <a16:creationId xmlns:a16="http://schemas.microsoft.com/office/drawing/2014/main" id="{311AFE7F-D28D-45D7-A155-D3AC335B4B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995982" y="2929666"/>
              <a:ext cx="34925" cy="34925"/>
            </a:xfrm>
            <a:prstGeom prst="line">
              <a:avLst/>
            </a:prstGeom>
            <a:noFill/>
            <a:ln w="38100" cap="rnd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5" name="Freeform 67">
              <a:extLst>
                <a:ext uri="{FF2B5EF4-FFF2-40B4-BE49-F238E27FC236}">
                  <a16:creationId xmlns:a16="http://schemas.microsoft.com/office/drawing/2014/main" id="{A2D399A4-3A74-4776-B87E-300F6FF1E1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1519" y="2713766"/>
              <a:ext cx="249238" cy="180975"/>
            </a:xfrm>
            <a:custGeom>
              <a:avLst/>
              <a:gdLst>
                <a:gd name="T0" fmla="*/ 78 w 78"/>
                <a:gd name="T1" fmla="*/ 56 h 56"/>
                <a:gd name="T2" fmla="*/ 25 w 78"/>
                <a:gd name="T3" fmla="*/ 3 h 56"/>
                <a:gd name="T4" fmla="*/ 13 w 78"/>
                <a:gd name="T5" fmla="*/ 3 h 56"/>
                <a:gd name="T6" fmla="*/ 3 w 78"/>
                <a:gd name="T7" fmla="*/ 13 h 56"/>
                <a:gd name="T8" fmla="*/ 3 w 78"/>
                <a:gd name="T9" fmla="*/ 25 h 56"/>
                <a:gd name="T10" fmla="*/ 23 w 78"/>
                <a:gd name="T11" fmla="*/ 4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" h="56">
                  <a:moveTo>
                    <a:pt x="78" y="56"/>
                  </a:moveTo>
                  <a:cubicBezTo>
                    <a:pt x="25" y="3"/>
                    <a:pt x="25" y="3"/>
                    <a:pt x="25" y="3"/>
                  </a:cubicBezTo>
                  <a:cubicBezTo>
                    <a:pt x="22" y="0"/>
                    <a:pt x="17" y="0"/>
                    <a:pt x="13" y="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23" y="45"/>
                    <a:pt x="23" y="45"/>
                    <a:pt x="23" y="45"/>
                  </a:cubicBezTo>
                </a:path>
              </a:pathLst>
            </a:custGeom>
            <a:noFill/>
            <a:ln w="38100" cap="rnd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6" name="Freeform 68">
              <a:extLst>
                <a:ext uri="{FF2B5EF4-FFF2-40B4-BE49-F238E27FC236}">
                  <a16:creationId xmlns:a16="http://schemas.microsoft.com/office/drawing/2014/main" id="{79B97C74-3738-4DBC-B42A-3C9DFB50C3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26119" y="2877279"/>
              <a:ext cx="350838" cy="333375"/>
            </a:xfrm>
            <a:custGeom>
              <a:avLst/>
              <a:gdLst>
                <a:gd name="T0" fmla="*/ 110 w 110"/>
                <a:gd name="T1" fmla="*/ 62 h 103"/>
                <a:gd name="T2" fmla="*/ 56 w 110"/>
                <a:gd name="T3" fmla="*/ 103 h 103"/>
                <a:gd name="T4" fmla="*/ 0 w 110"/>
                <a:gd name="T5" fmla="*/ 47 h 103"/>
                <a:gd name="T6" fmla="*/ 28 w 110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103">
                  <a:moveTo>
                    <a:pt x="110" y="62"/>
                  </a:moveTo>
                  <a:cubicBezTo>
                    <a:pt x="103" y="86"/>
                    <a:pt x="81" y="103"/>
                    <a:pt x="56" y="103"/>
                  </a:cubicBezTo>
                  <a:cubicBezTo>
                    <a:pt x="25" y="103"/>
                    <a:pt x="0" y="78"/>
                    <a:pt x="0" y="47"/>
                  </a:cubicBezTo>
                  <a:cubicBezTo>
                    <a:pt x="0" y="27"/>
                    <a:pt x="12" y="10"/>
                    <a:pt x="28" y="0"/>
                  </a:cubicBezTo>
                </a:path>
              </a:pathLst>
            </a:custGeom>
            <a:noFill/>
            <a:ln w="38100" cap="rnd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7" name="Freeform 69">
              <a:extLst>
                <a:ext uri="{FF2B5EF4-FFF2-40B4-BE49-F238E27FC236}">
                  <a16:creationId xmlns:a16="http://schemas.microsoft.com/office/drawing/2014/main" id="{72D07D3F-CB72-41F9-9016-F1E6CE66D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89619" y="2936016"/>
              <a:ext cx="217488" cy="209550"/>
            </a:xfrm>
            <a:custGeom>
              <a:avLst/>
              <a:gdLst>
                <a:gd name="T0" fmla="*/ 17 w 68"/>
                <a:gd name="T1" fmla="*/ 0 h 65"/>
                <a:gd name="T2" fmla="*/ 0 w 68"/>
                <a:gd name="T3" fmla="*/ 29 h 65"/>
                <a:gd name="T4" fmla="*/ 36 w 68"/>
                <a:gd name="T5" fmla="*/ 65 h 65"/>
                <a:gd name="T6" fmla="*/ 68 w 68"/>
                <a:gd name="T7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65">
                  <a:moveTo>
                    <a:pt x="17" y="0"/>
                  </a:moveTo>
                  <a:cubicBezTo>
                    <a:pt x="7" y="6"/>
                    <a:pt x="0" y="16"/>
                    <a:pt x="0" y="29"/>
                  </a:cubicBezTo>
                  <a:cubicBezTo>
                    <a:pt x="0" y="49"/>
                    <a:pt x="16" y="65"/>
                    <a:pt x="36" y="65"/>
                  </a:cubicBezTo>
                  <a:cubicBezTo>
                    <a:pt x="50" y="65"/>
                    <a:pt x="63" y="56"/>
                    <a:pt x="68" y="44"/>
                  </a:cubicBezTo>
                </a:path>
              </a:pathLst>
            </a:custGeom>
            <a:noFill/>
            <a:ln w="38100" cap="rnd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8" name="Freeform 70">
              <a:extLst>
                <a:ext uri="{FF2B5EF4-FFF2-40B4-BE49-F238E27FC236}">
                  <a16:creationId xmlns:a16="http://schemas.microsoft.com/office/drawing/2014/main" id="{F2E92B71-862F-4B02-B11B-71E36F9EE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26119" y="2693129"/>
              <a:ext cx="66675" cy="71438"/>
            </a:xfrm>
            <a:custGeom>
              <a:avLst/>
              <a:gdLst>
                <a:gd name="T0" fmla="*/ 20 w 42"/>
                <a:gd name="T1" fmla="*/ 45 h 45"/>
                <a:gd name="T2" fmla="*/ 0 w 42"/>
                <a:gd name="T3" fmla="*/ 25 h 45"/>
                <a:gd name="T4" fmla="*/ 24 w 42"/>
                <a:gd name="T5" fmla="*/ 0 h 45"/>
                <a:gd name="T6" fmla="*/ 42 w 42"/>
                <a:gd name="T7" fmla="*/ 1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5">
                  <a:moveTo>
                    <a:pt x="20" y="45"/>
                  </a:moveTo>
                  <a:lnTo>
                    <a:pt x="0" y="25"/>
                  </a:lnTo>
                  <a:lnTo>
                    <a:pt x="24" y="0"/>
                  </a:lnTo>
                  <a:lnTo>
                    <a:pt x="42" y="19"/>
                  </a:lnTo>
                </a:path>
              </a:pathLst>
            </a:custGeom>
            <a:noFill/>
            <a:ln w="38100" cap="rnd">
              <a:solidFill>
                <a:srgbClr val="3B61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9" name="Line 71">
              <a:extLst>
                <a:ext uri="{FF2B5EF4-FFF2-40B4-BE49-F238E27FC236}">
                  <a16:creationId xmlns:a16="http://schemas.microsoft.com/office/drawing/2014/main" id="{C6F876D5-51C8-4B5B-B298-417CA02E2F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13419" y="3275741"/>
              <a:ext cx="38100" cy="0"/>
            </a:xfrm>
            <a:prstGeom prst="line">
              <a:avLst/>
            </a:prstGeom>
            <a:noFill/>
            <a:ln w="38100" cap="rnd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0" name="Line 72">
              <a:extLst>
                <a:ext uri="{FF2B5EF4-FFF2-40B4-BE49-F238E27FC236}">
                  <a16:creationId xmlns:a16="http://schemas.microsoft.com/office/drawing/2014/main" id="{1D0F55C6-5FF6-4B86-8DAF-3AF9000000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57907" y="3275741"/>
              <a:ext cx="38100" cy="0"/>
            </a:xfrm>
            <a:prstGeom prst="line">
              <a:avLst/>
            </a:prstGeom>
            <a:noFill/>
            <a:ln w="38100" cap="rnd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1" name="Freeform 73">
              <a:extLst>
                <a:ext uri="{FF2B5EF4-FFF2-40B4-BE49-F238E27FC236}">
                  <a16:creationId xmlns:a16="http://schemas.microsoft.com/office/drawing/2014/main" id="{6E7A3FEB-8FD5-44CF-9366-5818BF6AE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1407" y="2836004"/>
              <a:ext cx="65088" cy="65088"/>
            </a:xfrm>
            <a:custGeom>
              <a:avLst/>
              <a:gdLst>
                <a:gd name="T0" fmla="*/ 41 w 41"/>
                <a:gd name="T1" fmla="*/ 41 h 41"/>
                <a:gd name="T2" fmla="*/ 41 w 41"/>
                <a:gd name="T3" fmla="*/ 0 h 41"/>
                <a:gd name="T4" fmla="*/ 0 w 41"/>
                <a:gd name="T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41">
                  <a:moveTo>
                    <a:pt x="41" y="41"/>
                  </a:moveTo>
                  <a:lnTo>
                    <a:pt x="41" y="0"/>
                  </a:lnTo>
                  <a:lnTo>
                    <a:pt x="0" y="0"/>
                  </a:lnTo>
                </a:path>
              </a:pathLst>
            </a:custGeom>
            <a:noFill/>
            <a:ln w="38100" cap="flat">
              <a:solidFill>
                <a:srgbClr val="3B61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2" name="Freeform 74">
              <a:extLst>
                <a:ext uri="{FF2B5EF4-FFF2-40B4-BE49-F238E27FC236}">
                  <a16:creationId xmlns:a16="http://schemas.microsoft.com/office/drawing/2014/main" id="{1493CCA1-C062-4858-A456-0A4487E4F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21407" y="3094766"/>
              <a:ext cx="65088" cy="63500"/>
            </a:xfrm>
            <a:custGeom>
              <a:avLst/>
              <a:gdLst>
                <a:gd name="T0" fmla="*/ 41 w 41"/>
                <a:gd name="T1" fmla="*/ 0 h 40"/>
                <a:gd name="T2" fmla="*/ 41 w 41"/>
                <a:gd name="T3" fmla="*/ 40 h 40"/>
                <a:gd name="T4" fmla="*/ 0 w 41"/>
                <a:gd name="T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40">
                  <a:moveTo>
                    <a:pt x="41" y="0"/>
                  </a:moveTo>
                  <a:lnTo>
                    <a:pt x="41" y="40"/>
                  </a:lnTo>
                  <a:lnTo>
                    <a:pt x="0" y="40"/>
                  </a:lnTo>
                </a:path>
              </a:pathLst>
            </a:custGeom>
            <a:noFill/>
            <a:ln w="38100" cap="flat">
              <a:solidFill>
                <a:srgbClr val="3B61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3" name="Freeform 75">
              <a:extLst>
                <a:ext uri="{FF2B5EF4-FFF2-40B4-BE49-F238E27FC236}">
                  <a16:creationId xmlns:a16="http://schemas.microsoft.com/office/drawing/2014/main" id="{13D0A229-CA73-4A1D-B2D1-68FAC7A12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24519" y="2836004"/>
              <a:ext cx="63500" cy="65088"/>
            </a:xfrm>
            <a:custGeom>
              <a:avLst/>
              <a:gdLst>
                <a:gd name="T0" fmla="*/ 0 w 40"/>
                <a:gd name="T1" fmla="*/ 41 h 41"/>
                <a:gd name="T2" fmla="*/ 0 w 40"/>
                <a:gd name="T3" fmla="*/ 0 h 41"/>
                <a:gd name="T4" fmla="*/ 40 w 40"/>
                <a:gd name="T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41">
                  <a:moveTo>
                    <a:pt x="0" y="41"/>
                  </a:moveTo>
                  <a:lnTo>
                    <a:pt x="0" y="0"/>
                  </a:lnTo>
                  <a:lnTo>
                    <a:pt x="40" y="0"/>
                  </a:lnTo>
                </a:path>
              </a:pathLst>
            </a:custGeom>
            <a:noFill/>
            <a:ln w="38100" cap="flat">
              <a:solidFill>
                <a:srgbClr val="3B61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Freeform 76">
              <a:extLst>
                <a:ext uri="{FF2B5EF4-FFF2-40B4-BE49-F238E27FC236}">
                  <a16:creationId xmlns:a16="http://schemas.microsoft.com/office/drawing/2014/main" id="{7B807B1F-1041-4786-9C7A-9D18A9052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24519" y="3094766"/>
              <a:ext cx="63500" cy="63500"/>
            </a:xfrm>
            <a:custGeom>
              <a:avLst/>
              <a:gdLst>
                <a:gd name="T0" fmla="*/ 0 w 40"/>
                <a:gd name="T1" fmla="*/ 0 h 40"/>
                <a:gd name="T2" fmla="*/ 0 w 40"/>
                <a:gd name="T3" fmla="*/ 40 h 40"/>
                <a:gd name="T4" fmla="*/ 40 w 40"/>
                <a:gd name="T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40">
                  <a:moveTo>
                    <a:pt x="0" y="0"/>
                  </a:moveTo>
                  <a:lnTo>
                    <a:pt x="0" y="40"/>
                  </a:lnTo>
                  <a:lnTo>
                    <a:pt x="40" y="40"/>
                  </a:lnTo>
                </a:path>
              </a:pathLst>
            </a:custGeom>
            <a:noFill/>
            <a:ln w="38100" cap="flat">
              <a:solidFill>
                <a:srgbClr val="3B61A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65" name="Elipse 64">
            <a:extLst>
              <a:ext uri="{FF2B5EF4-FFF2-40B4-BE49-F238E27FC236}">
                <a16:creationId xmlns:a16="http://schemas.microsoft.com/office/drawing/2014/main" id="{6C8AC2C3-7436-4295-922A-20F684383999}"/>
              </a:ext>
            </a:extLst>
          </p:cNvPr>
          <p:cNvSpPr/>
          <p:nvPr/>
        </p:nvSpPr>
        <p:spPr>
          <a:xfrm>
            <a:off x="995720" y="1470281"/>
            <a:ext cx="6670000" cy="6670000"/>
          </a:xfrm>
          <a:prstGeom prst="ellipse">
            <a:avLst/>
          </a:prstGeom>
          <a:noFill/>
          <a:ln w="38100">
            <a:solidFill>
              <a:srgbClr val="1496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20224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7" grpId="0"/>
      <p:bldGraphic spid="9" grpId="0">
        <p:bldAsOne/>
      </p:bldGraphic>
      <p:bldP spid="11" grpId="0"/>
      <p:bldP spid="5" grpId="0"/>
      <p:bldP spid="3" grpId="0" animBg="1"/>
      <p:bldP spid="6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tângulo 29">
            <a:extLst>
              <a:ext uri="{FF2B5EF4-FFF2-40B4-BE49-F238E27FC236}">
                <a16:creationId xmlns:a16="http://schemas.microsoft.com/office/drawing/2014/main" id="{34E8A77D-93D0-4DFA-8043-B28D91201988}"/>
              </a:ext>
            </a:extLst>
          </p:cNvPr>
          <p:cNvSpPr/>
          <p:nvPr/>
        </p:nvSpPr>
        <p:spPr>
          <a:xfrm>
            <a:off x="9706708" y="0"/>
            <a:ext cx="1815903" cy="9874250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93000">
                <a:srgbClr val="9851A0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96938FBB-A909-4EA7-AD13-BF2A220358B4}"/>
              </a:ext>
            </a:extLst>
          </p:cNvPr>
          <p:cNvSpPr/>
          <p:nvPr/>
        </p:nvSpPr>
        <p:spPr>
          <a:xfrm>
            <a:off x="11512063" y="0"/>
            <a:ext cx="6045688" cy="9875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AECA8C62-8434-4A66-AF4C-E3D7D4FBBCD8}"/>
              </a:ext>
            </a:extLst>
          </p:cNvPr>
          <p:cNvGrpSpPr/>
          <p:nvPr/>
        </p:nvGrpSpPr>
        <p:grpSpPr>
          <a:xfrm>
            <a:off x="883081" y="1512145"/>
            <a:ext cx="8551296" cy="6817687"/>
            <a:chOff x="4942782" y="2023273"/>
            <a:chExt cx="8551296" cy="6817687"/>
          </a:xfrm>
        </p:grpSpPr>
        <p:pic>
          <p:nvPicPr>
            <p:cNvPr id="101378" name="Picture 2"/>
            <p:cNvPicPr>
              <a:picLocks noChangeAspect="1"/>
            </p:cNvPicPr>
            <p:nvPr/>
          </p:nvPicPr>
          <p:blipFill rotWithShape="1"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563"/>
            <a:stretch/>
          </p:blipFill>
          <p:spPr bwMode="auto">
            <a:xfrm>
              <a:off x="4942782" y="2023273"/>
              <a:ext cx="7562604" cy="681768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2"/>
            <p:cNvPicPr>
              <a:picLocks noChangeAspect="1"/>
            </p:cNvPicPr>
            <p:nvPr/>
          </p:nvPicPr>
          <p:blipFill rotWithShape="1"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8304" t="19447" r="-3466" b="15975"/>
            <a:stretch/>
          </p:blipFill>
          <p:spPr bwMode="auto">
            <a:xfrm>
              <a:off x="11784583" y="3916875"/>
              <a:ext cx="1709495" cy="29442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1377" name="Title 1"/>
          <p:cNvSpPr>
            <a:spLocks noGrp="1"/>
          </p:cNvSpPr>
          <p:nvPr>
            <p:ph type="title" idx="4294967295"/>
          </p:nvPr>
        </p:nvSpPr>
        <p:spPr>
          <a:xfrm>
            <a:off x="11942026" y="3513033"/>
            <a:ext cx="4819650" cy="3249613"/>
          </a:xfrm>
          <a:noFill/>
        </p:spPr>
        <p:txBody>
          <a:bodyPr wrap="square">
            <a:spAutoFit/>
          </a:bodyPr>
          <a:lstStyle/>
          <a:p>
            <a:pPr defTabSz="1316736">
              <a:lnSpc>
                <a:spcPct val="85000"/>
              </a:lnSpc>
              <a:spcBef>
                <a:spcPts val="0"/>
              </a:spcBef>
            </a:pPr>
            <a:r>
              <a:rPr lang="en-US" sz="6000" b="1" spc="-5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STATUS</a:t>
            </a:r>
            <a:r>
              <a:rPr lang="en-US" sz="6000" b="1" spc="-500" dirty="0">
                <a:ln w="5000" cmpd="sng">
                  <a:noFill/>
                  <a:prstDash val="solid"/>
                </a:ln>
                <a:solidFill>
                  <a:srgbClr val="3B61AC"/>
                </a:solidFill>
                <a:latin typeface="Bahnschrift" panose="020B0502040204020203" pitchFamily="34" charset="0"/>
                <a:ea typeface="+mn-ea"/>
                <a:cs typeface="+mn-cs"/>
              </a:rPr>
              <a:t> MUTACIONAL </a:t>
            </a:r>
            <a:br>
              <a:rPr lang="en-US" sz="6000" b="1" spc="-500" dirty="0">
                <a:ln w="5000" cmpd="sng">
                  <a:noFill/>
                  <a:prstDash val="solid"/>
                </a:ln>
                <a:solidFill>
                  <a:srgbClr val="3B61AC"/>
                </a:solidFill>
                <a:latin typeface="Bahnschrift" panose="020B0502040204020203" pitchFamily="34" charset="0"/>
                <a:ea typeface="+mn-ea"/>
                <a:cs typeface="+mn-cs"/>
              </a:rPr>
            </a:br>
            <a:r>
              <a:rPr lang="en-US" sz="6000" b="1" spc="-5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E  SUBTIPOS</a:t>
            </a:r>
            <a:r>
              <a:rPr lang="en-US" sz="6000" b="1" spc="-500" dirty="0">
                <a:ln w="5000" cmpd="sng">
                  <a:noFill/>
                  <a:prstDash val="solid"/>
                </a:ln>
                <a:solidFill>
                  <a:srgbClr val="3B61AC"/>
                </a:solidFill>
                <a:latin typeface="Bahnschrift" panose="020B0502040204020203" pitchFamily="34" charset="0"/>
                <a:ea typeface="+mn-ea"/>
                <a:cs typeface="+mn-cs"/>
              </a:rPr>
              <a:t> HISTOLÓGICOS </a:t>
            </a:r>
          </a:p>
        </p:txBody>
      </p:sp>
      <p:sp>
        <p:nvSpPr>
          <p:cNvPr id="101379" name="TextBox 4"/>
          <p:cNvSpPr txBox="1">
            <a:spLocks noChangeArrowheads="1"/>
          </p:cNvSpPr>
          <p:nvPr/>
        </p:nvSpPr>
        <p:spPr bwMode="auto">
          <a:xfrm>
            <a:off x="11942026" y="7814301"/>
            <a:ext cx="4854170" cy="690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96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 charset="0"/>
                <a:cs typeface="Arial" panose="020B0604020202020204" pitchFamily="34" charset="0"/>
              </a:rPr>
              <a:t>Adaptado de: </a:t>
            </a:r>
            <a:r>
              <a:rPr kumimoji="0" lang="pt-BR" sz="1296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 charset="0"/>
              </a:rPr>
              <a:t>1.Hem-Onc </a:t>
            </a:r>
            <a:r>
              <a:rPr kumimoji="0" lang="pt-BR" sz="1296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 charset="0"/>
              </a:rPr>
              <a:t>Clinics</a:t>
            </a:r>
            <a:r>
              <a:rPr kumimoji="0" lang="pt-BR" sz="1296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 charset="0"/>
              </a:rPr>
              <a:t> 2014; 2.</a:t>
            </a:r>
            <a:r>
              <a:rPr kumimoji="0" lang="en-GB" sz="1296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 charset="0"/>
              </a:rPr>
              <a:t> https://www.mycancergenome.org/content/disease/melanoma </a:t>
            </a:r>
            <a:endParaRPr kumimoji="0" lang="en-GB" sz="129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Bahnschrift" panose="020B0502040204020203" pitchFamily="34" charset="0"/>
              <a:ea typeface="Calibri"/>
              <a:cs typeface="Calibri"/>
              <a:sym typeface="Calibri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9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Bahnschrift" panose="020B0502040204020203" pitchFamily="34" charset="0"/>
              <a:ea typeface="ＭＳ Ｐゴシック" charset="0"/>
            </a:endParaRPr>
          </a:p>
        </p:txBody>
      </p: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0A998C67-CA24-46FE-BA1A-76A88DE2DE7B}"/>
              </a:ext>
            </a:extLst>
          </p:cNvPr>
          <p:cNvGrpSpPr/>
          <p:nvPr/>
        </p:nvGrpSpPr>
        <p:grpSpPr>
          <a:xfrm>
            <a:off x="8162193" y="7646753"/>
            <a:ext cx="8328660" cy="0"/>
            <a:chOff x="-2247900" y="8747760"/>
            <a:chExt cx="8328660" cy="0"/>
          </a:xfrm>
        </p:grpSpPr>
        <p:cxnSp>
          <p:nvCxnSpPr>
            <p:cNvPr id="32" name="Conector reto 31">
              <a:extLst>
                <a:ext uri="{FF2B5EF4-FFF2-40B4-BE49-F238E27FC236}">
                  <a16:creationId xmlns:a16="http://schemas.microsoft.com/office/drawing/2014/main" id="{E2A9EC3B-BEFE-489A-B251-C88CA096D2E0}"/>
                </a:ext>
              </a:extLst>
            </p:cNvPr>
            <p:cNvCxnSpPr>
              <a:cxnSpLocks/>
            </p:cNvCxnSpPr>
            <p:nvPr/>
          </p:nvCxnSpPr>
          <p:spPr>
            <a:xfrm>
              <a:off x="1082040" y="8747760"/>
              <a:ext cx="4998720" cy="0"/>
            </a:xfrm>
            <a:prstGeom prst="line">
              <a:avLst/>
            </a:prstGeom>
            <a:ln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to 32">
              <a:extLst>
                <a:ext uri="{FF2B5EF4-FFF2-40B4-BE49-F238E27FC236}">
                  <a16:creationId xmlns:a16="http://schemas.microsoft.com/office/drawing/2014/main" id="{568E54C5-AFE3-4315-BF29-898B34F12766}"/>
                </a:ext>
              </a:extLst>
            </p:cNvPr>
            <p:cNvCxnSpPr>
              <a:cxnSpLocks/>
            </p:cNvCxnSpPr>
            <p:nvPr/>
          </p:nvCxnSpPr>
          <p:spPr>
            <a:xfrm>
              <a:off x="-702213" y="8747760"/>
              <a:ext cx="181473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reto 34">
              <a:extLst>
                <a:ext uri="{FF2B5EF4-FFF2-40B4-BE49-F238E27FC236}">
                  <a16:creationId xmlns:a16="http://schemas.microsoft.com/office/drawing/2014/main" id="{C1260B67-D760-41BC-A4A7-92949528CD55}"/>
                </a:ext>
              </a:extLst>
            </p:cNvPr>
            <p:cNvCxnSpPr>
              <a:cxnSpLocks/>
            </p:cNvCxnSpPr>
            <p:nvPr/>
          </p:nvCxnSpPr>
          <p:spPr>
            <a:xfrm>
              <a:off x="-2247900" y="8747760"/>
              <a:ext cx="1545687" cy="0"/>
            </a:xfrm>
            <a:prstGeom prst="line">
              <a:avLst/>
            </a:prstGeom>
            <a:ln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BA24653B-8F73-440C-B38E-35E0338DE8E3}"/>
              </a:ext>
            </a:extLst>
          </p:cNvPr>
          <p:cNvGrpSpPr/>
          <p:nvPr/>
        </p:nvGrpSpPr>
        <p:grpSpPr>
          <a:xfrm>
            <a:off x="12081977" y="2350894"/>
            <a:ext cx="847716" cy="898003"/>
            <a:chOff x="9299575" y="4800601"/>
            <a:chExt cx="561975" cy="595312"/>
          </a:xfrm>
        </p:grpSpPr>
        <p:sp>
          <p:nvSpPr>
            <p:cNvPr id="38" name="Freeform 247">
              <a:extLst>
                <a:ext uri="{FF2B5EF4-FFF2-40B4-BE49-F238E27FC236}">
                  <a16:creationId xmlns:a16="http://schemas.microsoft.com/office/drawing/2014/main" id="{848A0258-748A-41FD-9941-7AE8965FB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8963" y="4800601"/>
              <a:ext cx="203200" cy="258763"/>
            </a:xfrm>
            <a:custGeom>
              <a:avLst/>
              <a:gdLst>
                <a:gd name="T0" fmla="*/ 128 w 128"/>
                <a:gd name="T1" fmla="*/ 33 h 163"/>
                <a:gd name="T2" fmla="*/ 128 w 128"/>
                <a:gd name="T3" fmla="*/ 163 h 163"/>
                <a:gd name="T4" fmla="*/ 0 w 128"/>
                <a:gd name="T5" fmla="*/ 163 h 163"/>
                <a:gd name="T6" fmla="*/ 0 w 128"/>
                <a:gd name="T7" fmla="*/ 0 h 163"/>
                <a:gd name="T8" fmla="*/ 96 w 128"/>
                <a:gd name="T9" fmla="*/ 0 h 163"/>
                <a:gd name="T10" fmla="*/ 128 w 128"/>
                <a:gd name="T11" fmla="*/ 3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63">
                  <a:moveTo>
                    <a:pt x="128" y="33"/>
                  </a:moveTo>
                  <a:lnTo>
                    <a:pt x="128" y="163"/>
                  </a:lnTo>
                  <a:lnTo>
                    <a:pt x="0" y="163"/>
                  </a:lnTo>
                  <a:lnTo>
                    <a:pt x="0" y="0"/>
                  </a:lnTo>
                  <a:lnTo>
                    <a:pt x="96" y="0"/>
                  </a:lnTo>
                  <a:lnTo>
                    <a:pt x="128" y="33"/>
                  </a:lnTo>
                  <a:close/>
                </a:path>
              </a:pathLst>
            </a:custGeom>
            <a:noFill/>
            <a:ln w="28575" cap="flat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48">
              <a:extLst>
                <a:ext uri="{FF2B5EF4-FFF2-40B4-BE49-F238E27FC236}">
                  <a16:creationId xmlns:a16="http://schemas.microsoft.com/office/drawing/2014/main" id="{B3E27E8A-063B-4257-B4E6-B8FC0AAB6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8475" y="5124451"/>
              <a:ext cx="384175" cy="52388"/>
            </a:xfrm>
            <a:custGeom>
              <a:avLst/>
              <a:gdLst>
                <a:gd name="T0" fmla="*/ 0 w 242"/>
                <a:gd name="T1" fmla="*/ 33 h 33"/>
                <a:gd name="T2" fmla="*/ 0 w 242"/>
                <a:gd name="T3" fmla="*/ 0 h 33"/>
                <a:gd name="T4" fmla="*/ 242 w 242"/>
                <a:gd name="T5" fmla="*/ 0 h 33"/>
                <a:gd name="T6" fmla="*/ 242 w 242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2" h="33">
                  <a:moveTo>
                    <a:pt x="0" y="33"/>
                  </a:moveTo>
                  <a:lnTo>
                    <a:pt x="0" y="0"/>
                  </a:lnTo>
                  <a:lnTo>
                    <a:pt x="242" y="0"/>
                  </a:lnTo>
                  <a:lnTo>
                    <a:pt x="242" y="33"/>
                  </a:lnTo>
                </a:path>
              </a:pathLst>
            </a:custGeom>
            <a:noFill/>
            <a:ln w="28575" cap="flat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Line 249">
              <a:extLst>
                <a:ext uri="{FF2B5EF4-FFF2-40B4-BE49-F238E27FC236}">
                  <a16:creationId xmlns:a16="http://schemas.microsoft.com/office/drawing/2014/main" id="{D98A1F61-5AD5-420D-ABA0-07086026C3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80563" y="5086351"/>
              <a:ext cx="0" cy="90488"/>
            </a:xfrm>
            <a:prstGeom prst="line">
              <a:avLst/>
            </a:prstGeom>
            <a:noFill/>
            <a:ln w="28575" cap="flat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Rectangle 250">
              <a:extLst>
                <a:ext uri="{FF2B5EF4-FFF2-40B4-BE49-F238E27FC236}">
                  <a16:creationId xmlns:a16="http://schemas.microsoft.com/office/drawing/2014/main" id="{22C78F18-E735-4E54-B5E2-BCF89C0AA2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9575" y="5202238"/>
              <a:ext cx="153988" cy="193675"/>
            </a:xfrm>
            <a:prstGeom prst="rect">
              <a:avLst/>
            </a:prstGeom>
            <a:noFill/>
            <a:ln w="28575" cap="flat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51">
              <a:extLst>
                <a:ext uri="{FF2B5EF4-FFF2-40B4-BE49-F238E27FC236}">
                  <a16:creationId xmlns:a16="http://schemas.microsoft.com/office/drawing/2014/main" id="{E73D55B4-4361-4A95-852A-D90F46E92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4363" y="5202238"/>
              <a:ext cx="152400" cy="193675"/>
            </a:xfrm>
            <a:prstGeom prst="rect">
              <a:avLst/>
            </a:prstGeom>
            <a:noFill/>
            <a:ln w="28575" cap="flat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252">
              <a:extLst>
                <a:ext uri="{FF2B5EF4-FFF2-40B4-BE49-F238E27FC236}">
                  <a16:creationId xmlns:a16="http://schemas.microsoft.com/office/drawing/2014/main" id="{4921D5FE-D34A-4181-BCEB-C5931DED7C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09150" y="5202238"/>
              <a:ext cx="152400" cy="193675"/>
            </a:xfrm>
            <a:prstGeom prst="rect">
              <a:avLst/>
            </a:prstGeom>
            <a:noFill/>
            <a:ln w="28575" cap="flat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253">
              <a:extLst>
                <a:ext uri="{FF2B5EF4-FFF2-40B4-BE49-F238E27FC236}">
                  <a16:creationId xmlns:a16="http://schemas.microsoft.com/office/drawing/2014/main" id="{4FD0F089-BE44-463F-B11C-010B04293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8663" y="4827588"/>
              <a:ext cx="38100" cy="38100"/>
            </a:xfrm>
            <a:custGeom>
              <a:avLst/>
              <a:gdLst>
                <a:gd name="T0" fmla="*/ 0 w 24"/>
                <a:gd name="T1" fmla="*/ 0 h 24"/>
                <a:gd name="T2" fmla="*/ 0 w 24"/>
                <a:gd name="T3" fmla="*/ 24 h 24"/>
                <a:gd name="T4" fmla="*/ 24 w 24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4">
                  <a:moveTo>
                    <a:pt x="0" y="0"/>
                  </a:moveTo>
                  <a:lnTo>
                    <a:pt x="0" y="24"/>
                  </a:lnTo>
                  <a:lnTo>
                    <a:pt x="24" y="24"/>
                  </a:lnTo>
                </a:path>
              </a:pathLst>
            </a:custGeom>
            <a:noFill/>
            <a:ln w="28575" cap="flat">
              <a:solidFill>
                <a:srgbClr val="3B61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01962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01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01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9" grpId="0" animBg="1"/>
      <p:bldP spid="101377" grpId="0"/>
      <p:bldP spid="10137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Retângulo 254">
            <a:extLst>
              <a:ext uri="{FF2B5EF4-FFF2-40B4-BE49-F238E27FC236}">
                <a16:creationId xmlns:a16="http://schemas.microsoft.com/office/drawing/2014/main" id="{E7C586F6-8B01-4C88-9749-D30A57A1EA60}"/>
              </a:ext>
            </a:extLst>
          </p:cNvPr>
          <p:cNvSpPr/>
          <p:nvPr/>
        </p:nvSpPr>
        <p:spPr>
          <a:xfrm>
            <a:off x="1" y="0"/>
            <a:ext cx="7082970" cy="9875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6" name="Retângulo 255">
            <a:extLst>
              <a:ext uri="{FF2B5EF4-FFF2-40B4-BE49-F238E27FC236}">
                <a16:creationId xmlns:a16="http://schemas.microsoft.com/office/drawing/2014/main" id="{6D73F8EA-6DB6-412E-A76B-4D0F019244F2}"/>
              </a:ext>
            </a:extLst>
          </p:cNvPr>
          <p:cNvSpPr/>
          <p:nvPr/>
        </p:nvSpPr>
        <p:spPr>
          <a:xfrm>
            <a:off x="1" y="0"/>
            <a:ext cx="713979" cy="9875540"/>
          </a:xfrm>
          <a:prstGeom prst="rect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E2B8F702-90B7-4A44-9755-76E3DD7C04B5}"/>
              </a:ext>
            </a:extLst>
          </p:cNvPr>
          <p:cNvGrpSpPr/>
          <p:nvPr/>
        </p:nvGrpSpPr>
        <p:grpSpPr>
          <a:xfrm>
            <a:off x="1207466" y="4316347"/>
            <a:ext cx="5185398" cy="4739759"/>
            <a:chOff x="1018780" y="4784886"/>
            <a:chExt cx="5185398" cy="4739759"/>
          </a:xfrm>
        </p:grpSpPr>
        <p:sp>
          <p:nvSpPr>
            <p:cNvPr id="265" name="CaixaDeTexto 264">
              <a:extLst>
                <a:ext uri="{FF2B5EF4-FFF2-40B4-BE49-F238E27FC236}">
                  <a16:creationId xmlns:a16="http://schemas.microsoft.com/office/drawing/2014/main" id="{2BE127A4-04B9-45BD-8A80-A9FB19EBF22B}"/>
                </a:ext>
              </a:extLst>
            </p:cNvPr>
            <p:cNvSpPr txBox="1"/>
            <p:nvPr/>
          </p:nvSpPr>
          <p:spPr>
            <a:xfrm>
              <a:off x="1018780" y="4784886"/>
              <a:ext cx="5185398" cy="47397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defTabSz="1316553">
                <a:lnSpc>
                  <a:spcPct val="80000"/>
                </a:lnSpc>
                <a:defRPr sz="3600" b="1">
                  <a:solidFill>
                    <a:schemeClr val="bg1"/>
                  </a:solidFill>
                  <a:latin typeface="Bahnschrift" panose="020B0502040204020203" pitchFamily="34" charset="0"/>
                  <a:ea typeface="Verdana" panose="020B0604030504040204" pitchFamily="34" charset="0"/>
                </a:defRPr>
              </a:lvl1pPr>
            </a:lstStyle>
            <a:p>
              <a:pPr defTabSz="987415">
                <a:lnSpc>
                  <a:spcPct val="100000"/>
                </a:lnSpc>
                <a:defRPr/>
              </a:pPr>
              <a:r>
                <a:rPr lang="pt-BR" sz="2000" b="0" kern="0" dirty="0">
                  <a:solidFill>
                    <a:srgbClr val="3B61AC"/>
                  </a:solidFill>
                  <a:ea typeface="+mn-ea"/>
                </a:rPr>
                <a:t>Coorte prospectiva de pacientes tratados no </a:t>
              </a:r>
              <a:r>
                <a:rPr lang="pt-BR" sz="2000" b="0" i="1" kern="0" dirty="0">
                  <a:solidFill>
                    <a:srgbClr val="3B61AC"/>
                  </a:solidFill>
                  <a:ea typeface="+mn-ea"/>
                </a:rPr>
                <a:t>Melanoma </a:t>
              </a:r>
              <a:r>
                <a:rPr lang="pt-BR" sz="2000" b="0" i="1" kern="0" dirty="0" err="1">
                  <a:solidFill>
                    <a:srgbClr val="3B61AC"/>
                  </a:solidFill>
                  <a:ea typeface="+mn-ea"/>
                </a:rPr>
                <a:t>Institute</a:t>
              </a:r>
              <a:r>
                <a:rPr lang="pt-BR" sz="2000" b="0" i="1" kern="0" dirty="0">
                  <a:solidFill>
                    <a:srgbClr val="3B61AC"/>
                  </a:solidFill>
                  <a:ea typeface="+mn-ea"/>
                </a:rPr>
                <a:t> </a:t>
              </a:r>
              <a:r>
                <a:rPr lang="pt-BR" sz="2000" b="0" i="1" kern="0" dirty="0" err="1">
                  <a:solidFill>
                    <a:srgbClr val="3B61AC"/>
                  </a:solidFill>
                  <a:ea typeface="+mn-ea"/>
                </a:rPr>
                <a:t>Australia</a:t>
              </a:r>
              <a:r>
                <a:rPr lang="pt-BR" sz="2000" b="0" i="1" kern="0" dirty="0">
                  <a:solidFill>
                    <a:srgbClr val="3B61AC"/>
                  </a:solidFill>
                  <a:ea typeface="+mn-ea"/>
                </a:rPr>
                <a:t> </a:t>
              </a:r>
              <a:r>
                <a:rPr lang="pt-BR" sz="2000" b="0" kern="0" dirty="0">
                  <a:solidFill>
                    <a:srgbClr val="3B61AC"/>
                  </a:solidFill>
                  <a:ea typeface="+mn-ea"/>
                </a:rPr>
                <a:t>(N = 197)²</a:t>
              </a:r>
            </a:p>
            <a:p>
              <a:pPr defTabSz="987415">
                <a:lnSpc>
                  <a:spcPct val="100000"/>
                </a:lnSpc>
                <a:defRPr/>
              </a:pPr>
              <a:endParaRPr lang="pt-BR" sz="1600" b="0" kern="0" dirty="0">
                <a:solidFill>
                  <a:srgbClr val="3B61AC"/>
                </a:solidFill>
                <a:ea typeface="+mn-ea"/>
              </a:endParaRPr>
            </a:p>
            <a:p>
              <a:pPr defTabSz="987415">
                <a:lnSpc>
                  <a:spcPct val="100000"/>
                </a:lnSpc>
                <a:spcAft>
                  <a:spcPts val="1200"/>
                </a:spcAft>
                <a:defRPr/>
              </a:pPr>
              <a:r>
                <a:rPr lang="pt-BR" sz="1800" b="0" kern="0" dirty="0">
                  <a:solidFill>
                    <a:srgbClr val="404040"/>
                  </a:solidFill>
                  <a:ea typeface="+mn-ea"/>
                </a:rPr>
                <a:t>Pacientes com melanoma BRAF+ mutante apresentavam pior OS que pacientes com melanoma BRAF WT.</a:t>
              </a:r>
            </a:p>
            <a:p>
              <a:pPr defTabSz="987415">
                <a:lnSpc>
                  <a:spcPct val="100000"/>
                </a:lnSpc>
                <a:spcAft>
                  <a:spcPts val="1200"/>
                </a:spcAft>
                <a:defRPr/>
              </a:pPr>
              <a:r>
                <a:rPr lang="pt-BR" sz="1800" b="0" kern="0" dirty="0">
                  <a:solidFill>
                    <a:srgbClr val="404040"/>
                  </a:solidFill>
                  <a:ea typeface="+mn-ea"/>
                </a:rPr>
                <a:t>Mitigado pelo tratamento com um inibidor </a:t>
              </a:r>
              <a:br>
                <a:rPr lang="pt-BR" sz="1800" b="0" kern="0" dirty="0">
                  <a:solidFill>
                    <a:srgbClr val="404040"/>
                  </a:solidFill>
                  <a:ea typeface="+mn-ea"/>
                </a:rPr>
              </a:br>
              <a:r>
                <a:rPr lang="pt-BR" sz="1800" b="0" kern="0" dirty="0">
                  <a:solidFill>
                    <a:srgbClr val="404040"/>
                  </a:solidFill>
                  <a:ea typeface="+mn-ea"/>
                </a:rPr>
                <a:t>de BRAF.</a:t>
              </a:r>
            </a:p>
            <a:p>
              <a:pPr defTabSz="987415">
                <a:lnSpc>
                  <a:spcPct val="100000"/>
                </a:lnSpc>
                <a:spcAft>
                  <a:spcPts val="1200"/>
                </a:spcAft>
                <a:defRPr/>
              </a:pPr>
              <a:r>
                <a:rPr lang="pt-BR" sz="1800" b="0" kern="0" dirty="0">
                  <a:solidFill>
                    <a:srgbClr val="404040"/>
                  </a:solidFill>
                  <a:ea typeface="+mn-ea"/>
                </a:rPr>
                <a:t>A mutação BRAF não teve impacto no tempo, desde a aparência primária do tumor até as metástases distantes, mas foi associada a um resultado pior depois que a metástase ocorreu.</a:t>
              </a:r>
            </a:p>
            <a:p>
              <a:pPr defTabSz="987415">
                <a:lnSpc>
                  <a:spcPct val="100000"/>
                </a:lnSpc>
                <a:spcAft>
                  <a:spcPts val="1200"/>
                </a:spcAft>
                <a:defRPr/>
              </a:pPr>
              <a:r>
                <a:rPr lang="pt-BR" sz="1800" b="0" kern="0" dirty="0">
                  <a:solidFill>
                    <a:srgbClr val="404040"/>
                  </a:solidFill>
                  <a:ea typeface="+mn-ea"/>
                </a:rPr>
                <a:t>Os autores especularam que isso pode ocorrer porque a mutação ativadora de BRAF altera a evolução do fenótipo genético.</a:t>
              </a:r>
            </a:p>
          </p:txBody>
        </p:sp>
        <p:cxnSp>
          <p:nvCxnSpPr>
            <p:cNvPr id="266" name="Conector reto 265">
              <a:extLst>
                <a:ext uri="{FF2B5EF4-FFF2-40B4-BE49-F238E27FC236}">
                  <a16:creationId xmlns:a16="http://schemas.microsoft.com/office/drawing/2014/main" id="{59514DFA-FB36-4BA1-8A4E-80FB122C1C9D}"/>
                </a:ext>
              </a:extLst>
            </p:cNvPr>
            <p:cNvCxnSpPr/>
            <p:nvPr/>
          </p:nvCxnSpPr>
          <p:spPr>
            <a:xfrm>
              <a:off x="1128118" y="6567016"/>
              <a:ext cx="249662" cy="0"/>
            </a:xfrm>
            <a:prstGeom prst="line">
              <a:avLst/>
            </a:prstGeom>
            <a:ln w="50800" cap="flat">
              <a:solidFill>
                <a:srgbClr val="3B61AC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Conector reto 266">
              <a:extLst>
                <a:ext uri="{FF2B5EF4-FFF2-40B4-BE49-F238E27FC236}">
                  <a16:creationId xmlns:a16="http://schemas.microsoft.com/office/drawing/2014/main" id="{DB5DAAFB-50CE-491C-835B-CF23BDAEE791}"/>
                </a:ext>
              </a:extLst>
            </p:cNvPr>
            <p:cNvCxnSpPr/>
            <p:nvPr/>
          </p:nvCxnSpPr>
          <p:spPr>
            <a:xfrm>
              <a:off x="1137616" y="7246466"/>
              <a:ext cx="249662" cy="0"/>
            </a:xfrm>
            <a:prstGeom prst="line">
              <a:avLst/>
            </a:prstGeom>
            <a:ln w="50800" cap="flat">
              <a:solidFill>
                <a:srgbClr val="3B61AC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Conector reto 267">
              <a:extLst>
                <a:ext uri="{FF2B5EF4-FFF2-40B4-BE49-F238E27FC236}">
                  <a16:creationId xmlns:a16="http://schemas.microsoft.com/office/drawing/2014/main" id="{C4D6B88E-F759-4829-8CAC-3041E8A22167}"/>
                </a:ext>
              </a:extLst>
            </p:cNvPr>
            <p:cNvCxnSpPr/>
            <p:nvPr/>
          </p:nvCxnSpPr>
          <p:spPr>
            <a:xfrm>
              <a:off x="1128091" y="8506941"/>
              <a:ext cx="249662" cy="0"/>
            </a:xfrm>
            <a:prstGeom prst="line">
              <a:avLst/>
            </a:prstGeom>
            <a:ln w="50800" cap="flat">
              <a:solidFill>
                <a:srgbClr val="3B61AC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757D7FF4-44AA-472B-92D6-E5442D4E92B6}"/>
              </a:ext>
            </a:extLst>
          </p:cNvPr>
          <p:cNvGrpSpPr/>
          <p:nvPr/>
        </p:nvGrpSpPr>
        <p:grpSpPr>
          <a:xfrm>
            <a:off x="1163455" y="575717"/>
            <a:ext cx="5557173" cy="3423797"/>
            <a:chOff x="974769" y="437831"/>
            <a:chExt cx="5557173" cy="3423797"/>
          </a:xfrm>
        </p:grpSpPr>
        <p:sp>
          <p:nvSpPr>
            <p:cNvPr id="258" name="CaixaDeTexto 257">
              <a:extLst>
                <a:ext uri="{FF2B5EF4-FFF2-40B4-BE49-F238E27FC236}">
                  <a16:creationId xmlns:a16="http://schemas.microsoft.com/office/drawing/2014/main" id="{2806943D-2AAE-4545-A41F-5CA590BC734D}"/>
                </a:ext>
              </a:extLst>
            </p:cNvPr>
            <p:cNvSpPr txBox="1"/>
            <p:nvPr/>
          </p:nvSpPr>
          <p:spPr>
            <a:xfrm>
              <a:off x="1018780" y="437831"/>
              <a:ext cx="5513162" cy="17666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defTabSz="1316553">
                <a:lnSpc>
                  <a:spcPct val="80000"/>
                </a:lnSpc>
                <a:defRPr sz="3600" b="1">
                  <a:solidFill>
                    <a:schemeClr val="bg1"/>
                  </a:solidFill>
                  <a:latin typeface="Bahnschrift" panose="020B0502040204020203" pitchFamily="34" charset="0"/>
                  <a:ea typeface="Verdana" panose="020B0604030504040204" pitchFamily="34" charset="0"/>
                </a:defRPr>
              </a:lvl1pPr>
            </a:lstStyle>
            <a:p>
              <a:pPr>
                <a:lnSpc>
                  <a:spcPct val="85000"/>
                </a:lnSpc>
              </a:pPr>
              <a:r>
                <a:rPr lang="pt-BR" sz="3200" dirty="0">
                  <a:solidFill>
                    <a:srgbClr val="3B61AC"/>
                  </a:solidFill>
                </a:rPr>
                <a:t>Apesar do paciente BRAF+ ter pior taxa de sobrevida, o tratamento faz toda a diferença em sua vida</a:t>
              </a:r>
            </a:p>
          </p:txBody>
        </p:sp>
        <p:grpSp>
          <p:nvGrpSpPr>
            <p:cNvPr id="2" name="Agrupar 1">
              <a:extLst>
                <a:ext uri="{FF2B5EF4-FFF2-40B4-BE49-F238E27FC236}">
                  <a16:creationId xmlns:a16="http://schemas.microsoft.com/office/drawing/2014/main" id="{CACE6DC6-525B-4FFE-91D7-21E34DF0FEF9}"/>
                </a:ext>
              </a:extLst>
            </p:cNvPr>
            <p:cNvGrpSpPr/>
            <p:nvPr/>
          </p:nvGrpSpPr>
          <p:grpSpPr>
            <a:xfrm>
              <a:off x="974769" y="2199635"/>
              <a:ext cx="5457675" cy="1661993"/>
              <a:chOff x="974769" y="2889664"/>
              <a:chExt cx="5457675" cy="1661993"/>
            </a:xfrm>
          </p:grpSpPr>
          <p:sp>
            <p:nvSpPr>
              <p:cNvPr id="264" name="CaixaDeTexto 263">
                <a:extLst>
                  <a:ext uri="{FF2B5EF4-FFF2-40B4-BE49-F238E27FC236}">
                    <a16:creationId xmlns:a16="http://schemas.microsoft.com/office/drawing/2014/main" id="{1B37FAA8-324D-4C31-A59E-6B94040D7556}"/>
                  </a:ext>
                </a:extLst>
              </p:cNvPr>
              <p:cNvSpPr txBox="1"/>
              <p:nvPr/>
            </p:nvSpPr>
            <p:spPr>
              <a:xfrm>
                <a:off x="1069147" y="2889664"/>
                <a:ext cx="5363297" cy="16619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defTabSz="1316553">
                  <a:lnSpc>
                    <a:spcPct val="80000"/>
                  </a:lnSpc>
                  <a:defRPr sz="3600" b="1">
                    <a:solidFill>
                      <a:schemeClr val="bg1"/>
                    </a:solidFill>
                    <a:latin typeface="Bahnschrift" panose="020B0502040204020203" pitchFamily="34" charset="0"/>
                    <a:ea typeface="Verdana" panose="020B0604030504040204" pitchFamily="34" charset="0"/>
                  </a:defRPr>
                </a:lvl1pPr>
              </a:lstStyle>
              <a:p>
                <a:pPr defTabSz="987415">
                  <a:lnSpc>
                    <a:spcPct val="85000"/>
                  </a:lnSpc>
                  <a:defRPr/>
                </a:pPr>
                <a:r>
                  <a:rPr lang="pt-BR" sz="2400" b="0" kern="0" dirty="0">
                    <a:solidFill>
                      <a:srgbClr val="404040"/>
                    </a:solidFill>
                    <a:ea typeface="+mn-ea"/>
                  </a:rPr>
                  <a:t>Pacientes com melanoma BRAF+ mutante são geralmente mais jovens e demonstraram ter uma sobrevida global pior do que pacientes com melanoma BRAF WT</a:t>
                </a:r>
                <a:r>
                  <a:rPr lang="pt-BR" sz="2400" b="0" kern="0" baseline="30000" dirty="0">
                    <a:solidFill>
                      <a:srgbClr val="404040"/>
                    </a:solidFill>
                    <a:ea typeface="+mn-ea"/>
                  </a:rPr>
                  <a:t>1,2</a:t>
                </a:r>
              </a:p>
            </p:txBody>
          </p:sp>
          <p:cxnSp>
            <p:nvCxnSpPr>
              <p:cNvPr id="270" name="Conector reto 269">
                <a:extLst>
                  <a:ext uri="{FF2B5EF4-FFF2-40B4-BE49-F238E27FC236}">
                    <a16:creationId xmlns:a16="http://schemas.microsoft.com/office/drawing/2014/main" id="{DA8452BC-5930-42CE-9A96-5D530AA38F4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74769" y="2931886"/>
                <a:ext cx="0" cy="1482953"/>
              </a:xfrm>
              <a:prstGeom prst="line">
                <a:avLst/>
              </a:prstGeom>
              <a:noFill/>
              <a:ln>
                <a:solidFill>
                  <a:srgbClr val="3961A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</p:grpSp>
      <p:grpSp>
        <p:nvGrpSpPr>
          <p:cNvPr id="65" name="Group 11">
            <a:extLst>
              <a:ext uri="{FF2B5EF4-FFF2-40B4-BE49-F238E27FC236}">
                <a16:creationId xmlns:a16="http://schemas.microsoft.com/office/drawing/2014/main" id="{F2050EE2-1A0C-4AF9-8844-BA436301A335}"/>
              </a:ext>
            </a:extLst>
          </p:cNvPr>
          <p:cNvGrpSpPr/>
          <p:nvPr/>
        </p:nvGrpSpPr>
        <p:grpSpPr>
          <a:xfrm>
            <a:off x="9634126" y="2624231"/>
            <a:ext cx="6225926" cy="2932914"/>
            <a:chOff x="957002" y="2793206"/>
            <a:chExt cx="3070246" cy="1194594"/>
          </a:xfrm>
        </p:grpSpPr>
        <p:sp>
          <p:nvSpPr>
            <p:cNvPr id="72" name="Freeform 118">
              <a:extLst>
                <a:ext uri="{FF2B5EF4-FFF2-40B4-BE49-F238E27FC236}">
                  <a16:creationId xmlns:a16="http://schemas.microsoft.com/office/drawing/2014/main" id="{59A6B438-ECA5-4188-AD52-F778A70BDBCD}"/>
                </a:ext>
              </a:extLst>
            </p:cNvPr>
            <p:cNvSpPr/>
            <p:nvPr/>
          </p:nvSpPr>
          <p:spPr bwMode="auto">
            <a:xfrm>
              <a:off x="957002" y="2793206"/>
              <a:ext cx="1190625" cy="992982"/>
            </a:xfrm>
            <a:custGeom>
              <a:avLst/>
              <a:gdLst>
                <a:gd name="connsiteX0" fmla="*/ 0 w 1190625"/>
                <a:gd name="connsiteY0" fmla="*/ 0 h 992982"/>
                <a:gd name="connsiteX1" fmla="*/ 54768 w 1190625"/>
                <a:gd name="connsiteY1" fmla="*/ 0 h 992982"/>
                <a:gd name="connsiteX2" fmla="*/ 54768 w 1190625"/>
                <a:gd name="connsiteY2" fmla="*/ 33338 h 992982"/>
                <a:gd name="connsiteX3" fmla="*/ 69056 w 1190625"/>
                <a:gd name="connsiteY3" fmla="*/ 33338 h 992982"/>
                <a:gd name="connsiteX4" fmla="*/ 69056 w 1190625"/>
                <a:gd name="connsiteY4" fmla="*/ 54769 h 992982"/>
                <a:gd name="connsiteX5" fmla="*/ 95250 w 1190625"/>
                <a:gd name="connsiteY5" fmla="*/ 54769 h 992982"/>
                <a:gd name="connsiteX6" fmla="*/ 95250 w 1190625"/>
                <a:gd name="connsiteY6" fmla="*/ 78582 h 992982"/>
                <a:gd name="connsiteX7" fmla="*/ 111918 w 1190625"/>
                <a:gd name="connsiteY7" fmla="*/ 78582 h 992982"/>
                <a:gd name="connsiteX8" fmla="*/ 111918 w 1190625"/>
                <a:gd name="connsiteY8" fmla="*/ 97632 h 992982"/>
                <a:gd name="connsiteX9" fmla="*/ 138112 w 1190625"/>
                <a:gd name="connsiteY9" fmla="*/ 97632 h 992982"/>
                <a:gd name="connsiteX10" fmla="*/ 138112 w 1190625"/>
                <a:gd name="connsiteY10" fmla="*/ 114300 h 992982"/>
                <a:gd name="connsiteX11" fmla="*/ 169068 w 1190625"/>
                <a:gd name="connsiteY11" fmla="*/ 114300 h 992982"/>
                <a:gd name="connsiteX12" fmla="*/ 169068 w 1190625"/>
                <a:gd name="connsiteY12" fmla="*/ 164307 h 992982"/>
                <a:gd name="connsiteX13" fmla="*/ 192881 w 1190625"/>
                <a:gd name="connsiteY13" fmla="*/ 164307 h 992982"/>
                <a:gd name="connsiteX14" fmla="*/ 192881 w 1190625"/>
                <a:gd name="connsiteY14" fmla="*/ 209550 h 992982"/>
                <a:gd name="connsiteX15" fmla="*/ 207168 w 1190625"/>
                <a:gd name="connsiteY15" fmla="*/ 209550 h 992982"/>
                <a:gd name="connsiteX16" fmla="*/ 207168 w 1190625"/>
                <a:gd name="connsiteY16" fmla="*/ 230982 h 992982"/>
                <a:gd name="connsiteX17" fmla="*/ 240506 w 1190625"/>
                <a:gd name="connsiteY17" fmla="*/ 230982 h 992982"/>
                <a:gd name="connsiteX18" fmla="*/ 240506 w 1190625"/>
                <a:gd name="connsiteY18" fmla="*/ 276225 h 992982"/>
                <a:gd name="connsiteX19" fmla="*/ 264318 w 1190625"/>
                <a:gd name="connsiteY19" fmla="*/ 276225 h 992982"/>
                <a:gd name="connsiteX20" fmla="*/ 264318 w 1190625"/>
                <a:gd name="connsiteY20" fmla="*/ 292894 h 992982"/>
                <a:gd name="connsiteX21" fmla="*/ 278606 w 1190625"/>
                <a:gd name="connsiteY21" fmla="*/ 292894 h 992982"/>
                <a:gd name="connsiteX22" fmla="*/ 278606 w 1190625"/>
                <a:gd name="connsiteY22" fmla="*/ 323850 h 992982"/>
                <a:gd name="connsiteX23" fmla="*/ 302418 w 1190625"/>
                <a:gd name="connsiteY23" fmla="*/ 323850 h 992982"/>
                <a:gd name="connsiteX24" fmla="*/ 302418 w 1190625"/>
                <a:gd name="connsiteY24" fmla="*/ 407194 h 992982"/>
                <a:gd name="connsiteX25" fmla="*/ 326231 w 1190625"/>
                <a:gd name="connsiteY25" fmla="*/ 407194 h 992982"/>
                <a:gd name="connsiteX26" fmla="*/ 326231 w 1190625"/>
                <a:gd name="connsiteY26" fmla="*/ 438150 h 992982"/>
                <a:gd name="connsiteX27" fmla="*/ 350043 w 1190625"/>
                <a:gd name="connsiteY27" fmla="*/ 438150 h 992982"/>
                <a:gd name="connsiteX28" fmla="*/ 350043 w 1190625"/>
                <a:gd name="connsiteY28" fmla="*/ 461963 h 992982"/>
                <a:gd name="connsiteX29" fmla="*/ 364331 w 1190625"/>
                <a:gd name="connsiteY29" fmla="*/ 461963 h 992982"/>
                <a:gd name="connsiteX30" fmla="*/ 364331 w 1190625"/>
                <a:gd name="connsiteY30" fmla="*/ 521494 h 992982"/>
                <a:gd name="connsiteX31" fmla="*/ 378618 w 1190625"/>
                <a:gd name="connsiteY31" fmla="*/ 535781 h 992982"/>
                <a:gd name="connsiteX32" fmla="*/ 385762 w 1190625"/>
                <a:gd name="connsiteY32" fmla="*/ 542925 h 992982"/>
                <a:gd name="connsiteX33" fmla="*/ 385762 w 1190625"/>
                <a:gd name="connsiteY33" fmla="*/ 595313 h 992982"/>
                <a:gd name="connsiteX34" fmla="*/ 419100 w 1190625"/>
                <a:gd name="connsiteY34" fmla="*/ 595313 h 992982"/>
                <a:gd name="connsiteX35" fmla="*/ 419100 w 1190625"/>
                <a:gd name="connsiteY35" fmla="*/ 626269 h 992982"/>
                <a:gd name="connsiteX36" fmla="*/ 476250 w 1190625"/>
                <a:gd name="connsiteY36" fmla="*/ 626269 h 992982"/>
                <a:gd name="connsiteX37" fmla="*/ 476250 w 1190625"/>
                <a:gd name="connsiteY37" fmla="*/ 657225 h 992982"/>
                <a:gd name="connsiteX38" fmla="*/ 519112 w 1190625"/>
                <a:gd name="connsiteY38" fmla="*/ 657225 h 992982"/>
                <a:gd name="connsiteX39" fmla="*/ 519112 w 1190625"/>
                <a:gd name="connsiteY39" fmla="*/ 695325 h 992982"/>
                <a:gd name="connsiteX40" fmla="*/ 607218 w 1190625"/>
                <a:gd name="connsiteY40" fmla="*/ 695325 h 992982"/>
                <a:gd name="connsiteX41" fmla="*/ 607218 w 1190625"/>
                <a:gd name="connsiteY41" fmla="*/ 728663 h 992982"/>
                <a:gd name="connsiteX42" fmla="*/ 621506 w 1190625"/>
                <a:gd name="connsiteY42" fmla="*/ 728663 h 992982"/>
                <a:gd name="connsiteX43" fmla="*/ 621506 w 1190625"/>
                <a:gd name="connsiteY43" fmla="*/ 773907 h 992982"/>
                <a:gd name="connsiteX44" fmla="*/ 681037 w 1190625"/>
                <a:gd name="connsiteY44" fmla="*/ 773907 h 992982"/>
                <a:gd name="connsiteX45" fmla="*/ 681037 w 1190625"/>
                <a:gd name="connsiteY45" fmla="*/ 807244 h 992982"/>
                <a:gd name="connsiteX46" fmla="*/ 835818 w 1190625"/>
                <a:gd name="connsiteY46" fmla="*/ 807244 h 992982"/>
                <a:gd name="connsiteX47" fmla="*/ 835818 w 1190625"/>
                <a:gd name="connsiteY47" fmla="*/ 850107 h 992982"/>
                <a:gd name="connsiteX48" fmla="*/ 1121568 w 1190625"/>
                <a:gd name="connsiteY48" fmla="*/ 850107 h 992982"/>
                <a:gd name="connsiteX49" fmla="*/ 1121568 w 1190625"/>
                <a:gd name="connsiteY49" fmla="*/ 931069 h 992982"/>
                <a:gd name="connsiteX50" fmla="*/ 1190625 w 1190625"/>
                <a:gd name="connsiteY50" fmla="*/ 931069 h 992982"/>
                <a:gd name="connsiteX51" fmla="*/ 1190625 w 1190625"/>
                <a:gd name="connsiteY51" fmla="*/ 992982 h 99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190625" h="992982">
                  <a:moveTo>
                    <a:pt x="0" y="0"/>
                  </a:moveTo>
                  <a:lnTo>
                    <a:pt x="54768" y="0"/>
                  </a:lnTo>
                  <a:lnTo>
                    <a:pt x="54768" y="33338"/>
                  </a:lnTo>
                  <a:lnTo>
                    <a:pt x="69056" y="33338"/>
                  </a:lnTo>
                  <a:lnTo>
                    <a:pt x="69056" y="54769"/>
                  </a:lnTo>
                  <a:lnTo>
                    <a:pt x="95250" y="54769"/>
                  </a:lnTo>
                  <a:lnTo>
                    <a:pt x="95250" y="78582"/>
                  </a:lnTo>
                  <a:lnTo>
                    <a:pt x="111918" y="78582"/>
                  </a:lnTo>
                  <a:lnTo>
                    <a:pt x="111918" y="97632"/>
                  </a:lnTo>
                  <a:lnTo>
                    <a:pt x="138112" y="97632"/>
                  </a:lnTo>
                  <a:lnTo>
                    <a:pt x="138112" y="114300"/>
                  </a:lnTo>
                  <a:lnTo>
                    <a:pt x="169068" y="114300"/>
                  </a:lnTo>
                  <a:lnTo>
                    <a:pt x="169068" y="164307"/>
                  </a:lnTo>
                  <a:lnTo>
                    <a:pt x="192881" y="164307"/>
                  </a:lnTo>
                  <a:lnTo>
                    <a:pt x="192881" y="209550"/>
                  </a:lnTo>
                  <a:lnTo>
                    <a:pt x="207168" y="209550"/>
                  </a:lnTo>
                  <a:lnTo>
                    <a:pt x="207168" y="230982"/>
                  </a:lnTo>
                  <a:lnTo>
                    <a:pt x="240506" y="230982"/>
                  </a:lnTo>
                  <a:lnTo>
                    <a:pt x="240506" y="276225"/>
                  </a:lnTo>
                  <a:lnTo>
                    <a:pt x="264318" y="276225"/>
                  </a:lnTo>
                  <a:lnTo>
                    <a:pt x="264318" y="292894"/>
                  </a:lnTo>
                  <a:lnTo>
                    <a:pt x="278606" y="292894"/>
                  </a:lnTo>
                  <a:lnTo>
                    <a:pt x="278606" y="323850"/>
                  </a:lnTo>
                  <a:lnTo>
                    <a:pt x="302418" y="323850"/>
                  </a:lnTo>
                  <a:lnTo>
                    <a:pt x="302418" y="407194"/>
                  </a:lnTo>
                  <a:lnTo>
                    <a:pt x="326231" y="407194"/>
                  </a:lnTo>
                  <a:lnTo>
                    <a:pt x="326231" y="438150"/>
                  </a:lnTo>
                  <a:lnTo>
                    <a:pt x="350043" y="438150"/>
                  </a:lnTo>
                  <a:lnTo>
                    <a:pt x="350043" y="461963"/>
                  </a:lnTo>
                  <a:lnTo>
                    <a:pt x="364331" y="461963"/>
                  </a:lnTo>
                  <a:lnTo>
                    <a:pt x="364331" y="521494"/>
                  </a:lnTo>
                  <a:lnTo>
                    <a:pt x="378618" y="535781"/>
                  </a:lnTo>
                  <a:lnTo>
                    <a:pt x="385762" y="542925"/>
                  </a:lnTo>
                  <a:lnTo>
                    <a:pt x="385762" y="595313"/>
                  </a:lnTo>
                  <a:lnTo>
                    <a:pt x="419100" y="595313"/>
                  </a:lnTo>
                  <a:lnTo>
                    <a:pt x="419100" y="626269"/>
                  </a:lnTo>
                  <a:lnTo>
                    <a:pt x="476250" y="626269"/>
                  </a:lnTo>
                  <a:lnTo>
                    <a:pt x="476250" y="657225"/>
                  </a:lnTo>
                  <a:lnTo>
                    <a:pt x="519112" y="657225"/>
                  </a:lnTo>
                  <a:lnTo>
                    <a:pt x="519112" y="695325"/>
                  </a:lnTo>
                  <a:lnTo>
                    <a:pt x="607218" y="695325"/>
                  </a:lnTo>
                  <a:lnTo>
                    <a:pt x="607218" y="728663"/>
                  </a:lnTo>
                  <a:lnTo>
                    <a:pt x="621506" y="728663"/>
                  </a:lnTo>
                  <a:lnTo>
                    <a:pt x="621506" y="773907"/>
                  </a:lnTo>
                  <a:lnTo>
                    <a:pt x="681037" y="773907"/>
                  </a:lnTo>
                  <a:lnTo>
                    <a:pt x="681037" y="807244"/>
                  </a:lnTo>
                  <a:lnTo>
                    <a:pt x="835818" y="807244"/>
                  </a:lnTo>
                  <a:lnTo>
                    <a:pt x="835818" y="850107"/>
                  </a:lnTo>
                  <a:lnTo>
                    <a:pt x="1121568" y="850107"/>
                  </a:lnTo>
                  <a:lnTo>
                    <a:pt x="1121568" y="931069"/>
                  </a:lnTo>
                  <a:lnTo>
                    <a:pt x="1190625" y="931069"/>
                  </a:lnTo>
                  <a:lnTo>
                    <a:pt x="1190625" y="992982"/>
                  </a:lnTo>
                </a:path>
              </a:pathLst>
            </a:custGeom>
            <a:noFill/>
            <a:ln w="47625" cap="rnd" cmpd="sng" algn="ctr">
              <a:solidFill>
                <a:srgbClr val="56EFFD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8743" tIns="49371" rIns="98743" bIns="49371" numCol="1" rtlCol="0" anchor="t" anchorCtr="0" compatLnSpc="1">
              <a:prstTxWarp prst="textNoShape">
                <a:avLst/>
              </a:prstTxWarp>
            </a:bodyPr>
            <a:lstStyle/>
            <a:p>
              <a:pPr defTabSz="987415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Bahnschrift" panose="020B0502040204020203" pitchFamily="34" charset="0"/>
              </a:endParaRPr>
            </a:p>
          </p:txBody>
        </p:sp>
        <p:sp>
          <p:nvSpPr>
            <p:cNvPr id="73" name="Freeform 119">
              <a:extLst>
                <a:ext uri="{FF2B5EF4-FFF2-40B4-BE49-F238E27FC236}">
                  <a16:creationId xmlns:a16="http://schemas.microsoft.com/office/drawing/2014/main" id="{6ED8917D-7897-44FF-BC73-B319805BC1A8}"/>
                </a:ext>
              </a:extLst>
            </p:cNvPr>
            <p:cNvSpPr/>
            <p:nvPr/>
          </p:nvSpPr>
          <p:spPr bwMode="auto">
            <a:xfrm>
              <a:off x="2147648" y="3733800"/>
              <a:ext cx="1879600" cy="254000"/>
            </a:xfrm>
            <a:custGeom>
              <a:avLst/>
              <a:gdLst>
                <a:gd name="connsiteX0" fmla="*/ 0 w 1879600"/>
                <a:gd name="connsiteY0" fmla="*/ 0 h 254000"/>
                <a:gd name="connsiteX1" fmla="*/ 0 w 1879600"/>
                <a:gd name="connsiteY1" fmla="*/ 53975 h 254000"/>
                <a:gd name="connsiteX2" fmla="*/ 657225 w 1879600"/>
                <a:gd name="connsiteY2" fmla="*/ 53975 h 254000"/>
                <a:gd name="connsiteX3" fmla="*/ 657225 w 1879600"/>
                <a:gd name="connsiteY3" fmla="*/ 155575 h 254000"/>
                <a:gd name="connsiteX4" fmla="*/ 1054100 w 1879600"/>
                <a:gd name="connsiteY4" fmla="*/ 155575 h 254000"/>
                <a:gd name="connsiteX5" fmla="*/ 1054100 w 1879600"/>
                <a:gd name="connsiteY5" fmla="*/ 254000 h 254000"/>
                <a:gd name="connsiteX6" fmla="*/ 1879600 w 1879600"/>
                <a:gd name="connsiteY6" fmla="*/ 254000 h 2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9600" h="254000">
                  <a:moveTo>
                    <a:pt x="0" y="0"/>
                  </a:moveTo>
                  <a:lnTo>
                    <a:pt x="0" y="53975"/>
                  </a:lnTo>
                  <a:lnTo>
                    <a:pt x="657225" y="53975"/>
                  </a:lnTo>
                  <a:lnTo>
                    <a:pt x="657225" y="155575"/>
                  </a:lnTo>
                  <a:lnTo>
                    <a:pt x="1054100" y="155575"/>
                  </a:lnTo>
                  <a:lnTo>
                    <a:pt x="1054100" y="254000"/>
                  </a:lnTo>
                  <a:lnTo>
                    <a:pt x="1879600" y="254000"/>
                  </a:lnTo>
                </a:path>
              </a:pathLst>
            </a:custGeom>
            <a:noFill/>
            <a:ln w="47625" cap="rnd" cmpd="sng" algn="ctr">
              <a:solidFill>
                <a:srgbClr val="56EFFD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8743" tIns="49371" rIns="98743" bIns="49371" numCol="1" rtlCol="0" anchor="t" anchorCtr="0" compatLnSpc="1">
              <a:prstTxWarp prst="textNoShape">
                <a:avLst/>
              </a:prstTxWarp>
            </a:bodyPr>
            <a:lstStyle/>
            <a:p>
              <a:pPr defTabSz="987415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Bahnschrift" panose="020B0502040204020203" pitchFamily="34" charset="0"/>
              </a:endParaRPr>
            </a:p>
          </p:txBody>
        </p:sp>
      </p:grpSp>
      <p:grpSp>
        <p:nvGrpSpPr>
          <p:cNvPr id="66" name="Group 12">
            <a:extLst>
              <a:ext uri="{FF2B5EF4-FFF2-40B4-BE49-F238E27FC236}">
                <a16:creationId xmlns:a16="http://schemas.microsoft.com/office/drawing/2014/main" id="{6ACA6AD6-FB76-418D-81E9-0FDEFEFF6F24}"/>
              </a:ext>
            </a:extLst>
          </p:cNvPr>
          <p:cNvGrpSpPr/>
          <p:nvPr/>
        </p:nvGrpSpPr>
        <p:grpSpPr>
          <a:xfrm>
            <a:off x="9590665" y="2624229"/>
            <a:ext cx="6266124" cy="4115392"/>
            <a:chOff x="935570" y="2793206"/>
            <a:chExt cx="3090069" cy="1676225"/>
          </a:xfrm>
        </p:grpSpPr>
        <p:sp>
          <p:nvSpPr>
            <p:cNvPr id="70" name="Freeform 116">
              <a:extLst>
                <a:ext uri="{FF2B5EF4-FFF2-40B4-BE49-F238E27FC236}">
                  <a16:creationId xmlns:a16="http://schemas.microsoft.com/office/drawing/2014/main" id="{7A444FFD-B127-4F42-90B9-E3F2515E3C41}"/>
                </a:ext>
              </a:extLst>
            </p:cNvPr>
            <p:cNvSpPr/>
            <p:nvPr/>
          </p:nvSpPr>
          <p:spPr bwMode="auto">
            <a:xfrm>
              <a:off x="935570" y="2793206"/>
              <a:ext cx="1045369" cy="1514476"/>
            </a:xfrm>
            <a:custGeom>
              <a:avLst/>
              <a:gdLst>
                <a:gd name="connsiteX0" fmla="*/ 0 w 1045369"/>
                <a:gd name="connsiteY0" fmla="*/ 0 h 1514475"/>
                <a:gd name="connsiteX1" fmla="*/ 59532 w 1045369"/>
                <a:gd name="connsiteY1" fmla="*/ 0 h 1514475"/>
                <a:gd name="connsiteX2" fmla="*/ 59532 w 1045369"/>
                <a:gd name="connsiteY2" fmla="*/ 52388 h 1514475"/>
                <a:gd name="connsiteX3" fmla="*/ 80963 w 1045369"/>
                <a:gd name="connsiteY3" fmla="*/ 52388 h 1514475"/>
                <a:gd name="connsiteX4" fmla="*/ 80963 w 1045369"/>
                <a:gd name="connsiteY4" fmla="*/ 88107 h 1514475"/>
                <a:gd name="connsiteX5" fmla="*/ 116682 w 1045369"/>
                <a:gd name="connsiteY5" fmla="*/ 88107 h 1514475"/>
                <a:gd name="connsiteX6" fmla="*/ 116682 w 1045369"/>
                <a:gd name="connsiteY6" fmla="*/ 123825 h 1514475"/>
                <a:gd name="connsiteX7" fmla="*/ 126207 w 1045369"/>
                <a:gd name="connsiteY7" fmla="*/ 123825 h 1514475"/>
                <a:gd name="connsiteX8" fmla="*/ 126207 w 1045369"/>
                <a:gd name="connsiteY8" fmla="*/ 169069 h 1514475"/>
                <a:gd name="connsiteX9" fmla="*/ 135732 w 1045369"/>
                <a:gd name="connsiteY9" fmla="*/ 183357 h 1514475"/>
                <a:gd name="connsiteX10" fmla="*/ 135732 w 1045369"/>
                <a:gd name="connsiteY10" fmla="*/ 238125 h 1514475"/>
                <a:gd name="connsiteX11" fmla="*/ 171450 w 1045369"/>
                <a:gd name="connsiteY11" fmla="*/ 238125 h 1514475"/>
                <a:gd name="connsiteX12" fmla="*/ 171450 w 1045369"/>
                <a:gd name="connsiteY12" fmla="*/ 316707 h 1514475"/>
                <a:gd name="connsiteX13" fmla="*/ 188119 w 1045369"/>
                <a:gd name="connsiteY13" fmla="*/ 316707 h 1514475"/>
                <a:gd name="connsiteX14" fmla="*/ 188119 w 1045369"/>
                <a:gd name="connsiteY14" fmla="*/ 361950 h 1514475"/>
                <a:gd name="connsiteX15" fmla="*/ 223838 w 1045369"/>
                <a:gd name="connsiteY15" fmla="*/ 361950 h 1514475"/>
                <a:gd name="connsiteX16" fmla="*/ 223838 w 1045369"/>
                <a:gd name="connsiteY16" fmla="*/ 404813 h 1514475"/>
                <a:gd name="connsiteX17" fmla="*/ 242888 w 1045369"/>
                <a:gd name="connsiteY17" fmla="*/ 404813 h 1514475"/>
                <a:gd name="connsiteX18" fmla="*/ 242888 w 1045369"/>
                <a:gd name="connsiteY18" fmla="*/ 471488 h 1514475"/>
                <a:gd name="connsiteX19" fmla="*/ 259557 w 1045369"/>
                <a:gd name="connsiteY19" fmla="*/ 471488 h 1514475"/>
                <a:gd name="connsiteX20" fmla="*/ 259557 w 1045369"/>
                <a:gd name="connsiteY20" fmla="*/ 516732 h 1514475"/>
                <a:gd name="connsiteX21" fmla="*/ 273844 w 1045369"/>
                <a:gd name="connsiteY21" fmla="*/ 531019 h 1514475"/>
                <a:gd name="connsiteX22" fmla="*/ 273844 w 1045369"/>
                <a:gd name="connsiteY22" fmla="*/ 561975 h 1514475"/>
                <a:gd name="connsiteX23" fmla="*/ 304800 w 1045369"/>
                <a:gd name="connsiteY23" fmla="*/ 561975 h 1514475"/>
                <a:gd name="connsiteX24" fmla="*/ 304800 w 1045369"/>
                <a:gd name="connsiteY24" fmla="*/ 604838 h 1514475"/>
                <a:gd name="connsiteX25" fmla="*/ 316707 w 1045369"/>
                <a:gd name="connsiteY25" fmla="*/ 604838 h 1514475"/>
                <a:gd name="connsiteX26" fmla="*/ 316707 w 1045369"/>
                <a:gd name="connsiteY26" fmla="*/ 642938 h 1514475"/>
                <a:gd name="connsiteX27" fmla="*/ 335757 w 1045369"/>
                <a:gd name="connsiteY27" fmla="*/ 642938 h 1514475"/>
                <a:gd name="connsiteX28" fmla="*/ 335757 w 1045369"/>
                <a:gd name="connsiteY28" fmla="*/ 688182 h 1514475"/>
                <a:gd name="connsiteX29" fmla="*/ 345282 w 1045369"/>
                <a:gd name="connsiteY29" fmla="*/ 688182 h 1514475"/>
                <a:gd name="connsiteX30" fmla="*/ 345282 w 1045369"/>
                <a:gd name="connsiteY30" fmla="*/ 733425 h 1514475"/>
                <a:gd name="connsiteX31" fmla="*/ 371475 w 1045369"/>
                <a:gd name="connsiteY31" fmla="*/ 733425 h 1514475"/>
                <a:gd name="connsiteX32" fmla="*/ 371475 w 1045369"/>
                <a:gd name="connsiteY32" fmla="*/ 819150 h 1514475"/>
                <a:gd name="connsiteX33" fmla="*/ 421482 w 1045369"/>
                <a:gd name="connsiteY33" fmla="*/ 819150 h 1514475"/>
                <a:gd name="connsiteX34" fmla="*/ 421482 w 1045369"/>
                <a:gd name="connsiteY34" fmla="*/ 871538 h 1514475"/>
                <a:gd name="connsiteX35" fmla="*/ 426244 w 1045369"/>
                <a:gd name="connsiteY35" fmla="*/ 897732 h 1514475"/>
                <a:gd name="connsiteX36" fmla="*/ 426244 w 1045369"/>
                <a:gd name="connsiteY36" fmla="*/ 897732 h 1514475"/>
                <a:gd name="connsiteX37" fmla="*/ 435769 w 1045369"/>
                <a:gd name="connsiteY37" fmla="*/ 921544 h 1514475"/>
                <a:gd name="connsiteX38" fmla="*/ 435769 w 1045369"/>
                <a:gd name="connsiteY38" fmla="*/ 957263 h 1514475"/>
                <a:gd name="connsiteX39" fmla="*/ 442913 w 1045369"/>
                <a:gd name="connsiteY39" fmla="*/ 959644 h 1514475"/>
                <a:gd name="connsiteX40" fmla="*/ 442913 w 1045369"/>
                <a:gd name="connsiteY40" fmla="*/ 1002507 h 1514475"/>
                <a:gd name="connsiteX41" fmla="*/ 454819 w 1045369"/>
                <a:gd name="connsiteY41" fmla="*/ 1007269 h 1514475"/>
                <a:gd name="connsiteX42" fmla="*/ 454819 w 1045369"/>
                <a:gd name="connsiteY42" fmla="*/ 1052513 h 1514475"/>
                <a:gd name="connsiteX43" fmla="*/ 509588 w 1045369"/>
                <a:gd name="connsiteY43" fmla="*/ 1052513 h 1514475"/>
                <a:gd name="connsiteX44" fmla="*/ 509588 w 1045369"/>
                <a:gd name="connsiteY44" fmla="*/ 1102519 h 1514475"/>
                <a:gd name="connsiteX45" fmla="*/ 561975 w 1045369"/>
                <a:gd name="connsiteY45" fmla="*/ 1102519 h 1514475"/>
                <a:gd name="connsiteX46" fmla="*/ 561975 w 1045369"/>
                <a:gd name="connsiteY46" fmla="*/ 1166813 h 1514475"/>
                <a:gd name="connsiteX47" fmla="*/ 578644 w 1045369"/>
                <a:gd name="connsiteY47" fmla="*/ 1166813 h 1514475"/>
                <a:gd name="connsiteX48" fmla="*/ 578644 w 1045369"/>
                <a:gd name="connsiteY48" fmla="*/ 1223963 h 1514475"/>
                <a:gd name="connsiteX49" fmla="*/ 638175 w 1045369"/>
                <a:gd name="connsiteY49" fmla="*/ 1223963 h 1514475"/>
                <a:gd name="connsiteX50" fmla="*/ 638175 w 1045369"/>
                <a:gd name="connsiteY50" fmla="*/ 1283494 h 1514475"/>
                <a:gd name="connsiteX51" fmla="*/ 700088 w 1045369"/>
                <a:gd name="connsiteY51" fmla="*/ 1283494 h 1514475"/>
                <a:gd name="connsiteX52" fmla="*/ 700088 w 1045369"/>
                <a:gd name="connsiteY52" fmla="*/ 1357313 h 1514475"/>
                <a:gd name="connsiteX53" fmla="*/ 826294 w 1045369"/>
                <a:gd name="connsiteY53" fmla="*/ 1357313 h 1514475"/>
                <a:gd name="connsiteX54" fmla="*/ 826294 w 1045369"/>
                <a:gd name="connsiteY54" fmla="*/ 1431132 h 1514475"/>
                <a:gd name="connsiteX55" fmla="*/ 969169 w 1045369"/>
                <a:gd name="connsiteY55" fmla="*/ 1431132 h 1514475"/>
                <a:gd name="connsiteX56" fmla="*/ 969169 w 1045369"/>
                <a:gd name="connsiteY56" fmla="*/ 1514475 h 1514475"/>
                <a:gd name="connsiteX57" fmla="*/ 1045369 w 1045369"/>
                <a:gd name="connsiteY57" fmla="*/ 1514475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045369" h="1514475">
                  <a:moveTo>
                    <a:pt x="0" y="0"/>
                  </a:moveTo>
                  <a:lnTo>
                    <a:pt x="59532" y="0"/>
                  </a:lnTo>
                  <a:lnTo>
                    <a:pt x="59532" y="52388"/>
                  </a:lnTo>
                  <a:lnTo>
                    <a:pt x="80963" y="52388"/>
                  </a:lnTo>
                  <a:lnTo>
                    <a:pt x="80963" y="88107"/>
                  </a:lnTo>
                  <a:lnTo>
                    <a:pt x="116682" y="88107"/>
                  </a:lnTo>
                  <a:lnTo>
                    <a:pt x="116682" y="123825"/>
                  </a:lnTo>
                  <a:lnTo>
                    <a:pt x="126207" y="123825"/>
                  </a:lnTo>
                  <a:lnTo>
                    <a:pt x="126207" y="169069"/>
                  </a:lnTo>
                  <a:lnTo>
                    <a:pt x="135732" y="183357"/>
                  </a:lnTo>
                  <a:lnTo>
                    <a:pt x="135732" y="238125"/>
                  </a:lnTo>
                  <a:lnTo>
                    <a:pt x="171450" y="238125"/>
                  </a:lnTo>
                  <a:lnTo>
                    <a:pt x="171450" y="316707"/>
                  </a:lnTo>
                  <a:lnTo>
                    <a:pt x="188119" y="316707"/>
                  </a:lnTo>
                  <a:lnTo>
                    <a:pt x="188119" y="361950"/>
                  </a:lnTo>
                  <a:lnTo>
                    <a:pt x="223838" y="361950"/>
                  </a:lnTo>
                  <a:lnTo>
                    <a:pt x="223838" y="404813"/>
                  </a:lnTo>
                  <a:lnTo>
                    <a:pt x="242888" y="404813"/>
                  </a:lnTo>
                  <a:lnTo>
                    <a:pt x="242888" y="471488"/>
                  </a:lnTo>
                  <a:lnTo>
                    <a:pt x="259557" y="471488"/>
                  </a:lnTo>
                  <a:lnTo>
                    <a:pt x="259557" y="516732"/>
                  </a:lnTo>
                  <a:lnTo>
                    <a:pt x="273844" y="531019"/>
                  </a:lnTo>
                  <a:lnTo>
                    <a:pt x="273844" y="561975"/>
                  </a:lnTo>
                  <a:lnTo>
                    <a:pt x="304800" y="561975"/>
                  </a:lnTo>
                  <a:lnTo>
                    <a:pt x="304800" y="604838"/>
                  </a:lnTo>
                  <a:lnTo>
                    <a:pt x="316707" y="604838"/>
                  </a:lnTo>
                  <a:lnTo>
                    <a:pt x="316707" y="642938"/>
                  </a:lnTo>
                  <a:lnTo>
                    <a:pt x="335757" y="642938"/>
                  </a:lnTo>
                  <a:lnTo>
                    <a:pt x="335757" y="688182"/>
                  </a:lnTo>
                  <a:lnTo>
                    <a:pt x="345282" y="688182"/>
                  </a:lnTo>
                  <a:lnTo>
                    <a:pt x="345282" y="733425"/>
                  </a:lnTo>
                  <a:lnTo>
                    <a:pt x="371475" y="733425"/>
                  </a:lnTo>
                  <a:lnTo>
                    <a:pt x="371475" y="819150"/>
                  </a:lnTo>
                  <a:lnTo>
                    <a:pt x="421482" y="819150"/>
                  </a:lnTo>
                  <a:lnTo>
                    <a:pt x="421482" y="871538"/>
                  </a:lnTo>
                  <a:lnTo>
                    <a:pt x="426244" y="897732"/>
                  </a:lnTo>
                  <a:lnTo>
                    <a:pt x="426244" y="897732"/>
                  </a:lnTo>
                  <a:lnTo>
                    <a:pt x="435769" y="921544"/>
                  </a:lnTo>
                  <a:lnTo>
                    <a:pt x="435769" y="957263"/>
                  </a:lnTo>
                  <a:lnTo>
                    <a:pt x="442913" y="959644"/>
                  </a:lnTo>
                  <a:lnTo>
                    <a:pt x="442913" y="1002507"/>
                  </a:lnTo>
                  <a:lnTo>
                    <a:pt x="454819" y="1007269"/>
                  </a:lnTo>
                  <a:lnTo>
                    <a:pt x="454819" y="1052513"/>
                  </a:lnTo>
                  <a:lnTo>
                    <a:pt x="509588" y="1052513"/>
                  </a:lnTo>
                  <a:lnTo>
                    <a:pt x="509588" y="1102519"/>
                  </a:lnTo>
                  <a:lnTo>
                    <a:pt x="561975" y="1102519"/>
                  </a:lnTo>
                  <a:lnTo>
                    <a:pt x="561975" y="1166813"/>
                  </a:lnTo>
                  <a:lnTo>
                    <a:pt x="578644" y="1166813"/>
                  </a:lnTo>
                  <a:lnTo>
                    <a:pt x="578644" y="1223963"/>
                  </a:lnTo>
                  <a:lnTo>
                    <a:pt x="638175" y="1223963"/>
                  </a:lnTo>
                  <a:lnTo>
                    <a:pt x="638175" y="1283494"/>
                  </a:lnTo>
                  <a:lnTo>
                    <a:pt x="700088" y="1283494"/>
                  </a:lnTo>
                  <a:lnTo>
                    <a:pt x="700088" y="1357313"/>
                  </a:lnTo>
                  <a:lnTo>
                    <a:pt x="826294" y="1357313"/>
                  </a:lnTo>
                  <a:lnTo>
                    <a:pt x="826294" y="1431132"/>
                  </a:lnTo>
                  <a:lnTo>
                    <a:pt x="969169" y="1431132"/>
                  </a:lnTo>
                  <a:lnTo>
                    <a:pt x="969169" y="1514475"/>
                  </a:lnTo>
                  <a:lnTo>
                    <a:pt x="1045369" y="1514475"/>
                  </a:lnTo>
                </a:path>
              </a:pathLst>
            </a:custGeom>
            <a:noFill/>
            <a:ln w="47625" cap="rnd" cmpd="sng" algn="ctr">
              <a:solidFill>
                <a:srgbClr val="9851A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8743" tIns="49371" rIns="98743" bIns="49371" numCol="1" rtlCol="0" anchor="t" anchorCtr="0" compatLnSpc="1">
              <a:prstTxWarp prst="textNoShape">
                <a:avLst/>
              </a:prstTxWarp>
            </a:bodyPr>
            <a:lstStyle/>
            <a:p>
              <a:pPr defTabSz="987415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Bahnschrift" panose="020B0502040204020203" pitchFamily="34" charset="0"/>
              </a:endParaRPr>
            </a:p>
          </p:txBody>
        </p:sp>
        <p:sp>
          <p:nvSpPr>
            <p:cNvPr id="71" name="Freeform 117">
              <a:extLst>
                <a:ext uri="{FF2B5EF4-FFF2-40B4-BE49-F238E27FC236}">
                  <a16:creationId xmlns:a16="http://schemas.microsoft.com/office/drawing/2014/main" id="{14CAFD2F-8BF9-4616-9647-F6E0EC9CD01B}"/>
                </a:ext>
              </a:extLst>
            </p:cNvPr>
            <p:cNvSpPr/>
            <p:nvPr/>
          </p:nvSpPr>
          <p:spPr bwMode="auto">
            <a:xfrm>
              <a:off x="1930139" y="4307506"/>
              <a:ext cx="2095500" cy="161925"/>
            </a:xfrm>
            <a:custGeom>
              <a:avLst/>
              <a:gdLst>
                <a:gd name="connsiteX0" fmla="*/ 0 w 2095500"/>
                <a:gd name="connsiteY0" fmla="*/ 0 h 161925"/>
                <a:gd name="connsiteX1" fmla="*/ 53975 w 2095500"/>
                <a:gd name="connsiteY1" fmla="*/ 0 h 161925"/>
                <a:gd name="connsiteX2" fmla="*/ 53975 w 2095500"/>
                <a:gd name="connsiteY2" fmla="*/ 66675 h 161925"/>
                <a:gd name="connsiteX3" fmla="*/ 346075 w 2095500"/>
                <a:gd name="connsiteY3" fmla="*/ 66675 h 161925"/>
                <a:gd name="connsiteX4" fmla="*/ 346075 w 2095500"/>
                <a:gd name="connsiteY4" fmla="*/ 161925 h 161925"/>
                <a:gd name="connsiteX5" fmla="*/ 2095500 w 2095500"/>
                <a:gd name="connsiteY5" fmla="*/ 1619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0" h="161925">
                  <a:moveTo>
                    <a:pt x="0" y="0"/>
                  </a:moveTo>
                  <a:lnTo>
                    <a:pt x="53975" y="0"/>
                  </a:lnTo>
                  <a:lnTo>
                    <a:pt x="53975" y="66675"/>
                  </a:lnTo>
                  <a:lnTo>
                    <a:pt x="346075" y="66675"/>
                  </a:lnTo>
                  <a:lnTo>
                    <a:pt x="346075" y="161925"/>
                  </a:lnTo>
                  <a:lnTo>
                    <a:pt x="2095500" y="161925"/>
                  </a:lnTo>
                </a:path>
              </a:pathLst>
            </a:custGeom>
            <a:noFill/>
            <a:ln w="47625" cap="rnd" cmpd="sng" algn="ctr">
              <a:solidFill>
                <a:srgbClr val="9851A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8743" tIns="49371" rIns="98743" bIns="49371" numCol="1" rtlCol="0" anchor="t" anchorCtr="0" compatLnSpc="1">
              <a:prstTxWarp prst="textNoShape">
                <a:avLst/>
              </a:prstTxWarp>
            </a:bodyPr>
            <a:lstStyle/>
            <a:p>
              <a:pPr defTabSz="987415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latin typeface="Bahnschrift" panose="020B0502040204020203" pitchFamily="34" charset="0"/>
              </a:endParaRPr>
            </a:p>
          </p:txBody>
        </p:sp>
      </p:grpSp>
      <p:grpSp>
        <p:nvGrpSpPr>
          <p:cNvPr id="67" name="Group 13">
            <a:extLst>
              <a:ext uri="{FF2B5EF4-FFF2-40B4-BE49-F238E27FC236}">
                <a16:creationId xmlns:a16="http://schemas.microsoft.com/office/drawing/2014/main" id="{B90E292A-A78E-43AE-A46C-31F7912DC888}"/>
              </a:ext>
            </a:extLst>
          </p:cNvPr>
          <p:cNvGrpSpPr/>
          <p:nvPr/>
        </p:nvGrpSpPr>
        <p:grpSpPr>
          <a:xfrm>
            <a:off x="9591194" y="2624231"/>
            <a:ext cx="6224275" cy="2508081"/>
            <a:chOff x="935831" y="2793206"/>
            <a:chExt cx="3069432" cy="1021557"/>
          </a:xfrm>
        </p:grpSpPr>
        <p:sp>
          <p:nvSpPr>
            <p:cNvPr id="68" name="Freeform 114">
              <a:extLst>
                <a:ext uri="{FF2B5EF4-FFF2-40B4-BE49-F238E27FC236}">
                  <a16:creationId xmlns:a16="http://schemas.microsoft.com/office/drawing/2014/main" id="{817E24F3-8E97-4948-AB52-B24F084C2500}"/>
                </a:ext>
              </a:extLst>
            </p:cNvPr>
            <p:cNvSpPr/>
            <p:nvPr/>
          </p:nvSpPr>
          <p:spPr bwMode="auto">
            <a:xfrm>
              <a:off x="935831" y="2793206"/>
              <a:ext cx="1719264" cy="1021557"/>
            </a:xfrm>
            <a:custGeom>
              <a:avLst/>
              <a:gdLst>
                <a:gd name="connsiteX0" fmla="*/ 0 w 1719263"/>
                <a:gd name="connsiteY0" fmla="*/ 0 h 1021557"/>
                <a:gd name="connsiteX1" fmla="*/ 345282 w 1719263"/>
                <a:gd name="connsiteY1" fmla="*/ 0 h 1021557"/>
                <a:gd name="connsiteX2" fmla="*/ 345282 w 1719263"/>
                <a:gd name="connsiteY2" fmla="*/ 73819 h 1021557"/>
                <a:gd name="connsiteX3" fmla="*/ 419100 w 1719263"/>
                <a:gd name="connsiteY3" fmla="*/ 73819 h 1021557"/>
                <a:gd name="connsiteX4" fmla="*/ 419100 w 1719263"/>
                <a:gd name="connsiteY4" fmla="*/ 145257 h 1021557"/>
                <a:gd name="connsiteX5" fmla="*/ 573882 w 1719263"/>
                <a:gd name="connsiteY5" fmla="*/ 145257 h 1021557"/>
                <a:gd name="connsiteX6" fmla="*/ 573882 w 1719263"/>
                <a:gd name="connsiteY6" fmla="*/ 254794 h 1021557"/>
                <a:gd name="connsiteX7" fmla="*/ 614363 w 1719263"/>
                <a:gd name="connsiteY7" fmla="*/ 254794 h 1021557"/>
                <a:gd name="connsiteX8" fmla="*/ 614363 w 1719263"/>
                <a:gd name="connsiteY8" fmla="*/ 376238 h 1021557"/>
                <a:gd name="connsiteX9" fmla="*/ 773907 w 1719263"/>
                <a:gd name="connsiteY9" fmla="*/ 376238 h 1021557"/>
                <a:gd name="connsiteX10" fmla="*/ 773907 w 1719263"/>
                <a:gd name="connsiteY10" fmla="*/ 542925 h 1021557"/>
                <a:gd name="connsiteX11" fmla="*/ 1195388 w 1719263"/>
                <a:gd name="connsiteY11" fmla="*/ 542925 h 1021557"/>
                <a:gd name="connsiteX12" fmla="*/ 1195388 w 1719263"/>
                <a:gd name="connsiteY12" fmla="*/ 788194 h 1021557"/>
                <a:gd name="connsiteX13" fmla="*/ 1276350 w 1719263"/>
                <a:gd name="connsiteY13" fmla="*/ 788194 h 1021557"/>
                <a:gd name="connsiteX14" fmla="*/ 1276350 w 1719263"/>
                <a:gd name="connsiteY14" fmla="*/ 1021557 h 1021557"/>
                <a:gd name="connsiteX15" fmla="*/ 1719263 w 1719263"/>
                <a:gd name="connsiteY15" fmla="*/ 1021557 h 1021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9263" h="1021557">
                  <a:moveTo>
                    <a:pt x="0" y="0"/>
                  </a:moveTo>
                  <a:lnTo>
                    <a:pt x="345282" y="0"/>
                  </a:lnTo>
                  <a:lnTo>
                    <a:pt x="345282" y="73819"/>
                  </a:lnTo>
                  <a:lnTo>
                    <a:pt x="419100" y="73819"/>
                  </a:lnTo>
                  <a:lnTo>
                    <a:pt x="419100" y="145257"/>
                  </a:lnTo>
                  <a:lnTo>
                    <a:pt x="573882" y="145257"/>
                  </a:lnTo>
                  <a:lnTo>
                    <a:pt x="573882" y="254794"/>
                  </a:lnTo>
                  <a:lnTo>
                    <a:pt x="614363" y="254794"/>
                  </a:lnTo>
                  <a:lnTo>
                    <a:pt x="614363" y="376238"/>
                  </a:lnTo>
                  <a:lnTo>
                    <a:pt x="773907" y="376238"/>
                  </a:lnTo>
                  <a:lnTo>
                    <a:pt x="773907" y="542925"/>
                  </a:lnTo>
                  <a:lnTo>
                    <a:pt x="1195388" y="542925"/>
                  </a:lnTo>
                  <a:lnTo>
                    <a:pt x="1195388" y="788194"/>
                  </a:lnTo>
                  <a:lnTo>
                    <a:pt x="1276350" y="788194"/>
                  </a:lnTo>
                  <a:lnTo>
                    <a:pt x="1276350" y="1021557"/>
                  </a:lnTo>
                  <a:lnTo>
                    <a:pt x="1719263" y="1021557"/>
                  </a:lnTo>
                </a:path>
              </a:pathLst>
            </a:custGeom>
            <a:noFill/>
            <a:ln w="47625" cap="rnd" cmpd="sng" algn="ctr">
              <a:solidFill>
                <a:srgbClr val="3B61A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8743" tIns="49371" rIns="98743" bIns="49371" numCol="1" rtlCol="0" anchor="t" anchorCtr="0" compatLnSpc="1">
              <a:prstTxWarp prst="textNoShape">
                <a:avLst/>
              </a:prstTxWarp>
            </a:bodyPr>
            <a:lstStyle/>
            <a:p>
              <a:pPr defTabSz="98741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latin typeface="Bahnschrift" panose="020B0502040204020203" pitchFamily="34" charset="0"/>
              </a:endParaRPr>
            </a:p>
          </p:txBody>
        </p:sp>
        <p:sp>
          <p:nvSpPr>
            <p:cNvPr id="69" name="Freeform 115">
              <a:extLst>
                <a:ext uri="{FF2B5EF4-FFF2-40B4-BE49-F238E27FC236}">
                  <a16:creationId xmlns:a16="http://schemas.microsoft.com/office/drawing/2014/main" id="{DB933930-4E86-444C-9A91-E7293101B29D}"/>
                </a:ext>
              </a:extLst>
            </p:cNvPr>
            <p:cNvSpPr/>
            <p:nvPr/>
          </p:nvSpPr>
          <p:spPr bwMode="auto">
            <a:xfrm>
              <a:off x="2483644" y="3814763"/>
              <a:ext cx="1521619" cy="0"/>
            </a:xfrm>
            <a:custGeom>
              <a:avLst/>
              <a:gdLst>
                <a:gd name="connsiteX0" fmla="*/ 0 w 1521619"/>
                <a:gd name="connsiteY0" fmla="*/ 0 h 0"/>
                <a:gd name="connsiteX1" fmla="*/ 1521619 w 1521619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1619">
                  <a:moveTo>
                    <a:pt x="0" y="0"/>
                  </a:moveTo>
                  <a:lnTo>
                    <a:pt x="1521619" y="0"/>
                  </a:lnTo>
                </a:path>
              </a:pathLst>
            </a:custGeom>
            <a:noFill/>
            <a:ln w="47625" cap="rnd" cmpd="sng" algn="ctr">
              <a:solidFill>
                <a:srgbClr val="3B61A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8743" tIns="49371" rIns="98743" bIns="49371" numCol="1" rtlCol="0" anchor="t" anchorCtr="0" compatLnSpc="1">
              <a:prstTxWarp prst="textNoShape">
                <a:avLst/>
              </a:prstTxWarp>
            </a:bodyPr>
            <a:lstStyle/>
            <a:p>
              <a:pPr defTabSz="98741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latin typeface="Bahnschrift" panose="020B0502040204020203" pitchFamily="34" charset="0"/>
              </a:endParaRPr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F26C07B9-551C-44E4-92CC-2EC88C076D11}"/>
              </a:ext>
            </a:extLst>
          </p:cNvPr>
          <p:cNvGrpSpPr/>
          <p:nvPr/>
        </p:nvGrpSpPr>
        <p:grpSpPr>
          <a:xfrm>
            <a:off x="7379460" y="2376770"/>
            <a:ext cx="9629646" cy="6036055"/>
            <a:chOff x="7379460" y="1970370"/>
            <a:chExt cx="9629646" cy="6036055"/>
          </a:xfrm>
        </p:grpSpPr>
        <p:grpSp>
          <p:nvGrpSpPr>
            <p:cNvPr id="183" name="Agrupar 182">
              <a:extLst>
                <a:ext uri="{FF2B5EF4-FFF2-40B4-BE49-F238E27FC236}">
                  <a16:creationId xmlns:a16="http://schemas.microsoft.com/office/drawing/2014/main" id="{22B6DC9E-9926-4ADB-9924-5BB9AA22CA1F}"/>
                </a:ext>
              </a:extLst>
            </p:cNvPr>
            <p:cNvGrpSpPr/>
            <p:nvPr/>
          </p:nvGrpSpPr>
          <p:grpSpPr>
            <a:xfrm>
              <a:off x="9521549" y="1970370"/>
              <a:ext cx="6747330" cy="5700502"/>
              <a:chOff x="8848725" y="2416599"/>
              <a:chExt cx="6623505" cy="5700502"/>
            </a:xfrm>
          </p:grpSpPr>
          <p:cxnSp>
            <p:nvCxnSpPr>
              <p:cNvPr id="130" name="Conector reto 129">
                <a:extLst>
                  <a:ext uri="{FF2B5EF4-FFF2-40B4-BE49-F238E27FC236}">
                    <a16:creationId xmlns:a16="http://schemas.microsoft.com/office/drawing/2014/main" id="{5ECFDE64-AC8B-4572-8C25-5BC7FF41F4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53136" y="2416599"/>
                <a:ext cx="0" cy="5698701"/>
              </a:xfrm>
              <a:prstGeom prst="line">
                <a:avLst/>
              </a:prstGeom>
              <a:ln>
                <a:solidFill>
                  <a:srgbClr val="A7A7A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Conector reto 180">
                <a:extLst>
                  <a:ext uri="{FF2B5EF4-FFF2-40B4-BE49-F238E27FC236}">
                    <a16:creationId xmlns:a16="http://schemas.microsoft.com/office/drawing/2014/main" id="{7072DBCB-FBF9-4949-B439-A455C1160E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848725" y="8117101"/>
                <a:ext cx="6623505" cy="0"/>
              </a:xfrm>
              <a:prstGeom prst="line">
                <a:avLst/>
              </a:prstGeom>
              <a:ln>
                <a:solidFill>
                  <a:srgbClr val="A7A7A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8" name="Agrupar 207">
              <a:extLst>
                <a:ext uri="{FF2B5EF4-FFF2-40B4-BE49-F238E27FC236}">
                  <a16:creationId xmlns:a16="http://schemas.microsoft.com/office/drawing/2014/main" id="{8FD77F8B-E0C3-4FBB-9948-D73A0C44DE07}"/>
                </a:ext>
              </a:extLst>
            </p:cNvPr>
            <p:cNvGrpSpPr/>
            <p:nvPr/>
          </p:nvGrpSpPr>
          <p:grpSpPr>
            <a:xfrm>
              <a:off x="9079515" y="2054961"/>
              <a:ext cx="463588" cy="4683733"/>
              <a:chOff x="8232067" y="2501190"/>
              <a:chExt cx="463588" cy="4683733"/>
            </a:xfrm>
          </p:grpSpPr>
          <p:sp>
            <p:nvSpPr>
              <p:cNvPr id="185" name="TextBox 29">
                <a:extLst>
                  <a:ext uri="{FF2B5EF4-FFF2-40B4-BE49-F238E27FC236}">
                    <a16:creationId xmlns:a16="http://schemas.microsoft.com/office/drawing/2014/main" id="{D614FAA5-4F41-4654-92F4-743342713CDC}"/>
                  </a:ext>
                </a:extLst>
              </p:cNvPr>
              <p:cNvSpPr txBox="1"/>
              <p:nvPr/>
            </p:nvSpPr>
            <p:spPr>
              <a:xfrm>
                <a:off x="8232067" y="2501190"/>
                <a:ext cx="463588" cy="325025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100</a:t>
                </a:r>
              </a:p>
            </p:txBody>
          </p:sp>
          <p:sp>
            <p:nvSpPr>
              <p:cNvPr id="187" name="TextBox 30">
                <a:extLst>
                  <a:ext uri="{FF2B5EF4-FFF2-40B4-BE49-F238E27FC236}">
                    <a16:creationId xmlns:a16="http://schemas.microsoft.com/office/drawing/2014/main" id="{AEDF66FF-E319-4C03-B940-D2E803AD522F}"/>
                  </a:ext>
                </a:extLst>
              </p:cNvPr>
              <p:cNvSpPr txBox="1"/>
              <p:nvPr/>
            </p:nvSpPr>
            <p:spPr>
              <a:xfrm>
                <a:off x="8294582" y="3595000"/>
                <a:ext cx="401071" cy="325025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80</a:t>
                </a:r>
              </a:p>
            </p:txBody>
          </p:sp>
          <p:sp>
            <p:nvSpPr>
              <p:cNvPr id="189" name="TextBox 31">
                <a:extLst>
                  <a:ext uri="{FF2B5EF4-FFF2-40B4-BE49-F238E27FC236}">
                    <a16:creationId xmlns:a16="http://schemas.microsoft.com/office/drawing/2014/main" id="{963D5FDD-A092-4B30-ADC2-1C9360236B42}"/>
                  </a:ext>
                </a:extLst>
              </p:cNvPr>
              <p:cNvSpPr txBox="1"/>
              <p:nvPr/>
            </p:nvSpPr>
            <p:spPr>
              <a:xfrm>
                <a:off x="8304200" y="6859898"/>
                <a:ext cx="391453" cy="325025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20</a:t>
                </a:r>
              </a:p>
            </p:txBody>
          </p:sp>
          <p:sp>
            <p:nvSpPr>
              <p:cNvPr id="203" name="TextBox 40">
                <a:extLst>
                  <a:ext uri="{FF2B5EF4-FFF2-40B4-BE49-F238E27FC236}">
                    <a16:creationId xmlns:a16="http://schemas.microsoft.com/office/drawing/2014/main" id="{9917636A-D018-4A55-88C5-599E25744D33}"/>
                  </a:ext>
                </a:extLst>
              </p:cNvPr>
              <p:cNvSpPr txBox="1"/>
              <p:nvPr/>
            </p:nvSpPr>
            <p:spPr>
              <a:xfrm>
                <a:off x="8304200" y="4676818"/>
                <a:ext cx="391453" cy="325025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60</a:t>
                </a:r>
              </a:p>
            </p:txBody>
          </p:sp>
          <p:sp>
            <p:nvSpPr>
              <p:cNvPr id="207" name="TextBox 42">
                <a:extLst>
                  <a:ext uri="{FF2B5EF4-FFF2-40B4-BE49-F238E27FC236}">
                    <a16:creationId xmlns:a16="http://schemas.microsoft.com/office/drawing/2014/main" id="{9DE3AE8D-D8B9-458D-B7B5-39860F81ECBF}"/>
                  </a:ext>
                </a:extLst>
              </p:cNvPr>
              <p:cNvSpPr txBox="1"/>
              <p:nvPr/>
            </p:nvSpPr>
            <p:spPr>
              <a:xfrm>
                <a:off x="8292979" y="5766408"/>
                <a:ext cx="402674" cy="325025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40</a:t>
                </a:r>
              </a:p>
            </p:txBody>
          </p:sp>
        </p:grpSp>
        <p:sp>
          <p:nvSpPr>
            <p:cNvPr id="210" name="TextBox 38">
              <a:extLst>
                <a:ext uri="{FF2B5EF4-FFF2-40B4-BE49-F238E27FC236}">
                  <a16:creationId xmlns:a16="http://schemas.microsoft.com/office/drawing/2014/main" id="{1B090AC6-D677-48C0-BF26-EBCF9B3275BA}"/>
                </a:ext>
              </a:extLst>
            </p:cNvPr>
            <p:cNvSpPr txBox="1"/>
            <p:nvPr/>
          </p:nvSpPr>
          <p:spPr>
            <a:xfrm>
              <a:off x="7379460" y="2025932"/>
              <a:ext cx="1593118" cy="1200329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r" defTabSz="987415">
                <a:defRPr/>
              </a:pPr>
              <a:r>
                <a:rPr lang="pt-BR" sz="1800" kern="0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SG do diagnóstico de melanoma metastático, %</a:t>
              </a:r>
            </a:p>
          </p:txBody>
        </p:sp>
        <p:grpSp>
          <p:nvGrpSpPr>
            <p:cNvPr id="216" name="Agrupar 215">
              <a:extLst>
                <a:ext uri="{FF2B5EF4-FFF2-40B4-BE49-F238E27FC236}">
                  <a16:creationId xmlns:a16="http://schemas.microsoft.com/office/drawing/2014/main" id="{52696B03-4ED9-44A3-84E9-375AC3843830}"/>
                </a:ext>
              </a:extLst>
            </p:cNvPr>
            <p:cNvGrpSpPr/>
            <p:nvPr/>
          </p:nvGrpSpPr>
          <p:grpSpPr>
            <a:xfrm>
              <a:off x="9781938" y="6417665"/>
              <a:ext cx="1918554" cy="1040141"/>
              <a:chOff x="8985290" y="6863894"/>
              <a:chExt cx="1918554" cy="1040141"/>
            </a:xfrm>
          </p:grpSpPr>
          <p:sp>
            <p:nvSpPr>
              <p:cNvPr id="212" name="CaixaDeTexto 211">
                <a:extLst>
                  <a:ext uri="{FF2B5EF4-FFF2-40B4-BE49-F238E27FC236}">
                    <a16:creationId xmlns:a16="http://schemas.microsoft.com/office/drawing/2014/main" id="{4ECBEE58-BA8C-4D37-8E0A-AB1589A1496A}"/>
                  </a:ext>
                </a:extLst>
              </p:cNvPr>
              <p:cNvSpPr txBox="1"/>
              <p:nvPr/>
            </p:nvSpPr>
            <p:spPr>
              <a:xfrm>
                <a:off x="8985290" y="6863894"/>
                <a:ext cx="873085" cy="102310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874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512" b="1" kern="0" dirty="0" err="1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Geral</a:t>
                </a:r>
                <a:b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</a:b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A vs C</a:t>
                </a:r>
              </a:p>
              <a:p>
                <a:pPr marL="0" marR="0" lvl="0" indent="0" algn="l" defTabSz="9874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B vs C</a:t>
                </a:r>
              </a:p>
              <a:p>
                <a:pPr marL="0" marR="0" lvl="0" indent="0" algn="l" defTabSz="9874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A vs B</a:t>
                </a:r>
              </a:p>
            </p:txBody>
          </p:sp>
          <p:sp>
            <p:nvSpPr>
              <p:cNvPr id="214" name="CaixaDeTexto 213">
                <a:extLst>
                  <a:ext uri="{FF2B5EF4-FFF2-40B4-BE49-F238E27FC236}">
                    <a16:creationId xmlns:a16="http://schemas.microsoft.com/office/drawing/2014/main" id="{95A7D387-A2C8-4029-9AC6-265727BDCF15}"/>
                  </a:ext>
                </a:extLst>
              </p:cNvPr>
              <p:cNvSpPr txBox="1"/>
              <p:nvPr/>
            </p:nvSpPr>
            <p:spPr>
              <a:xfrm>
                <a:off x="9769573" y="6880934"/>
                <a:ext cx="1134271" cy="102310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kumimoji="0" lang="en-US" sz="1512" i="0" u="none" strike="noStrike" kern="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P &lt; .001</a:t>
                </a:r>
              </a:p>
              <a:p>
                <a:r>
                  <a:rPr kumimoji="0" lang="en-US" sz="1512" i="0" u="none" strike="noStrike" kern="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P &lt; .003</a:t>
                </a:r>
              </a:p>
              <a:p>
                <a:r>
                  <a:rPr kumimoji="0" lang="en-US" sz="1512" i="0" u="none" strike="noStrike" kern="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P = .006</a:t>
                </a:r>
              </a:p>
              <a:p>
                <a:r>
                  <a:rPr kumimoji="0" lang="en-US" sz="1512" i="0" u="none" strike="noStrike" kern="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P = .138</a:t>
                </a:r>
                <a:endParaRPr lang="pt-BR" dirty="0"/>
              </a:p>
            </p:txBody>
          </p:sp>
        </p:grpSp>
        <p:sp>
          <p:nvSpPr>
            <p:cNvPr id="219" name="TextBox 37">
              <a:extLst>
                <a:ext uri="{FF2B5EF4-FFF2-40B4-BE49-F238E27FC236}">
                  <a16:creationId xmlns:a16="http://schemas.microsoft.com/office/drawing/2014/main" id="{6E0F97EF-5D7F-43BA-B7A0-7A33A551C4F2}"/>
                </a:ext>
              </a:extLst>
            </p:cNvPr>
            <p:cNvSpPr txBox="1"/>
            <p:nvPr/>
          </p:nvSpPr>
          <p:spPr>
            <a:xfrm>
              <a:off x="16118902" y="7637094"/>
              <a:ext cx="890204" cy="369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87415">
                <a:defRPr/>
              </a:pPr>
              <a:r>
                <a:rPr lang="en-US" sz="1800" kern="0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Years</a:t>
              </a:r>
            </a:p>
          </p:txBody>
        </p:sp>
        <p:grpSp>
          <p:nvGrpSpPr>
            <p:cNvPr id="234" name="Agrupar 233">
              <a:extLst>
                <a:ext uri="{FF2B5EF4-FFF2-40B4-BE49-F238E27FC236}">
                  <a16:creationId xmlns:a16="http://schemas.microsoft.com/office/drawing/2014/main" id="{A0BE618A-1275-43D9-B4D9-1006F45F01F4}"/>
                </a:ext>
              </a:extLst>
            </p:cNvPr>
            <p:cNvGrpSpPr/>
            <p:nvPr/>
          </p:nvGrpSpPr>
          <p:grpSpPr>
            <a:xfrm>
              <a:off x="9499811" y="7659248"/>
              <a:ext cx="6125514" cy="325030"/>
              <a:chOff x="8703163" y="8294873"/>
              <a:chExt cx="6125514" cy="325030"/>
            </a:xfrm>
          </p:grpSpPr>
          <p:sp>
            <p:nvSpPr>
              <p:cNvPr id="223" name="TextBox 32">
                <a:extLst>
                  <a:ext uri="{FF2B5EF4-FFF2-40B4-BE49-F238E27FC236}">
                    <a16:creationId xmlns:a16="http://schemas.microsoft.com/office/drawing/2014/main" id="{9F0D165F-A446-4A49-9E24-FF12C8D56F85}"/>
                  </a:ext>
                </a:extLst>
              </p:cNvPr>
              <p:cNvSpPr txBox="1"/>
              <p:nvPr/>
            </p:nvSpPr>
            <p:spPr>
              <a:xfrm>
                <a:off x="8703163" y="8294878"/>
                <a:ext cx="292068" cy="325025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lstStyle/>
              <a:p>
                <a:pPr algn="ct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0</a:t>
                </a:r>
              </a:p>
            </p:txBody>
          </p:sp>
          <p:sp>
            <p:nvSpPr>
              <p:cNvPr id="225" name="TextBox 33">
                <a:extLst>
                  <a:ext uri="{FF2B5EF4-FFF2-40B4-BE49-F238E27FC236}">
                    <a16:creationId xmlns:a16="http://schemas.microsoft.com/office/drawing/2014/main" id="{0DDF2759-57AC-4B0C-B693-7DC10464B4F8}"/>
                  </a:ext>
                </a:extLst>
              </p:cNvPr>
              <p:cNvSpPr txBox="1"/>
              <p:nvPr/>
            </p:nvSpPr>
            <p:spPr>
              <a:xfrm>
                <a:off x="9853846" y="8294878"/>
                <a:ext cx="248786" cy="325025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lstStyle/>
              <a:p>
                <a:pPr algn="ct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1</a:t>
                </a:r>
              </a:p>
            </p:txBody>
          </p:sp>
          <p:sp>
            <p:nvSpPr>
              <p:cNvPr id="227" name="TextBox 34">
                <a:extLst>
                  <a:ext uri="{FF2B5EF4-FFF2-40B4-BE49-F238E27FC236}">
                    <a16:creationId xmlns:a16="http://schemas.microsoft.com/office/drawing/2014/main" id="{C2A48EB1-3ADC-45B5-A6BB-CDF61B3D72C3}"/>
                  </a:ext>
                </a:extLst>
              </p:cNvPr>
              <p:cNvSpPr txBox="1"/>
              <p:nvPr/>
            </p:nvSpPr>
            <p:spPr>
              <a:xfrm>
                <a:off x="11027914" y="8294878"/>
                <a:ext cx="284052" cy="325025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lstStyle/>
              <a:p>
                <a:pPr algn="ct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2</a:t>
                </a:r>
              </a:p>
            </p:txBody>
          </p:sp>
          <p:sp>
            <p:nvSpPr>
              <p:cNvPr id="229" name="TextBox 35">
                <a:extLst>
                  <a:ext uri="{FF2B5EF4-FFF2-40B4-BE49-F238E27FC236}">
                    <a16:creationId xmlns:a16="http://schemas.microsoft.com/office/drawing/2014/main" id="{C3CC76C7-92C6-4AA3-A463-C36315B49682}"/>
                  </a:ext>
                </a:extLst>
              </p:cNvPr>
              <p:cNvSpPr txBox="1"/>
              <p:nvPr/>
            </p:nvSpPr>
            <p:spPr>
              <a:xfrm>
                <a:off x="12184277" y="8294878"/>
                <a:ext cx="287258" cy="325025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lstStyle/>
              <a:p>
                <a:pPr algn="ct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3</a:t>
                </a:r>
              </a:p>
            </p:txBody>
          </p:sp>
          <p:sp>
            <p:nvSpPr>
              <p:cNvPr id="231" name="TextBox 36">
                <a:extLst>
                  <a:ext uri="{FF2B5EF4-FFF2-40B4-BE49-F238E27FC236}">
                    <a16:creationId xmlns:a16="http://schemas.microsoft.com/office/drawing/2014/main" id="{0BB172C0-DEC1-4CFC-94F8-FFE860DA5CC9}"/>
                  </a:ext>
                </a:extLst>
              </p:cNvPr>
              <p:cNvSpPr txBox="1"/>
              <p:nvPr/>
            </p:nvSpPr>
            <p:spPr>
              <a:xfrm>
                <a:off x="13344104" y="8294878"/>
                <a:ext cx="295273" cy="325025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lstStyle/>
              <a:p>
                <a:pPr algn="ct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4</a:t>
                </a:r>
              </a:p>
            </p:txBody>
          </p:sp>
          <p:sp>
            <p:nvSpPr>
              <p:cNvPr id="233" name="TextBox 41">
                <a:extLst>
                  <a:ext uri="{FF2B5EF4-FFF2-40B4-BE49-F238E27FC236}">
                    <a16:creationId xmlns:a16="http://schemas.microsoft.com/office/drawing/2014/main" id="{9C23609E-06F2-4FA0-BE97-60470B6586EC}"/>
                  </a:ext>
                </a:extLst>
              </p:cNvPr>
              <p:cNvSpPr txBox="1"/>
              <p:nvPr/>
            </p:nvSpPr>
            <p:spPr>
              <a:xfrm>
                <a:off x="14538213" y="8294873"/>
                <a:ext cx="290464" cy="325025"/>
              </a:xfrm>
              <a:prstGeom prst="rect">
                <a:avLst/>
              </a:prstGeom>
              <a:noFill/>
            </p:spPr>
            <p:txBody>
              <a:bodyPr wrap="none" rtlCol="0" anchor="t">
                <a:spAutoFit/>
              </a:bodyPr>
              <a:lstStyle/>
              <a:p>
                <a:pPr algn="ctr" defTabSz="987415">
                  <a:defRPr/>
                </a:pPr>
                <a:r>
                  <a:rPr lang="en-US" sz="1512" b="1" kern="0" dirty="0">
                    <a:solidFill>
                      <a:srgbClr val="404040"/>
                    </a:solidFill>
                    <a:latin typeface="Bahnschrift" panose="020B0502040204020203" pitchFamily="34" charset="0"/>
                  </a:rPr>
                  <a:t>5</a:t>
                </a:r>
              </a:p>
            </p:txBody>
          </p:sp>
        </p:grpSp>
      </p:grpSp>
      <p:grpSp>
        <p:nvGrpSpPr>
          <p:cNvPr id="245" name="Agrupar 244">
            <a:extLst>
              <a:ext uri="{FF2B5EF4-FFF2-40B4-BE49-F238E27FC236}">
                <a16:creationId xmlns:a16="http://schemas.microsoft.com/office/drawing/2014/main" id="{C3E92EBB-A1D2-4172-A5A8-DC0E2D0E7649}"/>
              </a:ext>
            </a:extLst>
          </p:cNvPr>
          <p:cNvGrpSpPr/>
          <p:nvPr/>
        </p:nvGrpSpPr>
        <p:grpSpPr>
          <a:xfrm>
            <a:off x="14155209" y="2660659"/>
            <a:ext cx="3509634" cy="1111179"/>
            <a:chOff x="11514828" y="2634097"/>
            <a:chExt cx="2604120" cy="1111179"/>
          </a:xfrm>
        </p:grpSpPr>
        <p:sp>
          <p:nvSpPr>
            <p:cNvPr id="239" name="TextBox 27">
              <a:extLst>
                <a:ext uri="{FF2B5EF4-FFF2-40B4-BE49-F238E27FC236}">
                  <a16:creationId xmlns:a16="http://schemas.microsoft.com/office/drawing/2014/main" id="{9EE32465-BD15-4792-A1EB-A4D912B7B9AC}"/>
                </a:ext>
              </a:extLst>
            </p:cNvPr>
            <p:cNvSpPr txBox="1"/>
            <p:nvPr/>
          </p:nvSpPr>
          <p:spPr>
            <a:xfrm>
              <a:off x="11971298" y="2634097"/>
              <a:ext cx="2147650" cy="338554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987415">
                <a:defRPr/>
              </a:pPr>
              <a:r>
                <a:rPr lang="en-US" sz="1600" b="1" kern="0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BRAF+ com </a:t>
              </a:r>
              <a:r>
                <a:rPr lang="en-US" sz="1600" b="1" kern="0" dirty="0" err="1">
                  <a:solidFill>
                    <a:srgbClr val="404040"/>
                  </a:solidFill>
                  <a:latin typeface="Bahnschrift" panose="020B0502040204020203" pitchFamily="34" charset="0"/>
                </a:rPr>
                <a:t>inibidor</a:t>
              </a:r>
              <a:endParaRPr lang="en-US" sz="1600" b="1" kern="0" dirty="0">
                <a:solidFill>
                  <a:srgbClr val="404040"/>
                </a:solidFill>
                <a:latin typeface="Bahnschrift" panose="020B0502040204020203" pitchFamily="34" charset="0"/>
              </a:endParaRPr>
            </a:p>
          </p:txBody>
        </p:sp>
        <p:cxnSp>
          <p:nvCxnSpPr>
            <p:cNvPr id="240" name="Straight Connector 28">
              <a:extLst>
                <a:ext uri="{FF2B5EF4-FFF2-40B4-BE49-F238E27FC236}">
                  <a16:creationId xmlns:a16="http://schemas.microsoft.com/office/drawing/2014/main" id="{192C01D7-4E79-44BD-8368-213BB0639D7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14828" y="2836034"/>
              <a:ext cx="296679" cy="0"/>
            </a:xfrm>
            <a:prstGeom prst="line">
              <a:avLst/>
            </a:prstGeom>
            <a:noFill/>
            <a:ln w="47625" cap="rnd" cmpd="sng" algn="ctr">
              <a:solidFill>
                <a:srgbClr val="3B61A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241" name="TextBox 25">
              <a:extLst>
                <a:ext uri="{FF2B5EF4-FFF2-40B4-BE49-F238E27FC236}">
                  <a16:creationId xmlns:a16="http://schemas.microsoft.com/office/drawing/2014/main" id="{4F78CACB-5074-47EB-8E87-83F1782F2F4F}"/>
                </a:ext>
              </a:extLst>
            </p:cNvPr>
            <p:cNvSpPr txBox="1"/>
            <p:nvPr/>
          </p:nvSpPr>
          <p:spPr>
            <a:xfrm>
              <a:off x="11971298" y="2913634"/>
              <a:ext cx="884000" cy="584775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987415">
                <a:defRPr/>
              </a:pPr>
              <a:r>
                <a:rPr lang="en-US" sz="1600" b="1" kern="0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B. </a:t>
              </a:r>
              <a:r>
                <a:rPr lang="en-US" sz="1600" b="1" i="1" kern="0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BRAF</a:t>
              </a:r>
              <a:r>
                <a:rPr lang="en-US" sz="1600" b="1" kern="0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 WT</a:t>
              </a:r>
            </a:p>
          </p:txBody>
        </p:sp>
        <p:cxnSp>
          <p:nvCxnSpPr>
            <p:cNvPr id="242" name="Straight Connector 26">
              <a:extLst>
                <a:ext uri="{FF2B5EF4-FFF2-40B4-BE49-F238E27FC236}">
                  <a16:creationId xmlns:a16="http://schemas.microsoft.com/office/drawing/2014/main" id="{460F8493-CC9A-4AA7-B76E-3B099D3A30E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14828" y="3206021"/>
              <a:ext cx="296679" cy="0"/>
            </a:xfrm>
            <a:prstGeom prst="line">
              <a:avLst/>
            </a:prstGeom>
            <a:noFill/>
            <a:ln w="47625" cap="rnd" cmpd="sng" algn="ctr">
              <a:solidFill>
                <a:srgbClr val="56EFFD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243" name="TextBox 23">
              <a:extLst>
                <a:ext uri="{FF2B5EF4-FFF2-40B4-BE49-F238E27FC236}">
                  <a16:creationId xmlns:a16="http://schemas.microsoft.com/office/drawing/2014/main" id="{F9F183D9-6861-4D5F-9B19-5B5AE7B7D744}"/>
                </a:ext>
              </a:extLst>
            </p:cNvPr>
            <p:cNvSpPr txBox="1"/>
            <p:nvPr/>
          </p:nvSpPr>
          <p:spPr>
            <a:xfrm>
              <a:off x="11971298" y="3406722"/>
              <a:ext cx="2033350" cy="338554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987415">
                <a:defRPr/>
              </a:pPr>
              <a:r>
                <a:rPr lang="en-US" sz="1600" b="1" kern="0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BRAF+ </a:t>
              </a:r>
              <a:r>
                <a:rPr lang="en-US" sz="1600" b="1" kern="0" dirty="0" err="1">
                  <a:solidFill>
                    <a:srgbClr val="404040"/>
                  </a:solidFill>
                  <a:latin typeface="Bahnschrift" panose="020B0502040204020203" pitchFamily="34" charset="0"/>
                </a:rPr>
                <a:t>sem</a:t>
              </a:r>
              <a:r>
                <a:rPr lang="en-US" sz="1600" b="1" kern="0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 </a:t>
              </a:r>
              <a:r>
                <a:rPr lang="en-US" sz="1600" b="1" kern="0" dirty="0" err="1">
                  <a:solidFill>
                    <a:srgbClr val="404040"/>
                  </a:solidFill>
                  <a:latin typeface="Bahnschrift" panose="020B0502040204020203" pitchFamily="34" charset="0"/>
                </a:rPr>
                <a:t>inibidor</a:t>
              </a:r>
              <a:endParaRPr lang="en-US" sz="1600" b="1" kern="0" dirty="0">
                <a:solidFill>
                  <a:srgbClr val="404040"/>
                </a:solidFill>
                <a:latin typeface="Bahnschrift" panose="020B0502040204020203" pitchFamily="34" charset="0"/>
              </a:endParaRPr>
            </a:p>
          </p:txBody>
        </p:sp>
        <p:cxnSp>
          <p:nvCxnSpPr>
            <p:cNvPr id="244" name="Straight Connector 24">
              <a:extLst>
                <a:ext uri="{FF2B5EF4-FFF2-40B4-BE49-F238E27FC236}">
                  <a16:creationId xmlns:a16="http://schemas.microsoft.com/office/drawing/2014/main" id="{40AB33FA-8D85-45DC-BBC8-7AE41F2D0C0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514828" y="3575998"/>
              <a:ext cx="296679" cy="0"/>
            </a:xfrm>
            <a:prstGeom prst="line">
              <a:avLst/>
            </a:prstGeom>
            <a:noFill/>
            <a:ln w="47625" cap="rnd" cmpd="sng" algn="ctr">
              <a:solidFill>
                <a:srgbClr val="9851A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5FA0F7A4-ECAB-4C1D-BCF4-7F3E1EC7D4AF}"/>
              </a:ext>
            </a:extLst>
          </p:cNvPr>
          <p:cNvGrpSpPr/>
          <p:nvPr/>
        </p:nvGrpSpPr>
        <p:grpSpPr>
          <a:xfrm>
            <a:off x="9201149" y="895036"/>
            <a:ext cx="7362855" cy="1015657"/>
            <a:chOff x="9201149" y="488636"/>
            <a:chExt cx="7362855" cy="1015657"/>
          </a:xfrm>
        </p:grpSpPr>
        <p:sp>
          <p:nvSpPr>
            <p:cNvPr id="246" name="Retângulo 245">
              <a:extLst>
                <a:ext uri="{FF2B5EF4-FFF2-40B4-BE49-F238E27FC236}">
                  <a16:creationId xmlns:a16="http://schemas.microsoft.com/office/drawing/2014/main" id="{C8EC6808-3064-40D2-A253-47DFEA7C068A}"/>
                </a:ext>
              </a:extLst>
            </p:cNvPr>
            <p:cNvSpPr/>
            <p:nvPr/>
          </p:nvSpPr>
          <p:spPr>
            <a:xfrm>
              <a:off x="9201149" y="488636"/>
              <a:ext cx="7362855" cy="10156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16736"/>
              <a:endParaRPr lang="pt-BR" sz="2592"/>
            </a:p>
          </p:txBody>
        </p:sp>
        <p:sp>
          <p:nvSpPr>
            <p:cNvPr id="247" name="Triângulo isósceles 246">
              <a:extLst>
                <a:ext uri="{FF2B5EF4-FFF2-40B4-BE49-F238E27FC236}">
                  <a16:creationId xmlns:a16="http://schemas.microsoft.com/office/drawing/2014/main" id="{92344BBA-30DF-4C14-B080-1864C1E440A0}"/>
                </a:ext>
              </a:extLst>
            </p:cNvPr>
            <p:cNvSpPr/>
            <p:nvPr/>
          </p:nvSpPr>
          <p:spPr>
            <a:xfrm>
              <a:off x="15970279" y="826869"/>
              <a:ext cx="593725" cy="677424"/>
            </a:xfrm>
            <a:prstGeom prst="triangle">
              <a:avLst>
                <a:gd name="adj" fmla="val 100000"/>
              </a:avLst>
            </a:prstGeom>
            <a:gradFill flip="none" rotWithShape="1">
              <a:gsLst>
                <a:gs pos="0">
                  <a:srgbClr val="1496D4"/>
                </a:gs>
                <a:gs pos="100000">
                  <a:srgbClr val="3B61AC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16736"/>
              <a:endParaRPr lang="pt-BR" sz="2592"/>
            </a:p>
          </p:txBody>
        </p:sp>
        <p:sp>
          <p:nvSpPr>
            <p:cNvPr id="5" name="TextBox 27">
              <a:extLst>
                <a:ext uri="{FF2B5EF4-FFF2-40B4-BE49-F238E27FC236}">
                  <a16:creationId xmlns:a16="http://schemas.microsoft.com/office/drawing/2014/main" id="{71061C75-4143-4893-B86F-A3DFB828CBA1}"/>
                </a:ext>
              </a:extLst>
            </p:cNvPr>
            <p:cNvSpPr txBox="1"/>
            <p:nvPr/>
          </p:nvSpPr>
          <p:spPr>
            <a:xfrm>
              <a:off x="9540219" y="594376"/>
              <a:ext cx="5390962" cy="880241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defTabSz="987415">
                <a:lnSpc>
                  <a:spcPct val="80000"/>
                </a:lnSpc>
                <a:defRPr/>
              </a:pPr>
              <a:r>
                <a:rPr lang="pt-BR" sz="3200" b="1" kern="0" dirty="0">
                  <a:solidFill>
                    <a:srgbClr val="404040"/>
                  </a:solidFill>
                  <a:latin typeface="Bahnschrift" panose="020B0502040204020203" pitchFamily="34" charset="0"/>
                </a:rPr>
                <a:t>SG do diagnóstico de melanoma metastático, %</a:t>
              </a:r>
            </a:p>
          </p:txBody>
        </p:sp>
      </p:grpSp>
      <p:sp>
        <p:nvSpPr>
          <p:cNvPr id="14" name="TextBox 27">
            <a:extLst>
              <a:ext uri="{FF2B5EF4-FFF2-40B4-BE49-F238E27FC236}">
                <a16:creationId xmlns:a16="http://schemas.microsoft.com/office/drawing/2014/main" id="{FB98022D-9337-4C57-9580-475FFC0FA0DE}"/>
              </a:ext>
            </a:extLst>
          </p:cNvPr>
          <p:cNvSpPr txBox="1"/>
          <p:nvPr/>
        </p:nvSpPr>
        <p:spPr>
          <a:xfrm>
            <a:off x="9969019" y="8572344"/>
            <a:ext cx="681006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defTabSz="987415">
              <a:defRPr/>
            </a:pPr>
            <a:r>
              <a:rPr lang="fr-FR" sz="1200" kern="0" dirty="0">
                <a:solidFill>
                  <a:srgbClr val="404040"/>
                </a:solidFill>
                <a:latin typeface="Bahnschrift" panose="020B0502040204020203" pitchFamily="34" charset="0"/>
              </a:rPr>
              <a:t>1. Jakob JA, et al. Cancer. 2012;118:4014-4023. 2. Long GV, et al. J Clin Oncol. 2011;29:1239-1246</a:t>
            </a:r>
            <a:r>
              <a:rPr lang="fr-FR" sz="1050" kern="0" dirty="0">
                <a:solidFill>
                  <a:srgbClr val="404040"/>
                </a:solidFill>
                <a:latin typeface="Bahnschrift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697393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5" grpId="0" animBg="1"/>
      <p:bldP spid="256" grpId="0" animBg="1"/>
      <p:bldP spid="1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DB85C51A-1FE0-D555-2D91-7D13A55A6E02}"/>
              </a:ext>
            </a:extLst>
          </p:cNvPr>
          <p:cNvSpPr txBox="1"/>
          <p:nvPr/>
        </p:nvSpPr>
        <p:spPr>
          <a:xfrm>
            <a:off x="772021" y="612447"/>
            <a:ext cx="1504344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600" dirty="0"/>
              <a:t>Mutações Alvo em Melanoma</a:t>
            </a:r>
          </a:p>
        </p:txBody>
      </p:sp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353AFF51-7B91-EB78-C784-813626E055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5836" y="2042153"/>
            <a:ext cx="14073182" cy="6470428"/>
          </a:xfrm>
          <a:prstGeom prst="rect">
            <a:avLst/>
          </a:prstGeom>
        </p:spPr>
      </p:pic>
      <p:sp>
        <p:nvSpPr>
          <p:cNvPr id="7" name="Estrela de 5 Pontas 6">
            <a:extLst>
              <a:ext uri="{FF2B5EF4-FFF2-40B4-BE49-F238E27FC236}">
                <a16:creationId xmlns:a16="http://schemas.microsoft.com/office/drawing/2014/main" id="{11DC77AB-731C-4B10-9FE7-B09B61D0CDE9}"/>
              </a:ext>
            </a:extLst>
          </p:cNvPr>
          <p:cNvSpPr/>
          <p:nvPr/>
        </p:nvSpPr>
        <p:spPr>
          <a:xfrm>
            <a:off x="15815464" y="2743199"/>
            <a:ext cx="1297172" cy="1339702"/>
          </a:xfrm>
          <a:prstGeom prst="star5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Símbolo de &quot;Não&quot; 7">
            <a:extLst>
              <a:ext uri="{FF2B5EF4-FFF2-40B4-BE49-F238E27FC236}">
                <a16:creationId xmlns:a16="http://schemas.microsoft.com/office/drawing/2014/main" id="{640888DB-11BB-0280-8700-554A8F0199BF}"/>
              </a:ext>
            </a:extLst>
          </p:cNvPr>
          <p:cNvSpPr/>
          <p:nvPr/>
        </p:nvSpPr>
        <p:spPr>
          <a:xfrm>
            <a:off x="15835800" y="6081823"/>
            <a:ext cx="1239156" cy="1169581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582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tângulo 51">
            <a:extLst>
              <a:ext uri="{FF2B5EF4-FFF2-40B4-BE49-F238E27FC236}">
                <a16:creationId xmlns:a16="http://schemas.microsoft.com/office/drawing/2014/main" id="{D1598813-4532-4017-8F96-A171D8D0A69C}"/>
              </a:ext>
            </a:extLst>
          </p:cNvPr>
          <p:cNvSpPr/>
          <p:nvPr/>
        </p:nvSpPr>
        <p:spPr>
          <a:xfrm>
            <a:off x="0" y="0"/>
            <a:ext cx="17557750" cy="30714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AD816618-8924-467C-9B7C-2B2C3400AFBE}"/>
              </a:ext>
            </a:extLst>
          </p:cNvPr>
          <p:cNvSpPr/>
          <p:nvPr/>
        </p:nvSpPr>
        <p:spPr>
          <a:xfrm>
            <a:off x="2" y="0"/>
            <a:ext cx="17557748" cy="1899138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100000">
                <a:srgbClr val="74B94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4294967295"/>
          </p:nvPr>
        </p:nvSpPr>
        <p:spPr>
          <a:xfrm>
            <a:off x="6365875" y="3797300"/>
            <a:ext cx="11191875" cy="651668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592" dirty="0"/>
          </a:p>
          <a:p>
            <a:endParaRPr lang="en-US" sz="2592" dirty="0"/>
          </a:p>
        </p:txBody>
      </p:sp>
      <p:sp>
        <p:nvSpPr>
          <p:cNvPr id="3" name="TextBox 2"/>
          <p:cNvSpPr txBox="1"/>
          <p:nvPr/>
        </p:nvSpPr>
        <p:spPr>
          <a:xfrm>
            <a:off x="4372994" y="3450966"/>
            <a:ext cx="31846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800" b="1" dirty="0">
                <a:solidFill>
                  <a:srgbClr val="73B844"/>
                </a:solidFill>
                <a:latin typeface="Bahnschrift" panose="020B0502040204020203" pitchFamily="34" charset="0"/>
              </a:rPr>
              <a:t>Risco de 5 anos de recidiva (%)</a:t>
            </a:r>
            <a:endParaRPr lang="en-US" sz="2800" b="1" dirty="0">
              <a:solidFill>
                <a:srgbClr val="73B844"/>
              </a:solidFill>
              <a:latin typeface="Bahnschrift" panose="020B05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852951" y="3444776"/>
            <a:ext cx="512251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3B61AC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pt-BR" dirty="0"/>
              <a:t>Local primeira recorrência nos estágios III (%)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409502" y="9281212"/>
            <a:ext cx="61045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>
                <a:solidFill>
                  <a:srgbClr val="404040"/>
                </a:solidFill>
                <a:latin typeface="Bahnschrift" panose="020B0502040204020203" pitchFamily="34" charset="0"/>
              </a:rPr>
              <a:t>1. Romano E., J </a:t>
            </a:r>
            <a:r>
              <a:rPr lang="pt-BR" sz="1200" dirty="0" err="1">
                <a:solidFill>
                  <a:srgbClr val="404040"/>
                </a:solidFill>
                <a:latin typeface="Bahnschrift" panose="020B0502040204020203" pitchFamily="34" charset="0"/>
              </a:rPr>
              <a:t>Clin</a:t>
            </a:r>
            <a:r>
              <a:rPr lang="pt-BR" sz="1200" dirty="0">
                <a:solidFill>
                  <a:srgbClr val="404040"/>
                </a:solidFill>
                <a:latin typeface="Bahnschrift" panose="020B0502040204020203" pitchFamily="34" charset="0"/>
              </a:rPr>
              <a:t> </a:t>
            </a:r>
            <a:r>
              <a:rPr lang="pt-BR" sz="1200" dirty="0" err="1">
                <a:solidFill>
                  <a:srgbClr val="404040"/>
                </a:solidFill>
                <a:latin typeface="Bahnschrift" panose="020B0502040204020203" pitchFamily="34" charset="0"/>
              </a:rPr>
              <a:t>Oncol</a:t>
            </a:r>
            <a:r>
              <a:rPr lang="pt-BR" sz="1200" dirty="0">
                <a:solidFill>
                  <a:srgbClr val="404040"/>
                </a:solidFill>
                <a:latin typeface="Bahnschrift" panose="020B0502040204020203" pitchFamily="34" charset="0"/>
              </a:rPr>
              <a:t>, 2010. </a:t>
            </a:r>
            <a:r>
              <a:rPr lang="en-US" sz="1200" dirty="0">
                <a:solidFill>
                  <a:srgbClr val="404040"/>
                </a:solidFill>
                <a:latin typeface="Bahnschrift" panose="020B0502040204020203" pitchFamily="34" charset="0"/>
              </a:rPr>
              <a:t>2. </a:t>
            </a:r>
            <a:r>
              <a:rPr lang="en-US" sz="1200" dirty="0" err="1">
                <a:solidFill>
                  <a:srgbClr val="404040"/>
                </a:solidFill>
                <a:latin typeface="Bahnschrift" panose="020B0502040204020203" pitchFamily="34" charset="0"/>
              </a:rPr>
              <a:t>Agarwala</a:t>
            </a:r>
            <a:r>
              <a:rPr lang="en-GB" sz="1200" dirty="0">
                <a:solidFill>
                  <a:srgbClr val="404040"/>
                </a:solidFill>
                <a:latin typeface="Bahnschrift" panose="020B0502040204020203" pitchFamily="34" charset="0"/>
              </a:rPr>
              <a:t> </a:t>
            </a:r>
            <a:r>
              <a:rPr lang="en-US" sz="1200" dirty="0">
                <a:solidFill>
                  <a:srgbClr val="404040"/>
                </a:solidFill>
                <a:latin typeface="Bahnschrift" panose="020B0502040204020203" pitchFamily="34" charset="0"/>
              </a:rPr>
              <a:t>SS </a:t>
            </a:r>
            <a:r>
              <a:rPr lang="en-GB" sz="1200" i="1" dirty="0">
                <a:solidFill>
                  <a:srgbClr val="404040"/>
                </a:solidFill>
                <a:latin typeface="Bahnschrift" panose="020B0502040204020203" pitchFamily="34" charset="0"/>
              </a:rPr>
              <a:t>et al</a:t>
            </a:r>
            <a:r>
              <a:rPr lang="en-US" sz="1200" i="1" dirty="0">
                <a:solidFill>
                  <a:srgbClr val="404040"/>
                </a:solidFill>
                <a:latin typeface="Bahnschrift" panose="020B0502040204020203" pitchFamily="34" charset="0"/>
              </a:rPr>
              <a:t>. Cancer Treat Rev </a:t>
            </a:r>
            <a:r>
              <a:rPr lang="en-US" sz="1200" dirty="0">
                <a:solidFill>
                  <a:srgbClr val="404040"/>
                </a:solidFill>
                <a:latin typeface="Bahnschrift" panose="020B0502040204020203" pitchFamily="34" charset="0"/>
              </a:rPr>
              <a:t>2011;37:133–14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83880" y="2029091"/>
            <a:ext cx="74302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rgbClr val="404040"/>
                </a:solidFill>
                <a:latin typeface="Bahnschrift" panose="020B0502040204020203" pitchFamily="34" charset="0"/>
              </a:defRPr>
            </a:lvl1pPr>
          </a:lstStyle>
          <a:p>
            <a:r>
              <a:rPr lang="pt-BR" sz="2400" dirty="0"/>
              <a:t>Estudo retrospectivo (1992-2004) no MSKCC n=2801</a:t>
            </a:r>
          </a:p>
          <a:p>
            <a:r>
              <a:rPr lang="pt-BR" sz="2400" dirty="0"/>
              <a:t>Estadiamento AJCC 6ª edição</a:t>
            </a:r>
            <a:endParaRPr lang="en-US" sz="2400" dirty="0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DCC16306-E10D-4734-9BFB-8B010B712320}"/>
              </a:ext>
            </a:extLst>
          </p:cNvPr>
          <p:cNvSpPr txBox="1">
            <a:spLocks/>
          </p:cNvSpPr>
          <p:nvPr/>
        </p:nvSpPr>
        <p:spPr>
          <a:xfrm>
            <a:off x="1796147" y="482941"/>
            <a:ext cx="13825639" cy="117570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en-US"/>
            </a:defPPr>
            <a:lvl1pPr defTabSz="1316736">
              <a:lnSpc>
                <a:spcPct val="100000"/>
              </a:lnSpc>
              <a:spcBef>
                <a:spcPts val="0"/>
              </a:spcBef>
              <a:buNone/>
              <a:defRPr sz="4400" b="1" spc="-50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pt-BR" spc="-150" dirty="0">
                <a:solidFill>
                  <a:schemeClr val="bg1"/>
                </a:solidFill>
              </a:rPr>
              <a:t>É importante reduzir o risco da recorrência após a ressecção cirúrgica para reduzir a mortalidade associada²</a:t>
            </a:r>
          </a:p>
        </p:txBody>
      </p:sp>
      <p:graphicFrame>
        <p:nvGraphicFramePr>
          <p:cNvPr id="34" name="Gráfico 33">
            <a:extLst>
              <a:ext uri="{FF2B5EF4-FFF2-40B4-BE49-F238E27FC236}">
                <a16:creationId xmlns:a16="http://schemas.microsoft.com/office/drawing/2014/main" id="{ED4586C4-8DAD-4836-866B-F135B8FB5A3A}"/>
              </a:ext>
            </a:extLst>
          </p:cNvPr>
          <p:cNvGraphicFramePr/>
          <p:nvPr/>
        </p:nvGraphicFramePr>
        <p:xfrm>
          <a:off x="9256540" y="3868617"/>
          <a:ext cx="6899967" cy="4980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5" name="Gráfico 34">
            <a:extLst>
              <a:ext uri="{FF2B5EF4-FFF2-40B4-BE49-F238E27FC236}">
                <a16:creationId xmlns:a16="http://schemas.microsoft.com/office/drawing/2014/main" id="{3626E7A2-883C-46B9-AB29-AFB02D042AC0}"/>
              </a:ext>
            </a:extLst>
          </p:cNvPr>
          <p:cNvGraphicFramePr/>
          <p:nvPr/>
        </p:nvGraphicFramePr>
        <p:xfrm>
          <a:off x="1402082" y="3868617"/>
          <a:ext cx="6899967" cy="4980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3" name="Triângulo isósceles 42">
            <a:extLst>
              <a:ext uri="{FF2B5EF4-FFF2-40B4-BE49-F238E27FC236}">
                <a16:creationId xmlns:a16="http://schemas.microsoft.com/office/drawing/2014/main" id="{234EFE45-697F-4217-AE48-B603A104CA47}"/>
              </a:ext>
            </a:extLst>
          </p:cNvPr>
          <p:cNvSpPr/>
          <p:nvPr/>
        </p:nvSpPr>
        <p:spPr>
          <a:xfrm flipH="1">
            <a:off x="9454221" y="3891949"/>
            <a:ext cx="593725" cy="677424"/>
          </a:xfrm>
          <a:prstGeom prst="triangle">
            <a:avLst>
              <a:gd name="adj" fmla="val 100000"/>
            </a:avLst>
          </a:prstGeom>
          <a:solidFill>
            <a:srgbClr val="56EF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Triângulo isósceles 43">
            <a:extLst>
              <a:ext uri="{FF2B5EF4-FFF2-40B4-BE49-F238E27FC236}">
                <a16:creationId xmlns:a16="http://schemas.microsoft.com/office/drawing/2014/main" id="{93E4AA6E-771D-4D69-ACD9-B07EA3FB21C1}"/>
              </a:ext>
            </a:extLst>
          </p:cNvPr>
          <p:cNvSpPr/>
          <p:nvPr/>
        </p:nvSpPr>
        <p:spPr>
          <a:xfrm>
            <a:off x="7473021" y="3891949"/>
            <a:ext cx="593725" cy="677424"/>
          </a:xfrm>
          <a:prstGeom prst="triangle">
            <a:avLst>
              <a:gd name="adj" fmla="val 100000"/>
            </a:avLst>
          </a:prstGeom>
          <a:solidFill>
            <a:srgbClr val="C1EF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9" name="Conector reto 48">
            <a:extLst>
              <a:ext uri="{FF2B5EF4-FFF2-40B4-BE49-F238E27FC236}">
                <a16:creationId xmlns:a16="http://schemas.microsoft.com/office/drawing/2014/main" id="{27E66359-19F7-4509-A3DC-AEF16B890E0E}"/>
              </a:ext>
            </a:extLst>
          </p:cNvPr>
          <p:cNvCxnSpPr>
            <a:cxnSpLocks/>
          </p:cNvCxnSpPr>
          <p:nvPr/>
        </p:nvCxnSpPr>
        <p:spPr>
          <a:xfrm>
            <a:off x="8199120" y="3910819"/>
            <a:ext cx="0" cy="504444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to 50">
            <a:extLst>
              <a:ext uri="{FF2B5EF4-FFF2-40B4-BE49-F238E27FC236}">
                <a16:creationId xmlns:a16="http://schemas.microsoft.com/office/drawing/2014/main" id="{8203CFEC-A042-4703-BFAA-6298B6AD7D47}"/>
              </a:ext>
            </a:extLst>
          </p:cNvPr>
          <p:cNvCxnSpPr>
            <a:cxnSpLocks/>
          </p:cNvCxnSpPr>
          <p:nvPr/>
        </p:nvCxnSpPr>
        <p:spPr>
          <a:xfrm>
            <a:off x="9357360" y="3910819"/>
            <a:ext cx="0" cy="504444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D5A8ADD8-8E76-401A-A0FC-1D08716F0BB8}"/>
              </a:ext>
            </a:extLst>
          </p:cNvPr>
          <p:cNvGrpSpPr/>
          <p:nvPr/>
        </p:nvGrpSpPr>
        <p:grpSpPr>
          <a:xfrm rot="10800000">
            <a:off x="936666" y="564054"/>
            <a:ext cx="762594" cy="954488"/>
            <a:chOff x="20892102" y="4849484"/>
            <a:chExt cx="485775" cy="608012"/>
          </a:xfrm>
        </p:grpSpPr>
        <p:sp>
          <p:nvSpPr>
            <p:cNvPr id="54" name="Freeform 937">
              <a:extLst>
                <a:ext uri="{FF2B5EF4-FFF2-40B4-BE49-F238E27FC236}">
                  <a16:creationId xmlns:a16="http://schemas.microsoft.com/office/drawing/2014/main" id="{86064425-7AF7-4226-A2BE-E8D15713D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73089" y="5120946"/>
              <a:ext cx="204788" cy="246062"/>
            </a:xfrm>
            <a:custGeom>
              <a:avLst/>
              <a:gdLst>
                <a:gd name="T0" fmla="*/ 96 w 129"/>
                <a:gd name="T1" fmla="*/ 155 h 155"/>
                <a:gd name="T2" fmla="*/ 96 w 129"/>
                <a:gd name="T3" fmla="*/ 74 h 155"/>
                <a:gd name="T4" fmla="*/ 129 w 129"/>
                <a:gd name="T5" fmla="*/ 74 h 155"/>
                <a:gd name="T6" fmla="*/ 64 w 129"/>
                <a:gd name="T7" fmla="*/ 0 h 155"/>
                <a:gd name="T8" fmla="*/ 0 w 129"/>
                <a:gd name="T9" fmla="*/ 74 h 155"/>
                <a:gd name="T10" fmla="*/ 32 w 129"/>
                <a:gd name="T11" fmla="*/ 74 h 155"/>
                <a:gd name="T12" fmla="*/ 32 w 129"/>
                <a:gd name="T13" fmla="*/ 13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55">
                  <a:moveTo>
                    <a:pt x="96" y="155"/>
                  </a:moveTo>
                  <a:lnTo>
                    <a:pt x="96" y="74"/>
                  </a:lnTo>
                  <a:lnTo>
                    <a:pt x="129" y="74"/>
                  </a:lnTo>
                  <a:lnTo>
                    <a:pt x="64" y="0"/>
                  </a:lnTo>
                  <a:lnTo>
                    <a:pt x="0" y="74"/>
                  </a:lnTo>
                  <a:lnTo>
                    <a:pt x="32" y="74"/>
                  </a:lnTo>
                  <a:lnTo>
                    <a:pt x="32" y="131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5" name="Freeform 938">
              <a:extLst>
                <a:ext uri="{FF2B5EF4-FFF2-40B4-BE49-F238E27FC236}">
                  <a16:creationId xmlns:a16="http://schemas.microsoft.com/office/drawing/2014/main" id="{933BBA28-0C47-424C-893D-80EDE2E2C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4189" y="4849484"/>
              <a:ext cx="177800" cy="233362"/>
            </a:xfrm>
            <a:custGeom>
              <a:avLst/>
              <a:gdLst>
                <a:gd name="T0" fmla="*/ 80 w 112"/>
                <a:gd name="T1" fmla="*/ 147 h 147"/>
                <a:gd name="T2" fmla="*/ 80 w 112"/>
                <a:gd name="T3" fmla="*/ 65 h 147"/>
                <a:gd name="T4" fmla="*/ 112 w 112"/>
                <a:gd name="T5" fmla="*/ 65 h 147"/>
                <a:gd name="T6" fmla="*/ 56 w 112"/>
                <a:gd name="T7" fmla="*/ 0 h 147"/>
                <a:gd name="T8" fmla="*/ 0 w 112"/>
                <a:gd name="T9" fmla="*/ 65 h 147"/>
                <a:gd name="T10" fmla="*/ 32 w 112"/>
                <a:gd name="T11" fmla="*/ 65 h 147"/>
                <a:gd name="T12" fmla="*/ 32 w 112"/>
                <a:gd name="T13" fmla="*/ 98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47">
                  <a:moveTo>
                    <a:pt x="80" y="147"/>
                  </a:moveTo>
                  <a:lnTo>
                    <a:pt x="80" y="65"/>
                  </a:lnTo>
                  <a:lnTo>
                    <a:pt x="112" y="65"/>
                  </a:lnTo>
                  <a:lnTo>
                    <a:pt x="56" y="0"/>
                  </a:lnTo>
                  <a:lnTo>
                    <a:pt x="0" y="65"/>
                  </a:lnTo>
                  <a:lnTo>
                    <a:pt x="32" y="65"/>
                  </a:lnTo>
                  <a:lnTo>
                    <a:pt x="32" y="98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6" name="Line 939">
              <a:extLst>
                <a:ext uri="{FF2B5EF4-FFF2-40B4-BE49-F238E27FC236}">
                  <a16:creationId xmlns:a16="http://schemas.microsoft.com/office/drawing/2014/main" id="{ADBFE491-4476-4845-B1DD-80F2432031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74689" y="5314621"/>
              <a:ext cx="0" cy="90487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7" name="Line 940">
              <a:extLst>
                <a:ext uri="{FF2B5EF4-FFF2-40B4-BE49-F238E27FC236}">
                  <a16:creationId xmlns:a16="http://schemas.microsoft.com/office/drawing/2014/main" id="{B4828183-A3AA-41F6-8628-E9CF79233C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74689" y="5432096"/>
              <a:ext cx="0" cy="25400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8" name="Line 941">
              <a:extLst>
                <a:ext uri="{FF2B5EF4-FFF2-40B4-BE49-F238E27FC236}">
                  <a16:creationId xmlns:a16="http://schemas.microsoft.com/office/drawing/2014/main" id="{8812BE97-32AA-45C7-B0A3-5DDD9444AB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57202" y="5211434"/>
              <a:ext cx="0" cy="103187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9" name="Line 942">
              <a:extLst>
                <a:ext uri="{FF2B5EF4-FFF2-40B4-BE49-F238E27FC236}">
                  <a16:creationId xmlns:a16="http://schemas.microsoft.com/office/drawing/2014/main" id="{175D9E9C-D6D1-4E66-BA7F-6043D78391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57202" y="5341609"/>
              <a:ext cx="0" cy="25400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0" name="Line 943">
              <a:extLst>
                <a:ext uri="{FF2B5EF4-FFF2-40B4-BE49-F238E27FC236}">
                  <a16:creationId xmlns:a16="http://schemas.microsoft.com/office/drawing/2014/main" id="{0043DF69-384F-4584-99F4-2DF27E8CAD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57202" y="5392409"/>
              <a:ext cx="0" cy="26987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1" name="Line 944">
              <a:extLst>
                <a:ext uri="{FF2B5EF4-FFF2-40B4-BE49-F238E27FC236}">
                  <a16:creationId xmlns:a16="http://schemas.microsoft.com/office/drawing/2014/main" id="{3E95BC7A-9D1D-4B4F-A193-B022DB4914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312789" y="4901871"/>
              <a:ext cx="0" cy="90487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2" name="Line 945">
              <a:extLst>
                <a:ext uri="{FF2B5EF4-FFF2-40B4-BE49-F238E27FC236}">
                  <a16:creationId xmlns:a16="http://schemas.microsoft.com/office/drawing/2014/main" id="{2A9F1480-3981-4952-A37C-4AF2DF948A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312789" y="5017759"/>
              <a:ext cx="0" cy="25400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3" name="Line 946">
              <a:extLst>
                <a:ext uri="{FF2B5EF4-FFF2-40B4-BE49-F238E27FC236}">
                  <a16:creationId xmlns:a16="http://schemas.microsoft.com/office/drawing/2014/main" id="{8DAEA253-7572-42C8-9BDF-874B5C9084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312789" y="5070146"/>
              <a:ext cx="0" cy="25400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Line 947">
              <a:extLst>
                <a:ext uri="{FF2B5EF4-FFF2-40B4-BE49-F238E27FC236}">
                  <a16:creationId xmlns:a16="http://schemas.microsoft.com/office/drawing/2014/main" id="{F646418C-676F-4A40-91F2-AAF2F34B3E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06402" y="5301921"/>
              <a:ext cx="0" cy="103187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Line 948">
              <a:extLst>
                <a:ext uri="{FF2B5EF4-FFF2-40B4-BE49-F238E27FC236}">
                  <a16:creationId xmlns:a16="http://schemas.microsoft.com/office/drawing/2014/main" id="{33E790E5-C1F5-4533-A4ED-DCA5E4E62B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06402" y="5432096"/>
              <a:ext cx="0" cy="25400"/>
            </a:xfrm>
            <a:prstGeom prst="line">
              <a:avLst/>
            </a:pr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Freeform 949">
              <a:extLst>
                <a:ext uri="{FF2B5EF4-FFF2-40B4-BE49-F238E27FC236}">
                  <a16:creationId xmlns:a16="http://schemas.microsoft.com/office/drawing/2014/main" id="{2C7B2293-230E-4F8B-8A06-084109C2A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92102" y="4979659"/>
              <a:ext cx="293688" cy="284162"/>
            </a:xfrm>
            <a:custGeom>
              <a:avLst/>
              <a:gdLst>
                <a:gd name="T0" fmla="*/ 137 w 185"/>
                <a:gd name="T1" fmla="*/ 179 h 179"/>
                <a:gd name="T2" fmla="*/ 137 w 185"/>
                <a:gd name="T3" fmla="*/ 97 h 179"/>
                <a:gd name="T4" fmla="*/ 185 w 185"/>
                <a:gd name="T5" fmla="*/ 97 h 179"/>
                <a:gd name="T6" fmla="*/ 96 w 185"/>
                <a:gd name="T7" fmla="*/ 0 h 179"/>
                <a:gd name="T8" fmla="*/ 0 w 185"/>
                <a:gd name="T9" fmla="*/ 97 h 179"/>
                <a:gd name="T10" fmla="*/ 56 w 185"/>
                <a:gd name="T11" fmla="*/ 97 h 179"/>
                <a:gd name="T12" fmla="*/ 56 w 185"/>
                <a:gd name="T13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179">
                  <a:moveTo>
                    <a:pt x="137" y="179"/>
                  </a:moveTo>
                  <a:lnTo>
                    <a:pt x="137" y="97"/>
                  </a:lnTo>
                  <a:lnTo>
                    <a:pt x="185" y="97"/>
                  </a:lnTo>
                  <a:lnTo>
                    <a:pt x="96" y="0"/>
                  </a:lnTo>
                  <a:lnTo>
                    <a:pt x="0" y="97"/>
                  </a:lnTo>
                  <a:lnTo>
                    <a:pt x="56" y="97"/>
                  </a:lnTo>
                  <a:lnTo>
                    <a:pt x="56" y="179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1923728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7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45" grpId="0" animBg="1"/>
      <p:bldP spid="3" grpId="0"/>
      <p:bldP spid="9" grpId="0"/>
      <p:bldP spid="16" grpId="0"/>
      <p:bldP spid="17" grpId="0"/>
      <p:bldP spid="5" grpId="0"/>
      <p:bldGraphic spid="34" grpId="0">
        <p:bldAsOne/>
      </p:bldGraphic>
      <p:bldGraphic spid="35" grpId="0">
        <p:bldAsOne/>
      </p:bldGraphic>
      <p:bldP spid="43" grpId="0" animBg="1"/>
      <p:bldP spid="4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15917115-ED2E-D928-A415-FB862430F0FB}"/>
              </a:ext>
            </a:extLst>
          </p:cNvPr>
          <p:cNvSpPr/>
          <p:nvPr/>
        </p:nvSpPr>
        <p:spPr>
          <a:xfrm>
            <a:off x="-1764" y="20823"/>
            <a:ext cx="17557750" cy="177981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Seta para a Direita 49">
            <a:extLst>
              <a:ext uri="{FF2B5EF4-FFF2-40B4-BE49-F238E27FC236}">
                <a16:creationId xmlns:a16="http://schemas.microsoft.com/office/drawing/2014/main" id="{E925A2B1-E0D1-0542-874A-1A907947CB9C}"/>
              </a:ext>
            </a:extLst>
          </p:cNvPr>
          <p:cNvSpPr/>
          <p:nvPr/>
        </p:nvSpPr>
        <p:spPr>
          <a:xfrm>
            <a:off x="-1423378" y="5301474"/>
            <a:ext cx="18417446" cy="531831"/>
          </a:xfrm>
          <a:prstGeom prst="rightArrow">
            <a:avLst>
              <a:gd name="adj1" fmla="val 100000"/>
              <a:gd name="adj2" fmla="val 50000"/>
            </a:avLst>
          </a:prstGeom>
          <a:gradFill>
            <a:gsLst>
              <a:gs pos="0">
                <a:schemeClr val="bg1"/>
              </a:gs>
              <a:gs pos="100000">
                <a:srgbClr val="008D8B">
                  <a:alpha val="15000"/>
                </a:srgbClr>
              </a:gs>
            </a:gsLst>
            <a:lin ang="0" scaled="0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ctr">
            <a:spAutoFit/>
          </a:bodyPr>
          <a:lstStyle/>
          <a:p>
            <a:pPr defTabSz="658277" hangingPunct="0"/>
            <a:endParaRPr lang="pt-BR" sz="2592">
              <a:solidFill>
                <a:srgbClr val="000000"/>
              </a:solidFill>
              <a:latin typeface="+mj-lt"/>
              <a:ea typeface="+mj-ea"/>
              <a:cs typeface="+mj-cs"/>
              <a:sym typeface="Calibri"/>
            </a:endParaRPr>
          </a:p>
        </p:txBody>
      </p:sp>
      <p:cxnSp>
        <p:nvCxnSpPr>
          <p:cNvPr id="45" name="Conector Reto 44">
            <a:extLst>
              <a:ext uri="{FF2B5EF4-FFF2-40B4-BE49-F238E27FC236}">
                <a16:creationId xmlns:a16="http://schemas.microsoft.com/office/drawing/2014/main" id="{56BFD12F-02A4-254E-B029-6F11C129F9B0}"/>
              </a:ext>
            </a:extLst>
          </p:cNvPr>
          <p:cNvCxnSpPr/>
          <p:nvPr/>
        </p:nvCxnSpPr>
        <p:spPr>
          <a:xfrm>
            <a:off x="3965931" y="6015252"/>
            <a:ext cx="0" cy="456708"/>
          </a:xfrm>
          <a:prstGeom prst="line">
            <a:avLst/>
          </a:prstGeom>
          <a:noFill/>
          <a:ln w="19050" cap="flat">
            <a:solidFill>
              <a:srgbClr val="008D8B">
                <a:alpha val="87000"/>
              </a:srgb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7" name="Conector Reto 46">
            <a:extLst>
              <a:ext uri="{FF2B5EF4-FFF2-40B4-BE49-F238E27FC236}">
                <a16:creationId xmlns:a16="http://schemas.microsoft.com/office/drawing/2014/main" id="{0CC98193-839E-9A43-AFC5-82ABBBEE6A97}"/>
              </a:ext>
            </a:extLst>
          </p:cNvPr>
          <p:cNvCxnSpPr/>
          <p:nvPr/>
        </p:nvCxnSpPr>
        <p:spPr>
          <a:xfrm>
            <a:off x="8913907" y="6015252"/>
            <a:ext cx="0" cy="456708"/>
          </a:xfrm>
          <a:prstGeom prst="line">
            <a:avLst/>
          </a:prstGeom>
          <a:noFill/>
          <a:ln w="19050" cap="flat">
            <a:solidFill>
              <a:srgbClr val="008D8B">
                <a:alpha val="87000"/>
              </a:srgb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BA7AC9FF-0132-854C-8378-07802866BBD4}"/>
              </a:ext>
            </a:extLst>
          </p:cNvPr>
          <p:cNvCxnSpPr/>
          <p:nvPr/>
        </p:nvCxnSpPr>
        <p:spPr>
          <a:xfrm>
            <a:off x="6396516" y="4669749"/>
            <a:ext cx="0" cy="456708"/>
          </a:xfrm>
          <a:prstGeom prst="line">
            <a:avLst/>
          </a:prstGeom>
          <a:noFill/>
          <a:ln w="19050" cap="flat">
            <a:solidFill>
              <a:srgbClr val="008D8B">
                <a:alpha val="87000"/>
              </a:srgb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9" name="Conector Reto 48">
            <a:extLst>
              <a:ext uri="{FF2B5EF4-FFF2-40B4-BE49-F238E27FC236}">
                <a16:creationId xmlns:a16="http://schemas.microsoft.com/office/drawing/2014/main" id="{AEE36C84-2530-334C-A1F3-5EDD73FD2346}"/>
              </a:ext>
            </a:extLst>
          </p:cNvPr>
          <p:cNvCxnSpPr>
            <a:cxnSpLocks/>
          </p:cNvCxnSpPr>
          <p:nvPr/>
        </p:nvCxnSpPr>
        <p:spPr>
          <a:xfrm>
            <a:off x="12038944" y="4684527"/>
            <a:ext cx="0" cy="1787432"/>
          </a:xfrm>
          <a:prstGeom prst="line">
            <a:avLst/>
          </a:prstGeom>
          <a:noFill/>
          <a:ln w="19050" cap="flat">
            <a:solidFill>
              <a:srgbClr val="008D8B">
                <a:alpha val="87000"/>
              </a:srgb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1" name="Conector Reto 50">
            <a:extLst>
              <a:ext uri="{FF2B5EF4-FFF2-40B4-BE49-F238E27FC236}">
                <a16:creationId xmlns:a16="http://schemas.microsoft.com/office/drawing/2014/main" id="{A0982285-EBA4-9D4D-BC56-9BFF9F7F7974}"/>
              </a:ext>
            </a:extLst>
          </p:cNvPr>
          <p:cNvCxnSpPr/>
          <p:nvPr/>
        </p:nvCxnSpPr>
        <p:spPr>
          <a:xfrm>
            <a:off x="14064431" y="4669749"/>
            <a:ext cx="0" cy="456708"/>
          </a:xfrm>
          <a:prstGeom prst="line">
            <a:avLst/>
          </a:prstGeom>
          <a:noFill/>
          <a:ln w="19050" cap="flat">
            <a:solidFill>
              <a:srgbClr val="008D8B">
                <a:alpha val="87000"/>
              </a:srgb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7" name="Imagem 36">
            <a:extLst>
              <a:ext uri="{FF2B5EF4-FFF2-40B4-BE49-F238E27FC236}">
                <a16:creationId xmlns:a16="http://schemas.microsoft.com/office/drawing/2014/main" id="{E20020FC-D74E-5E4D-A317-D626B7298C2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751" y="4822730"/>
            <a:ext cx="1470579" cy="1506016"/>
          </a:xfrm>
          <a:prstGeom prst="rect">
            <a:avLst/>
          </a:prstGeom>
        </p:spPr>
      </p:pic>
      <p:pic>
        <p:nvPicPr>
          <p:cNvPr id="39" name="Imagem 38">
            <a:extLst>
              <a:ext uri="{FF2B5EF4-FFF2-40B4-BE49-F238E27FC236}">
                <a16:creationId xmlns:a16="http://schemas.microsoft.com/office/drawing/2014/main" id="{C197CDA1-94E4-6A41-8BDF-451A285A5EA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6219" y="4822730"/>
            <a:ext cx="1470579" cy="1506016"/>
          </a:xfrm>
          <a:prstGeom prst="rect">
            <a:avLst/>
          </a:prstGeom>
        </p:spPr>
      </p:pic>
      <p:pic>
        <p:nvPicPr>
          <p:cNvPr id="40" name="Imagem 39">
            <a:extLst>
              <a:ext uri="{FF2B5EF4-FFF2-40B4-BE49-F238E27FC236}">
                <a16:creationId xmlns:a16="http://schemas.microsoft.com/office/drawing/2014/main" id="{0C4D70F8-E4B1-9241-80C0-FEC407C51A0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17238" y="4822730"/>
            <a:ext cx="1470579" cy="1506016"/>
          </a:xfrm>
          <a:prstGeom prst="rect">
            <a:avLst/>
          </a:prstGeom>
        </p:spPr>
      </p:pic>
      <p:pic>
        <p:nvPicPr>
          <p:cNvPr id="41" name="Imagem 40">
            <a:extLst>
              <a:ext uri="{FF2B5EF4-FFF2-40B4-BE49-F238E27FC236}">
                <a16:creationId xmlns:a16="http://schemas.microsoft.com/office/drawing/2014/main" id="{0721EE57-D606-DD42-8EAF-F92AFE84B25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4114" y="4822730"/>
            <a:ext cx="1470579" cy="1506016"/>
          </a:xfrm>
          <a:prstGeom prst="rect">
            <a:avLst/>
          </a:prstGeom>
        </p:spPr>
      </p:pic>
      <p:pic>
        <p:nvPicPr>
          <p:cNvPr id="42" name="Imagem 41">
            <a:extLst>
              <a:ext uri="{FF2B5EF4-FFF2-40B4-BE49-F238E27FC236}">
                <a16:creationId xmlns:a16="http://schemas.microsoft.com/office/drawing/2014/main" id="{5659066D-B175-D74D-AAAD-06830EB6D8A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9470" y="4822730"/>
            <a:ext cx="1470579" cy="1506016"/>
          </a:xfrm>
          <a:prstGeom prst="rect">
            <a:avLst/>
          </a:prstGeom>
        </p:spPr>
      </p:pic>
      <p:sp>
        <p:nvSpPr>
          <p:cNvPr id="4" name="TextBox 25">
            <a:extLst>
              <a:ext uri="{FF2B5EF4-FFF2-40B4-BE49-F238E27FC236}">
                <a16:creationId xmlns:a16="http://schemas.microsoft.com/office/drawing/2014/main" id="{FF95CC69-C069-E248-B9DB-C72604C95BE8}"/>
              </a:ext>
            </a:extLst>
          </p:cNvPr>
          <p:cNvSpPr txBox="1"/>
          <p:nvPr/>
        </p:nvSpPr>
        <p:spPr>
          <a:xfrm>
            <a:off x="11402863" y="5310994"/>
            <a:ext cx="1327996" cy="491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rtl="0">
              <a:defRPr/>
            </a:pPr>
            <a:r>
              <a:rPr lang="pt-BR" sz="2592" dirty="0">
                <a:solidFill>
                  <a:prstClr val="black"/>
                </a:solidFill>
              </a:rPr>
              <a:t>2017</a:t>
            </a:r>
          </a:p>
        </p:txBody>
      </p:sp>
      <p:sp>
        <p:nvSpPr>
          <p:cNvPr id="9" name="CaixaDeTexto 26">
            <a:extLst>
              <a:ext uri="{FF2B5EF4-FFF2-40B4-BE49-F238E27FC236}">
                <a16:creationId xmlns:a16="http://schemas.microsoft.com/office/drawing/2014/main" id="{F25EE514-5A40-8149-BB62-1BD9E1231F9C}"/>
              </a:ext>
            </a:extLst>
          </p:cNvPr>
          <p:cNvSpPr txBox="1"/>
          <p:nvPr/>
        </p:nvSpPr>
        <p:spPr>
          <a:xfrm>
            <a:off x="4673744" y="2691391"/>
            <a:ext cx="3668559" cy="195374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rgbClr val="008D8B">
                  <a:alpha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0">
              <a:defRPr/>
            </a:pPr>
            <a:r>
              <a:rPr lang="pt-BR" sz="2304" b="1" dirty="0">
                <a:solidFill>
                  <a:prstClr val="black"/>
                </a:solidFill>
                <a:latin typeface="Calibri"/>
              </a:rPr>
              <a:t>EORTC 18991</a:t>
            </a:r>
            <a:r>
              <a:rPr lang="pt-BR" sz="2304" b="1" baseline="30000" dirty="0">
                <a:solidFill>
                  <a:prstClr val="black"/>
                </a:solidFill>
                <a:latin typeface="Calibri"/>
              </a:rPr>
              <a:t>2</a:t>
            </a:r>
            <a:endParaRPr lang="pt-BR" sz="2304" b="1" dirty="0">
              <a:solidFill>
                <a:prstClr val="black"/>
              </a:solidFill>
              <a:latin typeface="Calibri"/>
            </a:endParaRPr>
          </a:p>
          <a:p>
            <a:pPr algn="ctr" rtl="0">
              <a:defRPr/>
            </a:pPr>
            <a:r>
              <a:rPr lang="pt-BR" sz="2448" dirty="0">
                <a:solidFill>
                  <a:prstClr val="black"/>
                </a:solidFill>
                <a:latin typeface="Calibri"/>
              </a:rPr>
              <a:t> IFN-PEG x observação</a:t>
            </a:r>
          </a:p>
          <a:p>
            <a:pPr algn="ctr" rtl="0">
              <a:defRPr/>
            </a:pPr>
            <a:r>
              <a:rPr lang="pt-BR" sz="2448" dirty="0">
                <a:solidFill>
                  <a:prstClr val="black"/>
                </a:solidFill>
                <a:latin typeface="Calibri"/>
              </a:rPr>
              <a:t>E III. Seguim. de 7,6 anos</a:t>
            </a:r>
          </a:p>
          <a:p>
            <a:pPr algn="ctr" rtl="0">
              <a:defRPr/>
            </a:pPr>
            <a:r>
              <a:rPr lang="pt-BR" sz="2448" dirty="0">
                <a:solidFill>
                  <a:prstClr val="black"/>
                </a:solidFill>
                <a:latin typeface="Calibri"/>
              </a:rPr>
              <a:t>SLP e SG: sem diferença.</a:t>
            </a:r>
          </a:p>
          <a:p>
            <a:pPr algn="ctr" rtl="0">
              <a:defRPr/>
            </a:pPr>
            <a:r>
              <a:rPr lang="pt-BR" sz="2448" dirty="0">
                <a:solidFill>
                  <a:prstClr val="black"/>
                </a:solidFill>
                <a:latin typeface="Calibri"/>
              </a:rPr>
              <a:t>EA G3-G4: 66%</a:t>
            </a:r>
          </a:p>
        </p:txBody>
      </p:sp>
      <p:sp>
        <p:nvSpPr>
          <p:cNvPr id="10" name="CaixaDeTexto 26">
            <a:extLst>
              <a:ext uri="{FF2B5EF4-FFF2-40B4-BE49-F238E27FC236}">
                <a16:creationId xmlns:a16="http://schemas.microsoft.com/office/drawing/2014/main" id="{2869268E-C83E-8549-94C1-AE7BC446AE9D}"/>
              </a:ext>
            </a:extLst>
          </p:cNvPr>
          <p:cNvSpPr txBox="1"/>
          <p:nvPr/>
        </p:nvSpPr>
        <p:spPr>
          <a:xfrm>
            <a:off x="6639453" y="6471959"/>
            <a:ext cx="4436546" cy="2330446"/>
          </a:xfrm>
          <a:prstGeom prst="rect">
            <a:avLst/>
          </a:prstGeom>
          <a:gradFill>
            <a:gsLst>
              <a:gs pos="0">
                <a:schemeClr val="bg1"/>
              </a:gs>
              <a:gs pos="98000">
                <a:schemeClr val="bg1">
                  <a:lumMod val="85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0">
              <a:defRPr/>
            </a:pPr>
            <a:r>
              <a:rPr lang="pt-BR" sz="2304" b="1" dirty="0">
                <a:solidFill>
                  <a:schemeClr val="tx1"/>
                </a:solidFill>
                <a:latin typeface="Calibri"/>
              </a:rPr>
              <a:t>EORTC 18071</a:t>
            </a:r>
            <a:r>
              <a:rPr lang="pt-BR" sz="2304" b="1" baseline="30000" dirty="0">
                <a:solidFill>
                  <a:schemeClr val="tx1"/>
                </a:solidFill>
                <a:latin typeface="Calibri"/>
              </a:rPr>
              <a:t>3</a:t>
            </a:r>
          </a:p>
          <a:p>
            <a:pPr algn="ctr" rtl="0">
              <a:defRPr/>
            </a:pPr>
            <a:r>
              <a:rPr lang="pt-BR" sz="2448" dirty="0">
                <a:solidFill>
                  <a:schemeClr val="tx1"/>
                </a:solidFill>
                <a:latin typeface="Calibri"/>
              </a:rPr>
              <a:t>ipilimumabe 10 mg/kg x placebo (3 anos)</a:t>
            </a:r>
          </a:p>
          <a:p>
            <a:pPr algn="ctr" rtl="0">
              <a:defRPr/>
            </a:pPr>
            <a:r>
              <a:rPr lang="pt-BR" sz="2448" dirty="0">
                <a:solidFill>
                  <a:schemeClr val="tx1"/>
                </a:solidFill>
                <a:latin typeface="Calibri"/>
              </a:rPr>
              <a:t>E III A-C*</a:t>
            </a:r>
          </a:p>
          <a:p>
            <a:pPr algn="ctr" rtl="0">
              <a:defRPr/>
            </a:pPr>
            <a:r>
              <a:rPr lang="pt-BR" sz="2448" dirty="0">
                <a:solidFill>
                  <a:schemeClr val="tx1"/>
                </a:solidFill>
                <a:latin typeface="Calibri"/>
              </a:rPr>
              <a:t>Aumento de SLP e SG</a:t>
            </a:r>
          </a:p>
          <a:p>
            <a:pPr algn="ctr" rtl="0">
              <a:defRPr/>
            </a:pPr>
            <a:r>
              <a:rPr lang="pt-BR" sz="2448" dirty="0">
                <a:solidFill>
                  <a:schemeClr val="tx1"/>
                </a:solidFill>
                <a:latin typeface="Calibri"/>
              </a:rPr>
              <a:t>EA G3-5: 52%</a:t>
            </a:r>
          </a:p>
        </p:txBody>
      </p:sp>
      <p:sp>
        <p:nvSpPr>
          <p:cNvPr id="11" name="CaixaDeTexto 26">
            <a:extLst>
              <a:ext uri="{FF2B5EF4-FFF2-40B4-BE49-F238E27FC236}">
                <a16:creationId xmlns:a16="http://schemas.microsoft.com/office/drawing/2014/main" id="{DA82EC3C-9D52-704D-AD32-6211DFA66B72}"/>
              </a:ext>
            </a:extLst>
          </p:cNvPr>
          <p:cNvSpPr txBox="1"/>
          <p:nvPr/>
        </p:nvSpPr>
        <p:spPr>
          <a:xfrm>
            <a:off x="11402863" y="6471959"/>
            <a:ext cx="3337131" cy="2153218"/>
          </a:xfrm>
          <a:prstGeom prst="rect">
            <a:avLst/>
          </a:prstGeom>
          <a:gradFill>
            <a:gsLst>
              <a:gs pos="0">
                <a:srgbClr val="00CBCB"/>
              </a:gs>
              <a:gs pos="98000">
                <a:srgbClr val="008D8B"/>
              </a:gs>
            </a:gsLst>
            <a:lin ang="16200000" scaled="0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rtl="0">
              <a:defRPr/>
            </a:pPr>
            <a:endParaRPr lang="pt-BR" sz="1152" b="1" dirty="0">
              <a:solidFill>
                <a:schemeClr val="bg1"/>
              </a:solidFill>
              <a:latin typeface="Calibri"/>
            </a:endParaRPr>
          </a:p>
          <a:p>
            <a:pPr algn="ctr" rtl="0">
              <a:defRPr/>
            </a:pPr>
            <a:r>
              <a:rPr lang="pt-BR" sz="2448" b="1" dirty="0" err="1">
                <a:solidFill>
                  <a:schemeClr val="bg1"/>
                </a:solidFill>
                <a:latin typeface="Calibri"/>
              </a:rPr>
              <a:t>CheckMate</a:t>
            </a:r>
            <a:r>
              <a:rPr lang="pt-BR" sz="2448" b="1" dirty="0">
                <a:solidFill>
                  <a:schemeClr val="bg1"/>
                </a:solidFill>
                <a:latin typeface="Calibri"/>
              </a:rPr>
              <a:t> 238</a:t>
            </a:r>
            <a:r>
              <a:rPr lang="pt-BR" sz="2448" b="1" baseline="30000" dirty="0">
                <a:solidFill>
                  <a:schemeClr val="bg1"/>
                </a:solidFill>
                <a:latin typeface="Calibri"/>
              </a:rPr>
              <a:t>5</a:t>
            </a:r>
          </a:p>
          <a:p>
            <a:pPr algn="ctr" rtl="0">
              <a:defRPr/>
            </a:pPr>
            <a:r>
              <a:rPr lang="pt-BR" sz="2160" dirty="0">
                <a:solidFill>
                  <a:schemeClr val="bg1"/>
                </a:solidFill>
                <a:latin typeface="Calibri"/>
              </a:rPr>
              <a:t>ipilimumabe x nivolumabe (1 ano)</a:t>
            </a:r>
          </a:p>
          <a:p>
            <a:pPr algn="ctr" rtl="0">
              <a:defRPr/>
            </a:pPr>
            <a:r>
              <a:rPr lang="pt-BR" sz="2160" dirty="0">
                <a:solidFill>
                  <a:schemeClr val="bg1"/>
                </a:solidFill>
                <a:latin typeface="Calibri"/>
              </a:rPr>
              <a:t>EC IIIB-IV ressec.*</a:t>
            </a:r>
            <a:br>
              <a:rPr lang="pt-BR" sz="2160" dirty="0">
                <a:solidFill>
                  <a:schemeClr val="bg1"/>
                </a:solidFill>
                <a:latin typeface="Calibri"/>
              </a:rPr>
            </a:br>
            <a:r>
              <a:rPr lang="pt-BR" sz="2160" dirty="0">
                <a:solidFill>
                  <a:schemeClr val="bg1"/>
                </a:solidFill>
                <a:latin typeface="Calibri"/>
              </a:rPr>
              <a:t>SLR: 58% </a:t>
            </a:r>
            <a:r>
              <a:rPr lang="pt-BR" sz="2160" i="1" dirty="0">
                <a:solidFill>
                  <a:schemeClr val="bg1"/>
                </a:solidFill>
                <a:latin typeface="Calibri"/>
              </a:rPr>
              <a:t>versus</a:t>
            </a:r>
            <a:r>
              <a:rPr lang="pt-BR" sz="2160" dirty="0">
                <a:solidFill>
                  <a:schemeClr val="bg1"/>
                </a:solidFill>
                <a:latin typeface="Calibri"/>
              </a:rPr>
              <a:t> 45%</a:t>
            </a:r>
          </a:p>
          <a:p>
            <a:pPr algn="ctr" rtl="0">
              <a:defRPr/>
            </a:pPr>
            <a:endParaRPr lang="pt-BR" sz="1152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13" name="TextBox 38">
            <a:extLst>
              <a:ext uri="{FF2B5EF4-FFF2-40B4-BE49-F238E27FC236}">
                <a16:creationId xmlns:a16="http://schemas.microsoft.com/office/drawing/2014/main" id="{DD582DCC-EA15-894D-9F62-46640B10DDED}"/>
              </a:ext>
            </a:extLst>
          </p:cNvPr>
          <p:cNvSpPr txBox="1"/>
          <p:nvPr/>
        </p:nvSpPr>
        <p:spPr>
          <a:xfrm>
            <a:off x="3395071" y="5310994"/>
            <a:ext cx="1188567" cy="491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rtl="0">
              <a:defRPr/>
            </a:pPr>
            <a:r>
              <a:rPr lang="pt-BR" sz="2592" dirty="0">
                <a:solidFill>
                  <a:prstClr val="black"/>
                </a:solidFill>
              </a:rPr>
              <a:t>1996</a:t>
            </a:r>
          </a:p>
        </p:txBody>
      </p:sp>
      <p:sp>
        <p:nvSpPr>
          <p:cNvPr id="14" name="CaixaDeTexto 26">
            <a:extLst>
              <a:ext uri="{FF2B5EF4-FFF2-40B4-BE49-F238E27FC236}">
                <a16:creationId xmlns:a16="http://schemas.microsoft.com/office/drawing/2014/main" id="{C0F11145-F25A-CF48-8D4C-73062E3D0CFA}"/>
              </a:ext>
            </a:extLst>
          </p:cNvPr>
          <p:cNvSpPr txBox="1"/>
          <p:nvPr/>
        </p:nvSpPr>
        <p:spPr>
          <a:xfrm>
            <a:off x="596824" y="6471959"/>
            <a:ext cx="5884916" cy="195374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rgbClr val="008D8B">
                  <a:alpha val="15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0">
              <a:defRPr/>
            </a:pPr>
            <a:r>
              <a:rPr lang="pt-BR" sz="2304" b="1" dirty="0">
                <a:solidFill>
                  <a:prstClr val="black"/>
                </a:solidFill>
                <a:latin typeface="Calibri"/>
              </a:rPr>
              <a:t>ECOG 1684</a:t>
            </a:r>
            <a:r>
              <a:rPr lang="pt-BR" sz="2304" b="1" baseline="30000" dirty="0">
                <a:solidFill>
                  <a:prstClr val="black"/>
                </a:solidFill>
                <a:latin typeface="Calibri"/>
              </a:rPr>
              <a:t>1</a:t>
            </a:r>
            <a:endParaRPr lang="pt-BR" sz="2304" b="1" dirty="0">
              <a:solidFill>
                <a:prstClr val="black"/>
              </a:solidFill>
              <a:latin typeface="Calibri"/>
            </a:endParaRPr>
          </a:p>
          <a:p>
            <a:pPr algn="ctr" rtl="0">
              <a:defRPr/>
            </a:pPr>
            <a:r>
              <a:rPr lang="pt-BR" sz="2448" dirty="0">
                <a:solidFill>
                  <a:prstClr val="black"/>
                </a:solidFill>
                <a:latin typeface="Calibri"/>
              </a:rPr>
              <a:t>IFNa em AD x observ. (1 ano)</a:t>
            </a:r>
          </a:p>
          <a:p>
            <a:pPr algn="ctr" rtl="0">
              <a:defRPr/>
            </a:pPr>
            <a:r>
              <a:rPr lang="pt-BR" sz="2448" dirty="0">
                <a:solidFill>
                  <a:prstClr val="black"/>
                </a:solidFill>
                <a:latin typeface="Calibri"/>
              </a:rPr>
              <a:t>E IIB – III</a:t>
            </a:r>
          </a:p>
          <a:p>
            <a:pPr algn="ctr" rtl="0">
              <a:defRPr/>
            </a:pPr>
            <a:r>
              <a:rPr lang="pt-BR" sz="2448" dirty="0">
                <a:solidFill>
                  <a:prstClr val="black"/>
                </a:solidFill>
                <a:latin typeface="Calibri"/>
              </a:rPr>
              <a:t>Aumento da SLR em 9 meses e SG em 1 ano.</a:t>
            </a:r>
          </a:p>
          <a:p>
            <a:pPr algn="ctr" rtl="0">
              <a:defRPr/>
            </a:pPr>
            <a:r>
              <a:rPr lang="pt-BR" sz="2448" dirty="0">
                <a:solidFill>
                  <a:prstClr val="black"/>
                </a:solidFill>
                <a:latin typeface="Calibri"/>
              </a:rPr>
              <a:t>EA G3-G4: 67%</a:t>
            </a:r>
          </a:p>
        </p:txBody>
      </p:sp>
      <p:sp>
        <p:nvSpPr>
          <p:cNvPr id="15" name="TextBox 34">
            <a:extLst>
              <a:ext uri="{FF2B5EF4-FFF2-40B4-BE49-F238E27FC236}">
                <a16:creationId xmlns:a16="http://schemas.microsoft.com/office/drawing/2014/main" id="{3E96B771-01E3-8E4C-A154-894F159AA6C8}"/>
              </a:ext>
            </a:extLst>
          </p:cNvPr>
          <p:cNvSpPr txBox="1"/>
          <p:nvPr/>
        </p:nvSpPr>
        <p:spPr>
          <a:xfrm>
            <a:off x="5504281" y="5327323"/>
            <a:ext cx="1743993" cy="491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rtl="0">
              <a:defRPr/>
            </a:pPr>
            <a:r>
              <a:rPr lang="pt-BR" sz="2592" dirty="0">
                <a:solidFill>
                  <a:prstClr val="black"/>
                </a:solidFill>
              </a:rPr>
              <a:t>2003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B3E61A7-D8EB-2949-9D52-5F7337DD0333}"/>
              </a:ext>
            </a:extLst>
          </p:cNvPr>
          <p:cNvSpPr txBox="1"/>
          <p:nvPr/>
        </p:nvSpPr>
        <p:spPr>
          <a:xfrm>
            <a:off x="8718250" y="2957575"/>
            <a:ext cx="4715497" cy="1687770"/>
          </a:xfrm>
          <a:prstGeom prst="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98000">
                <a:srgbClr val="47545B"/>
              </a:gs>
            </a:gsLst>
            <a:lin ang="5400000" scaled="0"/>
          </a:gra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rtl="0">
              <a:defRPr/>
            </a:pPr>
            <a:r>
              <a:rPr lang="pt-BR" sz="2304" b="1" dirty="0">
                <a:solidFill>
                  <a:schemeClr val="bg1"/>
                </a:solidFill>
                <a:latin typeface="Calibri"/>
              </a:rPr>
              <a:t>COMBI-AD</a:t>
            </a:r>
            <a:r>
              <a:rPr lang="pt-BR" sz="2304" b="1" baseline="30000" dirty="0">
                <a:solidFill>
                  <a:schemeClr val="bg1"/>
                </a:solidFill>
                <a:latin typeface="Calibri"/>
              </a:rPr>
              <a:t>4</a:t>
            </a:r>
          </a:p>
          <a:p>
            <a:pPr algn="ctr" rtl="0">
              <a:defRPr/>
            </a:pPr>
            <a:r>
              <a:rPr lang="pt-BR" sz="2016" dirty="0" err="1">
                <a:solidFill>
                  <a:schemeClr val="bg1"/>
                </a:solidFill>
                <a:latin typeface="Calibri"/>
              </a:rPr>
              <a:t>dabrafenibe</a:t>
            </a:r>
            <a:r>
              <a:rPr lang="pt-BR" sz="2016" dirty="0">
                <a:solidFill>
                  <a:schemeClr val="bg1"/>
                </a:solidFill>
                <a:latin typeface="Calibri"/>
              </a:rPr>
              <a:t>/</a:t>
            </a:r>
            <a:r>
              <a:rPr lang="pt-BR" sz="2016" dirty="0" err="1">
                <a:solidFill>
                  <a:schemeClr val="bg1"/>
                </a:solidFill>
                <a:latin typeface="Calibri"/>
              </a:rPr>
              <a:t>trametinibe</a:t>
            </a:r>
            <a:r>
              <a:rPr lang="pt-BR" sz="2016" dirty="0">
                <a:solidFill>
                  <a:schemeClr val="bg1"/>
                </a:solidFill>
                <a:latin typeface="Calibri"/>
              </a:rPr>
              <a:t> </a:t>
            </a:r>
            <a:r>
              <a:rPr lang="pt-BR" sz="2016" dirty="0" err="1">
                <a:solidFill>
                  <a:schemeClr val="bg1"/>
                </a:solidFill>
                <a:latin typeface="Calibri"/>
              </a:rPr>
              <a:t>x</a:t>
            </a:r>
            <a:r>
              <a:rPr lang="pt-BR" sz="2016" dirty="0">
                <a:solidFill>
                  <a:schemeClr val="bg1"/>
                </a:solidFill>
                <a:latin typeface="Calibri"/>
              </a:rPr>
              <a:t> placebo (1 ano) E III A-C*, </a:t>
            </a:r>
            <a:r>
              <a:rPr lang="pt-BR" sz="2016" dirty="0" err="1">
                <a:solidFill>
                  <a:schemeClr val="bg1"/>
                </a:solidFill>
                <a:latin typeface="Calibri"/>
              </a:rPr>
              <a:t>BRAFmut</a:t>
            </a:r>
            <a:endParaRPr lang="pt-BR" sz="2016" dirty="0">
              <a:solidFill>
                <a:schemeClr val="bg1"/>
              </a:solidFill>
              <a:latin typeface="Calibri"/>
            </a:endParaRPr>
          </a:p>
          <a:p>
            <a:pPr algn="ctr" rtl="0">
              <a:defRPr/>
            </a:pPr>
            <a:r>
              <a:rPr lang="pt-BR" sz="2016" dirty="0">
                <a:solidFill>
                  <a:schemeClr val="bg1"/>
                </a:solidFill>
                <a:latin typeface="Calibri"/>
              </a:rPr>
              <a:t>SG: 86% </a:t>
            </a:r>
            <a:r>
              <a:rPr lang="pt-BR" sz="2016" i="1" dirty="0">
                <a:solidFill>
                  <a:schemeClr val="bg1"/>
                </a:solidFill>
                <a:latin typeface="Calibri"/>
              </a:rPr>
              <a:t>versus </a:t>
            </a:r>
            <a:r>
              <a:rPr lang="pt-BR" sz="2016" dirty="0">
                <a:solidFill>
                  <a:schemeClr val="bg1"/>
                </a:solidFill>
                <a:latin typeface="Calibri"/>
              </a:rPr>
              <a:t>77% / SLP: 58% </a:t>
            </a:r>
            <a:r>
              <a:rPr lang="pt-BR" sz="2016" i="1" dirty="0">
                <a:solidFill>
                  <a:schemeClr val="bg1"/>
                </a:solidFill>
                <a:latin typeface="Calibri"/>
              </a:rPr>
              <a:t>versus</a:t>
            </a:r>
            <a:r>
              <a:rPr lang="pt-BR" sz="2016" dirty="0">
                <a:solidFill>
                  <a:schemeClr val="bg1"/>
                </a:solidFill>
                <a:latin typeface="Calibri"/>
              </a:rPr>
              <a:t> 39%</a:t>
            </a:r>
          </a:p>
          <a:p>
            <a:pPr algn="ctr" rtl="0">
              <a:defRPr/>
            </a:pPr>
            <a:r>
              <a:rPr lang="pt-BR" sz="2016" dirty="0">
                <a:solidFill>
                  <a:schemeClr val="bg1"/>
                </a:solidFill>
                <a:latin typeface="Calibri"/>
              </a:rPr>
              <a:t>EA G3-G4: 41%</a:t>
            </a:r>
          </a:p>
        </p:txBody>
      </p:sp>
      <p:sp>
        <p:nvSpPr>
          <p:cNvPr id="20" name="TextBox 46">
            <a:extLst>
              <a:ext uri="{FF2B5EF4-FFF2-40B4-BE49-F238E27FC236}">
                <a16:creationId xmlns:a16="http://schemas.microsoft.com/office/drawing/2014/main" id="{B7EC4215-E358-1A42-A32D-07B1C8A971CE}"/>
              </a:ext>
            </a:extLst>
          </p:cNvPr>
          <p:cNvSpPr txBox="1"/>
          <p:nvPr/>
        </p:nvSpPr>
        <p:spPr>
          <a:xfrm>
            <a:off x="7814280" y="5084655"/>
            <a:ext cx="2219413" cy="8901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rtl="0">
              <a:defRPr/>
            </a:pPr>
            <a:r>
              <a:rPr lang="pt-BR" sz="2592" dirty="0">
                <a:solidFill>
                  <a:prstClr val="black"/>
                </a:solidFill>
              </a:rPr>
              <a:t>2015</a:t>
            </a:r>
            <a:br>
              <a:rPr lang="pt-BR" sz="2592" dirty="0">
                <a:solidFill>
                  <a:prstClr val="black"/>
                </a:solidFill>
              </a:rPr>
            </a:br>
            <a:r>
              <a:rPr lang="pt-BR" sz="2592" dirty="0">
                <a:solidFill>
                  <a:prstClr val="black"/>
                </a:solidFill>
              </a:rPr>
              <a:t>2016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1A974FBA-119F-C842-BC07-0255BDABD0D5}"/>
              </a:ext>
            </a:extLst>
          </p:cNvPr>
          <p:cNvSpPr txBox="1"/>
          <p:nvPr/>
        </p:nvSpPr>
        <p:spPr>
          <a:xfrm>
            <a:off x="13414284" y="5310994"/>
            <a:ext cx="1325709" cy="491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rtl="0">
              <a:defRPr/>
            </a:pPr>
            <a:r>
              <a:rPr lang="pt-BR" sz="2592" dirty="0">
                <a:solidFill>
                  <a:prstClr val="black"/>
                </a:solidFill>
              </a:rPr>
              <a:t>2018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E49FE579-81D3-CB45-A870-A42AB62E138D}"/>
              </a:ext>
            </a:extLst>
          </p:cNvPr>
          <p:cNvSpPr txBox="1"/>
          <p:nvPr/>
        </p:nvSpPr>
        <p:spPr>
          <a:xfrm>
            <a:off x="13623172" y="2845085"/>
            <a:ext cx="3354561" cy="1776512"/>
          </a:xfrm>
          <a:prstGeom prst="rect">
            <a:avLst/>
          </a:prstGeom>
          <a:gradFill>
            <a:gsLst>
              <a:gs pos="0">
                <a:srgbClr val="00CBCB"/>
              </a:gs>
              <a:gs pos="98000">
                <a:srgbClr val="008D8B"/>
              </a:gs>
            </a:gsLst>
            <a:lin ang="5400000" scaled="0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rtl="0">
              <a:defRPr/>
            </a:pPr>
            <a:r>
              <a:rPr lang="pt-BR" sz="2304" b="1" dirty="0">
                <a:solidFill>
                  <a:schemeClr val="bg1"/>
                </a:solidFill>
                <a:latin typeface="Calibri"/>
              </a:rPr>
              <a:t>KEYNOTE-054</a:t>
            </a:r>
            <a:r>
              <a:rPr lang="pt-BR" sz="2304" b="1" baseline="30000" dirty="0">
                <a:solidFill>
                  <a:schemeClr val="bg1"/>
                </a:solidFill>
                <a:latin typeface="Calibri"/>
              </a:rPr>
              <a:t>6</a:t>
            </a:r>
          </a:p>
          <a:p>
            <a:pPr algn="ctr" rtl="0">
              <a:defRPr/>
            </a:pPr>
            <a:r>
              <a:rPr lang="pt-BR" sz="2160" dirty="0">
                <a:solidFill>
                  <a:schemeClr val="bg1"/>
                </a:solidFill>
                <a:latin typeface="Calibri"/>
              </a:rPr>
              <a:t>pembrolizumabe x placebo </a:t>
            </a:r>
            <a:br>
              <a:rPr lang="pt-BR" sz="2160" dirty="0">
                <a:solidFill>
                  <a:schemeClr val="bg1"/>
                </a:solidFill>
                <a:latin typeface="Calibri"/>
              </a:rPr>
            </a:br>
            <a:r>
              <a:rPr lang="pt-BR" sz="2160" dirty="0">
                <a:solidFill>
                  <a:schemeClr val="bg1"/>
                </a:solidFill>
                <a:latin typeface="Calibri"/>
              </a:rPr>
              <a:t>(1 ano) E III A-C*</a:t>
            </a:r>
            <a:br>
              <a:rPr lang="pt-BR" sz="2160" dirty="0">
                <a:solidFill>
                  <a:schemeClr val="bg1"/>
                </a:solidFill>
                <a:latin typeface="Calibri"/>
              </a:rPr>
            </a:br>
            <a:r>
              <a:rPr lang="pt-BR" sz="2160" dirty="0">
                <a:solidFill>
                  <a:schemeClr val="bg1"/>
                </a:solidFill>
                <a:latin typeface="Calibri"/>
              </a:rPr>
              <a:t>SLR: 75,4% </a:t>
            </a:r>
            <a:r>
              <a:rPr lang="pt-BR" sz="2160" i="1" dirty="0">
                <a:solidFill>
                  <a:schemeClr val="bg1"/>
                </a:solidFill>
                <a:latin typeface="Calibri"/>
              </a:rPr>
              <a:t>versus</a:t>
            </a:r>
            <a:r>
              <a:rPr lang="pt-BR" sz="2160" dirty="0">
                <a:solidFill>
                  <a:schemeClr val="bg1"/>
                </a:solidFill>
                <a:latin typeface="Calibri"/>
              </a:rPr>
              <a:t> 61,0%</a:t>
            </a:r>
          </a:p>
          <a:p>
            <a:pPr algn="ctr">
              <a:defRPr/>
            </a:pPr>
            <a:r>
              <a:rPr lang="pt-BR" sz="2160" dirty="0">
                <a:solidFill>
                  <a:schemeClr val="bg1"/>
                </a:solidFill>
                <a:latin typeface="Calibri"/>
              </a:rPr>
              <a:t>EA Grau ≥ 3: 31,6%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2075B545-A7C6-0B4B-92B0-AC8BC323BB78}"/>
              </a:ext>
            </a:extLst>
          </p:cNvPr>
          <p:cNvSpPr txBox="1"/>
          <p:nvPr/>
        </p:nvSpPr>
        <p:spPr>
          <a:xfrm>
            <a:off x="14683325" y="8473494"/>
            <a:ext cx="1918280" cy="269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Conforme AJCC 7ª Ed.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473D62BA-F742-6742-B376-B05AD72B4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6666" y="34632"/>
            <a:ext cx="13740889" cy="1766006"/>
          </a:xfrm>
        </p:spPr>
        <p:txBody>
          <a:bodyPr/>
          <a:lstStyle/>
          <a:p>
            <a:pPr algn="ctr"/>
            <a:r>
              <a:rPr lang="pt-BR" u="sng" dirty="0"/>
              <a:t>Tratamento Adjuvante</a:t>
            </a:r>
            <a:br>
              <a:rPr lang="pt-BR" dirty="0"/>
            </a:br>
            <a:r>
              <a:rPr lang="pt-BR" dirty="0"/>
              <a:t>Como </a:t>
            </a:r>
            <a:r>
              <a:rPr lang="pt-BR" dirty="0" err="1"/>
              <a:t>evoluimos</a:t>
            </a:r>
            <a:r>
              <a:rPr lang="pt-BR" dirty="0"/>
              <a:t>?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FBAB840F-B986-5645-9978-C9D6E936A3B4}"/>
              </a:ext>
            </a:extLst>
          </p:cNvPr>
          <p:cNvSpPr/>
          <p:nvPr/>
        </p:nvSpPr>
        <p:spPr>
          <a:xfrm>
            <a:off x="1764" y="1938856"/>
            <a:ext cx="17554222" cy="653126"/>
          </a:xfrm>
          <a:prstGeom prst="rect">
            <a:avLst/>
          </a:prstGeom>
          <a:solidFill>
            <a:srgbClr val="008D8B">
              <a:alpha val="16863"/>
            </a:srgb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ctr">
            <a:noAutofit/>
          </a:bodyPr>
          <a:lstStyle/>
          <a:p>
            <a:pPr defTabSz="658277" hangingPunct="0"/>
            <a:endParaRPr lang="pt-BR" sz="2592">
              <a:solidFill>
                <a:srgbClr val="000000"/>
              </a:solidFill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2" name="Espaço Reservado para Conteúdo 2">
            <a:extLst>
              <a:ext uri="{FF2B5EF4-FFF2-40B4-BE49-F238E27FC236}">
                <a16:creationId xmlns:a16="http://schemas.microsoft.com/office/drawing/2014/main" id="{91F494AB-A805-6843-9BD7-5683DCE84ED4}"/>
              </a:ext>
            </a:extLst>
          </p:cNvPr>
          <p:cNvSpPr txBox="1">
            <a:spLocks/>
          </p:cNvSpPr>
          <p:nvPr/>
        </p:nvSpPr>
        <p:spPr>
          <a:xfrm>
            <a:off x="2345755" y="1875197"/>
            <a:ext cx="12866240" cy="724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endParaRPr lang="pt-BR" sz="3456" b="1" dirty="0">
              <a:solidFill>
                <a:srgbClr val="47545B"/>
              </a:solidFill>
              <a:latin typeface="+mj-lt"/>
            </a:endParaRPr>
          </a:p>
          <a:p>
            <a:pPr marL="0" indent="0" algn="ctr">
              <a:buNone/>
              <a:defRPr/>
            </a:pPr>
            <a:r>
              <a:rPr lang="pt-BR" sz="3456" b="1" dirty="0">
                <a:solidFill>
                  <a:srgbClr val="47545B"/>
                </a:solidFill>
                <a:latin typeface="+mj-lt"/>
              </a:rPr>
              <a:t>Tratamento adjuvante no melanoma de alto risco </a:t>
            </a:r>
          </a:p>
          <a:p>
            <a:pPr marL="0" indent="0" algn="ctr">
              <a:buNone/>
              <a:defRPr/>
            </a:pPr>
            <a:endParaRPr lang="pt-BR" sz="3456" b="1" dirty="0">
              <a:solidFill>
                <a:srgbClr val="47545B"/>
              </a:solidFill>
              <a:latin typeface="+mj-lt"/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E4DCAC6C-0503-DE4C-B4A0-FDC0809D5BEE}"/>
              </a:ext>
            </a:extLst>
          </p:cNvPr>
          <p:cNvSpPr txBox="1"/>
          <p:nvPr/>
        </p:nvSpPr>
        <p:spPr>
          <a:xfrm>
            <a:off x="297174" y="8353506"/>
            <a:ext cx="7375169" cy="4875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borad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r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rkiwood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M, et al. 1996;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germont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, et al. 2012;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germont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, et al. 2016;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ng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v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t al. 2017;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er JS, et al. 2019;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germont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M, et al. 2018.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en-US" altLang="pt-BR" sz="1152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C3FB5536-15F0-4466-8AD9-CF9DED92F526}"/>
              </a:ext>
            </a:extLst>
          </p:cNvPr>
          <p:cNvSpPr txBox="1"/>
          <p:nvPr/>
        </p:nvSpPr>
        <p:spPr>
          <a:xfrm>
            <a:off x="196176" y="5047126"/>
            <a:ext cx="2641729" cy="11966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JCC,  American Joint Committee on Cancer; EA,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ers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IFN-PEG, PEG- interferon; E,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gi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SLP,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vida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vre de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ã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SG,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vida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lobal; SLR,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vida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vre de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rrência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D2B4A82B-3006-1DD9-9492-20DD0BCC4489}"/>
              </a:ext>
            </a:extLst>
          </p:cNvPr>
          <p:cNvSpPr txBox="1"/>
          <p:nvPr/>
        </p:nvSpPr>
        <p:spPr>
          <a:xfrm>
            <a:off x="1236839" y="9402490"/>
            <a:ext cx="14531616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en-US" sz="1152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shenwal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E,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ly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, Hess KR, et al. Melanoma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e-base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s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erican Joint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ghth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tion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ing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nual. 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 </a:t>
            </a:r>
            <a:r>
              <a:rPr lang="pt-BR" sz="1152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pt-BR" sz="1152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;67(6):472-492.</a:t>
            </a:r>
          </a:p>
        </p:txBody>
      </p:sp>
      <p:sp>
        <p:nvSpPr>
          <p:cNvPr id="6" name="Espaço Reservado para Número de Slide 1">
            <a:extLst>
              <a:ext uri="{FF2B5EF4-FFF2-40B4-BE49-F238E27FC236}">
                <a16:creationId xmlns:a16="http://schemas.microsoft.com/office/drawing/2014/main" id="{CD46D1AB-FFE0-1958-19E4-75178C7F41C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6842645" y="9269624"/>
            <a:ext cx="364302" cy="332800"/>
          </a:xfrm>
        </p:spPr>
        <p:txBody>
          <a:bodyPr/>
          <a:lstStyle/>
          <a:p>
            <a:fld id="{86CB4B4D-7CA3-9044-876B-883B54F8677D}" type="slidenum">
              <a:rPr lang="pt-BR" smtClean="0"/>
              <a:t>28</a:t>
            </a:fld>
            <a:endParaRPr lang="pt-BR" dirty="0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7503F6B-4BD3-343C-0382-C3DE28D67715}"/>
              </a:ext>
            </a:extLst>
          </p:cNvPr>
          <p:cNvSpPr/>
          <p:nvPr/>
        </p:nvSpPr>
        <p:spPr>
          <a:xfrm>
            <a:off x="-1764" y="9290306"/>
            <a:ext cx="17557750" cy="682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spaço Reservado para Número de Slide 1">
            <a:extLst>
              <a:ext uri="{FF2B5EF4-FFF2-40B4-BE49-F238E27FC236}">
                <a16:creationId xmlns:a16="http://schemas.microsoft.com/office/drawing/2014/main" id="{2DBD6748-78D8-9EEC-4CAD-D57B1FF70240}"/>
              </a:ext>
            </a:extLst>
          </p:cNvPr>
          <p:cNvSpPr txBox="1">
            <a:spLocks/>
          </p:cNvSpPr>
          <p:nvPr/>
        </p:nvSpPr>
        <p:spPr>
          <a:xfrm>
            <a:off x="16840881" y="9351626"/>
            <a:ext cx="364302" cy="3328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ctr" defTabSz="457200" rtl="0" eaLnBrk="1" latinLnBrk="0" hangingPunct="1">
              <a:defRPr sz="1440" b="1" kern="1200">
                <a:solidFill>
                  <a:srgbClr val="008D8B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E46DCB35-7AC4-EC41-BCFB-22610A4C30FD}"/>
              </a:ext>
            </a:extLst>
          </p:cNvPr>
          <p:cNvSpPr txBox="1"/>
          <p:nvPr/>
        </p:nvSpPr>
        <p:spPr>
          <a:xfrm>
            <a:off x="297174" y="8901600"/>
            <a:ext cx="16296903" cy="11966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en-US" sz="1152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1.</a:t>
            </a:r>
            <a:r>
              <a:rPr lang="en-US" sz="1152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Kirkwood JM, Strawderman MH, Ernstoff MS, et al. Interferon alfa-2b adjuvant therapy of high-risk resected cutaneous melanoma: the Eastern Cooperative Oncology Group Trial EST 1684</a:t>
            </a:r>
            <a:r>
              <a:rPr lang="en-US" sz="1152" i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. J Clin Oncol. </a:t>
            </a:r>
            <a:r>
              <a:rPr lang="en-US" sz="1152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1996;14(1):7-17; </a:t>
            </a:r>
            <a:r>
              <a:rPr lang="en-US" sz="1152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2.</a:t>
            </a:r>
            <a:r>
              <a:rPr lang="en-US" sz="1152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Eggermont AM, Suciu S, Testori A, et al. Long-term results of the randomized phase III trial EORTC 18991 of adjuvant therapy with pegylated interferon alfa-2b versus observation in resected stage III melanoma</a:t>
            </a:r>
            <a:r>
              <a:rPr lang="en-US" sz="1152" i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. J Clin Oncol. </a:t>
            </a:r>
            <a:r>
              <a:rPr lang="en-US" sz="1152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2012;30(31):3810-8; </a:t>
            </a:r>
            <a:r>
              <a:rPr lang="en-US" sz="1152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3.</a:t>
            </a:r>
            <a:r>
              <a:rPr lang="en-US" sz="1152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Eggermont AM, Chiarion-Sileni V, Grob JJ, et al. Prolonged Survival in Stage III Melanoma with Ipilimumab Adjuvant Therapy. </a:t>
            </a:r>
            <a:r>
              <a:rPr lang="en-US" sz="1152" i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N Engl J Med</a:t>
            </a:r>
            <a:r>
              <a:rPr lang="en-US" sz="1152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. 2016;375(19):1845-1855; </a:t>
            </a:r>
            <a:r>
              <a:rPr lang="en-US" sz="1152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4.</a:t>
            </a:r>
            <a:r>
              <a:rPr lang="en-US" sz="1152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Long GV, Hauschild A, Santinami M, et al. Adjuvant Dabrafenib plus Trametinib in Stage III BRAF-Mutated Melanoma</a:t>
            </a:r>
            <a:r>
              <a:rPr lang="en-US" sz="1152" i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. N Engl J Med</a:t>
            </a:r>
            <a:r>
              <a:rPr lang="en-US" sz="1152" noProof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. 2017;377(19):1813-1823; </a:t>
            </a:r>
            <a:r>
              <a:rPr lang="pt-BR" sz="1152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5. 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Weber JS, Del Vecchio M, Mandala M, et al. Abstract 1310O. 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Adjuvant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nivolumab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(NIVO) versus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pilimumab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(IPI) in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resecte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stag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III/IV melanoma: 3-year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efficacy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and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iomarker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results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from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th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b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</a:b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phas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3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heckMat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238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trial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apresentado no  ESMO Congress 2019; </a:t>
            </a:r>
            <a:r>
              <a:rPr lang="pt-BR" sz="1152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6.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Eggermont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AMM, Robert C,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Suciu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S.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Adjuvant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Pembrolizumab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in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Resected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Stage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III Melanoma. 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N </a:t>
            </a:r>
            <a:r>
              <a:rPr lang="pt-BR" sz="1152" i="1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Engl</a:t>
            </a:r>
            <a:r>
              <a:rPr lang="pt-BR" sz="1152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J Med.</a:t>
            </a:r>
            <a:r>
              <a:rPr lang="pt-BR" sz="1152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2018;379(6):593-595.</a:t>
            </a:r>
          </a:p>
          <a:p>
            <a:endParaRPr lang="en-US" sz="1152" noProof="1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FE7EEFEB-9087-760D-B974-2127F9516DEA}"/>
              </a:ext>
            </a:extLst>
          </p:cNvPr>
          <p:cNvSpPr/>
          <p:nvPr/>
        </p:nvSpPr>
        <p:spPr>
          <a:xfrm>
            <a:off x="16840881" y="9085612"/>
            <a:ext cx="364302" cy="7008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27994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9" grpId="0" animBg="1"/>
      <p:bldP spid="2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1257151" y="364190"/>
            <a:ext cx="1504344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600" dirty="0"/>
              <a:t>Tratamento Atual - </a:t>
            </a:r>
            <a:r>
              <a:rPr lang="pt-BR" sz="6600" dirty="0" err="1"/>
              <a:t>Adjuvância</a:t>
            </a:r>
            <a:endParaRPr lang="pt-BR" sz="6600" dirty="0"/>
          </a:p>
        </p:txBody>
      </p:sp>
      <p:sp>
        <p:nvSpPr>
          <p:cNvPr id="3" name="Retângulo Arredondado 2">
            <a:extLst>
              <a:ext uri="{FF2B5EF4-FFF2-40B4-BE49-F238E27FC236}">
                <a16:creationId xmlns:a16="http://schemas.microsoft.com/office/drawing/2014/main" id="{415C9763-9ABF-4A9C-3A29-7A8996A48A96}"/>
              </a:ext>
            </a:extLst>
          </p:cNvPr>
          <p:cNvSpPr/>
          <p:nvPr/>
        </p:nvSpPr>
        <p:spPr>
          <a:xfrm>
            <a:off x="4600278" y="1828800"/>
            <a:ext cx="8357190" cy="1233377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 dirty="0"/>
              <a:t>Melanoma ECII de alto risco e ECIII</a:t>
            </a:r>
          </a:p>
        </p:txBody>
      </p:sp>
      <p:sp>
        <p:nvSpPr>
          <p:cNvPr id="4" name="Retângulo Arredondado 3">
            <a:extLst>
              <a:ext uri="{FF2B5EF4-FFF2-40B4-BE49-F238E27FC236}">
                <a16:creationId xmlns:a16="http://schemas.microsoft.com/office/drawing/2014/main" id="{7FECB91C-0C55-4C59-75FB-20ABE31711E5}"/>
              </a:ext>
            </a:extLst>
          </p:cNvPr>
          <p:cNvSpPr/>
          <p:nvPr/>
        </p:nvSpPr>
        <p:spPr>
          <a:xfrm>
            <a:off x="4600278" y="3234329"/>
            <a:ext cx="8357190" cy="1233377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000" b="1" dirty="0"/>
              <a:t>Avaliação do status do BRAF</a:t>
            </a:r>
          </a:p>
        </p:txBody>
      </p:sp>
      <p:sp>
        <p:nvSpPr>
          <p:cNvPr id="5" name="Retângulo Arredondado 4">
            <a:extLst>
              <a:ext uri="{FF2B5EF4-FFF2-40B4-BE49-F238E27FC236}">
                <a16:creationId xmlns:a16="http://schemas.microsoft.com/office/drawing/2014/main" id="{9FB8D7D7-D013-41CB-7C8D-B3C88E054DC5}"/>
              </a:ext>
            </a:extLst>
          </p:cNvPr>
          <p:cNvSpPr/>
          <p:nvPr/>
        </p:nvSpPr>
        <p:spPr>
          <a:xfrm>
            <a:off x="381001" y="6127970"/>
            <a:ext cx="7806070" cy="3197628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err="1"/>
              <a:t>Dabrafenibe</a:t>
            </a:r>
            <a:r>
              <a:rPr lang="pt-BR" sz="3200" dirty="0"/>
              <a:t>/</a:t>
            </a:r>
            <a:r>
              <a:rPr lang="pt-BR" sz="3200" dirty="0" err="1"/>
              <a:t>Trametinibe</a:t>
            </a:r>
            <a:r>
              <a:rPr lang="pt-BR" sz="3200" dirty="0"/>
              <a:t> 12m (EC IIIA a IIIC)</a:t>
            </a:r>
          </a:p>
          <a:p>
            <a:pPr algn="ctr"/>
            <a:r>
              <a:rPr lang="pt-BR" sz="3200" dirty="0" err="1"/>
              <a:t>Pembrolizumabe</a:t>
            </a:r>
            <a:r>
              <a:rPr lang="pt-BR" sz="3200" dirty="0"/>
              <a:t> 12m (EC </a:t>
            </a:r>
            <a:r>
              <a:rPr lang="pt-BR" sz="3200" dirty="0" err="1"/>
              <a:t>IIb</a:t>
            </a:r>
            <a:r>
              <a:rPr lang="pt-BR" sz="3200" dirty="0"/>
              <a:t> a EC IIIC)</a:t>
            </a:r>
          </a:p>
          <a:p>
            <a:pPr algn="ctr"/>
            <a:r>
              <a:rPr lang="pt-BR" sz="3200" dirty="0" err="1"/>
              <a:t>Nivolumabe</a:t>
            </a:r>
            <a:r>
              <a:rPr lang="pt-BR" sz="3200" dirty="0"/>
              <a:t> 12m (EC IIIB a IV ressecado)</a:t>
            </a:r>
          </a:p>
        </p:txBody>
      </p:sp>
      <p:sp>
        <p:nvSpPr>
          <p:cNvPr id="6" name="Retângulo Arredondado 5">
            <a:extLst>
              <a:ext uri="{FF2B5EF4-FFF2-40B4-BE49-F238E27FC236}">
                <a16:creationId xmlns:a16="http://schemas.microsoft.com/office/drawing/2014/main" id="{F04F06D6-F371-A444-9EB9-3B0B1B524E9C}"/>
              </a:ext>
            </a:extLst>
          </p:cNvPr>
          <p:cNvSpPr/>
          <p:nvPr/>
        </p:nvSpPr>
        <p:spPr>
          <a:xfrm>
            <a:off x="9370682" y="6127969"/>
            <a:ext cx="7453499" cy="3197628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err="1"/>
              <a:t>Pembrolizumabe</a:t>
            </a:r>
            <a:r>
              <a:rPr lang="pt-BR" sz="3200" dirty="0"/>
              <a:t> 12m (EC IIB a EC IIIC)</a:t>
            </a:r>
          </a:p>
          <a:p>
            <a:pPr algn="ctr"/>
            <a:r>
              <a:rPr lang="pt-BR" sz="3200" dirty="0" err="1"/>
              <a:t>Nivolumabe</a:t>
            </a:r>
            <a:r>
              <a:rPr lang="pt-BR" sz="3200" dirty="0"/>
              <a:t> 12m (EC IIIB a IV ressecado)</a:t>
            </a:r>
          </a:p>
        </p:txBody>
      </p:sp>
      <p:sp>
        <p:nvSpPr>
          <p:cNvPr id="7" name="Retângulo Arredondado 6">
            <a:extLst>
              <a:ext uri="{FF2B5EF4-FFF2-40B4-BE49-F238E27FC236}">
                <a16:creationId xmlns:a16="http://schemas.microsoft.com/office/drawing/2014/main" id="{3DAE0BF1-AA90-6347-DC18-BCC8F9F9B873}"/>
              </a:ext>
            </a:extLst>
          </p:cNvPr>
          <p:cNvSpPr/>
          <p:nvPr/>
        </p:nvSpPr>
        <p:spPr>
          <a:xfrm>
            <a:off x="733571" y="4639858"/>
            <a:ext cx="7453499" cy="12333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400" b="1" dirty="0">
                <a:solidFill>
                  <a:srgbClr val="002060"/>
                </a:solidFill>
              </a:rPr>
              <a:t>BRAF </a:t>
            </a:r>
            <a:r>
              <a:rPr lang="pt-BR" sz="4400" b="1" dirty="0" err="1">
                <a:solidFill>
                  <a:srgbClr val="002060"/>
                </a:solidFill>
              </a:rPr>
              <a:t>mut</a:t>
            </a:r>
            <a:r>
              <a:rPr lang="pt-BR" sz="4400" b="1" dirty="0">
                <a:solidFill>
                  <a:srgbClr val="002060"/>
                </a:solidFill>
              </a:rPr>
              <a:t> (V600E e V600K)</a:t>
            </a:r>
          </a:p>
        </p:txBody>
      </p:sp>
      <p:sp>
        <p:nvSpPr>
          <p:cNvPr id="8" name="Retângulo Arredondado 7">
            <a:extLst>
              <a:ext uri="{FF2B5EF4-FFF2-40B4-BE49-F238E27FC236}">
                <a16:creationId xmlns:a16="http://schemas.microsoft.com/office/drawing/2014/main" id="{88BABF29-6F1C-91CE-EE57-00513EC1EB84}"/>
              </a:ext>
            </a:extLst>
          </p:cNvPr>
          <p:cNvSpPr/>
          <p:nvPr/>
        </p:nvSpPr>
        <p:spPr>
          <a:xfrm>
            <a:off x="9342182" y="4639858"/>
            <a:ext cx="7453499" cy="12333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400" b="1" dirty="0">
                <a:solidFill>
                  <a:srgbClr val="002060"/>
                </a:solidFill>
              </a:rPr>
              <a:t>BRAF </a:t>
            </a:r>
            <a:r>
              <a:rPr lang="pt-BR" sz="4400" b="1" dirty="0" err="1">
                <a:solidFill>
                  <a:srgbClr val="002060"/>
                </a:solidFill>
              </a:rPr>
              <a:t>wt</a:t>
            </a:r>
            <a:endParaRPr lang="pt-BR" sz="4400" b="1" dirty="0">
              <a:solidFill>
                <a:srgbClr val="002060"/>
              </a:solidFill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0157F86-3176-9D7F-97BE-F9DE3DFE9287}"/>
              </a:ext>
            </a:extLst>
          </p:cNvPr>
          <p:cNvSpPr txBox="1"/>
          <p:nvPr/>
        </p:nvSpPr>
        <p:spPr>
          <a:xfrm>
            <a:off x="9562066" y="9483262"/>
            <a:ext cx="7995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 err="1"/>
              <a:t>Estadios</a:t>
            </a:r>
            <a:r>
              <a:rPr lang="pt-BR" dirty="0"/>
              <a:t> por AJCC 7ed</a:t>
            </a:r>
          </a:p>
        </p:txBody>
      </p:sp>
    </p:spTree>
    <p:extLst>
      <p:ext uri="{BB962C8B-B14F-4D97-AF65-F5344CB8AC3E}">
        <p14:creationId xmlns:p14="http://schemas.microsoft.com/office/powerpoint/2010/main" val="40275791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tângulo 84">
            <a:extLst>
              <a:ext uri="{FF2B5EF4-FFF2-40B4-BE49-F238E27FC236}">
                <a16:creationId xmlns:a16="http://schemas.microsoft.com/office/drawing/2014/main" id="{8B71A851-EA37-470A-87C6-1289E6AB42AF}"/>
              </a:ext>
            </a:extLst>
          </p:cNvPr>
          <p:cNvSpPr/>
          <p:nvPr/>
        </p:nvSpPr>
        <p:spPr>
          <a:xfrm>
            <a:off x="0" y="0"/>
            <a:ext cx="17557749" cy="2754775"/>
          </a:xfrm>
          <a:prstGeom prst="rect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etângulo 83">
            <a:extLst>
              <a:ext uri="{FF2B5EF4-FFF2-40B4-BE49-F238E27FC236}">
                <a16:creationId xmlns:a16="http://schemas.microsoft.com/office/drawing/2014/main" id="{C67155F7-40D4-4E0F-8F6F-78842C593937}"/>
              </a:ext>
            </a:extLst>
          </p:cNvPr>
          <p:cNvSpPr/>
          <p:nvPr/>
        </p:nvSpPr>
        <p:spPr>
          <a:xfrm>
            <a:off x="1765" y="1"/>
            <a:ext cx="17555985" cy="26043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802F56FE-9E4E-4CA6-A698-AD2CCBB46D81}"/>
              </a:ext>
            </a:extLst>
          </p:cNvPr>
          <p:cNvSpPr/>
          <p:nvPr/>
        </p:nvSpPr>
        <p:spPr>
          <a:xfrm>
            <a:off x="5764820" y="2419785"/>
            <a:ext cx="10299312" cy="1015657"/>
          </a:xfrm>
          <a:prstGeom prst="rect">
            <a:avLst/>
          </a:prstGeom>
          <a:gradFill>
            <a:gsLst>
              <a:gs pos="0">
                <a:srgbClr val="0980D1"/>
              </a:gs>
              <a:gs pos="100000">
                <a:srgbClr val="1496D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Triângulo isósceles 32">
            <a:extLst>
              <a:ext uri="{FF2B5EF4-FFF2-40B4-BE49-F238E27FC236}">
                <a16:creationId xmlns:a16="http://schemas.microsoft.com/office/drawing/2014/main" id="{9CA3F0D6-B5F1-4EE7-97FF-51D0AAEA1BE8}"/>
              </a:ext>
            </a:extLst>
          </p:cNvPr>
          <p:cNvSpPr/>
          <p:nvPr/>
        </p:nvSpPr>
        <p:spPr>
          <a:xfrm>
            <a:off x="15470795" y="2758018"/>
            <a:ext cx="593725" cy="677424"/>
          </a:xfrm>
          <a:prstGeom prst="triangle">
            <a:avLst>
              <a:gd name="adj" fmla="val 100000"/>
            </a:avLst>
          </a:prstGeom>
          <a:solidFill>
            <a:srgbClr val="56EF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647436-A9CB-4826-AA18-498F3B1F1ED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30310" y="3022878"/>
            <a:ext cx="3746500" cy="6002338"/>
          </a:xfr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defTabSz="1316736">
              <a:lnSpc>
                <a:spcPct val="100000"/>
              </a:lnSpc>
              <a:spcBef>
                <a:spcPts val="0"/>
              </a:spcBef>
            </a:pPr>
            <a:r>
              <a:rPr lang="pt-BR" sz="48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E, CADA VEZ, HÁ MAIS CHANCES </a:t>
            </a:r>
            <a:br>
              <a:rPr lang="pt-BR" sz="48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</a:br>
            <a:r>
              <a:rPr lang="pt-BR" sz="4800" b="1" spc="-300" dirty="0">
                <a:ln w="5000" cmpd="sng">
                  <a:noFill/>
                  <a:prstDash val="solid"/>
                </a:ln>
                <a:solidFill>
                  <a:srgbClr val="404040"/>
                </a:solidFill>
                <a:latin typeface="Bahnschrift" panose="020B0502040204020203" pitchFamily="34" charset="0"/>
                <a:ea typeface="+mn-ea"/>
                <a:cs typeface="+mn-cs"/>
              </a:rPr>
              <a:t>DE QUE ESSE </a:t>
            </a:r>
            <a:r>
              <a:rPr lang="pt-BR" sz="4800" b="1" spc="-300" dirty="0">
                <a:ln w="5000" cmpd="sng">
                  <a:noFill/>
                  <a:prstDash val="solid"/>
                </a:ln>
                <a:solidFill>
                  <a:srgbClr val="1496D4"/>
                </a:solidFill>
                <a:latin typeface="Bahnschrift" panose="020B0502040204020203" pitchFamily="34" charset="0"/>
                <a:ea typeface="+mn-ea"/>
                <a:cs typeface="+mn-cs"/>
              </a:rPr>
              <a:t>PACIENTE CHEGUE NO NOSSO CONSULTÓRIO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52065" y="8382040"/>
            <a:ext cx="9763956" cy="5632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1316736" fontAlgn="auto">
              <a:lnSpc>
                <a:spcPct val="85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GLOBOCAN 2012: estimated cancer incidence, mortality and prevalence worldwide in 2012. International Agency for Research on Cancer. Available at: http://globocan.iarc.fr/.Accessed October 1, 2015. SEER Stat Fact Sheets: Melanoma of the Skin. National Cancer Institute. Available at http://seer.cancer.gov/statfacts/html/melan.html. Accessed October 2014.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D1F58218-A25A-40E8-80E2-22DFBE43EA1C}"/>
              </a:ext>
            </a:extLst>
          </p:cNvPr>
          <p:cNvSpPr txBox="1"/>
          <p:nvPr/>
        </p:nvSpPr>
        <p:spPr>
          <a:xfrm>
            <a:off x="6648608" y="2535751"/>
            <a:ext cx="8531738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167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Cerca de 200.000 casos de melanoma são diagnosticados em todo o mundo a cada ano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C1FF7F65-BE59-4AC1-AB6C-D22DEDA81AD7}"/>
              </a:ext>
            </a:extLst>
          </p:cNvPr>
          <p:cNvGrpSpPr/>
          <p:nvPr/>
        </p:nvGrpSpPr>
        <p:grpSpPr>
          <a:xfrm>
            <a:off x="13485592" y="4590103"/>
            <a:ext cx="3004088" cy="2893808"/>
            <a:chOff x="13485592" y="4590104"/>
            <a:chExt cx="2794357" cy="2558982"/>
          </a:xfrm>
        </p:grpSpPr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4A051505-C17D-427A-A5BF-DA443824B85A}"/>
                </a:ext>
              </a:extLst>
            </p:cNvPr>
            <p:cNvSpPr txBox="1"/>
            <p:nvPr/>
          </p:nvSpPr>
          <p:spPr>
            <a:xfrm>
              <a:off x="13485592" y="5679393"/>
              <a:ext cx="2794357" cy="14696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31673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A cada hora, cerca de </a:t>
              </a:r>
              <a: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1496D4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6 pessoas morrem </a:t>
              </a: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de melanoma em todo o mundo</a:t>
              </a:r>
            </a:p>
          </p:txBody>
        </p:sp>
        <p:grpSp>
          <p:nvGrpSpPr>
            <p:cNvPr id="39" name="Agrupar 38">
              <a:extLst>
                <a:ext uri="{FF2B5EF4-FFF2-40B4-BE49-F238E27FC236}">
                  <a16:creationId xmlns:a16="http://schemas.microsoft.com/office/drawing/2014/main" id="{779F71B5-C05F-4771-BB71-73540CF63F15}"/>
                </a:ext>
              </a:extLst>
            </p:cNvPr>
            <p:cNvGrpSpPr/>
            <p:nvPr/>
          </p:nvGrpSpPr>
          <p:grpSpPr>
            <a:xfrm>
              <a:off x="13591934" y="4590104"/>
              <a:ext cx="969922" cy="1004000"/>
              <a:chOff x="1574414" y="3565611"/>
              <a:chExt cx="587376" cy="608013"/>
            </a:xfrm>
          </p:grpSpPr>
          <p:sp>
            <p:nvSpPr>
              <p:cNvPr id="40" name="Freeform 220">
                <a:extLst>
                  <a:ext uri="{FF2B5EF4-FFF2-40B4-BE49-F238E27FC236}">
                    <a16:creationId xmlns:a16="http://schemas.microsoft.com/office/drawing/2014/main" id="{7FC14B24-0D7D-4B92-855A-DF47D128B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0614" y="3565611"/>
                <a:ext cx="128588" cy="155575"/>
              </a:xfrm>
              <a:custGeom>
                <a:avLst/>
                <a:gdLst>
                  <a:gd name="T0" fmla="*/ 20 w 40"/>
                  <a:gd name="T1" fmla="*/ 48 h 48"/>
                  <a:gd name="T2" fmla="*/ 40 w 40"/>
                  <a:gd name="T3" fmla="*/ 27 h 48"/>
                  <a:gd name="T4" fmla="*/ 40 w 40"/>
                  <a:gd name="T5" fmla="*/ 21 h 48"/>
                  <a:gd name="T6" fmla="*/ 20 w 40"/>
                  <a:gd name="T7" fmla="*/ 0 h 48"/>
                  <a:gd name="T8" fmla="*/ 0 w 40"/>
                  <a:gd name="T9" fmla="*/ 21 h 48"/>
                  <a:gd name="T10" fmla="*/ 0 w 40"/>
                  <a:gd name="T11" fmla="*/ 27 h 48"/>
                  <a:gd name="T12" fmla="*/ 20 w 40"/>
                  <a:gd name="T13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8">
                    <a:moveTo>
                      <a:pt x="20" y="48"/>
                    </a:moveTo>
                    <a:cubicBezTo>
                      <a:pt x="31" y="48"/>
                      <a:pt x="40" y="39"/>
                      <a:pt x="40" y="27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40" y="9"/>
                      <a:pt x="31" y="0"/>
                      <a:pt x="20" y="0"/>
                    </a:cubicBezTo>
                    <a:cubicBezTo>
                      <a:pt x="10" y="0"/>
                      <a:pt x="0" y="9"/>
                      <a:pt x="0" y="21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39"/>
                      <a:pt x="9" y="48"/>
                      <a:pt x="20" y="48"/>
                    </a:cubicBezTo>
                    <a:close/>
                  </a:path>
                </a:pathLst>
              </a:custGeom>
              <a:noFill/>
              <a:ln w="2540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 221">
                <a:extLst>
                  <a:ext uri="{FF2B5EF4-FFF2-40B4-BE49-F238E27FC236}">
                    <a16:creationId xmlns:a16="http://schemas.microsoft.com/office/drawing/2014/main" id="{AA823382-60DC-4815-86F0-0EBB37D10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414" y="3759286"/>
                <a:ext cx="280988" cy="242887"/>
              </a:xfrm>
              <a:custGeom>
                <a:avLst/>
                <a:gdLst>
                  <a:gd name="T0" fmla="*/ 67 w 88"/>
                  <a:gd name="T1" fmla="*/ 75 h 75"/>
                  <a:gd name="T2" fmla="*/ 88 w 88"/>
                  <a:gd name="T3" fmla="*/ 55 h 75"/>
                  <a:gd name="T4" fmla="*/ 88 w 88"/>
                  <a:gd name="T5" fmla="*/ 27 h 75"/>
                  <a:gd name="T6" fmla="*/ 60 w 88"/>
                  <a:gd name="T7" fmla="*/ 0 h 75"/>
                  <a:gd name="T8" fmla="*/ 28 w 88"/>
                  <a:gd name="T9" fmla="*/ 0 h 75"/>
                  <a:gd name="T10" fmla="*/ 0 w 88"/>
                  <a:gd name="T11" fmla="*/ 27 h 75"/>
                  <a:gd name="T12" fmla="*/ 0 w 88"/>
                  <a:gd name="T13" fmla="*/ 55 h 75"/>
                  <a:gd name="T14" fmla="*/ 19 w 88"/>
                  <a:gd name="T15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75">
                    <a:moveTo>
                      <a:pt x="67" y="75"/>
                    </a:moveTo>
                    <a:cubicBezTo>
                      <a:pt x="76" y="75"/>
                      <a:pt x="88" y="64"/>
                      <a:pt x="88" y="55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88" y="11"/>
                      <a:pt x="73" y="0"/>
                      <a:pt x="6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6" y="0"/>
                      <a:pt x="0" y="11"/>
                      <a:pt x="0" y="27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64"/>
                      <a:pt x="10" y="75"/>
                      <a:pt x="19" y="75"/>
                    </a:cubicBezTo>
                  </a:path>
                </a:pathLst>
              </a:custGeom>
              <a:noFill/>
              <a:ln w="2540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Line 222">
                <a:extLst>
                  <a:ext uri="{FF2B5EF4-FFF2-40B4-BE49-F238E27FC236}">
                    <a16:creationId xmlns:a16="http://schemas.microsoft.com/office/drawing/2014/main" id="{F5D25992-2B46-47AA-98CE-0004FE3438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91902" y="3837074"/>
                <a:ext cx="0" cy="336550"/>
              </a:xfrm>
              <a:prstGeom prst="line">
                <a:avLst/>
              </a:prstGeom>
              <a:noFill/>
              <a:ln w="2540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Line 223">
                <a:extLst>
                  <a:ext uri="{FF2B5EF4-FFF2-40B4-BE49-F238E27FC236}">
                    <a16:creationId xmlns:a16="http://schemas.microsoft.com/office/drawing/2014/main" id="{B66E8513-B9B4-4E64-85E5-9B1B63C2B0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37914" y="3837074"/>
                <a:ext cx="0" cy="336550"/>
              </a:xfrm>
              <a:prstGeom prst="line">
                <a:avLst/>
              </a:prstGeom>
              <a:noFill/>
              <a:ln w="2540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Line 224">
                <a:extLst>
                  <a:ext uri="{FF2B5EF4-FFF2-40B4-BE49-F238E27FC236}">
                    <a16:creationId xmlns:a16="http://schemas.microsoft.com/office/drawing/2014/main" id="{0B8B26AD-561D-4D58-8CE9-7A9A4FDA71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15702" y="3965661"/>
                <a:ext cx="0" cy="207962"/>
              </a:xfrm>
              <a:prstGeom prst="line">
                <a:avLst/>
              </a:prstGeom>
              <a:noFill/>
              <a:ln w="2540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225">
                <a:extLst>
                  <a:ext uri="{FF2B5EF4-FFF2-40B4-BE49-F238E27FC236}">
                    <a16:creationId xmlns:a16="http://schemas.microsoft.com/office/drawing/2014/main" id="{C727CF32-C145-48E6-A41D-B181D3CFF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4302" y="3771986"/>
                <a:ext cx="65088" cy="103187"/>
              </a:xfrm>
              <a:custGeom>
                <a:avLst/>
                <a:gdLst>
                  <a:gd name="T0" fmla="*/ 0 w 41"/>
                  <a:gd name="T1" fmla="*/ 0 h 65"/>
                  <a:gd name="T2" fmla="*/ 0 w 41"/>
                  <a:gd name="T3" fmla="*/ 65 h 65"/>
                  <a:gd name="T4" fmla="*/ 41 w 41"/>
                  <a:gd name="T5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1" h="65">
                    <a:moveTo>
                      <a:pt x="0" y="0"/>
                    </a:moveTo>
                    <a:lnTo>
                      <a:pt x="0" y="65"/>
                    </a:lnTo>
                    <a:lnTo>
                      <a:pt x="41" y="65"/>
                    </a:lnTo>
                  </a:path>
                </a:pathLst>
              </a:custGeom>
              <a:noFill/>
              <a:ln w="2540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226">
                <a:extLst>
                  <a:ext uri="{FF2B5EF4-FFF2-40B4-BE49-F238E27FC236}">
                    <a16:creationId xmlns:a16="http://schemas.microsoft.com/office/drawing/2014/main" id="{E49E3FAD-A33B-4A05-8122-83162018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0002" y="3656099"/>
                <a:ext cx="331788" cy="439737"/>
              </a:xfrm>
              <a:custGeom>
                <a:avLst/>
                <a:gdLst>
                  <a:gd name="T0" fmla="*/ 0 w 104"/>
                  <a:gd name="T1" fmla="*/ 10 h 136"/>
                  <a:gd name="T2" fmla="*/ 36 w 104"/>
                  <a:gd name="T3" fmla="*/ 0 h 136"/>
                  <a:gd name="T4" fmla="*/ 104 w 104"/>
                  <a:gd name="T5" fmla="*/ 68 h 136"/>
                  <a:gd name="T6" fmla="*/ 36 w 104"/>
                  <a:gd name="T7" fmla="*/ 136 h 136"/>
                  <a:gd name="T8" fmla="*/ 0 w 104"/>
                  <a:gd name="T9" fmla="*/ 12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136">
                    <a:moveTo>
                      <a:pt x="0" y="10"/>
                    </a:moveTo>
                    <a:cubicBezTo>
                      <a:pt x="10" y="4"/>
                      <a:pt x="23" y="0"/>
                      <a:pt x="36" y="0"/>
                    </a:cubicBezTo>
                    <a:cubicBezTo>
                      <a:pt x="74" y="0"/>
                      <a:pt x="104" y="30"/>
                      <a:pt x="104" y="68"/>
                    </a:cubicBezTo>
                    <a:cubicBezTo>
                      <a:pt x="104" y="106"/>
                      <a:pt x="74" y="136"/>
                      <a:pt x="36" y="136"/>
                    </a:cubicBezTo>
                    <a:cubicBezTo>
                      <a:pt x="23" y="136"/>
                      <a:pt x="10" y="132"/>
                      <a:pt x="0" y="126"/>
                    </a:cubicBezTo>
                  </a:path>
                </a:pathLst>
              </a:custGeom>
              <a:noFill/>
              <a:ln w="2540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227">
                <a:extLst>
                  <a:ext uri="{FF2B5EF4-FFF2-40B4-BE49-F238E27FC236}">
                    <a16:creationId xmlns:a16="http://schemas.microsoft.com/office/drawing/2014/main" id="{EB6DE963-A741-4A85-BBA4-36BC19C7D8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227" y="3721186"/>
                <a:ext cx="246063" cy="309562"/>
              </a:xfrm>
              <a:custGeom>
                <a:avLst/>
                <a:gdLst>
                  <a:gd name="T0" fmla="*/ 0 w 77"/>
                  <a:gd name="T1" fmla="*/ 10 h 96"/>
                  <a:gd name="T2" fmla="*/ 29 w 77"/>
                  <a:gd name="T3" fmla="*/ 0 h 96"/>
                  <a:gd name="T4" fmla="*/ 77 w 77"/>
                  <a:gd name="T5" fmla="*/ 48 h 96"/>
                  <a:gd name="T6" fmla="*/ 29 w 77"/>
                  <a:gd name="T7" fmla="*/ 96 h 96"/>
                  <a:gd name="T8" fmla="*/ 4 w 77"/>
                  <a:gd name="T9" fmla="*/ 8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96">
                    <a:moveTo>
                      <a:pt x="0" y="10"/>
                    </a:moveTo>
                    <a:cubicBezTo>
                      <a:pt x="8" y="4"/>
                      <a:pt x="18" y="0"/>
                      <a:pt x="29" y="0"/>
                    </a:cubicBezTo>
                    <a:cubicBezTo>
                      <a:pt x="55" y="0"/>
                      <a:pt x="77" y="22"/>
                      <a:pt x="77" y="48"/>
                    </a:cubicBezTo>
                    <a:cubicBezTo>
                      <a:pt x="77" y="74"/>
                      <a:pt x="55" y="96"/>
                      <a:pt x="29" y="96"/>
                    </a:cubicBezTo>
                    <a:cubicBezTo>
                      <a:pt x="20" y="96"/>
                      <a:pt x="11" y="93"/>
                      <a:pt x="4" y="88"/>
                    </a:cubicBezTo>
                  </a:path>
                </a:pathLst>
              </a:custGeom>
              <a:noFill/>
              <a:ln w="2540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EA0F977E-FFD0-49A3-9FA8-1428CEB433F3}"/>
              </a:ext>
            </a:extLst>
          </p:cNvPr>
          <p:cNvGrpSpPr/>
          <p:nvPr/>
        </p:nvGrpSpPr>
        <p:grpSpPr>
          <a:xfrm>
            <a:off x="9665760" y="4495897"/>
            <a:ext cx="3196799" cy="3205476"/>
            <a:chOff x="9665761" y="4481609"/>
            <a:chExt cx="2827774" cy="2858964"/>
          </a:xfrm>
        </p:grpSpPr>
        <p:grpSp>
          <p:nvGrpSpPr>
            <p:cNvPr id="88" name="Agrupar 87">
              <a:extLst>
                <a:ext uri="{FF2B5EF4-FFF2-40B4-BE49-F238E27FC236}">
                  <a16:creationId xmlns:a16="http://schemas.microsoft.com/office/drawing/2014/main" id="{8AFB296D-A532-4172-A854-2717DE0AE7AB}"/>
                </a:ext>
              </a:extLst>
            </p:cNvPr>
            <p:cNvGrpSpPr/>
            <p:nvPr/>
          </p:nvGrpSpPr>
          <p:grpSpPr>
            <a:xfrm>
              <a:off x="9665761" y="4481609"/>
              <a:ext cx="2827774" cy="2858964"/>
              <a:chOff x="9665761" y="4481609"/>
              <a:chExt cx="2827774" cy="2858964"/>
            </a:xfrm>
          </p:grpSpPr>
          <p:sp>
            <p:nvSpPr>
              <p:cNvPr id="13" name="CaixaDeTexto 12">
                <a:extLst>
                  <a:ext uri="{FF2B5EF4-FFF2-40B4-BE49-F238E27FC236}">
                    <a16:creationId xmlns:a16="http://schemas.microsoft.com/office/drawing/2014/main" id="{43C30DB6-F129-48FC-A450-3F98A7FB5C27}"/>
                  </a:ext>
                </a:extLst>
              </p:cNvPr>
              <p:cNvSpPr txBox="1"/>
              <p:nvPr/>
            </p:nvSpPr>
            <p:spPr>
              <a:xfrm>
                <a:off x="9665761" y="4481609"/>
                <a:ext cx="2827774" cy="16619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316736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1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Nos EUA, o número de casos </a:t>
                </a: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de m</a:t>
                </a: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elanoma mais que dobrou nos últimos 30 anos</a:t>
                </a:r>
              </a:p>
            </p:txBody>
          </p:sp>
          <p:sp>
            <p:nvSpPr>
              <p:cNvPr id="15" name="CaixaDeTexto 14">
                <a:extLst>
                  <a:ext uri="{FF2B5EF4-FFF2-40B4-BE49-F238E27FC236}">
                    <a16:creationId xmlns:a16="http://schemas.microsoft.com/office/drawing/2014/main" id="{C54C4E7F-C296-441F-9B0E-B6724F9BBEE0}"/>
                  </a:ext>
                </a:extLst>
              </p:cNvPr>
              <p:cNvSpPr txBox="1"/>
              <p:nvPr/>
            </p:nvSpPr>
            <p:spPr>
              <a:xfrm>
                <a:off x="9695258" y="6123637"/>
                <a:ext cx="2670470" cy="87716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316736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1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496D4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x2</a:t>
                </a:r>
              </a:p>
            </p:txBody>
          </p:sp>
          <p:sp>
            <p:nvSpPr>
              <p:cNvPr id="16" name="CaixaDeTexto 15">
                <a:extLst>
                  <a:ext uri="{FF2B5EF4-FFF2-40B4-BE49-F238E27FC236}">
                    <a16:creationId xmlns:a16="http://schemas.microsoft.com/office/drawing/2014/main" id="{D9D0470F-8D03-4EBE-907D-974E68244619}"/>
                  </a:ext>
                </a:extLst>
              </p:cNvPr>
              <p:cNvSpPr txBox="1"/>
              <p:nvPr/>
            </p:nvSpPr>
            <p:spPr>
              <a:xfrm>
                <a:off x="9665761" y="6934308"/>
                <a:ext cx="2670470" cy="4062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316736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1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496D4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Últimos 30 anos</a:t>
                </a:r>
              </a:p>
            </p:txBody>
          </p:sp>
        </p:grpSp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69CBCDF5-407D-4057-9D7A-00DA76E6CAFD}"/>
                </a:ext>
              </a:extLst>
            </p:cNvPr>
            <p:cNvGrpSpPr/>
            <p:nvPr/>
          </p:nvGrpSpPr>
          <p:grpSpPr>
            <a:xfrm>
              <a:off x="10699775" y="6306915"/>
              <a:ext cx="1145707" cy="500512"/>
              <a:chOff x="10348083" y="5686928"/>
              <a:chExt cx="1145707" cy="500512"/>
            </a:xfrm>
          </p:grpSpPr>
          <p:grpSp>
            <p:nvGrpSpPr>
              <p:cNvPr id="48" name="Agrupar 47">
                <a:extLst>
                  <a:ext uri="{FF2B5EF4-FFF2-40B4-BE49-F238E27FC236}">
                    <a16:creationId xmlns:a16="http://schemas.microsoft.com/office/drawing/2014/main" id="{284CD59A-5B8E-4EC6-9595-4F4C2AA92EF3}"/>
                  </a:ext>
                </a:extLst>
              </p:cNvPr>
              <p:cNvGrpSpPr/>
              <p:nvPr/>
            </p:nvGrpSpPr>
            <p:grpSpPr>
              <a:xfrm>
                <a:off x="10348083" y="5686928"/>
                <a:ext cx="231307" cy="500512"/>
                <a:chOff x="1574414" y="3565611"/>
                <a:chExt cx="280988" cy="608013"/>
              </a:xfrm>
            </p:grpSpPr>
            <p:sp>
              <p:nvSpPr>
                <p:cNvPr id="49" name="Freeform 220">
                  <a:extLst>
                    <a:ext uri="{FF2B5EF4-FFF2-40B4-BE49-F238E27FC236}">
                      <a16:creationId xmlns:a16="http://schemas.microsoft.com/office/drawing/2014/main" id="{98A078C3-F4D4-4342-813A-15D6595A55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0614" y="3565611"/>
                  <a:ext cx="128588" cy="155575"/>
                </a:xfrm>
                <a:custGeom>
                  <a:avLst/>
                  <a:gdLst>
                    <a:gd name="T0" fmla="*/ 20 w 40"/>
                    <a:gd name="T1" fmla="*/ 48 h 48"/>
                    <a:gd name="T2" fmla="*/ 40 w 40"/>
                    <a:gd name="T3" fmla="*/ 27 h 48"/>
                    <a:gd name="T4" fmla="*/ 40 w 40"/>
                    <a:gd name="T5" fmla="*/ 21 h 48"/>
                    <a:gd name="T6" fmla="*/ 20 w 40"/>
                    <a:gd name="T7" fmla="*/ 0 h 48"/>
                    <a:gd name="T8" fmla="*/ 0 w 40"/>
                    <a:gd name="T9" fmla="*/ 21 h 48"/>
                    <a:gd name="T10" fmla="*/ 0 w 40"/>
                    <a:gd name="T11" fmla="*/ 27 h 48"/>
                    <a:gd name="T12" fmla="*/ 20 w 40"/>
                    <a:gd name="T1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48">
                      <a:moveTo>
                        <a:pt x="20" y="48"/>
                      </a:moveTo>
                      <a:cubicBezTo>
                        <a:pt x="31" y="48"/>
                        <a:pt x="40" y="39"/>
                        <a:pt x="40" y="27"/>
                      </a:cubicBez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0" y="9"/>
                        <a:pt x="31" y="0"/>
                        <a:pt x="20" y="0"/>
                      </a:cubicBezTo>
                      <a:cubicBezTo>
                        <a:pt x="10" y="0"/>
                        <a:pt x="0" y="9"/>
                        <a:pt x="0" y="21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39"/>
                        <a:pt x="9" y="48"/>
                        <a:pt x="20" y="48"/>
                      </a:cubicBezTo>
                      <a:close/>
                    </a:path>
                  </a:pathLst>
                </a:cu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21">
                  <a:extLst>
                    <a:ext uri="{FF2B5EF4-FFF2-40B4-BE49-F238E27FC236}">
                      <a16:creationId xmlns:a16="http://schemas.microsoft.com/office/drawing/2014/main" id="{03C37C5B-68CD-4731-981E-91FE211900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4414" y="3759286"/>
                  <a:ext cx="280988" cy="242887"/>
                </a:xfrm>
                <a:custGeom>
                  <a:avLst/>
                  <a:gdLst>
                    <a:gd name="T0" fmla="*/ 67 w 88"/>
                    <a:gd name="T1" fmla="*/ 75 h 75"/>
                    <a:gd name="T2" fmla="*/ 88 w 88"/>
                    <a:gd name="T3" fmla="*/ 55 h 75"/>
                    <a:gd name="T4" fmla="*/ 88 w 88"/>
                    <a:gd name="T5" fmla="*/ 27 h 75"/>
                    <a:gd name="T6" fmla="*/ 60 w 88"/>
                    <a:gd name="T7" fmla="*/ 0 h 75"/>
                    <a:gd name="T8" fmla="*/ 28 w 88"/>
                    <a:gd name="T9" fmla="*/ 0 h 75"/>
                    <a:gd name="T10" fmla="*/ 0 w 88"/>
                    <a:gd name="T11" fmla="*/ 27 h 75"/>
                    <a:gd name="T12" fmla="*/ 0 w 88"/>
                    <a:gd name="T13" fmla="*/ 55 h 75"/>
                    <a:gd name="T14" fmla="*/ 19 w 88"/>
                    <a:gd name="T15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8" h="75">
                      <a:moveTo>
                        <a:pt x="67" y="75"/>
                      </a:moveTo>
                      <a:cubicBezTo>
                        <a:pt x="76" y="75"/>
                        <a:pt x="88" y="64"/>
                        <a:pt x="88" y="55"/>
                      </a:cubicBezTo>
                      <a:cubicBezTo>
                        <a:pt x="88" y="27"/>
                        <a:pt x="88" y="27"/>
                        <a:pt x="88" y="27"/>
                      </a:cubicBezTo>
                      <a:cubicBezTo>
                        <a:pt x="88" y="11"/>
                        <a:pt x="73" y="0"/>
                        <a:pt x="60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16" y="0"/>
                        <a:pt x="0" y="11"/>
                        <a:pt x="0" y="27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64"/>
                        <a:pt x="10" y="75"/>
                        <a:pt x="19" y="75"/>
                      </a:cubicBezTo>
                    </a:path>
                  </a:pathLst>
                </a:cu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Line 222">
                  <a:extLst>
                    <a:ext uri="{FF2B5EF4-FFF2-40B4-BE49-F238E27FC236}">
                      <a16:creationId xmlns:a16="http://schemas.microsoft.com/office/drawing/2014/main" id="{35F30FC2-EC77-4F00-BD07-F1253D38BB7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791902" y="3837074"/>
                  <a:ext cx="0" cy="336550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Line 223">
                  <a:extLst>
                    <a:ext uri="{FF2B5EF4-FFF2-40B4-BE49-F238E27FC236}">
                      <a16:creationId xmlns:a16="http://schemas.microsoft.com/office/drawing/2014/main" id="{0CFA1A7F-2496-4622-9002-A863E03CF6C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637914" y="3837074"/>
                  <a:ext cx="0" cy="336550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Line 224">
                  <a:extLst>
                    <a:ext uri="{FF2B5EF4-FFF2-40B4-BE49-F238E27FC236}">
                      <a16:creationId xmlns:a16="http://schemas.microsoft.com/office/drawing/2014/main" id="{AB952D71-A50C-440B-A503-5681AA5A193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715702" y="3965661"/>
                  <a:ext cx="0" cy="207962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7" name="Agrupar 56">
                <a:extLst>
                  <a:ext uri="{FF2B5EF4-FFF2-40B4-BE49-F238E27FC236}">
                    <a16:creationId xmlns:a16="http://schemas.microsoft.com/office/drawing/2014/main" id="{C2DA3A5D-86B4-4ADA-A3D6-FB765CE4C088}"/>
                  </a:ext>
                </a:extLst>
              </p:cNvPr>
              <p:cNvGrpSpPr/>
              <p:nvPr/>
            </p:nvGrpSpPr>
            <p:grpSpPr>
              <a:xfrm>
                <a:off x="10652883" y="5686928"/>
                <a:ext cx="231307" cy="500512"/>
                <a:chOff x="1574414" y="3565611"/>
                <a:chExt cx="280988" cy="608013"/>
              </a:xfrm>
            </p:grpSpPr>
            <p:sp>
              <p:nvSpPr>
                <p:cNvPr id="58" name="Freeform 220">
                  <a:extLst>
                    <a:ext uri="{FF2B5EF4-FFF2-40B4-BE49-F238E27FC236}">
                      <a16:creationId xmlns:a16="http://schemas.microsoft.com/office/drawing/2014/main" id="{3FBB4688-A7D5-41D0-9B01-3D491B2997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0614" y="3565611"/>
                  <a:ext cx="128588" cy="155575"/>
                </a:xfrm>
                <a:custGeom>
                  <a:avLst/>
                  <a:gdLst>
                    <a:gd name="T0" fmla="*/ 20 w 40"/>
                    <a:gd name="T1" fmla="*/ 48 h 48"/>
                    <a:gd name="T2" fmla="*/ 40 w 40"/>
                    <a:gd name="T3" fmla="*/ 27 h 48"/>
                    <a:gd name="T4" fmla="*/ 40 w 40"/>
                    <a:gd name="T5" fmla="*/ 21 h 48"/>
                    <a:gd name="T6" fmla="*/ 20 w 40"/>
                    <a:gd name="T7" fmla="*/ 0 h 48"/>
                    <a:gd name="T8" fmla="*/ 0 w 40"/>
                    <a:gd name="T9" fmla="*/ 21 h 48"/>
                    <a:gd name="T10" fmla="*/ 0 w 40"/>
                    <a:gd name="T11" fmla="*/ 27 h 48"/>
                    <a:gd name="T12" fmla="*/ 20 w 40"/>
                    <a:gd name="T1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48">
                      <a:moveTo>
                        <a:pt x="20" y="48"/>
                      </a:moveTo>
                      <a:cubicBezTo>
                        <a:pt x="31" y="48"/>
                        <a:pt x="40" y="39"/>
                        <a:pt x="40" y="27"/>
                      </a:cubicBez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0" y="9"/>
                        <a:pt x="31" y="0"/>
                        <a:pt x="20" y="0"/>
                      </a:cubicBezTo>
                      <a:cubicBezTo>
                        <a:pt x="10" y="0"/>
                        <a:pt x="0" y="9"/>
                        <a:pt x="0" y="21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39"/>
                        <a:pt x="9" y="48"/>
                        <a:pt x="20" y="48"/>
                      </a:cubicBezTo>
                      <a:close/>
                    </a:path>
                  </a:pathLst>
                </a:cu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221">
                  <a:extLst>
                    <a:ext uri="{FF2B5EF4-FFF2-40B4-BE49-F238E27FC236}">
                      <a16:creationId xmlns:a16="http://schemas.microsoft.com/office/drawing/2014/main" id="{DCB80729-752A-47C6-94B8-08750103DF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4414" y="3759286"/>
                  <a:ext cx="280988" cy="242887"/>
                </a:xfrm>
                <a:custGeom>
                  <a:avLst/>
                  <a:gdLst>
                    <a:gd name="T0" fmla="*/ 67 w 88"/>
                    <a:gd name="T1" fmla="*/ 75 h 75"/>
                    <a:gd name="T2" fmla="*/ 88 w 88"/>
                    <a:gd name="T3" fmla="*/ 55 h 75"/>
                    <a:gd name="T4" fmla="*/ 88 w 88"/>
                    <a:gd name="T5" fmla="*/ 27 h 75"/>
                    <a:gd name="T6" fmla="*/ 60 w 88"/>
                    <a:gd name="T7" fmla="*/ 0 h 75"/>
                    <a:gd name="T8" fmla="*/ 28 w 88"/>
                    <a:gd name="T9" fmla="*/ 0 h 75"/>
                    <a:gd name="T10" fmla="*/ 0 w 88"/>
                    <a:gd name="T11" fmla="*/ 27 h 75"/>
                    <a:gd name="T12" fmla="*/ 0 w 88"/>
                    <a:gd name="T13" fmla="*/ 55 h 75"/>
                    <a:gd name="T14" fmla="*/ 19 w 88"/>
                    <a:gd name="T15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8" h="75">
                      <a:moveTo>
                        <a:pt x="67" y="75"/>
                      </a:moveTo>
                      <a:cubicBezTo>
                        <a:pt x="76" y="75"/>
                        <a:pt x="88" y="64"/>
                        <a:pt x="88" y="55"/>
                      </a:cubicBezTo>
                      <a:cubicBezTo>
                        <a:pt x="88" y="27"/>
                        <a:pt x="88" y="27"/>
                        <a:pt x="88" y="27"/>
                      </a:cubicBezTo>
                      <a:cubicBezTo>
                        <a:pt x="88" y="11"/>
                        <a:pt x="73" y="0"/>
                        <a:pt x="60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16" y="0"/>
                        <a:pt x="0" y="11"/>
                        <a:pt x="0" y="27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64"/>
                        <a:pt x="10" y="75"/>
                        <a:pt x="19" y="75"/>
                      </a:cubicBezTo>
                    </a:path>
                  </a:pathLst>
                </a:cu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Line 222">
                  <a:extLst>
                    <a:ext uri="{FF2B5EF4-FFF2-40B4-BE49-F238E27FC236}">
                      <a16:creationId xmlns:a16="http://schemas.microsoft.com/office/drawing/2014/main" id="{05053C79-0F24-4A62-A51A-435D2C226B1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791902" y="3837074"/>
                  <a:ext cx="0" cy="336550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Line 223">
                  <a:extLst>
                    <a:ext uri="{FF2B5EF4-FFF2-40B4-BE49-F238E27FC236}">
                      <a16:creationId xmlns:a16="http://schemas.microsoft.com/office/drawing/2014/main" id="{BFD84557-CF98-4948-951C-9DE048EF49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637914" y="3837074"/>
                  <a:ext cx="0" cy="336550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Line 224">
                  <a:extLst>
                    <a:ext uri="{FF2B5EF4-FFF2-40B4-BE49-F238E27FC236}">
                      <a16:creationId xmlns:a16="http://schemas.microsoft.com/office/drawing/2014/main" id="{6563BDE5-B13A-4DF7-88C6-92809FC21B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715702" y="3965661"/>
                  <a:ext cx="0" cy="207962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3" name="Agrupar 62">
                <a:extLst>
                  <a:ext uri="{FF2B5EF4-FFF2-40B4-BE49-F238E27FC236}">
                    <a16:creationId xmlns:a16="http://schemas.microsoft.com/office/drawing/2014/main" id="{223F1BA7-166D-4367-BE3E-784EFCCE6541}"/>
                  </a:ext>
                </a:extLst>
              </p:cNvPr>
              <p:cNvGrpSpPr/>
              <p:nvPr/>
            </p:nvGrpSpPr>
            <p:grpSpPr>
              <a:xfrm>
                <a:off x="10957683" y="5686928"/>
                <a:ext cx="231307" cy="500512"/>
                <a:chOff x="1574414" y="3565611"/>
                <a:chExt cx="280988" cy="608013"/>
              </a:xfrm>
            </p:grpSpPr>
            <p:sp>
              <p:nvSpPr>
                <p:cNvPr id="64" name="Freeform 220">
                  <a:extLst>
                    <a:ext uri="{FF2B5EF4-FFF2-40B4-BE49-F238E27FC236}">
                      <a16:creationId xmlns:a16="http://schemas.microsoft.com/office/drawing/2014/main" id="{DA10757F-28CF-4793-9941-D9B6D70967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0614" y="3565611"/>
                  <a:ext cx="128588" cy="155575"/>
                </a:xfrm>
                <a:custGeom>
                  <a:avLst/>
                  <a:gdLst>
                    <a:gd name="T0" fmla="*/ 20 w 40"/>
                    <a:gd name="T1" fmla="*/ 48 h 48"/>
                    <a:gd name="T2" fmla="*/ 40 w 40"/>
                    <a:gd name="T3" fmla="*/ 27 h 48"/>
                    <a:gd name="T4" fmla="*/ 40 w 40"/>
                    <a:gd name="T5" fmla="*/ 21 h 48"/>
                    <a:gd name="T6" fmla="*/ 20 w 40"/>
                    <a:gd name="T7" fmla="*/ 0 h 48"/>
                    <a:gd name="T8" fmla="*/ 0 w 40"/>
                    <a:gd name="T9" fmla="*/ 21 h 48"/>
                    <a:gd name="T10" fmla="*/ 0 w 40"/>
                    <a:gd name="T11" fmla="*/ 27 h 48"/>
                    <a:gd name="T12" fmla="*/ 20 w 40"/>
                    <a:gd name="T1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48">
                      <a:moveTo>
                        <a:pt x="20" y="48"/>
                      </a:moveTo>
                      <a:cubicBezTo>
                        <a:pt x="31" y="48"/>
                        <a:pt x="40" y="39"/>
                        <a:pt x="40" y="27"/>
                      </a:cubicBez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0" y="9"/>
                        <a:pt x="31" y="0"/>
                        <a:pt x="20" y="0"/>
                      </a:cubicBezTo>
                      <a:cubicBezTo>
                        <a:pt x="10" y="0"/>
                        <a:pt x="0" y="9"/>
                        <a:pt x="0" y="21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39"/>
                        <a:pt x="9" y="48"/>
                        <a:pt x="20" y="48"/>
                      </a:cubicBezTo>
                      <a:close/>
                    </a:path>
                  </a:pathLst>
                </a:cu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221">
                  <a:extLst>
                    <a:ext uri="{FF2B5EF4-FFF2-40B4-BE49-F238E27FC236}">
                      <a16:creationId xmlns:a16="http://schemas.microsoft.com/office/drawing/2014/main" id="{8ABB9903-55A1-40CD-9D57-3EB9262CDB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4414" y="3759286"/>
                  <a:ext cx="280988" cy="242887"/>
                </a:xfrm>
                <a:custGeom>
                  <a:avLst/>
                  <a:gdLst>
                    <a:gd name="T0" fmla="*/ 67 w 88"/>
                    <a:gd name="T1" fmla="*/ 75 h 75"/>
                    <a:gd name="T2" fmla="*/ 88 w 88"/>
                    <a:gd name="T3" fmla="*/ 55 h 75"/>
                    <a:gd name="T4" fmla="*/ 88 w 88"/>
                    <a:gd name="T5" fmla="*/ 27 h 75"/>
                    <a:gd name="T6" fmla="*/ 60 w 88"/>
                    <a:gd name="T7" fmla="*/ 0 h 75"/>
                    <a:gd name="T8" fmla="*/ 28 w 88"/>
                    <a:gd name="T9" fmla="*/ 0 h 75"/>
                    <a:gd name="T10" fmla="*/ 0 w 88"/>
                    <a:gd name="T11" fmla="*/ 27 h 75"/>
                    <a:gd name="T12" fmla="*/ 0 w 88"/>
                    <a:gd name="T13" fmla="*/ 55 h 75"/>
                    <a:gd name="T14" fmla="*/ 19 w 88"/>
                    <a:gd name="T15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8" h="75">
                      <a:moveTo>
                        <a:pt x="67" y="75"/>
                      </a:moveTo>
                      <a:cubicBezTo>
                        <a:pt x="76" y="75"/>
                        <a:pt x="88" y="64"/>
                        <a:pt x="88" y="55"/>
                      </a:cubicBezTo>
                      <a:cubicBezTo>
                        <a:pt x="88" y="27"/>
                        <a:pt x="88" y="27"/>
                        <a:pt x="88" y="27"/>
                      </a:cubicBezTo>
                      <a:cubicBezTo>
                        <a:pt x="88" y="11"/>
                        <a:pt x="73" y="0"/>
                        <a:pt x="60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16" y="0"/>
                        <a:pt x="0" y="11"/>
                        <a:pt x="0" y="27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64"/>
                        <a:pt x="10" y="75"/>
                        <a:pt x="19" y="75"/>
                      </a:cubicBezTo>
                    </a:path>
                  </a:pathLst>
                </a:cu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Line 222">
                  <a:extLst>
                    <a:ext uri="{FF2B5EF4-FFF2-40B4-BE49-F238E27FC236}">
                      <a16:creationId xmlns:a16="http://schemas.microsoft.com/office/drawing/2014/main" id="{57A41D34-8F31-41F1-A3C6-205D0966D5D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791902" y="3837074"/>
                  <a:ext cx="0" cy="336550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Line 223">
                  <a:extLst>
                    <a:ext uri="{FF2B5EF4-FFF2-40B4-BE49-F238E27FC236}">
                      <a16:creationId xmlns:a16="http://schemas.microsoft.com/office/drawing/2014/main" id="{BF3E8C5A-B67D-4BAF-80FB-45DCC1327C2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637914" y="3837074"/>
                  <a:ext cx="0" cy="336550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Line 224">
                  <a:extLst>
                    <a:ext uri="{FF2B5EF4-FFF2-40B4-BE49-F238E27FC236}">
                      <a16:creationId xmlns:a16="http://schemas.microsoft.com/office/drawing/2014/main" id="{E3DEE885-A812-42A9-ACA6-78284EC8103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715702" y="3965661"/>
                  <a:ext cx="0" cy="207962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9" name="Agrupar 68">
                <a:extLst>
                  <a:ext uri="{FF2B5EF4-FFF2-40B4-BE49-F238E27FC236}">
                    <a16:creationId xmlns:a16="http://schemas.microsoft.com/office/drawing/2014/main" id="{04BE0FC6-C480-4776-8774-3E5A3D3B0341}"/>
                  </a:ext>
                </a:extLst>
              </p:cNvPr>
              <p:cNvGrpSpPr/>
              <p:nvPr/>
            </p:nvGrpSpPr>
            <p:grpSpPr>
              <a:xfrm>
                <a:off x="11262483" y="5686928"/>
                <a:ext cx="231307" cy="500512"/>
                <a:chOff x="1574414" y="3565611"/>
                <a:chExt cx="280988" cy="608013"/>
              </a:xfrm>
            </p:grpSpPr>
            <p:sp>
              <p:nvSpPr>
                <p:cNvPr id="70" name="Freeform 220">
                  <a:extLst>
                    <a:ext uri="{FF2B5EF4-FFF2-40B4-BE49-F238E27FC236}">
                      <a16:creationId xmlns:a16="http://schemas.microsoft.com/office/drawing/2014/main" id="{9F815C64-295B-45E7-9362-3452CDC517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0614" y="3565611"/>
                  <a:ext cx="128588" cy="155575"/>
                </a:xfrm>
                <a:custGeom>
                  <a:avLst/>
                  <a:gdLst>
                    <a:gd name="T0" fmla="*/ 20 w 40"/>
                    <a:gd name="T1" fmla="*/ 48 h 48"/>
                    <a:gd name="T2" fmla="*/ 40 w 40"/>
                    <a:gd name="T3" fmla="*/ 27 h 48"/>
                    <a:gd name="T4" fmla="*/ 40 w 40"/>
                    <a:gd name="T5" fmla="*/ 21 h 48"/>
                    <a:gd name="T6" fmla="*/ 20 w 40"/>
                    <a:gd name="T7" fmla="*/ 0 h 48"/>
                    <a:gd name="T8" fmla="*/ 0 w 40"/>
                    <a:gd name="T9" fmla="*/ 21 h 48"/>
                    <a:gd name="T10" fmla="*/ 0 w 40"/>
                    <a:gd name="T11" fmla="*/ 27 h 48"/>
                    <a:gd name="T12" fmla="*/ 20 w 40"/>
                    <a:gd name="T13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48">
                      <a:moveTo>
                        <a:pt x="20" y="48"/>
                      </a:moveTo>
                      <a:cubicBezTo>
                        <a:pt x="31" y="48"/>
                        <a:pt x="40" y="39"/>
                        <a:pt x="40" y="27"/>
                      </a:cubicBez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0" y="9"/>
                        <a:pt x="31" y="0"/>
                        <a:pt x="20" y="0"/>
                      </a:cubicBezTo>
                      <a:cubicBezTo>
                        <a:pt x="10" y="0"/>
                        <a:pt x="0" y="9"/>
                        <a:pt x="0" y="21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39"/>
                        <a:pt x="9" y="48"/>
                        <a:pt x="20" y="48"/>
                      </a:cubicBezTo>
                      <a:close/>
                    </a:path>
                  </a:pathLst>
                </a:cu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221">
                  <a:extLst>
                    <a:ext uri="{FF2B5EF4-FFF2-40B4-BE49-F238E27FC236}">
                      <a16:creationId xmlns:a16="http://schemas.microsoft.com/office/drawing/2014/main" id="{A2273E3C-786A-436B-8F4E-B98E07F118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4414" y="3759286"/>
                  <a:ext cx="280988" cy="242887"/>
                </a:xfrm>
                <a:custGeom>
                  <a:avLst/>
                  <a:gdLst>
                    <a:gd name="T0" fmla="*/ 67 w 88"/>
                    <a:gd name="T1" fmla="*/ 75 h 75"/>
                    <a:gd name="T2" fmla="*/ 88 w 88"/>
                    <a:gd name="T3" fmla="*/ 55 h 75"/>
                    <a:gd name="T4" fmla="*/ 88 w 88"/>
                    <a:gd name="T5" fmla="*/ 27 h 75"/>
                    <a:gd name="T6" fmla="*/ 60 w 88"/>
                    <a:gd name="T7" fmla="*/ 0 h 75"/>
                    <a:gd name="T8" fmla="*/ 28 w 88"/>
                    <a:gd name="T9" fmla="*/ 0 h 75"/>
                    <a:gd name="T10" fmla="*/ 0 w 88"/>
                    <a:gd name="T11" fmla="*/ 27 h 75"/>
                    <a:gd name="T12" fmla="*/ 0 w 88"/>
                    <a:gd name="T13" fmla="*/ 55 h 75"/>
                    <a:gd name="T14" fmla="*/ 19 w 88"/>
                    <a:gd name="T15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8" h="75">
                      <a:moveTo>
                        <a:pt x="67" y="75"/>
                      </a:moveTo>
                      <a:cubicBezTo>
                        <a:pt x="76" y="75"/>
                        <a:pt x="88" y="64"/>
                        <a:pt x="88" y="55"/>
                      </a:cubicBezTo>
                      <a:cubicBezTo>
                        <a:pt x="88" y="27"/>
                        <a:pt x="88" y="27"/>
                        <a:pt x="88" y="27"/>
                      </a:cubicBezTo>
                      <a:cubicBezTo>
                        <a:pt x="88" y="11"/>
                        <a:pt x="73" y="0"/>
                        <a:pt x="60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16" y="0"/>
                        <a:pt x="0" y="11"/>
                        <a:pt x="0" y="27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64"/>
                        <a:pt x="10" y="75"/>
                        <a:pt x="19" y="75"/>
                      </a:cubicBezTo>
                    </a:path>
                  </a:pathLst>
                </a:cu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Line 222">
                  <a:extLst>
                    <a:ext uri="{FF2B5EF4-FFF2-40B4-BE49-F238E27FC236}">
                      <a16:creationId xmlns:a16="http://schemas.microsoft.com/office/drawing/2014/main" id="{95DF3AEC-5AC7-4E2F-B7AF-9C69FBB6629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791902" y="3837074"/>
                  <a:ext cx="0" cy="336550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Line 223">
                  <a:extLst>
                    <a:ext uri="{FF2B5EF4-FFF2-40B4-BE49-F238E27FC236}">
                      <a16:creationId xmlns:a16="http://schemas.microsoft.com/office/drawing/2014/main" id="{FAF11635-D1DF-4DA2-B60D-3BDAEA9112A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637914" y="3837074"/>
                  <a:ext cx="0" cy="336550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Line 224">
                  <a:extLst>
                    <a:ext uri="{FF2B5EF4-FFF2-40B4-BE49-F238E27FC236}">
                      <a16:creationId xmlns:a16="http://schemas.microsoft.com/office/drawing/2014/main" id="{CC1B1D81-831F-4E61-A070-B697AC2FBF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715702" y="3965661"/>
                  <a:ext cx="0" cy="207962"/>
                </a:xfrm>
                <a:prstGeom prst="line">
                  <a:avLst/>
                </a:prstGeom>
                <a:noFill/>
                <a:ln w="2540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8A4D5DDB-9FB4-494F-8E18-CD1C43FF561C}"/>
              </a:ext>
            </a:extLst>
          </p:cNvPr>
          <p:cNvGrpSpPr/>
          <p:nvPr/>
        </p:nvGrpSpPr>
        <p:grpSpPr>
          <a:xfrm>
            <a:off x="5853223" y="4495897"/>
            <a:ext cx="3187458" cy="3729217"/>
            <a:chOff x="5743182" y="4577973"/>
            <a:chExt cx="2988581" cy="3404752"/>
          </a:xfrm>
        </p:grpSpPr>
        <p:grpSp>
          <p:nvGrpSpPr>
            <p:cNvPr id="34" name="Agrupar 33">
              <a:extLst>
                <a:ext uri="{FF2B5EF4-FFF2-40B4-BE49-F238E27FC236}">
                  <a16:creationId xmlns:a16="http://schemas.microsoft.com/office/drawing/2014/main" id="{61ABBC93-9B53-4AC0-8FA4-9E9BF404CC15}"/>
                </a:ext>
              </a:extLst>
            </p:cNvPr>
            <p:cNvGrpSpPr/>
            <p:nvPr/>
          </p:nvGrpSpPr>
          <p:grpSpPr>
            <a:xfrm>
              <a:off x="5797391" y="4577973"/>
              <a:ext cx="883962" cy="891808"/>
              <a:chOff x="5046664" y="3779562"/>
              <a:chExt cx="536575" cy="541338"/>
            </a:xfrm>
          </p:grpSpPr>
          <p:sp>
            <p:nvSpPr>
              <p:cNvPr id="35" name="Oval 128">
                <a:extLst>
                  <a:ext uri="{FF2B5EF4-FFF2-40B4-BE49-F238E27FC236}">
                    <a16:creationId xmlns:a16="http://schemas.microsoft.com/office/drawing/2014/main" id="{251CF83E-4B97-4912-9E45-CBA7382D05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46664" y="3779562"/>
                <a:ext cx="536575" cy="541338"/>
              </a:xfrm>
              <a:prstGeom prst="ellipse">
                <a:avLst/>
              </a:prstGeom>
              <a:noFill/>
              <a:ln w="25400" cap="flat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129">
                <a:extLst>
                  <a:ext uri="{FF2B5EF4-FFF2-40B4-BE49-F238E27FC236}">
                    <a16:creationId xmlns:a16="http://schemas.microsoft.com/office/drawing/2014/main" id="{9A7844D4-D325-4435-909E-C93E1670F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1" y="4089124"/>
                <a:ext cx="114300" cy="180975"/>
              </a:xfrm>
              <a:custGeom>
                <a:avLst/>
                <a:gdLst>
                  <a:gd name="T0" fmla="*/ 16 w 72"/>
                  <a:gd name="T1" fmla="*/ 0 h 114"/>
                  <a:gd name="T2" fmla="*/ 40 w 72"/>
                  <a:gd name="T3" fmla="*/ 0 h 114"/>
                  <a:gd name="T4" fmla="*/ 72 w 72"/>
                  <a:gd name="T5" fmla="*/ 33 h 114"/>
                  <a:gd name="T6" fmla="*/ 72 w 72"/>
                  <a:gd name="T7" fmla="*/ 49 h 114"/>
                  <a:gd name="T8" fmla="*/ 48 w 72"/>
                  <a:gd name="T9" fmla="*/ 73 h 114"/>
                  <a:gd name="T10" fmla="*/ 48 w 72"/>
                  <a:gd name="T11" fmla="*/ 81 h 114"/>
                  <a:gd name="T12" fmla="*/ 40 w 72"/>
                  <a:gd name="T13" fmla="*/ 89 h 114"/>
                  <a:gd name="T14" fmla="*/ 40 w 72"/>
                  <a:gd name="T15" fmla="*/ 106 h 114"/>
                  <a:gd name="T16" fmla="*/ 32 w 72"/>
                  <a:gd name="T17" fmla="*/ 114 h 114"/>
                  <a:gd name="T18" fmla="*/ 16 w 72"/>
                  <a:gd name="T19" fmla="*/ 98 h 114"/>
                  <a:gd name="T20" fmla="*/ 16 w 72"/>
                  <a:gd name="T21" fmla="*/ 49 h 114"/>
                  <a:gd name="T22" fmla="*/ 0 w 72"/>
                  <a:gd name="T23" fmla="*/ 33 h 114"/>
                  <a:gd name="T24" fmla="*/ 0 w 72"/>
                  <a:gd name="T25" fmla="*/ 16 h 114"/>
                  <a:gd name="T26" fmla="*/ 16 w 72"/>
                  <a:gd name="T27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14">
                    <a:moveTo>
                      <a:pt x="16" y="0"/>
                    </a:moveTo>
                    <a:lnTo>
                      <a:pt x="40" y="0"/>
                    </a:lnTo>
                    <a:lnTo>
                      <a:pt x="72" y="33"/>
                    </a:lnTo>
                    <a:lnTo>
                      <a:pt x="72" y="49"/>
                    </a:lnTo>
                    <a:lnTo>
                      <a:pt x="48" y="73"/>
                    </a:lnTo>
                    <a:lnTo>
                      <a:pt x="48" y="81"/>
                    </a:lnTo>
                    <a:lnTo>
                      <a:pt x="40" y="89"/>
                    </a:lnTo>
                    <a:lnTo>
                      <a:pt x="40" y="106"/>
                    </a:lnTo>
                    <a:lnTo>
                      <a:pt x="32" y="114"/>
                    </a:lnTo>
                    <a:lnTo>
                      <a:pt x="16" y="98"/>
                    </a:lnTo>
                    <a:lnTo>
                      <a:pt x="16" y="49"/>
                    </a:lnTo>
                    <a:lnTo>
                      <a:pt x="0" y="33"/>
                    </a:lnTo>
                    <a:lnTo>
                      <a:pt x="0" y="16"/>
                    </a:lnTo>
                    <a:lnTo>
                      <a:pt x="16" y="0"/>
                    </a:lnTo>
                    <a:close/>
                  </a:path>
                </a:pathLst>
              </a:custGeom>
              <a:noFill/>
              <a:ln w="25400" cap="flat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130">
                <a:extLst>
                  <a:ext uri="{FF2B5EF4-FFF2-40B4-BE49-F238E27FC236}">
                    <a16:creationId xmlns:a16="http://schemas.microsoft.com/office/drawing/2014/main" id="{D737675E-D7D2-469F-A261-45A81F062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0164" y="3843062"/>
                <a:ext cx="242888" cy="246063"/>
              </a:xfrm>
              <a:custGeom>
                <a:avLst/>
                <a:gdLst>
                  <a:gd name="T0" fmla="*/ 0 w 153"/>
                  <a:gd name="T1" fmla="*/ 17 h 155"/>
                  <a:gd name="T2" fmla="*/ 24 w 153"/>
                  <a:gd name="T3" fmla="*/ 41 h 155"/>
                  <a:gd name="T4" fmla="*/ 24 w 153"/>
                  <a:gd name="T5" fmla="*/ 65 h 155"/>
                  <a:gd name="T6" fmla="*/ 32 w 153"/>
                  <a:gd name="T7" fmla="*/ 74 h 155"/>
                  <a:gd name="T8" fmla="*/ 32 w 153"/>
                  <a:gd name="T9" fmla="*/ 82 h 155"/>
                  <a:gd name="T10" fmla="*/ 24 w 153"/>
                  <a:gd name="T11" fmla="*/ 90 h 155"/>
                  <a:gd name="T12" fmla="*/ 24 w 153"/>
                  <a:gd name="T13" fmla="*/ 114 h 155"/>
                  <a:gd name="T14" fmla="*/ 32 w 153"/>
                  <a:gd name="T15" fmla="*/ 122 h 155"/>
                  <a:gd name="T16" fmla="*/ 48 w 153"/>
                  <a:gd name="T17" fmla="*/ 122 h 155"/>
                  <a:gd name="T18" fmla="*/ 73 w 153"/>
                  <a:gd name="T19" fmla="*/ 155 h 155"/>
                  <a:gd name="T20" fmla="*/ 81 w 153"/>
                  <a:gd name="T21" fmla="*/ 155 h 155"/>
                  <a:gd name="T22" fmla="*/ 89 w 153"/>
                  <a:gd name="T23" fmla="*/ 147 h 155"/>
                  <a:gd name="T24" fmla="*/ 89 w 153"/>
                  <a:gd name="T25" fmla="*/ 139 h 155"/>
                  <a:gd name="T26" fmla="*/ 105 w 153"/>
                  <a:gd name="T27" fmla="*/ 122 h 155"/>
                  <a:gd name="T28" fmla="*/ 121 w 153"/>
                  <a:gd name="T29" fmla="*/ 122 h 155"/>
                  <a:gd name="T30" fmla="*/ 121 w 153"/>
                  <a:gd name="T31" fmla="*/ 114 h 155"/>
                  <a:gd name="T32" fmla="*/ 137 w 153"/>
                  <a:gd name="T33" fmla="*/ 98 h 155"/>
                  <a:gd name="T34" fmla="*/ 153 w 153"/>
                  <a:gd name="T35" fmla="*/ 98 h 155"/>
                  <a:gd name="T36" fmla="*/ 153 w 153"/>
                  <a:gd name="T37" fmla="*/ 65 h 155"/>
                  <a:gd name="T38" fmla="*/ 129 w 153"/>
                  <a:gd name="T39" fmla="*/ 41 h 155"/>
                  <a:gd name="T40" fmla="*/ 113 w 153"/>
                  <a:gd name="T41" fmla="*/ 57 h 155"/>
                  <a:gd name="T42" fmla="*/ 89 w 153"/>
                  <a:gd name="T43" fmla="*/ 33 h 155"/>
                  <a:gd name="T44" fmla="*/ 97 w 153"/>
                  <a:gd name="T45" fmla="*/ 25 h 155"/>
                  <a:gd name="T46" fmla="*/ 97 w 153"/>
                  <a:gd name="T47" fmla="*/ 8 h 155"/>
                  <a:gd name="T48" fmla="*/ 89 w 153"/>
                  <a:gd name="T49" fmla="*/ 0 h 155"/>
                  <a:gd name="T50" fmla="*/ 24 w 153"/>
                  <a:gd name="T51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3" h="155">
                    <a:moveTo>
                      <a:pt x="0" y="17"/>
                    </a:moveTo>
                    <a:lnTo>
                      <a:pt x="24" y="41"/>
                    </a:lnTo>
                    <a:lnTo>
                      <a:pt x="24" y="65"/>
                    </a:lnTo>
                    <a:lnTo>
                      <a:pt x="32" y="74"/>
                    </a:lnTo>
                    <a:lnTo>
                      <a:pt x="32" y="82"/>
                    </a:lnTo>
                    <a:lnTo>
                      <a:pt x="24" y="90"/>
                    </a:lnTo>
                    <a:lnTo>
                      <a:pt x="24" y="114"/>
                    </a:lnTo>
                    <a:lnTo>
                      <a:pt x="32" y="122"/>
                    </a:lnTo>
                    <a:lnTo>
                      <a:pt x="48" y="122"/>
                    </a:lnTo>
                    <a:lnTo>
                      <a:pt x="73" y="155"/>
                    </a:lnTo>
                    <a:lnTo>
                      <a:pt x="81" y="155"/>
                    </a:lnTo>
                    <a:lnTo>
                      <a:pt x="89" y="147"/>
                    </a:lnTo>
                    <a:lnTo>
                      <a:pt x="89" y="139"/>
                    </a:lnTo>
                    <a:lnTo>
                      <a:pt x="105" y="122"/>
                    </a:lnTo>
                    <a:lnTo>
                      <a:pt x="121" y="122"/>
                    </a:lnTo>
                    <a:lnTo>
                      <a:pt x="121" y="114"/>
                    </a:lnTo>
                    <a:lnTo>
                      <a:pt x="137" y="98"/>
                    </a:lnTo>
                    <a:lnTo>
                      <a:pt x="153" y="98"/>
                    </a:lnTo>
                    <a:lnTo>
                      <a:pt x="153" y="65"/>
                    </a:lnTo>
                    <a:lnTo>
                      <a:pt x="129" y="41"/>
                    </a:lnTo>
                    <a:lnTo>
                      <a:pt x="113" y="57"/>
                    </a:lnTo>
                    <a:lnTo>
                      <a:pt x="89" y="33"/>
                    </a:lnTo>
                    <a:lnTo>
                      <a:pt x="97" y="25"/>
                    </a:lnTo>
                    <a:lnTo>
                      <a:pt x="97" y="8"/>
                    </a:lnTo>
                    <a:lnTo>
                      <a:pt x="89" y="0"/>
                    </a:lnTo>
                    <a:lnTo>
                      <a:pt x="24" y="0"/>
                    </a:lnTo>
                  </a:path>
                </a:pathLst>
              </a:custGeom>
              <a:noFill/>
              <a:ln w="25400" cap="flat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131">
                <a:extLst>
                  <a:ext uri="{FF2B5EF4-FFF2-40B4-BE49-F238E27FC236}">
                    <a16:creationId xmlns:a16="http://schemas.microsoft.com/office/drawing/2014/main" id="{6A570E96-8BD3-4907-BC23-E7C2D55FB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7039" y="4011337"/>
                <a:ext cx="76200" cy="103188"/>
              </a:xfrm>
              <a:custGeom>
                <a:avLst/>
                <a:gdLst>
                  <a:gd name="T0" fmla="*/ 40 w 48"/>
                  <a:gd name="T1" fmla="*/ 65 h 65"/>
                  <a:gd name="T2" fmla="*/ 32 w 48"/>
                  <a:gd name="T3" fmla="*/ 57 h 65"/>
                  <a:gd name="T4" fmla="*/ 0 w 48"/>
                  <a:gd name="T5" fmla="*/ 57 h 65"/>
                  <a:gd name="T6" fmla="*/ 0 w 48"/>
                  <a:gd name="T7" fmla="*/ 25 h 65"/>
                  <a:gd name="T8" fmla="*/ 24 w 48"/>
                  <a:gd name="T9" fmla="*/ 0 h 65"/>
                  <a:gd name="T10" fmla="*/ 48 w 48"/>
                  <a:gd name="T1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65">
                    <a:moveTo>
                      <a:pt x="40" y="65"/>
                    </a:moveTo>
                    <a:lnTo>
                      <a:pt x="32" y="57"/>
                    </a:lnTo>
                    <a:lnTo>
                      <a:pt x="0" y="57"/>
                    </a:lnTo>
                    <a:lnTo>
                      <a:pt x="0" y="25"/>
                    </a:lnTo>
                    <a:lnTo>
                      <a:pt x="24" y="0"/>
                    </a:lnTo>
                    <a:lnTo>
                      <a:pt x="48" y="0"/>
                    </a:lnTo>
                  </a:path>
                </a:pathLst>
              </a:custGeom>
              <a:noFill/>
              <a:ln w="25400" cap="flat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7" name="Agrupar 86">
              <a:extLst>
                <a:ext uri="{FF2B5EF4-FFF2-40B4-BE49-F238E27FC236}">
                  <a16:creationId xmlns:a16="http://schemas.microsoft.com/office/drawing/2014/main" id="{3B057BA1-1473-4FB9-9C9F-A104115B85CB}"/>
                </a:ext>
              </a:extLst>
            </p:cNvPr>
            <p:cNvGrpSpPr/>
            <p:nvPr/>
          </p:nvGrpSpPr>
          <p:grpSpPr>
            <a:xfrm>
              <a:off x="5743182" y="5506983"/>
              <a:ext cx="2988581" cy="2475742"/>
              <a:chOff x="5743182" y="5506983"/>
              <a:chExt cx="2988581" cy="2475742"/>
            </a:xfrm>
          </p:grpSpPr>
          <p:sp>
            <p:nvSpPr>
              <p:cNvPr id="10" name="CaixaDeTexto 9">
                <a:extLst>
                  <a:ext uri="{FF2B5EF4-FFF2-40B4-BE49-F238E27FC236}">
                    <a16:creationId xmlns:a16="http://schemas.microsoft.com/office/drawing/2014/main" id="{09BCFD55-246F-445C-9378-CA0D647262D8}"/>
                  </a:ext>
                </a:extLst>
              </p:cNvPr>
              <p:cNvSpPr txBox="1"/>
              <p:nvPr/>
            </p:nvSpPr>
            <p:spPr>
              <a:xfrm>
                <a:off x="5743182" y="5506983"/>
                <a:ext cx="2710788" cy="10341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1316736">
                  <a:lnSpc>
                    <a:spcPct val="85000"/>
                  </a:lnSpc>
                  <a:spcAft>
                    <a:spcPts val="1800"/>
                  </a:spcAft>
                  <a:defRPr/>
                </a:pP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A </a:t>
                </a:r>
                <a:r>
                  <a:rPr kumimoji="0" lang="pt-B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496D4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organização mundial </a:t>
                </a: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de saúde</a:t>
                </a:r>
                <a:b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</a:b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estima que </a:t>
                </a:r>
              </a:p>
            </p:txBody>
          </p:sp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267BFBB3-80C5-4C4F-B93F-9ADB9567D5DD}"/>
                  </a:ext>
                </a:extLst>
              </p:cNvPr>
              <p:cNvSpPr txBox="1"/>
              <p:nvPr/>
            </p:nvSpPr>
            <p:spPr>
              <a:xfrm>
                <a:off x="5743182" y="6452772"/>
                <a:ext cx="1710914" cy="6155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316736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1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4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496D4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55.000</a:t>
                </a:r>
              </a:p>
            </p:txBody>
          </p:sp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47FE9EFF-63BF-4E24-B081-76157E185FCD}"/>
                  </a:ext>
                </a:extLst>
              </p:cNvPr>
              <p:cNvSpPr txBox="1"/>
              <p:nvPr/>
            </p:nvSpPr>
            <p:spPr>
              <a:xfrm>
                <a:off x="5743182" y="6948596"/>
                <a:ext cx="2988581" cy="10341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316736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1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pessoas morrem </a:t>
                </a:r>
                <a:b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</a:b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de melanoma </a:t>
                </a:r>
                <a:b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</a:b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ao ano</a:t>
                </a:r>
              </a:p>
            </p:txBody>
          </p:sp>
        </p:grpSp>
      </p:grpSp>
      <p:sp>
        <p:nvSpPr>
          <p:cNvPr id="83" name="Retângulo 82">
            <a:extLst>
              <a:ext uri="{FF2B5EF4-FFF2-40B4-BE49-F238E27FC236}">
                <a16:creationId xmlns:a16="http://schemas.microsoft.com/office/drawing/2014/main" id="{83AC06CA-2245-4B2C-82D6-FAA83989F6FE}"/>
              </a:ext>
            </a:extLst>
          </p:cNvPr>
          <p:cNvSpPr/>
          <p:nvPr/>
        </p:nvSpPr>
        <p:spPr>
          <a:xfrm>
            <a:off x="0" y="0"/>
            <a:ext cx="17557749" cy="1382265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93000">
                <a:srgbClr val="9851A0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1" name="Conector reto 90">
            <a:extLst>
              <a:ext uri="{FF2B5EF4-FFF2-40B4-BE49-F238E27FC236}">
                <a16:creationId xmlns:a16="http://schemas.microsoft.com/office/drawing/2014/main" id="{19296068-0235-4D7C-80CF-ED32EC73F6D5}"/>
              </a:ext>
            </a:extLst>
          </p:cNvPr>
          <p:cNvCxnSpPr>
            <a:cxnSpLocks/>
          </p:cNvCxnSpPr>
          <p:nvPr/>
        </p:nvCxnSpPr>
        <p:spPr>
          <a:xfrm>
            <a:off x="5901659" y="8163090"/>
            <a:ext cx="11656091" cy="0"/>
          </a:xfrm>
          <a:prstGeom prst="line">
            <a:avLst/>
          </a:prstGeom>
          <a:ln w="12700">
            <a:solidFill>
              <a:srgbClr val="1496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0099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4" grpId="0" animBg="1"/>
      <p:bldP spid="32" grpId="0" animBg="1"/>
      <p:bldP spid="33" grpId="0" animBg="1"/>
      <p:bldP spid="7" grpId="0"/>
      <p:bldP spid="14" grpId="0"/>
      <p:bldP spid="18" grpId="0"/>
      <p:bldP spid="83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7553360" cy="98742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70006E5D-ED5A-0763-9D42-6273848C280D}"/>
              </a:ext>
            </a:extLst>
          </p:cNvPr>
          <p:cNvSpPr txBox="1"/>
          <p:nvPr/>
        </p:nvSpPr>
        <p:spPr>
          <a:xfrm>
            <a:off x="1015709" y="102590"/>
            <a:ext cx="15143559" cy="21681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7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ratamento</a:t>
            </a:r>
            <a:r>
              <a:rPr lang="en-US" sz="7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7400" dirty="0" err="1">
                <a:latin typeface="+mj-lt"/>
                <a:ea typeface="+mj-ea"/>
                <a:cs typeface="+mj-cs"/>
              </a:rPr>
              <a:t>A</a:t>
            </a:r>
            <a:r>
              <a:rPr lang="en-US" sz="7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ual</a:t>
            </a:r>
            <a:r>
              <a:rPr lang="en-US" sz="7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- </a:t>
            </a:r>
            <a:r>
              <a:rPr lang="en-US" sz="7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Adjuvância</a:t>
            </a:r>
            <a:endParaRPr lang="en-US" sz="74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Imagem 3" descr="Gráfico de barras&#10;&#10;Descrição gerada automaticamente com confiança baixa">
            <a:extLst>
              <a:ext uri="{FF2B5EF4-FFF2-40B4-BE49-F238E27FC236}">
                <a16:creationId xmlns:a16="http://schemas.microsoft.com/office/drawing/2014/main" id="{9DDF7CC7-B85A-ED4D-29B7-1567DBB572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09" y="1983120"/>
            <a:ext cx="16054161" cy="7103967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064AE9EA-72A1-5BED-C8BB-D2CE1CD8DD08}"/>
              </a:ext>
            </a:extLst>
          </p:cNvPr>
          <p:cNvSpPr txBox="1"/>
          <p:nvPr/>
        </p:nvSpPr>
        <p:spPr>
          <a:xfrm>
            <a:off x="2409801" y="9402328"/>
            <a:ext cx="15143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/>
              <a:t>Long. GV et al. N </a:t>
            </a:r>
            <a:r>
              <a:rPr lang="pt-BR" dirty="0" err="1"/>
              <a:t>Engl</a:t>
            </a:r>
            <a:r>
              <a:rPr lang="pt-BR" dirty="0"/>
              <a:t> J Med 2017 / Hauschild A et al. ASCO 2020 // Weber ] et al. ESMO 2019 // </a:t>
            </a:r>
            <a:r>
              <a:rPr lang="pt-BR" dirty="0" err="1"/>
              <a:t>Eggermont</a:t>
            </a:r>
            <a:r>
              <a:rPr lang="pt-BR" dirty="0"/>
              <a:t> A et al. N </a:t>
            </a:r>
            <a:r>
              <a:rPr lang="pt-BR" dirty="0" err="1"/>
              <a:t>Engl</a:t>
            </a:r>
            <a:r>
              <a:rPr lang="pt-BR" dirty="0"/>
              <a:t> J Med 2018 / ASCO 2020</a:t>
            </a:r>
          </a:p>
        </p:txBody>
      </p:sp>
    </p:spTree>
    <p:extLst>
      <p:ext uri="{BB962C8B-B14F-4D97-AF65-F5344CB8AC3E}">
        <p14:creationId xmlns:p14="http://schemas.microsoft.com/office/powerpoint/2010/main" val="7980623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Retângulo 643">
            <a:extLst>
              <a:ext uri="{FF2B5EF4-FFF2-40B4-BE49-F238E27FC236}">
                <a16:creationId xmlns:a16="http://schemas.microsoft.com/office/drawing/2014/main" id="{41DC6DFC-3433-4CBF-A341-13D3AC5734CD}"/>
              </a:ext>
            </a:extLst>
          </p:cNvPr>
          <p:cNvSpPr/>
          <p:nvPr/>
        </p:nvSpPr>
        <p:spPr>
          <a:xfrm>
            <a:off x="0" y="7648706"/>
            <a:ext cx="17557750" cy="12858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00" name="Agrupar 599">
            <a:extLst>
              <a:ext uri="{FF2B5EF4-FFF2-40B4-BE49-F238E27FC236}">
                <a16:creationId xmlns:a16="http://schemas.microsoft.com/office/drawing/2014/main" id="{CB754827-3353-4F73-BC8E-65A2B0667B97}"/>
              </a:ext>
            </a:extLst>
          </p:cNvPr>
          <p:cNvGrpSpPr/>
          <p:nvPr/>
        </p:nvGrpSpPr>
        <p:grpSpPr>
          <a:xfrm>
            <a:off x="599431" y="9097681"/>
            <a:ext cx="6182369" cy="515686"/>
            <a:chOff x="793742" y="10260684"/>
            <a:chExt cx="6182369" cy="515686"/>
          </a:xfrm>
        </p:grpSpPr>
        <p:sp>
          <p:nvSpPr>
            <p:cNvPr id="893" name="Rectangle 1">
              <a:extLst>
                <a:ext uri="{FF2B5EF4-FFF2-40B4-BE49-F238E27FC236}">
                  <a16:creationId xmlns:a16="http://schemas.microsoft.com/office/drawing/2014/main" id="{7F5673FC-0E3E-432C-9B8D-F2AE32E21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42" y="10260684"/>
              <a:ext cx="3362969" cy="2868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31657" tIns="65828" rIns="131657" bIns="65828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HR, hazard ratio; NR, not reached.</a:t>
              </a:r>
              <a:endPara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605" name="Rectangle 604"/>
            <p:cNvSpPr/>
            <p:nvPr/>
          </p:nvSpPr>
          <p:spPr>
            <a:xfrm>
              <a:off x="793742" y="10489540"/>
              <a:ext cx="6182369" cy="2868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131657" tIns="65828" rIns="131657" bIns="65828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Times New Roman" panose="02020603050405020304" pitchFamily="18" charset="0"/>
                </a:rPr>
                <a:t>Hauschild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Times New Roman" panose="02020603050405020304" pitchFamily="18" charset="0"/>
                </a:rPr>
                <a:t> A, et al. Presented at: 2020 ASCO Virtual Scientific Program; May 29-31. Abstract 10001.</a:t>
              </a:r>
              <a:endPara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Times New Roman" panose="02020603050405020304" pitchFamily="18" charset="0"/>
              </a:endParaRPr>
            </a:p>
          </p:txBody>
        </p:sp>
      </p:grpSp>
      <p:sp>
        <p:nvSpPr>
          <p:cNvPr id="621" name="Title 6">
            <a:extLst>
              <a:ext uri="{FF2B5EF4-FFF2-40B4-BE49-F238E27FC236}">
                <a16:creationId xmlns:a16="http://schemas.microsoft.com/office/drawing/2014/main" id="{D89FE626-7F18-44BA-A30D-2BA6582DC026}"/>
              </a:ext>
            </a:extLst>
          </p:cNvPr>
          <p:cNvSpPr txBox="1">
            <a:spLocks/>
          </p:cNvSpPr>
          <p:nvPr/>
        </p:nvSpPr>
        <p:spPr>
          <a:xfrm>
            <a:off x="980707" y="1223230"/>
            <a:ext cx="4905744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200" b="1" i="0" u="none" strike="noStrike" kern="1200" cap="none" spc="-30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Verdana" panose="020B0604030504040204" pitchFamily="34" charset="0"/>
                <a:cs typeface="+mj-cs"/>
              </a:rPr>
              <a:t>SOBREVIDA</a:t>
            </a:r>
            <a:endParaRPr kumimoji="0" lang="pt-BR" sz="54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Bahnschrift" panose="020B0502040204020203" pitchFamily="34" charset="0"/>
              <a:ea typeface="Verdana" panose="020B0604030504040204" pitchFamily="34" charset="0"/>
              <a:cs typeface="+mj-cs"/>
            </a:endParaRPr>
          </a:p>
        </p:txBody>
      </p:sp>
      <p:grpSp>
        <p:nvGrpSpPr>
          <p:cNvPr id="626" name="Agrupar 625">
            <a:extLst>
              <a:ext uri="{FF2B5EF4-FFF2-40B4-BE49-F238E27FC236}">
                <a16:creationId xmlns:a16="http://schemas.microsoft.com/office/drawing/2014/main" id="{2C6004EE-6FBB-496E-8C91-E9A7C329F6AF}"/>
              </a:ext>
            </a:extLst>
          </p:cNvPr>
          <p:cNvGrpSpPr/>
          <p:nvPr/>
        </p:nvGrpSpPr>
        <p:grpSpPr>
          <a:xfrm>
            <a:off x="971550" y="7707764"/>
            <a:ext cx="16219170" cy="1136626"/>
            <a:chOff x="971550" y="7784784"/>
            <a:chExt cx="16219170" cy="1136626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49920F4B-FE35-43E5-BDBD-FC16B8FDBA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1550" y="8048625"/>
              <a:ext cx="144831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Dabrafenib Plus Trametinib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4763AB1A-AC88-461E-AFAF-8C3B024FAB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1727" y="8662003"/>
              <a:ext cx="668133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Placebo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206ED91-7E4C-46C7-A435-93D2D8ED53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21990" y="7784784"/>
              <a:ext cx="1268730" cy="2354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316553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No. at risk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851AB106-E40D-4143-B2EB-2F8D4FC6F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8023" y="8297706"/>
              <a:ext cx="31899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43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1DF30DB-4F55-423A-9AAE-8E2E0F836C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3821" y="8297706"/>
              <a:ext cx="27411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413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6A5FBDB-2533-4883-AFF4-23D07BB990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8288" y="8297706"/>
              <a:ext cx="31899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405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2D869F2-23AD-405C-BB5D-173BDF9B54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744" y="8297706"/>
              <a:ext cx="26449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91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7E42582F-3B7F-43C3-8CDC-75A3DF7F29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9564" y="8297706"/>
              <a:ext cx="27411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81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2F345A5-CC13-4548-B4E1-D8B6D537F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3677" y="8297706"/>
              <a:ext cx="296555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72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5B673489-9E0D-4E92-95ED-6B0140C262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212" y="8297706"/>
              <a:ext cx="30938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24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952AC28F-F656-48A0-899E-A60F2F8CEB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2643" y="8297706"/>
              <a:ext cx="307777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98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A925B9A-0DCB-406F-9A54-A3A9696A72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58906" y="8297706"/>
              <a:ext cx="27251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81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DDABA3B-88A7-4DE3-AFDA-6D53BF37A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3490" y="8297706"/>
              <a:ext cx="314189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54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6C337E10-B9BC-44A8-9522-7DE15FA5F8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480" y="8297706"/>
              <a:ext cx="30617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35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E467D2E-A5A9-41BA-ABB7-960234C125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96274" y="8297706"/>
              <a:ext cx="30296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56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EDE6740F-EAAC-4C9B-92B6-8167819088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5851" y="8297706"/>
              <a:ext cx="30777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49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2B39558-2EEA-4B19-8EED-559BF43B2C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1185" y="8297706"/>
              <a:ext cx="307777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42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16CD8BA7-9451-4297-AABA-4EB2D166C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0616" y="8297706"/>
              <a:ext cx="299761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75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8527BA5-666D-4DC0-98A6-E64B42AB65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46" y="8297706"/>
              <a:ext cx="298159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62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A0E69B1-F7E7-427F-85FF-77E05E63B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58589" y="8297706"/>
              <a:ext cx="298159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29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76ECD229-2576-4869-8E6C-25B52006B8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02410" y="8297706"/>
              <a:ext cx="30777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28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2CB1900-92E8-42F8-85AC-657CEF0C3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73483" y="8297706"/>
              <a:ext cx="26289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21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49B8922D-AED7-4D16-B596-A37216616C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3822" y="8297706"/>
              <a:ext cx="29976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36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16732C6-56C4-402D-B5D7-285D689EA0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01651" y="8297706"/>
              <a:ext cx="301365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33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8CE28E12-C9B1-45AD-9A2C-53BBC352E5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6223" y="8297706"/>
              <a:ext cx="26930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10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4FD597B1-C9C1-4511-A6D0-C137F07A67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59114" y="8297706"/>
              <a:ext cx="314189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04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557E9308-C7A1-4F9F-8D92-8B3950435E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2552" y="8297706"/>
              <a:ext cx="304571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02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FA67EE2-73AD-4015-B18E-12B460FF28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0420" y="8297706"/>
              <a:ext cx="25968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17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F3832ED8-B2BC-4F54-A4CC-65CDB35709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79996" y="8297706"/>
              <a:ext cx="26449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13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379A4D67-F025-4964-BF03-3FC217E03C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87590" y="8297706"/>
              <a:ext cx="25968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76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361478F-AA6D-4013-808B-4C971AB4D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32213" y="8297706"/>
              <a:ext cx="26770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56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CCA904B9-6764-42ED-B60F-39B520E764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1701" y="8297706"/>
              <a:ext cx="26609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33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9E88EEEE-E34C-448B-ACCB-89742F356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82023" y="8297706"/>
              <a:ext cx="26289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99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DA739EFC-714A-48E8-AFE9-EF90154A44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4952" y="8297706"/>
              <a:ext cx="26770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95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49378CC-451F-464B-9D92-8F65087A99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64407" y="8297706"/>
              <a:ext cx="21480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80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8B3FDF8-35FB-4320-BE7A-ACCF7407FC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20542" y="8297706"/>
              <a:ext cx="21320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45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D6511DD-8223-46FC-B76B-DA897FFE2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70776" y="8297706"/>
              <a:ext cx="20999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8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6EA62D61-99D5-4B2F-838D-A56FD68FA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38731" y="8297706"/>
              <a:ext cx="26930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09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017FED46-AEA1-4BB5-8EF9-1A36414C15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23791" y="8297706"/>
              <a:ext cx="19877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92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7D0DDFCF-501C-43D6-8289-ABE5BED66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3200" y="8297706"/>
              <a:ext cx="9938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6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4A32920A-7C7C-4EA9-8AF4-23D6974F62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31828" y="8297706"/>
              <a:ext cx="9938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09C38FE2-7964-48B8-8A0D-78B3E097A0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77252" y="8297706"/>
              <a:ext cx="10579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E7F75412-9FF8-4247-AD1D-DE3B999613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44253" y="8297706"/>
              <a:ext cx="16030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7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074ED4E3-ED65-4869-B102-EFECCA734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23055" y="8297706"/>
              <a:ext cx="10900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8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2BC5630-D80C-411F-8466-8AF465D020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679" y="8690578"/>
              <a:ext cx="30168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432</a:t>
              </a:r>
            </a:p>
          </p:txBody>
        </p:sp>
        <p:sp>
          <p:nvSpPr>
            <p:cNvPr id="108" name="Rectangle 108">
              <a:extLst>
                <a:ext uri="{FF2B5EF4-FFF2-40B4-BE49-F238E27FC236}">
                  <a16:creationId xmlns:a16="http://schemas.microsoft.com/office/drawing/2014/main" id="{05016EEC-86DC-4760-9994-51451D4594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1637" y="8690578"/>
              <a:ext cx="29848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87</a:t>
              </a:r>
            </a:p>
          </p:txBody>
        </p:sp>
        <p:sp>
          <p:nvSpPr>
            <p:cNvPr id="109" name="Rectangle 109">
              <a:extLst>
                <a:ext uri="{FF2B5EF4-FFF2-40B4-BE49-F238E27FC236}">
                  <a16:creationId xmlns:a16="http://schemas.microsoft.com/office/drawing/2014/main" id="{A126D7B4-E8E4-4CB9-95AF-B181F35A2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1754" y="8690578"/>
              <a:ext cx="292067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22</a:t>
              </a:r>
            </a:p>
          </p:txBody>
        </p:sp>
        <p:sp>
          <p:nvSpPr>
            <p:cNvPr id="110" name="Rectangle 110">
              <a:extLst>
                <a:ext uri="{FF2B5EF4-FFF2-40B4-BE49-F238E27FC236}">
                  <a16:creationId xmlns:a16="http://schemas.microsoft.com/office/drawing/2014/main" id="{EC707FFA-C2BF-45F1-B87B-8D827C5B4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745" y="8690578"/>
              <a:ext cx="30649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80</a:t>
              </a:r>
            </a:p>
          </p:txBody>
        </p:sp>
        <p:sp>
          <p:nvSpPr>
            <p:cNvPr id="111" name="Rectangle 111">
              <a:extLst>
                <a:ext uri="{FF2B5EF4-FFF2-40B4-BE49-F238E27FC236}">
                  <a16:creationId xmlns:a16="http://schemas.microsoft.com/office/drawing/2014/main" id="{FB3CEBD7-7E01-482E-94F7-1AD3387E8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0586" y="8690578"/>
              <a:ext cx="29206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63</a:t>
              </a:r>
            </a:p>
          </p:txBody>
        </p:sp>
        <p:sp>
          <p:nvSpPr>
            <p:cNvPr id="112" name="Rectangle 112">
              <a:extLst>
                <a:ext uri="{FF2B5EF4-FFF2-40B4-BE49-F238E27FC236}">
                  <a16:creationId xmlns:a16="http://schemas.microsoft.com/office/drawing/2014/main" id="{E292991B-6A7C-48A0-94FE-CC1C9D4A94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1111" y="8690578"/>
              <a:ext cx="30168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43</a:t>
              </a:r>
            </a:p>
          </p:txBody>
        </p:sp>
        <p:sp>
          <p:nvSpPr>
            <p:cNvPr id="113" name="Rectangle 113">
              <a:extLst>
                <a:ext uri="{FF2B5EF4-FFF2-40B4-BE49-F238E27FC236}">
                  <a16:creationId xmlns:a16="http://schemas.microsoft.com/office/drawing/2014/main" id="{4EEC4514-143A-4F88-8C3C-A0D35F2A3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0303" y="8690578"/>
              <a:ext cx="25519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99</a:t>
              </a:r>
            </a:p>
          </p:txBody>
        </p:sp>
        <p:sp>
          <p:nvSpPr>
            <p:cNvPr id="114" name="Rectangle 114">
              <a:extLst>
                <a:ext uri="{FF2B5EF4-FFF2-40B4-BE49-F238E27FC236}">
                  <a16:creationId xmlns:a16="http://schemas.microsoft.com/office/drawing/2014/main" id="{CCD981AD-837D-4F9D-A60A-80D6AA765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1718" y="8690578"/>
              <a:ext cx="26962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85</a:t>
              </a:r>
            </a:p>
          </p:txBody>
        </p:sp>
        <p:sp>
          <p:nvSpPr>
            <p:cNvPr id="115" name="Rectangle 115">
              <a:extLst>
                <a:ext uri="{FF2B5EF4-FFF2-40B4-BE49-F238E27FC236}">
                  <a16:creationId xmlns:a16="http://schemas.microsoft.com/office/drawing/2014/main" id="{6C554FED-B7DA-4873-A167-67C2C9C635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356" y="8690578"/>
              <a:ext cx="26161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78</a:t>
              </a:r>
            </a:p>
          </p:txBody>
        </p:sp>
        <p:sp>
          <p:nvSpPr>
            <p:cNvPr id="116" name="Rectangle 116">
              <a:extLst>
                <a:ext uri="{FF2B5EF4-FFF2-40B4-BE49-F238E27FC236}">
                  <a16:creationId xmlns:a16="http://schemas.microsoft.com/office/drawing/2014/main" id="{9E22A737-86C3-4B0C-95C6-F93B46551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2986" y="8690578"/>
              <a:ext cx="25519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19</a:t>
              </a:r>
            </a:p>
          </p:txBody>
        </p:sp>
        <p:sp>
          <p:nvSpPr>
            <p:cNvPr id="117" name="Rectangle 117">
              <a:extLst>
                <a:ext uri="{FF2B5EF4-FFF2-40B4-BE49-F238E27FC236}">
                  <a16:creationId xmlns:a16="http://schemas.microsoft.com/office/drawing/2014/main" id="{897EE14A-DDF9-4A2D-B93A-AC914AAE7C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320" y="8690578"/>
              <a:ext cx="30649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04</a:t>
              </a:r>
            </a:p>
          </p:txBody>
        </p:sp>
        <p:sp>
          <p:nvSpPr>
            <p:cNvPr id="118" name="Rectangle 118">
              <a:extLst>
                <a:ext uri="{FF2B5EF4-FFF2-40B4-BE49-F238E27FC236}">
                  <a16:creationId xmlns:a16="http://schemas.microsoft.com/office/drawing/2014/main" id="{6332E5CE-8EF9-4507-BAA8-D4215C9AFE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0160" y="8690578"/>
              <a:ext cx="25519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66</a:t>
              </a:r>
            </a:p>
          </p:txBody>
        </p:sp>
        <p:sp>
          <p:nvSpPr>
            <p:cNvPr id="119" name="Rectangle 119">
              <a:extLst>
                <a:ext uri="{FF2B5EF4-FFF2-40B4-BE49-F238E27FC236}">
                  <a16:creationId xmlns:a16="http://schemas.microsoft.com/office/drawing/2014/main" id="{F0D2A586-925B-4052-8611-078C6BCBA8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331" y="8690578"/>
              <a:ext cx="26481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64</a:t>
              </a:r>
            </a:p>
          </p:txBody>
        </p:sp>
        <p:sp>
          <p:nvSpPr>
            <p:cNvPr id="120" name="Rectangle 120">
              <a:extLst>
                <a:ext uri="{FF2B5EF4-FFF2-40B4-BE49-F238E27FC236}">
                  <a16:creationId xmlns:a16="http://schemas.microsoft.com/office/drawing/2014/main" id="{12531204-BF5C-4589-950D-391E14EF14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0260" y="8690578"/>
              <a:ext cx="26962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58</a:t>
              </a:r>
            </a:p>
          </p:txBody>
        </p:sp>
        <p:sp>
          <p:nvSpPr>
            <p:cNvPr id="121" name="Rectangle 121">
              <a:extLst>
                <a:ext uri="{FF2B5EF4-FFF2-40B4-BE49-F238E27FC236}">
                  <a16:creationId xmlns:a16="http://schemas.microsoft.com/office/drawing/2014/main" id="{C924BA01-45C9-4CA0-B9B5-64B81A1B1B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2095" y="8690578"/>
              <a:ext cx="25680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75</a:t>
              </a:r>
            </a:p>
          </p:txBody>
        </p:sp>
        <p:sp>
          <p:nvSpPr>
            <p:cNvPr id="122" name="Rectangle 122">
              <a:extLst>
                <a:ext uri="{FF2B5EF4-FFF2-40B4-BE49-F238E27FC236}">
                  <a16:creationId xmlns:a16="http://schemas.microsoft.com/office/drawing/2014/main" id="{99786977-78F4-460D-AD7F-6D35492F6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6717" y="8690578"/>
              <a:ext cx="26481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68</a:t>
              </a:r>
            </a:p>
          </p:txBody>
        </p:sp>
        <p:sp>
          <p:nvSpPr>
            <p:cNvPr id="123" name="Rectangle 123">
              <a:extLst>
                <a:ext uri="{FF2B5EF4-FFF2-40B4-BE49-F238E27FC236}">
                  <a16:creationId xmlns:a16="http://schemas.microsoft.com/office/drawing/2014/main" id="{855A01DF-C317-4740-8CF5-8A8F583981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6864" y="8690578"/>
              <a:ext cx="26161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47</a:t>
              </a:r>
            </a:p>
          </p:txBody>
        </p:sp>
        <p:sp>
          <p:nvSpPr>
            <p:cNvPr id="124" name="Rectangle 124">
              <a:extLst>
                <a:ext uri="{FF2B5EF4-FFF2-40B4-BE49-F238E27FC236}">
                  <a16:creationId xmlns:a16="http://schemas.microsoft.com/office/drawing/2014/main" id="{D7E99000-FA6A-4DB9-94D1-B9ED73E20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3890" y="8690578"/>
              <a:ext cx="26481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46</a:t>
              </a:r>
            </a:p>
          </p:txBody>
        </p:sp>
        <p:sp>
          <p:nvSpPr>
            <p:cNvPr id="125" name="Rectangle 125">
              <a:extLst>
                <a:ext uri="{FF2B5EF4-FFF2-40B4-BE49-F238E27FC236}">
                  <a16:creationId xmlns:a16="http://schemas.microsoft.com/office/drawing/2014/main" id="{D2B2205E-D098-4791-95E0-ED5712523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71718" y="8690578"/>
              <a:ext cx="26642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43</a:t>
              </a:r>
            </a:p>
          </p:txBody>
        </p:sp>
        <p:sp>
          <p:nvSpPr>
            <p:cNvPr id="126" name="Rectangle 126">
              <a:extLst>
                <a:ext uri="{FF2B5EF4-FFF2-40B4-BE49-F238E27FC236}">
                  <a16:creationId xmlns:a16="http://schemas.microsoft.com/office/drawing/2014/main" id="{CC40F7C9-39E6-41AF-B451-D63694A67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75302" y="8690578"/>
              <a:ext cx="25680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57</a:t>
              </a:r>
            </a:p>
          </p:txBody>
        </p:sp>
        <p:sp>
          <p:nvSpPr>
            <p:cNvPr id="127" name="Rectangle 127">
              <a:extLst>
                <a:ext uri="{FF2B5EF4-FFF2-40B4-BE49-F238E27FC236}">
                  <a16:creationId xmlns:a16="http://schemas.microsoft.com/office/drawing/2014/main" id="{F3B464A9-6A19-47FC-BE6F-F787CC6D6E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39963" y="8690578"/>
              <a:ext cx="22474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51</a:t>
              </a:r>
            </a:p>
          </p:txBody>
        </p:sp>
        <p:sp>
          <p:nvSpPr>
            <p:cNvPr id="128" name="Rectangle 128">
              <a:extLst>
                <a:ext uri="{FF2B5EF4-FFF2-40B4-BE49-F238E27FC236}">
                  <a16:creationId xmlns:a16="http://schemas.microsoft.com/office/drawing/2014/main" id="{6046E512-FD7F-4B8B-A05D-1F0CB5CBDC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34076" y="8690578"/>
              <a:ext cx="25359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37</a:t>
              </a:r>
            </a:p>
          </p:txBody>
        </p:sp>
        <p:sp>
          <p:nvSpPr>
            <p:cNvPr id="129" name="Rectangle 129">
              <a:extLst>
                <a:ext uri="{FF2B5EF4-FFF2-40B4-BE49-F238E27FC236}">
                  <a16:creationId xmlns:a16="http://schemas.microsoft.com/office/drawing/2014/main" id="{4E584993-69D1-4384-A81B-93679DF9E5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87807" y="8690578"/>
              <a:ext cx="25680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36</a:t>
              </a:r>
            </a:p>
          </p:txBody>
        </p:sp>
        <p:sp>
          <p:nvSpPr>
            <p:cNvPr id="130" name="Rectangle 130">
              <a:extLst>
                <a:ext uri="{FF2B5EF4-FFF2-40B4-BE49-F238E27FC236}">
                  <a16:creationId xmlns:a16="http://schemas.microsoft.com/office/drawing/2014/main" id="{FF2EDA09-4A6A-4625-A1C8-168917A8D7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35637" y="8690578"/>
              <a:ext cx="25840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33</a:t>
              </a:r>
            </a:p>
          </p:txBody>
        </p:sp>
        <p:sp>
          <p:nvSpPr>
            <p:cNvPr id="131" name="Rectangle 131">
              <a:extLst>
                <a:ext uri="{FF2B5EF4-FFF2-40B4-BE49-F238E27FC236}">
                  <a16:creationId xmlns:a16="http://schemas.microsoft.com/office/drawing/2014/main" id="{8D0A4D3E-CE10-4135-ADB1-9208260F8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24649" y="8690578"/>
              <a:ext cx="271228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40</a:t>
              </a:r>
            </a:p>
          </p:txBody>
        </p:sp>
        <p:sp>
          <p:nvSpPr>
            <p:cNvPr id="132" name="Rectangle 132">
              <a:extLst>
                <a:ext uri="{FF2B5EF4-FFF2-40B4-BE49-F238E27FC236}">
                  <a16:creationId xmlns:a16="http://schemas.microsoft.com/office/drawing/2014/main" id="{CF129013-567B-4460-8820-03F275861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83843" y="8690578"/>
              <a:ext cx="25680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39</a:t>
              </a:r>
            </a:p>
          </p:txBody>
        </p:sp>
        <p:sp>
          <p:nvSpPr>
            <p:cNvPr id="133" name="Rectangle 133">
              <a:extLst>
                <a:ext uri="{FF2B5EF4-FFF2-40B4-BE49-F238E27FC236}">
                  <a16:creationId xmlns:a16="http://schemas.microsoft.com/office/drawing/2014/main" id="{B7143EA9-100B-4568-8EFD-6784561E31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07467" y="8690578"/>
              <a:ext cx="21993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21</a:t>
              </a:r>
            </a:p>
          </p:txBody>
        </p:sp>
        <p:sp>
          <p:nvSpPr>
            <p:cNvPr id="134" name="Rectangle 134">
              <a:extLst>
                <a:ext uri="{FF2B5EF4-FFF2-40B4-BE49-F238E27FC236}">
                  <a16:creationId xmlns:a16="http://schemas.microsoft.com/office/drawing/2014/main" id="{B1623D68-420F-47B0-A585-B4E487AD93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53693" y="8690578"/>
              <a:ext cx="22474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15</a:t>
              </a:r>
            </a:p>
          </p:txBody>
        </p:sp>
        <p:sp>
          <p:nvSpPr>
            <p:cNvPr id="135" name="Rectangle 135">
              <a:extLst>
                <a:ext uri="{FF2B5EF4-FFF2-40B4-BE49-F238E27FC236}">
                  <a16:creationId xmlns:a16="http://schemas.microsoft.com/office/drawing/2014/main" id="{F5E33500-94B0-4F82-9DC2-DF7517D48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2392" y="8690578"/>
              <a:ext cx="193643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99</a:t>
              </a:r>
            </a:p>
          </p:txBody>
        </p:sp>
        <p:sp>
          <p:nvSpPr>
            <p:cNvPr id="136" name="Rectangle 136">
              <a:extLst>
                <a:ext uri="{FF2B5EF4-FFF2-40B4-BE49-F238E27FC236}">
                  <a16:creationId xmlns:a16="http://schemas.microsoft.com/office/drawing/2014/main" id="{9657C15D-AFAF-4748-8796-B8A82879A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84267" y="8690578"/>
              <a:ext cx="258404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33</a:t>
              </a:r>
            </a:p>
          </p:txBody>
        </p:sp>
        <p:sp>
          <p:nvSpPr>
            <p:cNvPr id="137" name="Rectangle 137">
              <a:extLst>
                <a:ext uri="{FF2B5EF4-FFF2-40B4-BE49-F238E27FC236}">
                  <a16:creationId xmlns:a16="http://schemas.microsoft.com/office/drawing/2014/main" id="{8803F096-778E-4735-AB35-8EB190F45A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40401" y="8690578"/>
              <a:ext cx="25680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32</a:t>
              </a:r>
            </a:p>
          </p:txBody>
        </p:sp>
        <p:sp>
          <p:nvSpPr>
            <p:cNvPr id="138" name="Rectangle 138">
              <a:extLst>
                <a:ext uri="{FF2B5EF4-FFF2-40B4-BE49-F238E27FC236}">
                  <a16:creationId xmlns:a16="http://schemas.microsoft.com/office/drawing/2014/main" id="{822D791D-FDDE-4A29-9CAB-A150858D25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72582" y="8690578"/>
              <a:ext cx="198452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56</a:t>
              </a:r>
            </a:p>
          </p:txBody>
        </p:sp>
        <p:sp>
          <p:nvSpPr>
            <p:cNvPr id="139" name="Rectangle 139">
              <a:extLst>
                <a:ext uri="{FF2B5EF4-FFF2-40B4-BE49-F238E27FC236}">
                  <a16:creationId xmlns:a16="http://schemas.microsoft.com/office/drawing/2014/main" id="{A4F1C995-132B-4E16-8EC7-F00BE4155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27114" y="8690578"/>
              <a:ext cx="200055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5</a:t>
              </a:r>
            </a:p>
          </p:txBody>
        </p:sp>
        <p:sp>
          <p:nvSpPr>
            <p:cNvPr id="140" name="Rectangle 140">
              <a:extLst>
                <a:ext uri="{FF2B5EF4-FFF2-40B4-BE49-F238E27FC236}">
                  <a16:creationId xmlns:a16="http://schemas.microsoft.com/office/drawing/2014/main" id="{9E06CBE4-0DE1-4B22-ACBA-412DEB2A1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78950" y="8690578"/>
              <a:ext cx="193643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26</a:t>
              </a:r>
            </a:p>
          </p:txBody>
        </p:sp>
        <p:sp>
          <p:nvSpPr>
            <p:cNvPr id="141" name="Rectangle 141">
              <a:extLst>
                <a:ext uri="{FF2B5EF4-FFF2-40B4-BE49-F238E27FC236}">
                  <a16:creationId xmlns:a16="http://schemas.microsoft.com/office/drawing/2014/main" id="{3D6671E5-9FFD-4E5C-8DB7-38D838B628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9712" y="8690578"/>
              <a:ext cx="209673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80</a:t>
              </a:r>
            </a:p>
          </p:txBody>
        </p:sp>
        <p:sp>
          <p:nvSpPr>
            <p:cNvPr id="142" name="Rectangle 142">
              <a:extLst>
                <a:ext uri="{FF2B5EF4-FFF2-40B4-BE49-F238E27FC236}">
                  <a16:creationId xmlns:a16="http://schemas.microsoft.com/office/drawing/2014/main" id="{807EBA1D-480E-46F1-ABF0-6970660CE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26356" y="8690578"/>
              <a:ext cx="193643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69</a:t>
              </a:r>
            </a:p>
          </p:txBody>
        </p:sp>
        <p:sp>
          <p:nvSpPr>
            <p:cNvPr id="143" name="Rectangle 143">
              <a:extLst>
                <a:ext uri="{FF2B5EF4-FFF2-40B4-BE49-F238E27FC236}">
                  <a16:creationId xmlns:a16="http://schemas.microsoft.com/office/drawing/2014/main" id="{C72B4E16-7D07-4ECC-9287-7304AE9D25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02114" y="8690578"/>
              <a:ext cx="6155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44" name="Rectangle 144">
              <a:extLst>
                <a:ext uri="{FF2B5EF4-FFF2-40B4-BE49-F238E27FC236}">
                  <a16:creationId xmlns:a16="http://schemas.microsoft.com/office/drawing/2014/main" id="{5AA13A37-736B-4D03-A544-987F0C38D7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29905" y="8690578"/>
              <a:ext cx="103233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145" name="Rectangle 145">
              <a:extLst>
                <a:ext uri="{FF2B5EF4-FFF2-40B4-BE49-F238E27FC236}">
                  <a16:creationId xmlns:a16="http://schemas.microsoft.com/office/drawing/2014/main" id="{EDF07B6A-58A1-47D8-9CEE-F8594EE83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78535" y="8690578"/>
              <a:ext cx="103233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146" name="Rectangle 146">
              <a:extLst>
                <a:ext uri="{FF2B5EF4-FFF2-40B4-BE49-F238E27FC236}">
                  <a16:creationId xmlns:a16="http://schemas.microsoft.com/office/drawing/2014/main" id="{D3A9B406-F4AE-4175-AE17-C4E43123AD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44412" y="8690578"/>
              <a:ext cx="159980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3</a:t>
              </a:r>
            </a:p>
          </p:txBody>
        </p:sp>
        <p:sp>
          <p:nvSpPr>
            <p:cNvPr id="147" name="Rectangle 147">
              <a:extLst>
                <a:ext uri="{FF2B5EF4-FFF2-40B4-BE49-F238E27FC236}">
                  <a16:creationId xmlns:a16="http://schemas.microsoft.com/office/drawing/2014/main" id="{D5FC2530-678D-4C8D-AFBA-58F6729E23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46778" y="8690578"/>
              <a:ext cx="61556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00" b="0" i="0" u="none" strike="noStrike" kern="1200" cap="none" spc="-2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628" name="Line 212">
              <a:extLst>
                <a:ext uri="{FF2B5EF4-FFF2-40B4-BE49-F238E27FC236}">
                  <a16:creationId xmlns:a16="http://schemas.microsoft.com/office/drawing/2014/main" id="{09010A83-7D3D-4F9E-A8D9-BEE0154482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21079" y="8605390"/>
              <a:ext cx="15925799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31657" tIns="65828" rIns="131657" bIns="6582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668" name="Line 212">
              <a:extLst>
                <a:ext uri="{FF2B5EF4-FFF2-40B4-BE49-F238E27FC236}">
                  <a16:creationId xmlns:a16="http://schemas.microsoft.com/office/drawing/2014/main" id="{031ABF10-7B92-470A-BB40-87B27293002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21080" y="7962453"/>
              <a:ext cx="14660880" cy="0"/>
            </a:xfrm>
            <a:prstGeom prst="line">
              <a:avLst/>
            </a:prstGeom>
            <a:noFill/>
            <a:ln w="12700" cap="sq">
              <a:solidFill>
                <a:schemeClr val="bg1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31657" tIns="65828" rIns="131657" bIns="6582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631" name="Title 6">
            <a:extLst>
              <a:ext uri="{FF2B5EF4-FFF2-40B4-BE49-F238E27FC236}">
                <a16:creationId xmlns:a16="http://schemas.microsoft.com/office/drawing/2014/main" id="{F3660A6A-6CD3-44A9-8F91-A69497AA7149}"/>
              </a:ext>
            </a:extLst>
          </p:cNvPr>
          <p:cNvSpPr txBox="1">
            <a:spLocks/>
          </p:cNvSpPr>
          <p:nvPr/>
        </p:nvSpPr>
        <p:spPr>
          <a:xfrm>
            <a:off x="5720347" y="784128"/>
            <a:ext cx="4905744" cy="14126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5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Verdana" panose="020B0604030504040204" pitchFamily="34" charset="0"/>
                <a:cs typeface="+mj-cs"/>
              </a:rPr>
              <a:t>LIVRE DE RECORRÊNCIA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F02F01DF-6BD7-4C6A-9689-5571BE3B6D72}"/>
              </a:ext>
            </a:extLst>
          </p:cNvPr>
          <p:cNvGrpSpPr/>
          <p:nvPr/>
        </p:nvGrpSpPr>
        <p:grpSpPr>
          <a:xfrm>
            <a:off x="10551222" y="814387"/>
            <a:ext cx="6436615" cy="1230273"/>
            <a:chOff x="10551222" y="814387"/>
            <a:chExt cx="6436615" cy="1230273"/>
          </a:xfrm>
        </p:grpSpPr>
        <p:grpSp>
          <p:nvGrpSpPr>
            <p:cNvPr id="675" name="Agrupar 674">
              <a:extLst>
                <a:ext uri="{FF2B5EF4-FFF2-40B4-BE49-F238E27FC236}">
                  <a16:creationId xmlns:a16="http://schemas.microsoft.com/office/drawing/2014/main" id="{3B99A3B3-98DA-4F3B-A733-92E41C774C66}"/>
                </a:ext>
              </a:extLst>
            </p:cNvPr>
            <p:cNvGrpSpPr/>
            <p:nvPr/>
          </p:nvGrpSpPr>
          <p:grpSpPr>
            <a:xfrm flipH="1">
              <a:off x="10551222" y="814387"/>
              <a:ext cx="6436615" cy="1230273"/>
              <a:chOff x="7396732" y="4569767"/>
              <a:chExt cx="8712343" cy="1665248"/>
            </a:xfrm>
          </p:grpSpPr>
          <p:sp>
            <p:nvSpPr>
              <p:cNvPr id="677" name="Retângulo 676">
                <a:extLst>
                  <a:ext uri="{FF2B5EF4-FFF2-40B4-BE49-F238E27FC236}">
                    <a16:creationId xmlns:a16="http://schemas.microsoft.com/office/drawing/2014/main" id="{0C396733-5ECA-4F87-8077-7C5C12102854}"/>
                  </a:ext>
                </a:extLst>
              </p:cNvPr>
              <p:cNvSpPr/>
              <p:nvPr/>
            </p:nvSpPr>
            <p:spPr>
              <a:xfrm>
                <a:off x="7396732" y="4569767"/>
                <a:ext cx="8712343" cy="1665248"/>
              </a:xfrm>
              <a:prstGeom prst="rect">
                <a:avLst/>
              </a:prstGeom>
              <a:gradFill>
                <a:gsLst>
                  <a:gs pos="0">
                    <a:srgbClr val="404040"/>
                  </a:gs>
                  <a:gs pos="100000">
                    <a:schemeClr val="bg1">
                      <a:lumMod val="5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8" name="Triângulo isósceles 677">
                <a:extLst>
                  <a:ext uri="{FF2B5EF4-FFF2-40B4-BE49-F238E27FC236}">
                    <a16:creationId xmlns:a16="http://schemas.microsoft.com/office/drawing/2014/main" id="{2560499A-4061-4379-8EC0-E27C53E2174C}"/>
                  </a:ext>
                </a:extLst>
              </p:cNvPr>
              <p:cNvSpPr/>
              <p:nvPr/>
            </p:nvSpPr>
            <p:spPr>
              <a:xfrm>
                <a:off x="15657056" y="5789764"/>
                <a:ext cx="452012" cy="445248"/>
              </a:xfrm>
              <a:prstGeom prst="triangle">
                <a:avLst>
                  <a:gd name="adj" fmla="val 100000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643" name="Agrupar 642">
              <a:extLst>
                <a:ext uri="{FF2B5EF4-FFF2-40B4-BE49-F238E27FC236}">
                  <a16:creationId xmlns:a16="http://schemas.microsoft.com/office/drawing/2014/main" id="{4674F53A-6DB4-427D-AF37-42C13C3BC51B}"/>
                </a:ext>
              </a:extLst>
            </p:cNvPr>
            <p:cNvGrpSpPr/>
            <p:nvPr/>
          </p:nvGrpSpPr>
          <p:grpSpPr>
            <a:xfrm>
              <a:off x="10909744" y="985473"/>
              <a:ext cx="5958078" cy="848062"/>
              <a:chOff x="11124058" y="1275988"/>
              <a:chExt cx="5958078" cy="848062"/>
            </a:xfrm>
          </p:grpSpPr>
          <p:grpSp>
            <p:nvGrpSpPr>
              <p:cNvPr id="627" name="Agrupar 626">
                <a:extLst>
                  <a:ext uri="{FF2B5EF4-FFF2-40B4-BE49-F238E27FC236}">
                    <a16:creationId xmlns:a16="http://schemas.microsoft.com/office/drawing/2014/main" id="{5F473921-C4CC-40A3-9F66-CEB87BF2EF79}"/>
                  </a:ext>
                </a:extLst>
              </p:cNvPr>
              <p:cNvGrpSpPr/>
              <p:nvPr/>
            </p:nvGrpSpPr>
            <p:grpSpPr>
              <a:xfrm>
                <a:off x="11205533" y="1275988"/>
                <a:ext cx="5876603" cy="848062"/>
                <a:chOff x="9652957" y="696868"/>
                <a:chExt cx="5876603" cy="848062"/>
              </a:xfrm>
            </p:grpSpPr>
            <p:sp>
              <p:nvSpPr>
                <p:cNvPr id="97" name="Rectangle 97">
                  <a:extLst>
                    <a:ext uri="{FF2B5EF4-FFF2-40B4-BE49-F238E27FC236}">
                      <a16:creationId xmlns:a16="http://schemas.microsoft.com/office/drawing/2014/main" id="{47AC1A9F-7E5A-4002-897E-B125960215D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52957" y="999006"/>
                  <a:ext cx="336631" cy="2437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31655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584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438</a:t>
                  </a:r>
                  <a:endParaRPr kumimoji="0" lang="en-US" altLang="en-US" sz="5183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8" name="Rectangle 98">
                  <a:extLst>
                    <a:ext uri="{FF2B5EF4-FFF2-40B4-BE49-F238E27FC236}">
                      <a16:creationId xmlns:a16="http://schemas.microsoft.com/office/drawing/2014/main" id="{C56AE8D9-FFCA-4BE7-AA18-D518FDF987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52957" y="1301144"/>
                  <a:ext cx="327013" cy="2437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31655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584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432</a:t>
                  </a:r>
                  <a:endParaRPr kumimoji="0" lang="en-US" altLang="en-US" sz="5183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9" name="Rectangle 99">
                  <a:extLst>
                    <a:ext uri="{FF2B5EF4-FFF2-40B4-BE49-F238E27FC236}">
                      <a16:creationId xmlns:a16="http://schemas.microsoft.com/office/drawing/2014/main" id="{621A7E5B-A9CA-4F2F-8D95-FE10F98312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52957" y="696868"/>
                  <a:ext cx="113814" cy="2437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31655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584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n</a:t>
                  </a:r>
                  <a:endParaRPr kumimoji="0" lang="en-US" altLang="en-US" sz="5183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0" name="Rectangle 100">
                  <a:extLst>
                    <a:ext uri="{FF2B5EF4-FFF2-40B4-BE49-F238E27FC236}">
                      <a16:creationId xmlns:a16="http://schemas.microsoft.com/office/drawing/2014/main" id="{BA8268D6-FA40-454E-8247-81406FB855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385287" y="999006"/>
                  <a:ext cx="283732" cy="2437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31655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584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190</a:t>
                  </a:r>
                  <a:endParaRPr kumimoji="0" lang="en-US" altLang="en-US" sz="5183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1" name="Rectangle 101">
                  <a:extLst>
                    <a:ext uri="{FF2B5EF4-FFF2-40B4-BE49-F238E27FC236}">
                      <a16:creationId xmlns:a16="http://schemas.microsoft.com/office/drawing/2014/main" id="{93D08DF3-A103-4E05-9A36-846DDC745E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385287" y="1301144"/>
                  <a:ext cx="312586" cy="2437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31655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584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262</a:t>
                  </a:r>
                  <a:endParaRPr kumimoji="0" lang="en-US" altLang="en-US" sz="5183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2" name="Rectangle 102">
                  <a:extLst>
                    <a:ext uri="{FF2B5EF4-FFF2-40B4-BE49-F238E27FC236}">
                      <a16:creationId xmlns:a16="http://schemas.microsoft.com/office/drawing/2014/main" id="{FFCD519A-7E90-4266-A94D-29A7890A97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385287" y="696868"/>
                  <a:ext cx="617157" cy="2437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31655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584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Events</a:t>
                  </a:r>
                  <a:endParaRPr kumimoji="0" lang="en-US" altLang="en-US" sz="5183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3" name="Rectangle 103">
                  <a:extLst>
                    <a:ext uri="{FF2B5EF4-FFF2-40B4-BE49-F238E27FC236}">
                      <a16:creationId xmlns:a16="http://schemas.microsoft.com/office/drawing/2014/main" id="{2DFE7C15-76A2-4D61-B4BB-FA767C022F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86970" y="999006"/>
                  <a:ext cx="1210268" cy="2437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31655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584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NR (47.9-NR)</a:t>
                  </a:r>
                  <a:endParaRPr kumimoji="0" lang="en-US" altLang="en-US" sz="5183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4" name="Rectangle 104">
                  <a:extLst>
                    <a:ext uri="{FF2B5EF4-FFF2-40B4-BE49-F238E27FC236}">
                      <a16:creationId xmlns:a16="http://schemas.microsoft.com/office/drawing/2014/main" id="{B329D01A-9F0A-4E3E-8D40-5C798B9A8E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86970" y="1301144"/>
                  <a:ext cx="1255152" cy="2437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31655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584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16.6 (12.7-22.1)</a:t>
                  </a:r>
                  <a:endParaRPr kumimoji="0" lang="en-US" altLang="en-US" sz="5183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5" name="Rectangle 105">
                  <a:extLst>
                    <a:ext uri="{FF2B5EF4-FFF2-40B4-BE49-F238E27FC236}">
                      <a16:creationId xmlns:a16="http://schemas.microsoft.com/office/drawing/2014/main" id="{ACB70F29-1FE7-491A-9201-1204BF1CD3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74271" y="705009"/>
                  <a:ext cx="2155289" cy="6204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2016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HR, 0.51</a:t>
                  </a:r>
                  <a:br>
                    <a:rPr kumimoji="0" lang="en-US" altLang="en-US" sz="2016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</a:br>
                  <a:r>
                    <a:rPr kumimoji="0" lang="en-US" altLang="en-US" sz="2016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(95% CI, 0.42-0.61)</a:t>
                  </a:r>
                </a:p>
              </p:txBody>
            </p:sp>
            <p:sp>
              <p:nvSpPr>
                <p:cNvPr id="107" name="Rectangle 107">
                  <a:extLst>
                    <a:ext uri="{FF2B5EF4-FFF2-40B4-BE49-F238E27FC236}">
                      <a16:creationId xmlns:a16="http://schemas.microsoft.com/office/drawing/2014/main" id="{0C64BEB8-C691-494D-B698-27B7AF25A1C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86970" y="696868"/>
                  <a:ext cx="1703993" cy="2437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316553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altLang="en-US" sz="1584" b="1" dirty="0">
                      <a:solidFill>
                        <a:prstClr val="white"/>
                      </a:solidFill>
                      <a:latin typeface="Bahnschrift" panose="020B0502040204020203" pitchFamily="34" charset="0"/>
                      <a:cs typeface="Calibri" panose="020F0502020204030204" pitchFamily="34" charset="0"/>
                    </a:rPr>
                    <a:t>Me</a:t>
                  </a:r>
                  <a:r>
                    <a:rPr kumimoji="0" lang="en-US" altLang="en-US" sz="1584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dia</a:t>
                  </a:r>
                  <a:r>
                    <a:rPr kumimoji="0" lang="en-US" altLang="en-US" sz="1584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 panose="020F0502020204030204" pitchFamily="34" charset="0"/>
                    </a:rPr>
                    <a:t> (95% CI), mo</a:t>
                  </a:r>
                  <a:endParaRPr kumimoji="0" lang="en-US" altLang="en-US" sz="5183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642" name="Agrupar 641">
                <a:extLst>
                  <a:ext uri="{FF2B5EF4-FFF2-40B4-BE49-F238E27FC236}">
                    <a16:creationId xmlns:a16="http://schemas.microsoft.com/office/drawing/2014/main" id="{48841CE5-D3DC-4C75-828F-E7A12CB38418}"/>
                  </a:ext>
                </a:extLst>
              </p:cNvPr>
              <p:cNvGrpSpPr/>
              <p:nvPr/>
            </p:nvGrpSpPr>
            <p:grpSpPr>
              <a:xfrm>
                <a:off x="11124058" y="1341120"/>
                <a:ext cx="3706368" cy="746760"/>
                <a:chOff x="11124058" y="1173480"/>
                <a:chExt cx="3706368" cy="914400"/>
              </a:xfrm>
            </p:grpSpPr>
            <p:cxnSp>
              <p:nvCxnSpPr>
                <p:cNvPr id="632" name="Conector reto 631">
                  <a:extLst>
                    <a:ext uri="{FF2B5EF4-FFF2-40B4-BE49-F238E27FC236}">
                      <a16:creationId xmlns:a16="http://schemas.microsoft.com/office/drawing/2014/main" id="{7A75871E-178D-4DCF-B3CB-62C616D60ED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124058" y="1173480"/>
                  <a:ext cx="0" cy="914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7" name="Conector reto 636">
                  <a:extLst>
                    <a:ext uri="{FF2B5EF4-FFF2-40B4-BE49-F238E27FC236}">
                      <a16:creationId xmlns:a16="http://schemas.microsoft.com/office/drawing/2014/main" id="{B6E5F486-551B-4817-8955-8038F7B4B58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851768" y="1173480"/>
                  <a:ext cx="0" cy="914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0" name="Conector reto 639">
                  <a:extLst>
                    <a:ext uri="{FF2B5EF4-FFF2-40B4-BE49-F238E27FC236}">
                      <a16:creationId xmlns:a16="http://schemas.microsoft.com/office/drawing/2014/main" id="{A17C9BD0-9F0B-409C-9F8E-D773B426D7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2766930" y="1173480"/>
                  <a:ext cx="0" cy="914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1" name="Conector reto 640">
                  <a:extLst>
                    <a:ext uri="{FF2B5EF4-FFF2-40B4-BE49-F238E27FC236}">
                      <a16:creationId xmlns:a16="http://schemas.microsoft.com/office/drawing/2014/main" id="{6CE9A162-7D52-4893-9DC4-595BE1F10B8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830426" y="1173480"/>
                  <a:ext cx="0" cy="91440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E1E63187-06FA-48D6-BEE4-F8F8177B726A}"/>
              </a:ext>
            </a:extLst>
          </p:cNvPr>
          <p:cNvGrpSpPr/>
          <p:nvPr/>
        </p:nvGrpSpPr>
        <p:grpSpPr>
          <a:xfrm>
            <a:off x="518160" y="2493339"/>
            <a:ext cx="16476154" cy="4997037"/>
            <a:chOff x="518160" y="3674559"/>
            <a:chExt cx="16476154" cy="499703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985870D-7CD4-40CC-A242-D1D03BD257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160" y="3674559"/>
              <a:ext cx="1495259" cy="667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Proportion Alive and Relapse Free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6E12477-F3B3-4631-B076-EE53CAC398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2642" y="8182395"/>
              <a:ext cx="280689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0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652" name="Agrupar 651">
              <a:extLst>
                <a:ext uri="{FF2B5EF4-FFF2-40B4-BE49-F238E27FC236}">
                  <a16:creationId xmlns:a16="http://schemas.microsoft.com/office/drawing/2014/main" id="{92586087-3B94-4E1C-BDB6-CC7E16C69354}"/>
                </a:ext>
              </a:extLst>
            </p:cNvPr>
            <p:cNvGrpSpPr/>
            <p:nvPr/>
          </p:nvGrpSpPr>
          <p:grpSpPr>
            <a:xfrm>
              <a:off x="2733387" y="8427811"/>
              <a:ext cx="14212118" cy="243785"/>
              <a:chOff x="2733387" y="8427811"/>
              <a:chExt cx="14212118" cy="243785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B317EC0E-4FAE-4FB4-A088-523380B035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3387" y="8427811"/>
                <a:ext cx="112210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0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04038EA5-1B21-4004-9BBE-91004F2130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6024" y="8427811"/>
                <a:ext cx="104195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2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43A52B49-63B5-4A47-B407-368C55CCA2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9044" y="8427811"/>
                <a:ext cx="115416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4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3060AB6B-383B-4673-AF9E-D93CCF6EE7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83286" y="8427811"/>
                <a:ext cx="104195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6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0CF9B19-394E-440F-B07A-07B7A5D2B7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33810" y="8427811"/>
                <a:ext cx="113813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8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14202240-EE40-4A89-B86D-80116D5C65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2917" y="8427811"/>
                <a:ext cx="234038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 10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5034B30-198C-482F-9607-01E389E64C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0119" y="8427811"/>
                <a:ext cx="171522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16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873070B-DA4B-4DD9-B5A1-F5EDA4CDCA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53941" y="8427811"/>
                <a:ext cx="181140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18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B21038B8-B929-4734-B87F-747F76CB8C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91642" y="8427811"/>
                <a:ext cx="216405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20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0728763-2073-46A2-BAB7-4FBF33A7D2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10214" y="8427811"/>
                <a:ext cx="280526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  12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77EB310-DF5B-4DB0-ACB9-25BC28F120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5882" y="8427811"/>
                <a:ext cx="182742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14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4EDCE92A-08DA-41A0-90FA-46B0C7599D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48246" y="8427811"/>
                <a:ext cx="208390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26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03A933D-6473-4D86-938E-3143BD5125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95421" y="8427811"/>
                <a:ext cx="218008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28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23C787A-7493-4656-B125-19539F4C95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3249" y="8427811"/>
                <a:ext cx="219611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30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DD9C9E4A-F42E-49B0-B5AE-A4C6663319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44280" y="8427811"/>
                <a:ext cx="208390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22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29DA0061-A21C-4840-BBC9-2B8354BF23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301" y="8427811"/>
                <a:ext cx="219611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24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29C55B4-6EBF-48C7-9738-560226731D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99851" y="8427811"/>
                <a:ext cx="211596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36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716AE842-A9B1-4F90-87F7-817670C4EE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50375" y="8427811"/>
                <a:ext cx="221214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38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4358453E-92D1-44DF-B5BD-E5F452CC6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5799" y="8427811"/>
                <a:ext cx="227626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40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866B82EB-BDB5-4699-B2AE-4D10C17DAF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02590" y="8427811"/>
                <a:ext cx="211596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32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2B03634-0000-4778-9866-8B7AFE4976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45610" y="8427811"/>
                <a:ext cx="222817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34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0BE662B5-F947-4385-848F-76A3676C15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55753" y="8427811"/>
                <a:ext cx="219611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46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BCB3176-FC81-442F-8E86-B205C4612C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9574" y="8427811"/>
                <a:ext cx="229229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48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26F253D1-6112-42BF-AC50-DF743ADBB8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58114" y="8427811"/>
                <a:ext cx="222817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50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09E669EB-333C-4DE2-B934-82E469D65C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48437" y="8427811"/>
                <a:ext cx="219611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42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23EC993C-1FB4-43D5-8137-B39748148E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01511" y="8427811"/>
                <a:ext cx="230832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44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A3DE3F7C-E755-4C47-92D9-0C058FBABA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508009" y="8427811"/>
                <a:ext cx="214802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56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207082C-D783-443B-A7C9-B115B2F3C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58537" y="8427811"/>
                <a:ext cx="224420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58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90B901A-700B-4023-90C7-B0574A30E4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14526" y="8427811"/>
                <a:ext cx="216405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60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6D0010CA-F27E-45CE-9420-ADCB3A835D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10751" y="8427811"/>
                <a:ext cx="214802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52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6FA1248D-49C1-4CDD-9C67-F5B89FB9CF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3770" y="8427811"/>
                <a:ext cx="226023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54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EFEFA0BD-50BF-489D-B7DD-A82E913701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71129" y="8427811"/>
                <a:ext cx="208390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66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2FCFA7B-F344-4CC0-8917-6F223B6B74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614950" y="8427811"/>
                <a:ext cx="218008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68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8418F791-86C6-4D2A-8B33-5B90DA4E55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71888" y="8427811"/>
                <a:ext cx="214802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70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FC9B0373-9446-4A1B-B4F3-697FB3FC69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67164" y="8427811"/>
                <a:ext cx="208390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62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9EFA988A-A4A1-40DE-B754-E1C0D7FCAF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6890" y="8427811"/>
                <a:ext cx="219611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64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F942892-5C07-4FBF-8006-B1548F2EBA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31841" y="8427811"/>
                <a:ext cx="206788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76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48889164-1948-4569-BA01-8E66184CF8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75661" y="8427811"/>
                <a:ext cx="216405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78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160BDF99-E0C4-4AE8-9C18-9718919377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19482" y="8427811"/>
                <a:ext cx="226023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80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958AD41C-04CC-4380-A040-44E0B97738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24524" y="8427811"/>
                <a:ext cx="206788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72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AADB6254-48BD-40AB-8414-05D805232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67545" y="8427811"/>
                <a:ext cx="218008" cy="243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58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74</a:t>
                </a:r>
                <a:endParaRPr kumimoji="0" lang="en-US" alt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48" name="Rectangle 148">
              <a:extLst>
                <a:ext uri="{FF2B5EF4-FFF2-40B4-BE49-F238E27FC236}">
                  <a16:creationId xmlns:a16="http://schemas.microsoft.com/office/drawing/2014/main" id="{63B3E121-A7F7-4FD0-9452-A36305368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9146" y="7727156"/>
              <a:ext cx="234184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1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49" name="Rectangle 149">
              <a:extLst>
                <a:ext uri="{FF2B5EF4-FFF2-40B4-BE49-F238E27FC236}">
                  <a16:creationId xmlns:a16="http://schemas.microsoft.com/office/drawing/2014/main" id="{A90BB443-572A-4C6C-8F8A-F1AF4AABCF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7625" y="7283472"/>
              <a:ext cx="275705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2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0" name="Rectangle 150">
              <a:extLst>
                <a:ext uri="{FF2B5EF4-FFF2-40B4-BE49-F238E27FC236}">
                  <a16:creationId xmlns:a16="http://schemas.microsoft.com/office/drawing/2014/main" id="{2B11B16F-9F14-406A-99F1-0386E9ECF9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7625" y="6828234"/>
              <a:ext cx="275705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3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1" name="Rectangle 151">
              <a:extLst>
                <a:ext uri="{FF2B5EF4-FFF2-40B4-BE49-F238E27FC236}">
                  <a16:creationId xmlns:a16="http://schemas.microsoft.com/office/drawing/2014/main" id="{DC7A03F6-35D7-4EB2-ACD2-6BAD7EAA26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9320" y="6384549"/>
              <a:ext cx="284011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4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2" name="Rectangle 152">
              <a:extLst>
                <a:ext uri="{FF2B5EF4-FFF2-40B4-BE49-F238E27FC236}">
                  <a16:creationId xmlns:a16="http://schemas.microsoft.com/office/drawing/2014/main" id="{34A81264-B305-44BF-B449-9FFFDF1A0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4302" y="5931621"/>
              <a:ext cx="279029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5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3" name="Rectangle 153">
              <a:extLst>
                <a:ext uri="{FF2B5EF4-FFF2-40B4-BE49-F238E27FC236}">
                  <a16:creationId xmlns:a16="http://schemas.microsoft.com/office/drawing/2014/main" id="{6D30850A-313E-4221-9D68-A0FD6DB91F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7625" y="5481004"/>
              <a:ext cx="275705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6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4" name="Rectangle 154">
              <a:extLst>
                <a:ext uri="{FF2B5EF4-FFF2-40B4-BE49-F238E27FC236}">
                  <a16:creationId xmlns:a16="http://schemas.microsoft.com/office/drawing/2014/main" id="{69702971-F015-4613-AF7E-A4B5457BA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7625" y="5032698"/>
              <a:ext cx="275705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7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5" name="Rectangle 155">
              <a:extLst>
                <a:ext uri="{FF2B5EF4-FFF2-40B4-BE49-F238E27FC236}">
                  <a16:creationId xmlns:a16="http://schemas.microsoft.com/office/drawing/2014/main" id="{792E7151-1E10-421E-BE6C-942A315396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0980" y="4577460"/>
              <a:ext cx="282351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8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6" name="Rectangle 156">
              <a:extLst>
                <a:ext uri="{FF2B5EF4-FFF2-40B4-BE49-F238E27FC236}">
                  <a16:creationId xmlns:a16="http://schemas.microsoft.com/office/drawing/2014/main" id="{3B0928BD-A560-45DB-B079-D563A536D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7625" y="4129154"/>
              <a:ext cx="275705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0.9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7" name="Rectangle 157">
              <a:extLst>
                <a:ext uri="{FF2B5EF4-FFF2-40B4-BE49-F238E27FC236}">
                  <a16:creationId xmlns:a16="http://schemas.microsoft.com/office/drawing/2014/main" id="{06DC6809-4807-4AF7-9EBF-08AA288B74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9146" y="3678537"/>
              <a:ext cx="234184" cy="22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31655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584" b="0" i="0" u="none" strike="noStrike" kern="1200" cap="none" spc="0" normalizeH="0" baseline="0" noProof="0" dirty="0">
                  <a:ln>
                    <a:noFill/>
                  </a:ln>
                  <a:solidFill>
                    <a:srgbClr val="2B2D56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1.0</a:t>
              </a:r>
              <a:endParaRPr kumimoji="0" lang="en-US" altLang="en-US" sz="4607" b="0" i="0" u="none" strike="noStrike" kern="1200" cap="none" spc="0" normalizeH="0" baseline="0" noProof="0" dirty="0">
                <a:ln>
                  <a:noFill/>
                </a:ln>
                <a:solidFill>
                  <a:srgbClr val="2B2D56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26" name="Agrupar 25">
              <a:extLst>
                <a:ext uri="{FF2B5EF4-FFF2-40B4-BE49-F238E27FC236}">
                  <a16:creationId xmlns:a16="http://schemas.microsoft.com/office/drawing/2014/main" id="{4B1A6E8F-B7C3-4C94-BA43-52B363C35695}"/>
                </a:ext>
              </a:extLst>
            </p:cNvPr>
            <p:cNvGrpSpPr/>
            <p:nvPr/>
          </p:nvGrpSpPr>
          <p:grpSpPr>
            <a:xfrm flipH="1">
              <a:off x="2654815" y="3768662"/>
              <a:ext cx="14339499" cy="4053241"/>
              <a:chOff x="2845800" y="2203899"/>
              <a:chExt cx="116474" cy="4360532"/>
            </a:xfrm>
          </p:grpSpPr>
          <p:sp>
            <p:nvSpPr>
              <p:cNvPr id="161" name="Line 160">
                <a:extLst>
                  <a:ext uri="{FF2B5EF4-FFF2-40B4-BE49-F238E27FC236}">
                    <a16:creationId xmlns:a16="http://schemas.microsoft.com/office/drawing/2014/main" id="{3C13EA7C-E150-4BD6-BFDA-A249B691E4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6564431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62" name="Line 161">
                <a:extLst>
                  <a:ext uri="{FF2B5EF4-FFF2-40B4-BE49-F238E27FC236}">
                    <a16:creationId xmlns:a16="http://schemas.microsoft.com/office/drawing/2014/main" id="{F0EBB67B-C83F-403D-8DEE-B96902588F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6082137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63" name="Line 162">
                <a:extLst>
                  <a:ext uri="{FF2B5EF4-FFF2-40B4-BE49-F238E27FC236}">
                    <a16:creationId xmlns:a16="http://schemas.microsoft.com/office/drawing/2014/main" id="{26369E4A-87DB-4FEA-BB28-7A3A7382FA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5592384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64" name="Line 163">
                <a:extLst>
                  <a:ext uri="{FF2B5EF4-FFF2-40B4-BE49-F238E27FC236}">
                    <a16:creationId xmlns:a16="http://schemas.microsoft.com/office/drawing/2014/main" id="{6F9D22D5-8563-4354-B2C8-62B85A1CB4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5115063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65" name="Line 164">
                <a:extLst>
                  <a:ext uri="{FF2B5EF4-FFF2-40B4-BE49-F238E27FC236}">
                    <a16:creationId xmlns:a16="http://schemas.microsoft.com/office/drawing/2014/main" id="{37599058-B27B-463D-8EFE-42BC87B2E7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4625312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66" name="Line 165">
                <a:extLst>
                  <a:ext uri="{FF2B5EF4-FFF2-40B4-BE49-F238E27FC236}">
                    <a16:creationId xmlns:a16="http://schemas.microsoft.com/office/drawing/2014/main" id="{ED0A3B44-8E2B-407B-84A0-444E157FFD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4147990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67" name="Line 166">
                <a:extLst>
                  <a:ext uri="{FF2B5EF4-FFF2-40B4-BE49-F238E27FC236}">
                    <a16:creationId xmlns:a16="http://schemas.microsoft.com/office/drawing/2014/main" id="{B4A4AFDE-58DF-4CFD-90D2-3509163612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3660724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68" name="Line 167">
                <a:extLst>
                  <a:ext uri="{FF2B5EF4-FFF2-40B4-BE49-F238E27FC236}">
                    <a16:creationId xmlns:a16="http://schemas.microsoft.com/office/drawing/2014/main" id="{95341849-2BCB-40B5-BF9B-A7BF6CBC92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3170972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69" name="Line 168">
                <a:extLst>
                  <a:ext uri="{FF2B5EF4-FFF2-40B4-BE49-F238E27FC236}">
                    <a16:creationId xmlns:a16="http://schemas.microsoft.com/office/drawing/2014/main" id="{089BACEC-456A-4279-98B3-419A1D61DF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2693650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70" name="Line 169">
                <a:extLst>
                  <a:ext uri="{FF2B5EF4-FFF2-40B4-BE49-F238E27FC236}">
                    <a16:creationId xmlns:a16="http://schemas.microsoft.com/office/drawing/2014/main" id="{D0DAE827-4490-4AF4-AA45-A7CD7B1B95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45800" y="2203899"/>
                <a:ext cx="116474" cy="0"/>
              </a:xfrm>
              <a:prstGeom prst="line">
                <a:avLst/>
              </a:prstGeom>
              <a:noFill/>
              <a:ln w="127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608" name="Straight Connector 607">
              <a:extLst>
                <a:ext uri="{FF2B5EF4-FFF2-40B4-BE49-F238E27FC236}">
                  <a16:creationId xmlns:a16="http://schemas.microsoft.com/office/drawing/2014/main" id="{C55B7CE5-82BC-4225-994A-D1AE678247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13798" y="3825240"/>
              <a:ext cx="0" cy="4386072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CC0B199C-998F-4753-BAFF-21227B6944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320350" y="3840480"/>
              <a:ext cx="0" cy="438912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Line 158">
              <a:extLst>
                <a:ext uri="{FF2B5EF4-FFF2-40B4-BE49-F238E27FC236}">
                  <a16:creationId xmlns:a16="http://schemas.microsoft.com/office/drawing/2014/main" id="{187E5175-455C-4763-AC76-A402346CF8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4816" y="6019434"/>
              <a:ext cx="14317297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131657" tIns="65828" rIns="131657" bIns="6582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6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214" name="Group 213">
              <a:extLst>
                <a:ext uri="{FF2B5EF4-FFF2-40B4-BE49-F238E27FC236}">
                  <a16:creationId xmlns:a16="http://schemas.microsoft.com/office/drawing/2014/main" id="{690967B2-63ED-48F6-890C-A96494BD7B7B}"/>
                </a:ext>
              </a:extLst>
            </p:cNvPr>
            <p:cNvGrpSpPr/>
            <p:nvPr/>
          </p:nvGrpSpPr>
          <p:grpSpPr>
            <a:xfrm>
              <a:off x="2788903" y="3727064"/>
              <a:ext cx="14029005" cy="2336275"/>
              <a:chOff x="3287713" y="1503363"/>
              <a:chExt cx="6643687" cy="1604963"/>
            </a:xfrm>
          </p:grpSpPr>
          <p:grpSp>
            <p:nvGrpSpPr>
              <p:cNvPr id="215" name="Group 214">
                <a:extLst>
                  <a:ext uri="{FF2B5EF4-FFF2-40B4-BE49-F238E27FC236}">
                    <a16:creationId xmlns:a16="http://schemas.microsoft.com/office/drawing/2014/main" id="{F496E4C5-F7A6-4882-B316-64C2B6ED80D7}"/>
                  </a:ext>
                </a:extLst>
              </p:cNvPr>
              <p:cNvGrpSpPr/>
              <p:nvPr/>
            </p:nvGrpSpPr>
            <p:grpSpPr>
              <a:xfrm>
                <a:off x="3332163" y="1503363"/>
                <a:ext cx="6599237" cy="1604963"/>
                <a:chOff x="3332163" y="1503363"/>
                <a:chExt cx="6599237" cy="1604963"/>
              </a:xfrm>
            </p:grpSpPr>
            <p:sp>
              <p:nvSpPr>
                <p:cNvPr id="217" name="Line 216">
                  <a:extLst>
                    <a:ext uri="{FF2B5EF4-FFF2-40B4-BE49-F238E27FC236}">
                      <a16:creationId xmlns:a16="http://schemas.microsoft.com/office/drawing/2014/main" id="{C0D228B7-F14A-4986-9D5C-A6135832F9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332163" y="154146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18" name="Line 217">
                  <a:extLst>
                    <a:ext uri="{FF2B5EF4-FFF2-40B4-BE49-F238E27FC236}">
                      <a16:creationId xmlns:a16="http://schemas.microsoft.com/office/drawing/2014/main" id="{2050C911-7D69-49D5-A7B8-04A47AAA352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70263" y="1503363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19" name="Line 218">
                  <a:extLst>
                    <a:ext uri="{FF2B5EF4-FFF2-40B4-BE49-F238E27FC236}">
                      <a16:creationId xmlns:a16="http://schemas.microsoft.com/office/drawing/2014/main" id="{784FB1E3-90DF-4EF6-9C14-DFC1FF2812C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338513" y="15446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0" name="Line 219">
                  <a:extLst>
                    <a:ext uri="{FF2B5EF4-FFF2-40B4-BE49-F238E27FC236}">
                      <a16:creationId xmlns:a16="http://schemas.microsoft.com/office/drawing/2014/main" id="{A0C61D3E-FD21-48C9-8C03-4B485BC7ADE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73438" y="1509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1" name="Line 220">
                  <a:extLst>
                    <a:ext uri="{FF2B5EF4-FFF2-40B4-BE49-F238E27FC236}">
                      <a16:creationId xmlns:a16="http://schemas.microsoft.com/office/drawing/2014/main" id="{08C6C799-9002-4824-89A1-550C7CE451F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351213" y="15446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2" name="Line 221">
                  <a:extLst>
                    <a:ext uri="{FF2B5EF4-FFF2-40B4-BE49-F238E27FC236}">
                      <a16:creationId xmlns:a16="http://schemas.microsoft.com/office/drawing/2014/main" id="{A12500B4-765B-43C4-B44A-47CAA1E4EAD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89313" y="1509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3" name="Line 222">
                  <a:extLst>
                    <a:ext uri="{FF2B5EF4-FFF2-40B4-BE49-F238E27FC236}">
                      <a16:creationId xmlns:a16="http://schemas.microsoft.com/office/drawing/2014/main" id="{A1C8C52F-F122-467A-A654-69D02F38D2C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92488" y="1509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4" name="Line 223">
                  <a:extLst>
                    <a:ext uri="{FF2B5EF4-FFF2-40B4-BE49-F238E27FC236}">
                      <a16:creationId xmlns:a16="http://schemas.microsoft.com/office/drawing/2014/main" id="{FB88E9EA-F0FD-4096-8EBD-82EED5B504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360738" y="15446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5" name="Line 224">
                  <a:extLst>
                    <a:ext uri="{FF2B5EF4-FFF2-40B4-BE49-F238E27FC236}">
                      <a16:creationId xmlns:a16="http://schemas.microsoft.com/office/drawing/2014/main" id="{07B77588-43BB-4437-B866-75D5A92FF79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95663" y="1509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6" name="Line 225">
                  <a:extLst>
                    <a:ext uri="{FF2B5EF4-FFF2-40B4-BE49-F238E27FC236}">
                      <a16:creationId xmlns:a16="http://schemas.microsoft.com/office/drawing/2014/main" id="{9258C7BC-EADE-4DD9-8ABE-83B24762E67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43288" y="15192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7" name="Line 226">
                  <a:extLst>
                    <a:ext uri="{FF2B5EF4-FFF2-40B4-BE49-F238E27FC236}">
                      <a16:creationId xmlns:a16="http://schemas.microsoft.com/office/drawing/2014/main" id="{3AE61391-3E76-45C1-8E39-D585F52394F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43288" y="15192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8" name="Line 227">
                  <a:extLst>
                    <a:ext uri="{FF2B5EF4-FFF2-40B4-BE49-F238E27FC236}">
                      <a16:creationId xmlns:a16="http://schemas.microsoft.com/office/drawing/2014/main" id="{DA5E97C0-4DE4-47B4-9AC8-DD3A390C6F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46463" y="15192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29" name="Line 228">
                  <a:extLst>
                    <a:ext uri="{FF2B5EF4-FFF2-40B4-BE49-F238E27FC236}">
                      <a16:creationId xmlns:a16="http://schemas.microsoft.com/office/drawing/2014/main" id="{5E2636A4-36A2-4A05-99D0-C470B55C0D3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557588" y="15319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0" name="Line 229">
                  <a:extLst>
                    <a:ext uri="{FF2B5EF4-FFF2-40B4-BE49-F238E27FC236}">
                      <a16:creationId xmlns:a16="http://schemas.microsoft.com/office/drawing/2014/main" id="{6C4BDA21-4BB9-459A-B7CB-CE0FE575B32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570288" y="15319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1" name="Line 230">
                  <a:extLst>
                    <a:ext uri="{FF2B5EF4-FFF2-40B4-BE49-F238E27FC236}">
                      <a16:creationId xmlns:a16="http://schemas.microsoft.com/office/drawing/2014/main" id="{836B7371-C428-41BB-B307-44C181CF7CF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570288" y="157638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2" name="Line 231">
                  <a:extLst>
                    <a:ext uri="{FF2B5EF4-FFF2-40B4-BE49-F238E27FC236}">
                      <a16:creationId xmlns:a16="http://schemas.microsoft.com/office/drawing/2014/main" id="{9FDB50E1-F002-4020-866C-0D70A387CD9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608388" y="15414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3" name="Line 232">
                  <a:extLst>
                    <a:ext uri="{FF2B5EF4-FFF2-40B4-BE49-F238E27FC236}">
                      <a16:creationId xmlns:a16="http://schemas.microsoft.com/office/drawing/2014/main" id="{37125F60-86A7-432C-99C4-B191D77B81F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649663" y="160496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4" name="Line 233">
                  <a:extLst>
                    <a:ext uri="{FF2B5EF4-FFF2-40B4-BE49-F238E27FC236}">
                      <a16:creationId xmlns:a16="http://schemas.microsoft.com/office/drawing/2014/main" id="{399F5013-2D42-4652-BFC7-4330117D2A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684588" y="15700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5" name="Line 234">
                  <a:extLst>
                    <a:ext uri="{FF2B5EF4-FFF2-40B4-BE49-F238E27FC236}">
                      <a16:creationId xmlns:a16="http://schemas.microsoft.com/office/drawing/2014/main" id="{6839F4EE-9AD3-4BDE-B2E6-8A3D43C7EB2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713163" y="163671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6" name="Line 235">
                  <a:extLst>
                    <a:ext uri="{FF2B5EF4-FFF2-40B4-BE49-F238E27FC236}">
                      <a16:creationId xmlns:a16="http://schemas.microsoft.com/office/drawing/2014/main" id="{191F3EC9-D1B1-4399-B515-2CA57BCBC6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48088" y="16017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7" name="Line 236">
                  <a:extLst>
                    <a:ext uri="{FF2B5EF4-FFF2-40B4-BE49-F238E27FC236}">
                      <a16:creationId xmlns:a16="http://schemas.microsoft.com/office/drawing/2014/main" id="{EAE2A2A3-01B8-407A-AB6D-ACB4189DBB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789363" y="167481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8" name="Line 237">
                  <a:extLst>
                    <a:ext uri="{FF2B5EF4-FFF2-40B4-BE49-F238E27FC236}">
                      <a16:creationId xmlns:a16="http://schemas.microsoft.com/office/drawing/2014/main" id="{65D5232A-0170-481F-BDFA-54B09A450FB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27463" y="1636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39" name="Line 238">
                  <a:extLst>
                    <a:ext uri="{FF2B5EF4-FFF2-40B4-BE49-F238E27FC236}">
                      <a16:creationId xmlns:a16="http://schemas.microsoft.com/office/drawing/2014/main" id="{825AA0E1-57A6-4A83-891B-5A8D6F5D651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62388" y="1636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0" name="Line 239">
                  <a:extLst>
                    <a:ext uri="{FF2B5EF4-FFF2-40B4-BE49-F238E27FC236}">
                      <a16:creationId xmlns:a16="http://schemas.microsoft.com/office/drawing/2014/main" id="{E2732FE8-B97A-4F43-86C0-3E5AD795817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90963" y="1636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1" name="Line 240">
                  <a:extLst>
                    <a:ext uri="{FF2B5EF4-FFF2-40B4-BE49-F238E27FC236}">
                      <a16:creationId xmlns:a16="http://schemas.microsoft.com/office/drawing/2014/main" id="{2B4D6BC9-AAF6-4A8B-B132-622CF2C1E3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229101" y="1889126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2" name="Line 241">
                  <a:extLst>
                    <a:ext uri="{FF2B5EF4-FFF2-40B4-BE49-F238E27FC236}">
                      <a16:creationId xmlns:a16="http://schemas.microsoft.com/office/drawing/2014/main" id="{E68BD8B5-5293-4918-9D44-3C23C2F073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67201" y="18542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3" name="Line 242">
                  <a:extLst>
                    <a:ext uri="{FF2B5EF4-FFF2-40B4-BE49-F238E27FC236}">
                      <a16:creationId xmlns:a16="http://schemas.microsoft.com/office/drawing/2014/main" id="{E013F01B-64C6-4F3F-B2FC-2784376A9C2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673601" y="2270126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4" name="Line 243">
                  <a:extLst>
                    <a:ext uri="{FF2B5EF4-FFF2-40B4-BE49-F238E27FC236}">
                      <a16:creationId xmlns:a16="http://schemas.microsoft.com/office/drawing/2014/main" id="{F4E19A11-509B-4FC5-A76D-9F3424DF4AF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11701" y="22320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5" name="Line 244">
                  <a:extLst>
                    <a:ext uri="{FF2B5EF4-FFF2-40B4-BE49-F238E27FC236}">
                      <a16:creationId xmlns:a16="http://schemas.microsoft.com/office/drawing/2014/main" id="{F7DA488B-E33D-4C1F-A3A2-9892BF67F4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892676" y="241776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6" name="Line 245">
                  <a:extLst>
                    <a:ext uri="{FF2B5EF4-FFF2-40B4-BE49-F238E27FC236}">
                      <a16:creationId xmlns:a16="http://schemas.microsoft.com/office/drawing/2014/main" id="{81EB706C-5DFB-4A91-B3F8-8DFD8056ED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30776" y="2378076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7" name="Line 246">
                  <a:extLst>
                    <a:ext uri="{FF2B5EF4-FFF2-40B4-BE49-F238E27FC236}">
                      <a16:creationId xmlns:a16="http://schemas.microsoft.com/office/drawing/2014/main" id="{2256DEBB-F937-4D75-99C9-D5D7FD9163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94276" y="2400301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8" name="Line 247">
                  <a:extLst>
                    <a:ext uri="{FF2B5EF4-FFF2-40B4-BE49-F238E27FC236}">
                      <a16:creationId xmlns:a16="http://schemas.microsoft.com/office/drawing/2014/main" id="{4D09B0A0-9814-405A-AD23-1F1862FFEDA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019676" y="2400301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49" name="Line 248">
                  <a:extLst>
                    <a:ext uri="{FF2B5EF4-FFF2-40B4-BE49-F238E27FC236}">
                      <a16:creationId xmlns:a16="http://schemas.microsoft.com/office/drawing/2014/main" id="{A234ABA2-7EF5-46A9-BC2D-BBEF51C490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684838" y="27003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0" name="Line 249">
                  <a:extLst>
                    <a:ext uri="{FF2B5EF4-FFF2-40B4-BE49-F238E27FC236}">
                      <a16:creationId xmlns:a16="http://schemas.microsoft.com/office/drawing/2014/main" id="{F3A66E34-6995-4C9F-9586-5EF5395B5B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722938" y="26622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1" name="Line 250">
                  <a:extLst>
                    <a:ext uri="{FF2B5EF4-FFF2-40B4-BE49-F238E27FC236}">
                      <a16:creationId xmlns:a16="http://schemas.microsoft.com/office/drawing/2014/main" id="{7AD17D84-F9F8-459C-8FFB-80FB191A4F6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881688" y="274161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2" name="Line 251">
                  <a:extLst>
                    <a:ext uri="{FF2B5EF4-FFF2-40B4-BE49-F238E27FC236}">
                      <a16:creationId xmlns:a16="http://schemas.microsoft.com/office/drawing/2014/main" id="{688E01D1-7D0D-4372-9F5C-0DEAE633CC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916613" y="27035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3" name="Line 252">
                  <a:extLst>
                    <a:ext uri="{FF2B5EF4-FFF2-40B4-BE49-F238E27FC236}">
                      <a16:creationId xmlns:a16="http://schemas.microsoft.com/office/drawing/2014/main" id="{6BFC9122-3E17-40F1-B7DE-0206B415FF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202363" y="279558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4" name="Line 253">
                  <a:extLst>
                    <a:ext uri="{FF2B5EF4-FFF2-40B4-BE49-F238E27FC236}">
                      <a16:creationId xmlns:a16="http://schemas.microsoft.com/office/drawing/2014/main" id="{49B26DF8-F8EF-434A-9F92-817B8BF6C9F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37288" y="27606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5" name="Line 254">
                  <a:extLst>
                    <a:ext uri="{FF2B5EF4-FFF2-40B4-BE49-F238E27FC236}">
                      <a16:creationId xmlns:a16="http://schemas.microsoft.com/office/drawing/2014/main" id="{46296408-568B-4D3C-8933-3FBD8DF88C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497638" y="281781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6" name="Line 255">
                  <a:extLst>
                    <a:ext uri="{FF2B5EF4-FFF2-40B4-BE49-F238E27FC236}">
                      <a16:creationId xmlns:a16="http://schemas.microsoft.com/office/drawing/2014/main" id="{8D3ACF33-5754-4AAC-8C42-A6623865C79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535738" y="27828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7" name="Line 256">
                  <a:extLst>
                    <a:ext uri="{FF2B5EF4-FFF2-40B4-BE49-F238E27FC236}">
                      <a16:creationId xmlns:a16="http://schemas.microsoft.com/office/drawing/2014/main" id="{049B976A-0AF7-4B86-8923-5FC951340D5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538913" y="27828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8" name="Line 257">
                  <a:extLst>
                    <a:ext uri="{FF2B5EF4-FFF2-40B4-BE49-F238E27FC236}">
                      <a16:creationId xmlns:a16="http://schemas.microsoft.com/office/drawing/2014/main" id="{892A3FE6-0CBF-4B0A-8EFF-2BA19050050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557963" y="27828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59" name="Line 258">
                  <a:extLst>
                    <a:ext uri="{FF2B5EF4-FFF2-40B4-BE49-F238E27FC236}">
                      <a16:creationId xmlns:a16="http://schemas.microsoft.com/office/drawing/2014/main" id="{A2BD31BA-8CB3-44B2-88A6-740CD52FA2C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789738" y="28241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0" name="Line 259">
                  <a:extLst>
                    <a:ext uri="{FF2B5EF4-FFF2-40B4-BE49-F238E27FC236}">
                      <a16:creationId xmlns:a16="http://schemas.microsoft.com/office/drawing/2014/main" id="{D3ADA4C2-FFE4-4BFF-869F-1822A5AAC91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829426" y="28241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1" name="Line 260">
                  <a:extLst>
                    <a:ext uri="{FF2B5EF4-FFF2-40B4-BE49-F238E27FC236}">
                      <a16:creationId xmlns:a16="http://schemas.microsoft.com/office/drawing/2014/main" id="{AA14D0C1-30ED-42EB-B6B7-B84E3DFF782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083426" y="290036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2" name="Line 261">
                  <a:extLst>
                    <a:ext uri="{FF2B5EF4-FFF2-40B4-BE49-F238E27FC236}">
                      <a16:creationId xmlns:a16="http://schemas.microsoft.com/office/drawing/2014/main" id="{F34EFA94-514F-41EE-B00C-D7ADF603EB3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121526" y="28654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3" name="Line 262">
                  <a:extLst>
                    <a:ext uri="{FF2B5EF4-FFF2-40B4-BE49-F238E27FC236}">
                      <a16:creationId xmlns:a16="http://schemas.microsoft.com/office/drawing/2014/main" id="{F1087B19-A6AB-402E-BDCD-D16DE1E4A90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134226" y="290988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4" name="Line 263">
                  <a:extLst>
                    <a:ext uri="{FF2B5EF4-FFF2-40B4-BE49-F238E27FC236}">
                      <a16:creationId xmlns:a16="http://schemas.microsoft.com/office/drawing/2014/main" id="{B541E6AD-C160-431A-8AAB-BFD837B9062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172326" y="28749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5" name="Line 264">
                  <a:extLst>
                    <a:ext uri="{FF2B5EF4-FFF2-40B4-BE49-F238E27FC236}">
                      <a16:creationId xmlns:a16="http://schemas.microsoft.com/office/drawing/2014/main" id="{1577075F-3E25-42A5-993A-D2759ED322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337426" y="28971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6" name="Line 265">
                  <a:extLst>
                    <a:ext uri="{FF2B5EF4-FFF2-40B4-BE49-F238E27FC236}">
                      <a16:creationId xmlns:a16="http://schemas.microsoft.com/office/drawing/2014/main" id="{D9F4233E-AFE8-4D8C-B8A6-9124DB277B8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432676" y="28971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7" name="Line 266">
                  <a:extLst>
                    <a:ext uri="{FF2B5EF4-FFF2-40B4-BE49-F238E27FC236}">
                      <a16:creationId xmlns:a16="http://schemas.microsoft.com/office/drawing/2014/main" id="{D266FF9F-DC29-421F-A59F-C40C3CE0F87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72376" y="2906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8" name="Line 267">
                  <a:extLst>
                    <a:ext uri="{FF2B5EF4-FFF2-40B4-BE49-F238E27FC236}">
                      <a16:creationId xmlns:a16="http://schemas.microsoft.com/office/drawing/2014/main" id="{30613474-02E1-474C-B1D9-3B7A10A1A06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607301" y="2906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69" name="Line 268">
                  <a:extLst>
                    <a:ext uri="{FF2B5EF4-FFF2-40B4-BE49-F238E27FC236}">
                      <a16:creationId xmlns:a16="http://schemas.microsoft.com/office/drawing/2014/main" id="{17BD432C-58CD-49B9-8C73-570660A6731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673976" y="2906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0" name="Line 269">
                  <a:extLst>
                    <a:ext uri="{FF2B5EF4-FFF2-40B4-BE49-F238E27FC236}">
                      <a16:creationId xmlns:a16="http://schemas.microsoft.com/office/drawing/2014/main" id="{4A17E6D3-4B6E-45BF-AAE4-B9282C7C7F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715251" y="2906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1" name="Line 270">
                  <a:extLst>
                    <a:ext uri="{FF2B5EF4-FFF2-40B4-BE49-F238E27FC236}">
                      <a16:creationId xmlns:a16="http://schemas.microsoft.com/office/drawing/2014/main" id="{F1CC1291-B646-4A65-83E8-89C8AC6C8B6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756526" y="2906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2" name="Line 271">
                  <a:extLst>
                    <a:ext uri="{FF2B5EF4-FFF2-40B4-BE49-F238E27FC236}">
                      <a16:creationId xmlns:a16="http://schemas.microsoft.com/office/drawing/2014/main" id="{35E935ED-6BC4-4A90-96B7-DD61F350620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756526" y="29067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3" name="Line 272">
                  <a:extLst>
                    <a:ext uri="{FF2B5EF4-FFF2-40B4-BE49-F238E27FC236}">
                      <a16:creationId xmlns:a16="http://schemas.microsoft.com/office/drawing/2014/main" id="{C07CE26F-F545-49AB-9CAE-E0533017B4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51776" y="29130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4" name="Line 273">
                  <a:extLst>
                    <a:ext uri="{FF2B5EF4-FFF2-40B4-BE49-F238E27FC236}">
                      <a16:creationId xmlns:a16="http://schemas.microsoft.com/office/drawing/2014/main" id="{37082194-DADC-42A9-BBE4-3BF9A29B9A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61301" y="29130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5" name="Line 274">
                  <a:extLst>
                    <a:ext uri="{FF2B5EF4-FFF2-40B4-BE49-F238E27FC236}">
                      <a16:creationId xmlns:a16="http://schemas.microsoft.com/office/drawing/2014/main" id="{88DF5C86-9815-4D56-8C03-0A0EEC736A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67651" y="29130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6" name="Line 275">
                  <a:extLst>
                    <a:ext uri="{FF2B5EF4-FFF2-40B4-BE49-F238E27FC236}">
                      <a16:creationId xmlns:a16="http://schemas.microsoft.com/office/drawing/2014/main" id="{0B71A81E-8171-4186-9B83-E7084CCE0F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74001" y="29130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7" name="Line 276">
                  <a:extLst>
                    <a:ext uri="{FF2B5EF4-FFF2-40B4-BE49-F238E27FC236}">
                      <a16:creationId xmlns:a16="http://schemas.microsoft.com/office/drawing/2014/main" id="{0C785D43-0ED1-4865-B788-1A833FF6D8B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80351" y="29130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8" name="Line 277">
                  <a:extLst>
                    <a:ext uri="{FF2B5EF4-FFF2-40B4-BE49-F238E27FC236}">
                      <a16:creationId xmlns:a16="http://schemas.microsoft.com/office/drawing/2014/main" id="{393C2F56-3773-489E-BFF4-21D991BF09A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83526" y="29130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9" name="Line 278">
                  <a:extLst>
                    <a:ext uri="{FF2B5EF4-FFF2-40B4-BE49-F238E27FC236}">
                      <a16:creationId xmlns:a16="http://schemas.microsoft.com/office/drawing/2014/main" id="{70CB5B98-1F0C-4711-9361-9F550D0C2D6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89876" y="29130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0" name="Line 279">
                  <a:extLst>
                    <a:ext uri="{FF2B5EF4-FFF2-40B4-BE49-F238E27FC236}">
                      <a16:creationId xmlns:a16="http://schemas.microsoft.com/office/drawing/2014/main" id="{32CBC95B-C6DF-46D1-8841-25A8219506C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99401" y="29130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1" name="Line 280">
                  <a:extLst>
                    <a:ext uri="{FF2B5EF4-FFF2-40B4-BE49-F238E27FC236}">
                      <a16:creationId xmlns:a16="http://schemas.microsoft.com/office/drawing/2014/main" id="{3C0C499A-4277-4A89-8866-BE96A3829B3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99401" y="29130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2" name="Line 281">
                  <a:extLst>
                    <a:ext uri="{FF2B5EF4-FFF2-40B4-BE49-F238E27FC236}">
                      <a16:creationId xmlns:a16="http://schemas.microsoft.com/office/drawing/2014/main" id="{E6405186-24B8-4797-8A1C-7A1D9123F7F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883526" y="2960688"/>
                  <a:ext cx="31750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3" name="Line 282">
                  <a:extLst>
                    <a:ext uri="{FF2B5EF4-FFF2-40B4-BE49-F238E27FC236}">
                      <a16:creationId xmlns:a16="http://schemas.microsoft.com/office/drawing/2014/main" id="{DEF2D91C-64C2-4A08-A21F-9545B8CE3D2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02576" y="29225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4" name="Line 283">
                  <a:extLst>
                    <a:ext uri="{FF2B5EF4-FFF2-40B4-BE49-F238E27FC236}">
                      <a16:creationId xmlns:a16="http://schemas.microsoft.com/office/drawing/2014/main" id="{8DBBA8F8-52DC-4D01-9DBB-5437D57D2CE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889876" y="2960688"/>
                  <a:ext cx="31750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5" name="Line 284">
                  <a:extLst>
                    <a:ext uri="{FF2B5EF4-FFF2-40B4-BE49-F238E27FC236}">
                      <a16:creationId xmlns:a16="http://schemas.microsoft.com/office/drawing/2014/main" id="{B1C4B2AC-48F9-4972-A776-0BA55074409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08926" y="29225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6" name="Line 285">
                  <a:extLst>
                    <a:ext uri="{FF2B5EF4-FFF2-40B4-BE49-F238E27FC236}">
                      <a16:creationId xmlns:a16="http://schemas.microsoft.com/office/drawing/2014/main" id="{136E1187-195A-437D-BF96-D9CFA44B1A9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12101" y="29225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7" name="Line 286">
                  <a:extLst>
                    <a:ext uri="{FF2B5EF4-FFF2-40B4-BE49-F238E27FC236}">
                      <a16:creationId xmlns:a16="http://schemas.microsoft.com/office/drawing/2014/main" id="{D659544A-5500-405C-9D0D-4DA292B9514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15276" y="29225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8" name="Line 287">
                  <a:extLst>
                    <a:ext uri="{FF2B5EF4-FFF2-40B4-BE49-F238E27FC236}">
                      <a16:creationId xmlns:a16="http://schemas.microsoft.com/office/drawing/2014/main" id="{D50D4A0B-501C-4A21-8D58-22A7943BF34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915276" y="297021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89" name="Line 288">
                  <a:extLst>
                    <a:ext uri="{FF2B5EF4-FFF2-40B4-BE49-F238E27FC236}">
                      <a16:creationId xmlns:a16="http://schemas.microsoft.com/office/drawing/2014/main" id="{B6CB9347-4CA0-4674-BD17-91DBD1A1F9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53376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0" name="Line 289">
                  <a:extLst>
                    <a:ext uri="{FF2B5EF4-FFF2-40B4-BE49-F238E27FC236}">
                      <a16:creationId xmlns:a16="http://schemas.microsoft.com/office/drawing/2014/main" id="{D39C5761-AD5D-4B32-94FB-EF1FB233A44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56551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1" name="Line 290">
                  <a:extLst>
                    <a:ext uri="{FF2B5EF4-FFF2-40B4-BE49-F238E27FC236}">
                      <a16:creationId xmlns:a16="http://schemas.microsoft.com/office/drawing/2014/main" id="{949DB156-6871-4B55-AAAD-0C1798591A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72426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2" name="Line 291">
                  <a:extLst>
                    <a:ext uri="{FF2B5EF4-FFF2-40B4-BE49-F238E27FC236}">
                      <a16:creationId xmlns:a16="http://schemas.microsoft.com/office/drawing/2014/main" id="{122A43C6-1130-451B-B92A-0FAE0A6D1D0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81951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3" name="Line 292">
                  <a:extLst>
                    <a:ext uri="{FF2B5EF4-FFF2-40B4-BE49-F238E27FC236}">
                      <a16:creationId xmlns:a16="http://schemas.microsoft.com/office/drawing/2014/main" id="{47E045D2-B7FD-49CC-ACF2-9C62964358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88301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4" name="Line 293">
                  <a:extLst>
                    <a:ext uri="{FF2B5EF4-FFF2-40B4-BE49-F238E27FC236}">
                      <a16:creationId xmlns:a16="http://schemas.microsoft.com/office/drawing/2014/main" id="{CEA11C88-0A9B-4E38-8AFF-67A6AF31274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94651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5" name="Line 294">
                  <a:extLst>
                    <a:ext uri="{FF2B5EF4-FFF2-40B4-BE49-F238E27FC236}">
                      <a16:creationId xmlns:a16="http://schemas.microsoft.com/office/drawing/2014/main" id="{33C9F079-85F2-4E19-B9FE-79577B49AD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04176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6" name="Line 295">
                  <a:extLst>
                    <a:ext uri="{FF2B5EF4-FFF2-40B4-BE49-F238E27FC236}">
                      <a16:creationId xmlns:a16="http://schemas.microsoft.com/office/drawing/2014/main" id="{054BB516-08C4-4CB5-99C7-9F5CF7FF776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07351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7" name="Line 296">
                  <a:extLst>
                    <a:ext uri="{FF2B5EF4-FFF2-40B4-BE49-F238E27FC236}">
                      <a16:creationId xmlns:a16="http://schemas.microsoft.com/office/drawing/2014/main" id="{8D55127A-7C4B-4C53-913D-00E578FF83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13701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8" name="Line 297">
                  <a:extLst>
                    <a:ext uri="{FF2B5EF4-FFF2-40B4-BE49-F238E27FC236}">
                      <a16:creationId xmlns:a16="http://schemas.microsoft.com/office/drawing/2014/main" id="{DBDB8EB2-25F4-4EC9-98D0-23D53B8FEFC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20051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9" name="Line 298">
                  <a:extLst>
                    <a:ext uri="{FF2B5EF4-FFF2-40B4-BE49-F238E27FC236}">
                      <a16:creationId xmlns:a16="http://schemas.microsoft.com/office/drawing/2014/main" id="{431616BB-5512-4867-B453-E5FC15180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988301" y="297021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0" name="Line 299">
                  <a:extLst>
                    <a:ext uri="{FF2B5EF4-FFF2-40B4-BE49-F238E27FC236}">
                      <a16:creationId xmlns:a16="http://schemas.microsoft.com/office/drawing/2014/main" id="{BAAFD5E5-9EC4-4E43-845D-373BBB55061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26401" y="29321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1" name="Line 300">
                  <a:extLst>
                    <a:ext uri="{FF2B5EF4-FFF2-40B4-BE49-F238E27FC236}">
                      <a16:creationId xmlns:a16="http://schemas.microsoft.com/office/drawing/2014/main" id="{A8816842-7C94-49E8-A823-59A57E3298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013701" y="29797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2" name="Line 301">
                  <a:extLst>
                    <a:ext uri="{FF2B5EF4-FFF2-40B4-BE49-F238E27FC236}">
                      <a16:creationId xmlns:a16="http://schemas.microsoft.com/office/drawing/2014/main" id="{C239A2AA-4F83-4DA2-9DC9-C7AF296809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48626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3" name="Line 302">
                  <a:extLst>
                    <a:ext uri="{FF2B5EF4-FFF2-40B4-BE49-F238E27FC236}">
                      <a16:creationId xmlns:a16="http://schemas.microsoft.com/office/drawing/2014/main" id="{59C74B74-086A-4C56-91C2-5BF00E5732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58151" y="2963863"/>
                  <a:ext cx="0" cy="3175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4" name="Line 303">
                  <a:extLst>
                    <a:ext uri="{FF2B5EF4-FFF2-40B4-BE49-F238E27FC236}">
                      <a16:creationId xmlns:a16="http://schemas.microsoft.com/office/drawing/2014/main" id="{2CC9C041-FBBB-4BAF-B6F2-5FDC614278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58151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5" name="Line 304">
                  <a:extLst>
                    <a:ext uri="{FF2B5EF4-FFF2-40B4-BE49-F238E27FC236}">
                      <a16:creationId xmlns:a16="http://schemas.microsoft.com/office/drawing/2014/main" id="{9EA32EE3-74DA-44C8-B6FD-A8DF2B428C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70851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6" name="Line 305">
                  <a:extLst>
                    <a:ext uri="{FF2B5EF4-FFF2-40B4-BE49-F238E27FC236}">
                      <a16:creationId xmlns:a16="http://schemas.microsoft.com/office/drawing/2014/main" id="{FF11C08D-00FF-40D0-BEAF-AFA6AD7354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89901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7" name="Line 306">
                  <a:extLst>
                    <a:ext uri="{FF2B5EF4-FFF2-40B4-BE49-F238E27FC236}">
                      <a16:creationId xmlns:a16="http://schemas.microsoft.com/office/drawing/2014/main" id="{4F95F040-10DB-4D63-BFCE-9660EE10283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10538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8" name="Line 307">
                  <a:extLst>
                    <a:ext uri="{FF2B5EF4-FFF2-40B4-BE49-F238E27FC236}">
                      <a16:creationId xmlns:a16="http://schemas.microsoft.com/office/drawing/2014/main" id="{84CEC451-323F-4273-A310-6A673EF241D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20063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09" name="Line 308">
                  <a:extLst>
                    <a:ext uri="{FF2B5EF4-FFF2-40B4-BE49-F238E27FC236}">
                      <a16:creationId xmlns:a16="http://schemas.microsoft.com/office/drawing/2014/main" id="{C0E607FD-D8DC-4CF1-BCBF-ED48F27CA9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29588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0" name="Line 309">
                  <a:extLst>
                    <a:ext uri="{FF2B5EF4-FFF2-40B4-BE49-F238E27FC236}">
                      <a16:creationId xmlns:a16="http://schemas.microsoft.com/office/drawing/2014/main" id="{566FF3EE-4456-4EF0-89B4-ADF2F19B331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35938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1" name="Line 310">
                  <a:extLst>
                    <a:ext uri="{FF2B5EF4-FFF2-40B4-BE49-F238E27FC236}">
                      <a16:creationId xmlns:a16="http://schemas.microsoft.com/office/drawing/2014/main" id="{63F19E51-90E0-4D5A-B2D5-43751247C54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51813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2" name="Line 311">
                  <a:extLst>
                    <a:ext uri="{FF2B5EF4-FFF2-40B4-BE49-F238E27FC236}">
                      <a16:creationId xmlns:a16="http://schemas.microsoft.com/office/drawing/2014/main" id="{E0172CF5-A541-4C5C-8D6C-5C75D248B66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61338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3" name="Line 312">
                  <a:extLst>
                    <a:ext uri="{FF2B5EF4-FFF2-40B4-BE49-F238E27FC236}">
                      <a16:creationId xmlns:a16="http://schemas.microsoft.com/office/drawing/2014/main" id="{38A9098A-C92A-4DED-A092-82E3FBCCA7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64513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4" name="Line 313">
                  <a:extLst>
                    <a:ext uri="{FF2B5EF4-FFF2-40B4-BE49-F238E27FC236}">
                      <a16:creationId xmlns:a16="http://schemas.microsoft.com/office/drawing/2014/main" id="{44C21558-9B91-4444-B5AC-DCF7B9747FB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70863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5" name="Line 314">
                  <a:extLst>
                    <a:ext uri="{FF2B5EF4-FFF2-40B4-BE49-F238E27FC236}">
                      <a16:creationId xmlns:a16="http://schemas.microsoft.com/office/drawing/2014/main" id="{4498C948-BD99-4EF1-BAF5-9C2BA19BFB7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70863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6" name="Line 315">
                  <a:extLst>
                    <a:ext uri="{FF2B5EF4-FFF2-40B4-BE49-F238E27FC236}">
                      <a16:creationId xmlns:a16="http://schemas.microsoft.com/office/drawing/2014/main" id="{B26AD6C4-C988-458F-AA88-3E2A9B14850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86738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7" name="Line 316">
                  <a:extLst>
                    <a:ext uri="{FF2B5EF4-FFF2-40B4-BE49-F238E27FC236}">
                      <a16:creationId xmlns:a16="http://schemas.microsoft.com/office/drawing/2014/main" id="{4EE006DB-9282-4090-90FB-F551A9D3FBF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93088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8" name="Line 317">
                  <a:extLst>
                    <a:ext uri="{FF2B5EF4-FFF2-40B4-BE49-F238E27FC236}">
                      <a16:creationId xmlns:a16="http://schemas.microsoft.com/office/drawing/2014/main" id="{66E98184-BD64-4171-922F-5B459618C1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161338" y="29797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9" name="Line 318">
                  <a:extLst>
                    <a:ext uri="{FF2B5EF4-FFF2-40B4-BE49-F238E27FC236}">
                      <a16:creationId xmlns:a16="http://schemas.microsoft.com/office/drawing/2014/main" id="{22F61075-E24D-4504-BADC-ED8A33D44D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96263" y="29416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0" name="Line 319">
                  <a:extLst>
                    <a:ext uri="{FF2B5EF4-FFF2-40B4-BE49-F238E27FC236}">
                      <a16:creationId xmlns:a16="http://schemas.microsoft.com/office/drawing/2014/main" id="{8D8BEF76-568A-4D52-97B5-B6454329660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183563" y="2992438"/>
                  <a:ext cx="5397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1" name="Line 320">
                  <a:extLst>
                    <a:ext uri="{FF2B5EF4-FFF2-40B4-BE49-F238E27FC236}">
                      <a16:creationId xmlns:a16="http://schemas.microsoft.com/office/drawing/2014/main" id="{7BF827A8-1C87-402A-87AF-731F03F7E0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12138" y="2963863"/>
                  <a:ext cx="0" cy="5715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2" name="Line 321">
                  <a:extLst>
                    <a:ext uri="{FF2B5EF4-FFF2-40B4-BE49-F238E27FC236}">
                      <a16:creationId xmlns:a16="http://schemas.microsoft.com/office/drawing/2014/main" id="{61C38360-AA54-4B06-9B0F-2D7319069D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183563" y="300196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3" name="Line 322">
                  <a:extLst>
                    <a:ext uri="{FF2B5EF4-FFF2-40B4-BE49-F238E27FC236}">
                      <a16:creationId xmlns:a16="http://schemas.microsoft.com/office/drawing/2014/main" id="{DFCF8EDD-F201-45C2-9DD6-616BC57793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1848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4" name="Line 323">
                  <a:extLst>
                    <a:ext uri="{FF2B5EF4-FFF2-40B4-BE49-F238E27FC236}">
                      <a16:creationId xmlns:a16="http://schemas.microsoft.com/office/drawing/2014/main" id="{514493D6-9174-44DB-8102-29F225D88F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248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5" name="Line 324">
                  <a:extLst>
                    <a:ext uri="{FF2B5EF4-FFF2-40B4-BE49-F238E27FC236}">
                      <a16:creationId xmlns:a16="http://schemas.microsoft.com/office/drawing/2014/main" id="{FA2E9EF6-0000-41CD-979F-0025A09769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375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6" name="Line 325">
                  <a:extLst>
                    <a:ext uri="{FF2B5EF4-FFF2-40B4-BE49-F238E27FC236}">
                      <a16:creationId xmlns:a16="http://schemas.microsoft.com/office/drawing/2014/main" id="{FFDAA5EF-8FF8-4F19-B4B2-8CDA7F361B2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388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7" name="Line 326">
                  <a:extLst>
                    <a:ext uri="{FF2B5EF4-FFF2-40B4-BE49-F238E27FC236}">
                      <a16:creationId xmlns:a16="http://schemas.microsoft.com/office/drawing/2014/main" id="{357272DE-33DD-4055-809E-0FD946D207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5658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8" name="Line 327">
                  <a:extLst>
                    <a:ext uri="{FF2B5EF4-FFF2-40B4-BE49-F238E27FC236}">
                      <a16:creationId xmlns:a16="http://schemas.microsoft.com/office/drawing/2014/main" id="{7AE679C4-7396-4CF3-A053-4D57E948CA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7881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9" name="Line 328">
                  <a:extLst>
                    <a:ext uri="{FF2B5EF4-FFF2-40B4-BE49-F238E27FC236}">
                      <a16:creationId xmlns:a16="http://schemas.microsoft.com/office/drawing/2014/main" id="{C5FCE236-9FE6-4961-9D62-D9175E4925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9151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0" name="Line 329">
                  <a:extLst>
                    <a:ext uri="{FF2B5EF4-FFF2-40B4-BE49-F238E27FC236}">
                      <a16:creationId xmlns:a16="http://schemas.microsoft.com/office/drawing/2014/main" id="{0BF26198-6AC9-44AB-8F54-4F6696386D6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0738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1" name="Line 330">
                  <a:extLst>
                    <a:ext uri="{FF2B5EF4-FFF2-40B4-BE49-F238E27FC236}">
                      <a16:creationId xmlns:a16="http://schemas.microsoft.com/office/drawing/2014/main" id="{EF2BFCC3-B268-4B9B-A795-675011351B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1691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2" name="Line 331">
                  <a:extLst>
                    <a:ext uri="{FF2B5EF4-FFF2-40B4-BE49-F238E27FC236}">
                      <a16:creationId xmlns:a16="http://schemas.microsoft.com/office/drawing/2014/main" id="{1A1F2F2F-D668-4B58-A2CB-F0164426ED2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2008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3" name="Line 332">
                  <a:extLst>
                    <a:ext uri="{FF2B5EF4-FFF2-40B4-BE49-F238E27FC236}">
                      <a16:creationId xmlns:a16="http://schemas.microsoft.com/office/drawing/2014/main" id="{2B6BB648-23BE-4793-9C01-22CA36BD426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3278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4" name="Line 333">
                  <a:extLst>
                    <a:ext uri="{FF2B5EF4-FFF2-40B4-BE49-F238E27FC236}">
                      <a16:creationId xmlns:a16="http://schemas.microsoft.com/office/drawing/2014/main" id="{A6EE0B8D-9F1C-422F-A8DE-2467836B2A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391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5" name="Line 334">
                  <a:extLst>
                    <a:ext uri="{FF2B5EF4-FFF2-40B4-BE49-F238E27FC236}">
                      <a16:creationId xmlns:a16="http://schemas.microsoft.com/office/drawing/2014/main" id="{D0A48E01-E8D8-463B-9E26-5C0A92A2953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391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6" name="Line 335">
                  <a:extLst>
                    <a:ext uri="{FF2B5EF4-FFF2-40B4-BE49-F238E27FC236}">
                      <a16:creationId xmlns:a16="http://schemas.microsoft.com/office/drawing/2014/main" id="{0C268648-7E0B-456F-9E83-446A3231800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4231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7" name="Line 336">
                  <a:extLst>
                    <a:ext uri="{FF2B5EF4-FFF2-40B4-BE49-F238E27FC236}">
                      <a16:creationId xmlns:a16="http://schemas.microsoft.com/office/drawing/2014/main" id="{131237F4-17C8-4A58-B619-EE4792A4E9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4866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8" name="Line 337">
                  <a:extLst>
                    <a:ext uri="{FF2B5EF4-FFF2-40B4-BE49-F238E27FC236}">
                      <a16:creationId xmlns:a16="http://schemas.microsoft.com/office/drawing/2014/main" id="{B6F8F859-48C2-4928-902B-E8AD59F1DD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518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9" name="Line 338">
                  <a:extLst>
                    <a:ext uri="{FF2B5EF4-FFF2-40B4-BE49-F238E27FC236}">
                      <a16:creationId xmlns:a16="http://schemas.microsoft.com/office/drawing/2014/main" id="{CA351551-B463-410D-89ED-E6EA1CC7B3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6136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0" name="Line 339">
                  <a:extLst>
                    <a:ext uri="{FF2B5EF4-FFF2-40B4-BE49-F238E27FC236}">
                      <a16:creationId xmlns:a16="http://schemas.microsoft.com/office/drawing/2014/main" id="{1815604C-1AF3-4434-93EA-D82A604D40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645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1" name="Line 340">
                  <a:extLst>
                    <a:ext uri="{FF2B5EF4-FFF2-40B4-BE49-F238E27FC236}">
                      <a16:creationId xmlns:a16="http://schemas.microsoft.com/office/drawing/2014/main" id="{FBF7D99F-7A33-4D55-8D98-30A9FF4B59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8041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2" name="Line 341">
                  <a:extLst>
                    <a:ext uri="{FF2B5EF4-FFF2-40B4-BE49-F238E27FC236}">
                      <a16:creationId xmlns:a16="http://schemas.microsoft.com/office/drawing/2014/main" id="{9A40D504-3ED8-4003-8877-5A13E54EA17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8041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3" name="Line 342">
                  <a:extLst>
                    <a:ext uri="{FF2B5EF4-FFF2-40B4-BE49-F238E27FC236}">
                      <a16:creationId xmlns:a16="http://schemas.microsoft.com/office/drawing/2014/main" id="{6EAA2F49-BCBD-407E-AD3B-DA87C74628E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9311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4" name="Line 343">
                  <a:extLst>
                    <a:ext uri="{FF2B5EF4-FFF2-40B4-BE49-F238E27FC236}">
                      <a16:creationId xmlns:a16="http://schemas.microsoft.com/office/drawing/2014/main" id="{0F22C973-7D6A-4694-8271-896EB0C77C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153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5" name="Line 344">
                  <a:extLst>
                    <a:ext uri="{FF2B5EF4-FFF2-40B4-BE49-F238E27FC236}">
                      <a16:creationId xmlns:a16="http://schemas.microsoft.com/office/drawing/2014/main" id="{35BD8588-819D-446D-8934-B63A3AC035D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3438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6" name="Line 345">
                  <a:extLst>
                    <a:ext uri="{FF2B5EF4-FFF2-40B4-BE49-F238E27FC236}">
                      <a16:creationId xmlns:a16="http://schemas.microsoft.com/office/drawing/2014/main" id="{6C51C0CE-6B20-4E91-AA38-41B567D5D9F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3756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7" name="Line 346">
                  <a:extLst>
                    <a:ext uri="{FF2B5EF4-FFF2-40B4-BE49-F238E27FC236}">
                      <a16:creationId xmlns:a16="http://schemas.microsoft.com/office/drawing/2014/main" id="{690B0B66-729C-4419-8347-D61EF3A2C8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534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8" name="Line 347">
                  <a:extLst>
                    <a:ext uri="{FF2B5EF4-FFF2-40B4-BE49-F238E27FC236}">
                      <a16:creationId xmlns:a16="http://schemas.microsoft.com/office/drawing/2014/main" id="{52559410-C476-4D73-ABFA-25F24B5BA38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5661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9" name="Line 348">
                  <a:extLst>
                    <a:ext uri="{FF2B5EF4-FFF2-40B4-BE49-F238E27FC236}">
                      <a16:creationId xmlns:a16="http://schemas.microsoft.com/office/drawing/2014/main" id="{4C35B8F0-52B3-4085-AC9E-041A3FA688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7248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0" name="Line 349">
                  <a:extLst>
                    <a:ext uri="{FF2B5EF4-FFF2-40B4-BE49-F238E27FC236}">
                      <a16:creationId xmlns:a16="http://schemas.microsoft.com/office/drawing/2014/main" id="{E266A342-2136-4EFA-BF53-EDEE1C5215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788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1" name="Line 350">
                  <a:extLst>
                    <a:ext uri="{FF2B5EF4-FFF2-40B4-BE49-F238E27FC236}">
                      <a16:creationId xmlns:a16="http://schemas.microsoft.com/office/drawing/2014/main" id="{9FF50CB7-3612-48D3-8A9F-1C339C39C1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8518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2" name="Line 351">
                  <a:extLst>
                    <a:ext uri="{FF2B5EF4-FFF2-40B4-BE49-F238E27FC236}">
                      <a16:creationId xmlns:a16="http://schemas.microsoft.com/office/drawing/2014/main" id="{D1B9C881-17E8-40E9-BF9D-FB52B8B70F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94713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3" name="Line 352">
                  <a:extLst>
                    <a:ext uri="{FF2B5EF4-FFF2-40B4-BE49-F238E27FC236}">
                      <a16:creationId xmlns:a16="http://schemas.microsoft.com/office/drawing/2014/main" id="{CEEED9FB-230D-4821-B9B2-794854E0A04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466138" y="300196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4" name="Line 353">
                  <a:extLst>
                    <a:ext uri="{FF2B5EF4-FFF2-40B4-BE49-F238E27FC236}">
                      <a16:creationId xmlns:a16="http://schemas.microsoft.com/office/drawing/2014/main" id="{5A0D1E81-F7D9-41F4-BAA1-798E30E82A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4238" y="29638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5" name="Line 354">
                  <a:extLst>
                    <a:ext uri="{FF2B5EF4-FFF2-40B4-BE49-F238E27FC236}">
                      <a16:creationId xmlns:a16="http://schemas.microsoft.com/office/drawing/2014/main" id="{73BB0731-AB3F-4EE4-AF96-D618ADEF72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485188" y="302101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6" name="Line 355">
                  <a:extLst>
                    <a:ext uri="{FF2B5EF4-FFF2-40B4-BE49-F238E27FC236}">
                      <a16:creationId xmlns:a16="http://schemas.microsoft.com/office/drawing/2014/main" id="{F8464DB8-3D41-433F-AE9B-010A4CC6D30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20113" y="29829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7" name="Line 356">
                  <a:extLst>
                    <a:ext uri="{FF2B5EF4-FFF2-40B4-BE49-F238E27FC236}">
                      <a16:creationId xmlns:a16="http://schemas.microsoft.com/office/drawing/2014/main" id="{E95BEE10-D1A7-4C8D-9924-A3422EB35A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29638" y="29829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8" name="Line 357">
                  <a:extLst>
                    <a:ext uri="{FF2B5EF4-FFF2-40B4-BE49-F238E27FC236}">
                      <a16:creationId xmlns:a16="http://schemas.microsoft.com/office/drawing/2014/main" id="{E4A80C8D-56BC-4F25-A538-3491E86B40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545513" y="3021013"/>
                  <a:ext cx="5397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9" name="Line 358">
                  <a:extLst>
                    <a:ext uri="{FF2B5EF4-FFF2-40B4-BE49-F238E27FC236}">
                      <a16:creationId xmlns:a16="http://schemas.microsoft.com/office/drawing/2014/main" id="{F1E8AB49-C81A-4A88-A290-BCC154CB49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70913" y="29829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0" name="Line 359">
                  <a:extLst>
                    <a:ext uri="{FF2B5EF4-FFF2-40B4-BE49-F238E27FC236}">
                      <a16:creationId xmlns:a16="http://schemas.microsoft.com/office/drawing/2014/main" id="{C0BB1DA2-BC6E-4548-ABC6-0162462A891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548688" y="303371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1" name="Line 360">
                  <a:extLst>
                    <a:ext uri="{FF2B5EF4-FFF2-40B4-BE49-F238E27FC236}">
                      <a16:creationId xmlns:a16="http://schemas.microsoft.com/office/drawing/2014/main" id="{8F15A297-7450-4265-94E2-71A7B184A16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867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2" name="Line 361">
                  <a:extLst>
                    <a:ext uri="{FF2B5EF4-FFF2-40B4-BE49-F238E27FC236}">
                      <a16:creationId xmlns:a16="http://schemas.microsoft.com/office/drawing/2014/main" id="{51B4F2ED-7E38-43DC-B123-ED3FBFC1DF7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899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3" name="Line 362">
                  <a:extLst>
                    <a:ext uri="{FF2B5EF4-FFF2-40B4-BE49-F238E27FC236}">
                      <a16:creationId xmlns:a16="http://schemas.microsoft.com/office/drawing/2014/main" id="{63CDD30D-6EC8-447F-8916-8C0A23BF19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994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4" name="Line 363">
                  <a:extLst>
                    <a:ext uri="{FF2B5EF4-FFF2-40B4-BE49-F238E27FC236}">
                      <a16:creationId xmlns:a16="http://schemas.microsoft.com/office/drawing/2014/main" id="{D5094D23-060F-44BF-AC05-E56929DD5CE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090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5" name="Line 364">
                  <a:extLst>
                    <a:ext uri="{FF2B5EF4-FFF2-40B4-BE49-F238E27FC236}">
                      <a16:creationId xmlns:a16="http://schemas.microsoft.com/office/drawing/2014/main" id="{60405725-9935-4BEB-8C79-27C03165F9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121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6" name="Line 365">
                  <a:extLst>
                    <a:ext uri="{FF2B5EF4-FFF2-40B4-BE49-F238E27FC236}">
                      <a16:creationId xmlns:a16="http://schemas.microsoft.com/office/drawing/2014/main" id="{2B5281D3-6DA1-4355-828B-1A0CADA3658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248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7" name="Line 366">
                  <a:extLst>
                    <a:ext uri="{FF2B5EF4-FFF2-40B4-BE49-F238E27FC236}">
                      <a16:creationId xmlns:a16="http://schemas.microsoft.com/office/drawing/2014/main" id="{68F59CEE-0C59-48D4-91EB-5BED0992D7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3123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8" name="Line 367">
                  <a:extLst>
                    <a:ext uri="{FF2B5EF4-FFF2-40B4-BE49-F238E27FC236}">
                      <a16:creationId xmlns:a16="http://schemas.microsoft.com/office/drawing/2014/main" id="{4BF27E24-6C86-49E8-9F0B-3805BB24E21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344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9" name="Line 368">
                  <a:extLst>
                    <a:ext uri="{FF2B5EF4-FFF2-40B4-BE49-F238E27FC236}">
                      <a16:creationId xmlns:a16="http://schemas.microsoft.com/office/drawing/2014/main" id="{90E01D96-F63B-4C0C-9543-030860519D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502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0" name="Line 369">
                  <a:extLst>
                    <a:ext uri="{FF2B5EF4-FFF2-40B4-BE49-F238E27FC236}">
                      <a16:creationId xmlns:a16="http://schemas.microsoft.com/office/drawing/2014/main" id="{AB5DFB74-64F2-4333-87B3-DC66876800C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661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1" name="Line 370">
                  <a:extLst>
                    <a:ext uri="{FF2B5EF4-FFF2-40B4-BE49-F238E27FC236}">
                      <a16:creationId xmlns:a16="http://schemas.microsoft.com/office/drawing/2014/main" id="{A96923D0-865B-4F33-B1FD-B766C834AEC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8203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2" name="Line 371">
                  <a:extLst>
                    <a:ext uri="{FF2B5EF4-FFF2-40B4-BE49-F238E27FC236}">
                      <a16:creationId xmlns:a16="http://schemas.microsoft.com/office/drawing/2014/main" id="{9C2EC93F-90AA-493B-81F3-AF80321D47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852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3" name="Line 372">
                  <a:extLst>
                    <a:ext uri="{FF2B5EF4-FFF2-40B4-BE49-F238E27FC236}">
                      <a16:creationId xmlns:a16="http://schemas.microsoft.com/office/drawing/2014/main" id="{6E510946-8B61-466D-ABB0-F0527574462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042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4" name="Line 373">
                  <a:extLst>
                    <a:ext uri="{FF2B5EF4-FFF2-40B4-BE49-F238E27FC236}">
                      <a16:creationId xmlns:a16="http://schemas.microsoft.com/office/drawing/2014/main" id="{6D959278-5802-42C3-AE05-DA8D731C68F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5823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5" name="Line 374">
                  <a:extLst>
                    <a:ext uri="{FF2B5EF4-FFF2-40B4-BE49-F238E27FC236}">
                      <a16:creationId xmlns:a16="http://schemas.microsoft.com/office/drawing/2014/main" id="{14D28C34-7685-4B6E-A58F-E84FEDA3B26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645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6" name="Line 375">
                  <a:extLst>
                    <a:ext uri="{FF2B5EF4-FFF2-40B4-BE49-F238E27FC236}">
                      <a16:creationId xmlns:a16="http://schemas.microsoft.com/office/drawing/2014/main" id="{F40D338E-FED5-4A3D-A15D-9D83AF4AEAE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677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7" name="Line 376">
                  <a:extLst>
                    <a:ext uri="{FF2B5EF4-FFF2-40B4-BE49-F238E27FC236}">
                      <a16:creationId xmlns:a16="http://schemas.microsoft.com/office/drawing/2014/main" id="{E3A408C7-1FD0-4648-8D02-A6337C8E6C2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804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8" name="Line 377">
                  <a:extLst>
                    <a:ext uri="{FF2B5EF4-FFF2-40B4-BE49-F238E27FC236}">
                      <a16:creationId xmlns:a16="http://schemas.microsoft.com/office/drawing/2014/main" id="{12E77464-2A7D-4527-8162-04DECC9ED9E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868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9" name="Line 378">
                  <a:extLst>
                    <a:ext uri="{FF2B5EF4-FFF2-40B4-BE49-F238E27FC236}">
                      <a16:creationId xmlns:a16="http://schemas.microsoft.com/office/drawing/2014/main" id="{10670814-A3F0-4215-ABBF-FFA53EADD8F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9633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0" name="Line 379">
                  <a:extLst>
                    <a:ext uri="{FF2B5EF4-FFF2-40B4-BE49-F238E27FC236}">
                      <a16:creationId xmlns:a16="http://schemas.microsoft.com/office/drawing/2014/main" id="{44D93EED-1DDD-43A6-8F71-477F033CFE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995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1" name="Line 380">
                  <a:extLst>
                    <a:ext uri="{FF2B5EF4-FFF2-40B4-BE49-F238E27FC236}">
                      <a16:creationId xmlns:a16="http://schemas.microsoft.com/office/drawing/2014/main" id="{9C755584-F573-4710-8E72-B05EA7F73A0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995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2" name="Line 381">
                  <a:extLst>
                    <a:ext uri="{FF2B5EF4-FFF2-40B4-BE49-F238E27FC236}">
                      <a16:creationId xmlns:a16="http://schemas.microsoft.com/office/drawing/2014/main" id="{BC875134-CA62-4526-B8A1-7B9E2142321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058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3" name="Line 382">
                  <a:extLst>
                    <a:ext uri="{FF2B5EF4-FFF2-40B4-BE49-F238E27FC236}">
                      <a16:creationId xmlns:a16="http://schemas.microsoft.com/office/drawing/2014/main" id="{24D9D33E-03B3-46BB-99F2-AD12A91B14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0903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4" name="Line 383">
                  <a:extLst>
                    <a:ext uri="{FF2B5EF4-FFF2-40B4-BE49-F238E27FC236}">
                      <a16:creationId xmlns:a16="http://schemas.microsoft.com/office/drawing/2014/main" id="{34DEB4CF-CD59-452C-95D0-B6C3AD2155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122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5" name="Line 384">
                  <a:extLst>
                    <a:ext uri="{FF2B5EF4-FFF2-40B4-BE49-F238E27FC236}">
                      <a16:creationId xmlns:a16="http://schemas.microsoft.com/office/drawing/2014/main" id="{500B6884-9E13-4BBA-BEB3-41A11FD55B1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185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6" name="Line 385">
                  <a:extLst>
                    <a:ext uri="{FF2B5EF4-FFF2-40B4-BE49-F238E27FC236}">
                      <a16:creationId xmlns:a16="http://schemas.microsoft.com/office/drawing/2014/main" id="{131B941B-DF46-4171-8C6B-294E1596B41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185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7" name="Line 386">
                  <a:extLst>
                    <a:ext uri="{FF2B5EF4-FFF2-40B4-BE49-F238E27FC236}">
                      <a16:creationId xmlns:a16="http://schemas.microsoft.com/office/drawing/2014/main" id="{6B9C09BE-7658-49F2-8DA2-318D0A6CBC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280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8" name="Line 387">
                  <a:extLst>
                    <a:ext uri="{FF2B5EF4-FFF2-40B4-BE49-F238E27FC236}">
                      <a16:creationId xmlns:a16="http://schemas.microsoft.com/office/drawing/2014/main" id="{D544ADC5-564E-4BF8-9BAA-95B45F8C954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280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89" name="Line 388">
                  <a:extLst>
                    <a:ext uri="{FF2B5EF4-FFF2-40B4-BE49-F238E27FC236}">
                      <a16:creationId xmlns:a16="http://schemas.microsoft.com/office/drawing/2014/main" id="{0F326F2D-D30F-46F8-8C02-F0D2B80EB4E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376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0" name="Line 389">
                  <a:extLst>
                    <a:ext uri="{FF2B5EF4-FFF2-40B4-BE49-F238E27FC236}">
                      <a16:creationId xmlns:a16="http://schemas.microsoft.com/office/drawing/2014/main" id="{20E3671F-D1B8-4D0B-92C3-B74236626C7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407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1" name="Line 390">
                  <a:extLst>
                    <a:ext uri="{FF2B5EF4-FFF2-40B4-BE49-F238E27FC236}">
                      <a16:creationId xmlns:a16="http://schemas.microsoft.com/office/drawing/2014/main" id="{41F2182E-BF5B-4A9B-B5E9-35DC4F7CE15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534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2" name="Line 391">
                  <a:extLst>
                    <a:ext uri="{FF2B5EF4-FFF2-40B4-BE49-F238E27FC236}">
                      <a16:creationId xmlns:a16="http://schemas.microsoft.com/office/drawing/2014/main" id="{43636269-C17E-4C3E-8CC7-12AB7FE07F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5983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3" name="Line 392">
                  <a:extLst>
                    <a:ext uri="{FF2B5EF4-FFF2-40B4-BE49-F238E27FC236}">
                      <a16:creationId xmlns:a16="http://schemas.microsoft.com/office/drawing/2014/main" id="{056BA4F6-F8E6-4401-A616-643CA34444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693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4" name="Line 393">
                  <a:extLst>
                    <a:ext uri="{FF2B5EF4-FFF2-40B4-BE49-F238E27FC236}">
                      <a16:creationId xmlns:a16="http://schemas.microsoft.com/office/drawing/2014/main" id="{B8CF61A9-7C55-47A9-A19A-822D7EC67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693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5" name="Line 394">
                  <a:extLst>
                    <a:ext uri="{FF2B5EF4-FFF2-40B4-BE49-F238E27FC236}">
                      <a16:creationId xmlns:a16="http://schemas.microsoft.com/office/drawing/2014/main" id="{EA25ABFF-4FD0-46F0-8070-96311F742E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7253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6" name="Line 395">
                  <a:extLst>
                    <a:ext uri="{FF2B5EF4-FFF2-40B4-BE49-F238E27FC236}">
                      <a16:creationId xmlns:a16="http://schemas.microsoft.com/office/drawing/2014/main" id="{65B51605-656E-46FF-B1B4-772A3B92181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8206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7" name="Line 396">
                  <a:extLst>
                    <a:ext uri="{FF2B5EF4-FFF2-40B4-BE49-F238E27FC236}">
                      <a16:creationId xmlns:a16="http://schemas.microsoft.com/office/drawing/2014/main" id="{03B81237-DE5C-4CE2-866C-354F1D17ADF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884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8" name="Line 397">
                  <a:extLst>
                    <a:ext uri="{FF2B5EF4-FFF2-40B4-BE49-F238E27FC236}">
                      <a16:creationId xmlns:a16="http://schemas.microsoft.com/office/drawing/2014/main" id="{C59E194C-F051-4E7B-A7EB-709FE33DDF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9158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99" name="Line 398">
                  <a:extLst>
                    <a:ext uri="{FF2B5EF4-FFF2-40B4-BE49-F238E27FC236}">
                      <a16:creationId xmlns:a16="http://schemas.microsoft.com/office/drawing/2014/main" id="{E8D6B60A-EBEF-4F07-8C19-00F01C4E6C9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13813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0" name="Line 399">
                  <a:extLst>
                    <a:ext uri="{FF2B5EF4-FFF2-40B4-BE49-F238E27FC236}">
                      <a16:creationId xmlns:a16="http://schemas.microsoft.com/office/drawing/2014/main" id="{429B1DD4-FEBD-4FFE-B418-8EE4116B369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910638" y="3033713"/>
                  <a:ext cx="5397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1" name="Line 400">
                  <a:extLst>
                    <a:ext uri="{FF2B5EF4-FFF2-40B4-BE49-F238E27FC236}">
                      <a16:creationId xmlns:a16="http://schemas.microsoft.com/office/drawing/2014/main" id="{B7A0E924-F8C9-41F2-AD90-0DB4003653D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36038" y="29956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2" name="Line 401">
                  <a:extLst>
                    <a:ext uri="{FF2B5EF4-FFF2-40B4-BE49-F238E27FC236}">
                      <a16:creationId xmlns:a16="http://schemas.microsoft.com/office/drawing/2014/main" id="{3F73496D-BB9F-435B-8F82-8D8503AD3EC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920163" y="30686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3" name="Line 402">
                  <a:extLst>
                    <a:ext uri="{FF2B5EF4-FFF2-40B4-BE49-F238E27FC236}">
                      <a16:creationId xmlns:a16="http://schemas.microsoft.com/office/drawing/2014/main" id="{D272EDB0-FD37-41F1-A62F-692CDBDAB7B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5508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4" name="Line 403">
                  <a:extLst>
                    <a:ext uri="{FF2B5EF4-FFF2-40B4-BE49-F238E27FC236}">
                      <a16:creationId xmlns:a16="http://schemas.microsoft.com/office/drawing/2014/main" id="{EC66AB5B-E078-46D2-A6B7-B0AEE0C68A1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1541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5" name="Line 404">
                  <a:extLst>
                    <a:ext uri="{FF2B5EF4-FFF2-40B4-BE49-F238E27FC236}">
                      <a16:creationId xmlns:a16="http://schemas.microsoft.com/office/drawing/2014/main" id="{B01E2DCA-38CB-4673-8FAF-4B929D34AE0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1858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6" name="Line 405">
                  <a:extLst>
                    <a:ext uri="{FF2B5EF4-FFF2-40B4-BE49-F238E27FC236}">
                      <a16:creationId xmlns:a16="http://schemas.microsoft.com/office/drawing/2014/main" id="{02522EB6-A970-46B9-94E7-B19A31F2070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8208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7" name="Line 407">
                  <a:extLst>
                    <a:ext uri="{FF2B5EF4-FFF2-40B4-BE49-F238E27FC236}">
                      <a16:creationId xmlns:a16="http://schemas.microsoft.com/office/drawing/2014/main" id="{734230E4-B1C0-4982-8C2D-79C81490912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9161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8" name="Line 408">
                  <a:extLst>
                    <a:ext uri="{FF2B5EF4-FFF2-40B4-BE49-F238E27FC236}">
                      <a16:creationId xmlns:a16="http://schemas.microsoft.com/office/drawing/2014/main" id="{00EAE2CB-7B02-4773-8F74-5814C91086E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9796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9" name="Line 409">
                  <a:extLst>
                    <a:ext uri="{FF2B5EF4-FFF2-40B4-BE49-F238E27FC236}">
                      <a16:creationId xmlns:a16="http://schemas.microsoft.com/office/drawing/2014/main" id="{DEAB77C3-D285-465E-A4AA-A1D71B8F802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2018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0" name="Line 410">
                  <a:extLst>
                    <a:ext uri="{FF2B5EF4-FFF2-40B4-BE49-F238E27FC236}">
                      <a16:creationId xmlns:a16="http://schemas.microsoft.com/office/drawing/2014/main" id="{1A80C4EA-F285-4ADB-BE82-E2EF550D06A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2336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1" name="Line 411">
                  <a:extLst>
                    <a:ext uri="{FF2B5EF4-FFF2-40B4-BE49-F238E27FC236}">
                      <a16:creationId xmlns:a16="http://schemas.microsoft.com/office/drawing/2014/main" id="{C01ACCFF-25CC-4D95-8850-8B83FA7BBB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4241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2" name="Line 412">
                  <a:extLst>
                    <a:ext uri="{FF2B5EF4-FFF2-40B4-BE49-F238E27FC236}">
                      <a16:creationId xmlns:a16="http://schemas.microsoft.com/office/drawing/2014/main" id="{07A2A27B-F2A9-4EBD-A92D-50B655B8091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4876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3" name="Line 413">
                  <a:extLst>
                    <a:ext uri="{FF2B5EF4-FFF2-40B4-BE49-F238E27FC236}">
                      <a16:creationId xmlns:a16="http://schemas.microsoft.com/office/drawing/2014/main" id="{B6495266-8AC3-43E7-B3A8-60E142A5A8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5511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4" name="Line 414">
                  <a:extLst>
                    <a:ext uri="{FF2B5EF4-FFF2-40B4-BE49-F238E27FC236}">
                      <a16:creationId xmlns:a16="http://schemas.microsoft.com/office/drawing/2014/main" id="{4DC7290E-EE3F-45BF-B26A-D3F3DD7D2F5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6463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5" name="Line 415">
                  <a:extLst>
                    <a:ext uri="{FF2B5EF4-FFF2-40B4-BE49-F238E27FC236}">
                      <a16:creationId xmlns:a16="http://schemas.microsoft.com/office/drawing/2014/main" id="{92758D0B-F43C-4E44-BD1B-562918A2C75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0273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6" name="Line 416">
                  <a:extLst>
                    <a:ext uri="{FF2B5EF4-FFF2-40B4-BE49-F238E27FC236}">
                      <a16:creationId xmlns:a16="http://schemas.microsoft.com/office/drawing/2014/main" id="{D005EC5E-7334-4BEC-9719-23AD3AD011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2178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7" name="Line 417">
                  <a:extLst>
                    <a:ext uri="{FF2B5EF4-FFF2-40B4-BE49-F238E27FC236}">
                      <a16:creationId xmlns:a16="http://schemas.microsoft.com/office/drawing/2014/main" id="{9C30F954-7FE5-472F-B5CE-FD038F3A22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2178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8" name="Line 418">
                  <a:extLst>
                    <a:ext uri="{FF2B5EF4-FFF2-40B4-BE49-F238E27FC236}">
                      <a16:creationId xmlns:a16="http://schemas.microsoft.com/office/drawing/2014/main" id="{0EF7CD07-BA92-4DC9-884E-FA25E022C66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2496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19" name="Line 419">
                  <a:extLst>
                    <a:ext uri="{FF2B5EF4-FFF2-40B4-BE49-F238E27FC236}">
                      <a16:creationId xmlns:a16="http://schemas.microsoft.com/office/drawing/2014/main" id="{2B4B23BB-D4F4-4711-A308-EB6F4135037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2813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0" name="Line 420">
                  <a:extLst>
                    <a:ext uri="{FF2B5EF4-FFF2-40B4-BE49-F238E27FC236}">
                      <a16:creationId xmlns:a16="http://schemas.microsoft.com/office/drawing/2014/main" id="{19B119F9-421E-48A3-B090-07C948F5D47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3766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1" name="Line 421">
                  <a:extLst>
                    <a:ext uri="{FF2B5EF4-FFF2-40B4-BE49-F238E27FC236}">
                      <a16:creationId xmlns:a16="http://schemas.microsoft.com/office/drawing/2014/main" id="{6F2D9F89-F457-4CBC-80F4-F49ED14732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4718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2" name="Line 422">
                  <a:extLst>
                    <a:ext uri="{FF2B5EF4-FFF2-40B4-BE49-F238E27FC236}">
                      <a16:creationId xmlns:a16="http://schemas.microsoft.com/office/drawing/2014/main" id="{AB1769CA-5394-4BBA-93F9-68F52028ED8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5353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3" name="Line 423">
                  <a:extLst>
                    <a:ext uri="{FF2B5EF4-FFF2-40B4-BE49-F238E27FC236}">
                      <a16:creationId xmlns:a16="http://schemas.microsoft.com/office/drawing/2014/main" id="{43ED0BB3-5046-4EFC-A368-D8F136C6487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5353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4" name="Line 424">
                  <a:extLst>
                    <a:ext uri="{FF2B5EF4-FFF2-40B4-BE49-F238E27FC236}">
                      <a16:creationId xmlns:a16="http://schemas.microsoft.com/office/drawing/2014/main" id="{2E210790-495F-48AF-947E-9C9CECD303F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5671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5" name="Line 425">
                  <a:extLst>
                    <a:ext uri="{FF2B5EF4-FFF2-40B4-BE49-F238E27FC236}">
                      <a16:creationId xmlns:a16="http://schemas.microsoft.com/office/drawing/2014/main" id="{EFD18201-CF70-4F62-8A4F-3154486CF4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6306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6" name="Line 426">
                  <a:extLst>
                    <a:ext uri="{FF2B5EF4-FFF2-40B4-BE49-F238E27FC236}">
                      <a16:creationId xmlns:a16="http://schemas.microsoft.com/office/drawing/2014/main" id="{B62886E8-94DA-4DC9-AAE3-42BA1A161E9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6623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7" name="Line 427">
                  <a:extLst>
                    <a:ext uri="{FF2B5EF4-FFF2-40B4-BE49-F238E27FC236}">
                      <a16:creationId xmlns:a16="http://schemas.microsoft.com/office/drawing/2014/main" id="{7463F96E-9F58-42E2-98D5-98373C8314B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94813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8" name="Line 428">
                  <a:extLst>
                    <a:ext uri="{FF2B5EF4-FFF2-40B4-BE49-F238E27FC236}">
                      <a16:creationId xmlns:a16="http://schemas.microsoft.com/office/drawing/2014/main" id="{4D025CDF-B715-4A25-A33D-602848F691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31703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29" name="Line 429">
                  <a:extLst>
                    <a:ext uri="{FF2B5EF4-FFF2-40B4-BE49-F238E27FC236}">
                      <a16:creationId xmlns:a16="http://schemas.microsoft.com/office/drawing/2014/main" id="{1C99B7F6-94C4-4403-84A4-ECB075D799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33608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0" name="Line 430">
                  <a:extLst>
                    <a:ext uri="{FF2B5EF4-FFF2-40B4-BE49-F238E27FC236}">
                      <a16:creationId xmlns:a16="http://schemas.microsoft.com/office/drawing/2014/main" id="{CD80597B-8A1F-4006-A336-1F5C4FC6EE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34243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1" name="Line 431">
                  <a:extLst>
                    <a:ext uri="{FF2B5EF4-FFF2-40B4-BE49-F238E27FC236}">
                      <a16:creationId xmlns:a16="http://schemas.microsoft.com/office/drawing/2014/main" id="{D768A94F-ED85-4764-9BE6-53286C5EBE1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361488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2" name="Line 432">
                  <a:extLst>
                    <a:ext uri="{FF2B5EF4-FFF2-40B4-BE49-F238E27FC236}">
                      <a16:creationId xmlns:a16="http://schemas.microsoft.com/office/drawing/2014/main" id="{45A222C8-B17F-4285-B72B-18470D5B388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410700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3" name="Line 433">
                  <a:extLst>
                    <a:ext uri="{FF2B5EF4-FFF2-40B4-BE49-F238E27FC236}">
                      <a16:creationId xmlns:a16="http://schemas.microsoft.com/office/drawing/2014/main" id="{79CEFF75-997B-4F65-888E-BFB81A1441D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432925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4" name="Line 434">
                  <a:extLst>
                    <a:ext uri="{FF2B5EF4-FFF2-40B4-BE49-F238E27FC236}">
                      <a16:creationId xmlns:a16="http://schemas.microsoft.com/office/drawing/2014/main" id="{AC6F021B-E0B3-4462-B8E7-82DDF1C7610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451975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5" name="Line 435">
                  <a:extLst>
                    <a:ext uri="{FF2B5EF4-FFF2-40B4-BE49-F238E27FC236}">
                      <a16:creationId xmlns:a16="http://schemas.microsoft.com/office/drawing/2014/main" id="{5F51599D-6B2A-473A-806C-64AA6A5AD7B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588500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6" name="Line 436">
                  <a:extLst>
                    <a:ext uri="{FF2B5EF4-FFF2-40B4-BE49-F238E27FC236}">
                      <a16:creationId xmlns:a16="http://schemas.microsoft.com/office/drawing/2014/main" id="{26891BB4-0EF2-498E-9CCF-B2AB9C3A30E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642475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7" name="Line 437">
                  <a:extLst>
                    <a:ext uri="{FF2B5EF4-FFF2-40B4-BE49-F238E27FC236}">
                      <a16:creationId xmlns:a16="http://schemas.microsoft.com/office/drawing/2014/main" id="{5504E5CB-31C2-4E76-B318-B0BDC6D1073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696450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8" name="Line 438">
                  <a:extLst>
                    <a:ext uri="{FF2B5EF4-FFF2-40B4-BE49-F238E27FC236}">
                      <a16:creationId xmlns:a16="http://schemas.microsoft.com/office/drawing/2014/main" id="{9BEA7A5B-4240-49B8-861D-853B1CFD4FC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25025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39" name="Line 439">
                  <a:extLst>
                    <a:ext uri="{FF2B5EF4-FFF2-40B4-BE49-F238E27FC236}">
                      <a16:creationId xmlns:a16="http://schemas.microsoft.com/office/drawing/2014/main" id="{06E2F3AF-0A94-49D7-B3C0-2A5CC820D8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56775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40" name="Line 440">
                  <a:extLst>
                    <a:ext uri="{FF2B5EF4-FFF2-40B4-BE49-F238E27FC236}">
                      <a16:creationId xmlns:a16="http://schemas.microsoft.com/office/drawing/2014/main" id="{B34ABB2E-0C85-40F7-8A29-39677B836C8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9000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41" name="Line 441">
                  <a:extLst>
                    <a:ext uri="{FF2B5EF4-FFF2-40B4-BE49-F238E27FC236}">
                      <a16:creationId xmlns:a16="http://schemas.microsoft.com/office/drawing/2014/main" id="{5D769A15-F496-45EE-9ADB-B4CB83AF3C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9858375" y="30686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42" name="Line 442">
                  <a:extLst>
                    <a:ext uri="{FF2B5EF4-FFF2-40B4-BE49-F238E27FC236}">
                      <a16:creationId xmlns:a16="http://schemas.microsoft.com/office/drawing/2014/main" id="{7D4799BD-519B-46E8-9734-BF91D500C53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893300" y="303371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3B61A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216" name="Freeform 443">
                <a:extLst>
                  <a:ext uri="{FF2B5EF4-FFF2-40B4-BE49-F238E27FC236}">
                    <a16:creationId xmlns:a16="http://schemas.microsoft.com/office/drawing/2014/main" id="{DBD7590E-1B07-4D69-A146-2B059E7EE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7713" y="1531938"/>
                <a:ext cx="6605588" cy="1536700"/>
              </a:xfrm>
              <a:custGeom>
                <a:avLst/>
                <a:gdLst>
                  <a:gd name="T0" fmla="*/ 64 w 4161"/>
                  <a:gd name="T1" fmla="*/ 8 h 968"/>
                  <a:gd name="T2" fmla="*/ 100 w 4161"/>
                  <a:gd name="T3" fmla="*/ 14 h 968"/>
                  <a:gd name="T4" fmla="*/ 204 w 4161"/>
                  <a:gd name="T5" fmla="*/ 28 h 968"/>
                  <a:gd name="T6" fmla="*/ 284 w 4161"/>
                  <a:gd name="T7" fmla="*/ 58 h 968"/>
                  <a:gd name="T8" fmla="*/ 296 w 4161"/>
                  <a:gd name="T9" fmla="*/ 80 h 968"/>
                  <a:gd name="T10" fmla="*/ 392 w 4161"/>
                  <a:gd name="T11" fmla="*/ 96 h 968"/>
                  <a:gd name="T12" fmla="*/ 470 w 4161"/>
                  <a:gd name="T13" fmla="*/ 133 h 968"/>
                  <a:gd name="T14" fmla="*/ 570 w 4161"/>
                  <a:gd name="T15" fmla="*/ 169 h 968"/>
                  <a:gd name="T16" fmla="*/ 589 w 4161"/>
                  <a:gd name="T17" fmla="*/ 211 h 968"/>
                  <a:gd name="T18" fmla="*/ 649 w 4161"/>
                  <a:gd name="T19" fmla="*/ 235 h 968"/>
                  <a:gd name="T20" fmla="*/ 711 w 4161"/>
                  <a:gd name="T21" fmla="*/ 265 h 968"/>
                  <a:gd name="T22" fmla="*/ 735 w 4161"/>
                  <a:gd name="T23" fmla="*/ 311 h 968"/>
                  <a:gd name="T24" fmla="*/ 775 w 4161"/>
                  <a:gd name="T25" fmla="*/ 343 h 968"/>
                  <a:gd name="T26" fmla="*/ 859 w 4161"/>
                  <a:gd name="T27" fmla="*/ 375 h 968"/>
                  <a:gd name="T28" fmla="*/ 873 w 4161"/>
                  <a:gd name="T29" fmla="*/ 435 h 968"/>
                  <a:gd name="T30" fmla="*/ 901 w 4161"/>
                  <a:gd name="T31" fmla="*/ 465 h 968"/>
                  <a:gd name="T32" fmla="*/ 1003 w 4161"/>
                  <a:gd name="T33" fmla="*/ 499 h 968"/>
                  <a:gd name="T34" fmla="*/ 1019 w 4161"/>
                  <a:gd name="T35" fmla="*/ 537 h 968"/>
                  <a:gd name="T36" fmla="*/ 1043 w 4161"/>
                  <a:gd name="T37" fmla="*/ 564 h 968"/>
                  <a:gd name="T38" fmla="*/ 1149 w 4161"/>
                  <a:gd name="T39" fmla="*/ 584 h 968"/>
                  <a:gd name="T40" fmla="*/ 1195 w 4161"/>
                  <a:gd name="T41" fmla="*/ 618 h 968"/>
                  <a:gd name="T42" fmla="*/ 1267 w 4161"/>
                  <a:gd name="T43" fmla="*/ 652 h 968"/>
                  <a:gd name="T44" fmla="*/ 1406 w 4161"/>
                  <a:gd name="T45" fmla="*/ 682 h 968"/>
                  <a:gd name="T46" fmla="*/ 1496 w 4161"/>
                  <a:gd name="T47" fmla="*/ 710 h 968"/>
                  <a:gd name="T48" fmla="*/ 1538 w 4161"/>
                  <a:gd name="T49" fmla="*/ 736 h 968"/>
                  <a:gd name="T50" fmla="*/ 1678 w 4161"/>
                  <a:gd name="T51" fmla="*/ 762 h 968"/>
                  <a:gd name="T52" fmla="*/ 1850 w 4161"/>
                  <a:gd name="T53" fmla="*/ 790 h 968"/>
                  <a:gd name="T54" fmla="*/ 2048 w 4161"/>
                  <a:gd name="T55" fmla="*/ 810 h 968"/>
                  <a:gd name="T56" fmla="*/ 2176 w 4161"/>
                  <a:gd name="T57" fmla="*/ 830 h 968"/>
                  <a:gd name="T58" fmla="*/ 2331 w 4161"/>
                  <a:gd name="T59" fmla="*/ 850 h 968"/>
                  <a:gd name="T60" fmla="*/ 2481 w 4161"/>
                  <a:gd name="T61" fmla="*/ 874 h 968"/>
                  <a:gd name="T62" fmla="*/ 2721 w 4161"/>
                  <a:gd name="T63" fmla="*/ 888 h 968"/>
                  <a:gd name="T64" fmla="*/ 2875 w 4161"/>
                  <a:gd name="T65" fmla="*/ 894 h 968"/>
                  <a:gd name="T66" fmla="*/ 2899 w 4161"/>
                  <a:gd name="T67" fmla="*/ 894 h 968"/>
                  <a:gd name="T68" fmla="*/ 2913 w 4161"/>
                  <a:gd name="T69" fmla="*/ 900 h 968"/>
                  <a:gd name="T70" fmla="*/ 2957 w 4161"/>
                  <a:gd name="T71" fmla="*/ 906 h 968"/>
                  <a:gd name="T72" fmla="*/ 2981 w 4161"/>
                  <a:gd name="T73" fmla="*/ 906 h 968"/>
                  <a:gd name="T74" fmla="*/ 3013 w 4161"/>
                  <a:gd name="T75" fmla="*/ 912 h 968"/>
                  <a:gd name="T76" fmla="*/ 3064 w 4161"/>
                  <a:gd name="T77" fmla="*/ 912 h 968"/>
                  <a:gd name="T78" fmla="*/ 3090 w 4161"/>
                  <a:gd name="T79" fmla="*/ 912 h 968"/>
                  <a:gd name="T80" fmla="*/ 3110 w 4161"/>
                  <a:gd name="T81" fmla="*/ 926 h 968"/>
                  <a:gd name="T82" fmla="*/ 3162 w 4161"/>
                  <a:gd name="T83" fmla="*/ 926 h 968"/>
                  <a:gd name="T84" fmla="*/ 3184 w 4161"/>
                  <a:gd name="T85" fmla="*/ 926 h 968"/>
                  <a:gd name="T86" fmla="*/ 3208 w 4161"/>
                  <a:gd name="T87" fmla="*/ 926 h 968"/>
                  <a:gd name="T88" fmla="*/ 3256 w 4161"/>
                  <a:gd name="T89" fmla="*/ 926 h 968"/>
                  <a:gd name="T90" fmla="*/ 3290 w 4161"/>
                  <a:gd name="T91" fmla="*/ 926 h 968"/>
                  <a:gd name="T92" fmla="*/ 3340 w 4161"/>
                  <a:gd name="T93" fmla="*/ 946 h 968"/>
                  <a:gd name="T94" fmla="*/ 3368 w 4161"/>
                  <a:gd name="T95" fmla="*/ 946 h 968"/>
                  <a:gd name="T96" fmla="*/ 3446 w 4161"/>
                  <a:gd name="T97" fmla="*/ 946 h 968"/>
                  <a:gd name="T98" fmla="*/ 3472 w 4161"/>
                  <a:gd name="T99" fmla="*/ 946 h 968"/>
                  <a:gd name="T100" fmla="*/ 3484 w 4161"/>
                  <a:gd name="T101" fmla="*/ 946 h 968"/>
                  <a:gd name="T102" fmla="*/ 3510 w 4161"/>
                  <a:gd name="T103" fmla="*/ 946 h 968"/>
                  <a:gd name="T104" fmla="*/ 3530 w 4161"/>
                  <a:gd name="T105" fmla="*/ 946 h 968"/>
                  <a:gd name="T106" fmla="*/ 3610 w 4161"/>
                  <a:gd name="T107" fmla="*/ 968 h 968"/>
                  <a:gd name="T108" fmla="*/ 3688 w 4161"/>
                  <a:gd name="T109" fmla="*/ 968 h 968"/>
                  <a:gd name="T110" fmla="*/ 3738 w 4161"/>
                  <a:gd name="T111" fmla="*/ 968 h 968"/>
                  <a:gd name="T112" fmla="*/ 3758 w 4161"/>
                  <a:gd name="T113" fmla="*/ 968 h 968"/>
                  <a:gd name="T114" fmla="*/ 3810 w 4161"/>
                  <a:gd name="T115" fmla="*/ 968 h 968"/>
                  <a:gd name="T116" fmla="*/ 3969 w 4161"/>
                  <a:gd name="T117" fmla="*/ 968 h 968"/>
                  <a:gd name="T118" fmla="*/ 4161 w 4161"/>
                  <a:gd name="T119" fmla="*/ 968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161" h="968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4" y="0"/>
                    </a:lnTo>
                    <a:lnTo>
                      <a:pt x="14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14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44" y="14"/>
                    </a:lnTo>
                    <a:lnTo>
                      <a:pt x="144" y="24"/>
                    </a:lnTo>
                    <a:lnTo>
                      <a:pt x="170" y="24"/>
                    </a:lnTo>
                    <a:lnTo>
                      <a:pt x="170" y="24"/>
                    </a:lnTo>
                    <a:lnTo>
                      <a:pt x="178" y="24"/>
                    </a:lnTo>
                    <a:lnTo>
                      <a:pt x="178" y="24"/>
                    </a:lnTo>
                    <a:lnTo>
                      <a:pt x="198" y="24"/>
                    </a:lnTo>
                    <a:lnTo>
                      <a:pt x="198" y="28"/>
                    </a:lnTo>
                    <a:lnTo>
                      <a:pt x="202" y="28"/>
                    </a:lnTo>
                    <a:lnTo>
                      <a:pt x="202" y="28"/>
                    </a:lnTo>
                    <a:lnTo>
                      <a:pt x="204" y="28"/>
                    </a:lnTo>
                    <a:lnTo>
                      <a:pt x="204" y="34"/>
                    </a:lnTo>
                    <a:lnTo>
                      <a:pt x="208" y="34"/>
                    </a:lnTo>
                    <a:lnTo>
                      <a:pt x="208" y="38"/>
                    </a:lnTo>
                    <a:lnTo>
                      <a:pt x="216" y="38"/>
                    </a:lnTo>
                    <a:lnTo>
                      <a:pt x="216" y="44"/>
                    </a:lnTo>
                    <a:lnTo>
                      <a:pt x="242" y="44"/>
                    </a:lnTo>
                    <a:lnTo>
                      <a:pt x="242" y="46"/>
                    </a:lnTo>
                    <a:lnTo>
                      <a:pt x="250" y="46"/>
                    </a:lnTo>
                    <a:lnTo>
                      <a:pt x="250" y="46"/>
                    </a:lnTo>
                    <a:lnTo>
                      <a:pt x="280" y="46"/>
                    </a:lnTo>
                    <a:lnTo>
                      <a:pt x="280" y="58"/>
                    </a:lnTo>
                    <a:lnTo>
                      <a:pt x="284" y="58"/>
                    </a:lnTo>
                    <a:lnTo>
                      <a:pt x="284" y="60"/>
                    </a:lnTo>
                    <a:lnTo>
                      <a:pt x="288" y="60"/>
                    </a:lnTo>
                    <a:lnTo>
                      <a:pt x="288" y="66"/>
                    </a:lnTo>
                    <a:lnTo>
                      <a:pt x="290" y="66"/>
                    </a:lnTo>
                    <a:lnTo>
                      <a:pt x="290" y="66"/>
                    </a:lnTo>
                    <a:lnTo>
                      <a:pt x="290" y="66"/>
                    </a:lnTo>
                    <a:lnTo>
                      <a:pt x="290" y="72"/>
                    </a:lnTo>
                    <a:lnTo>
                      <a:pt x="294" y="72"/>
                    </a:lnTo>
                    <a:lnTo>
                      <a:pt x="294" y="76"/>
                    </a:lnTo>
                    <a:lnTo>
                      <a:pt x="294" y="76"/>
                    </a:lnTo>
                    <a:lnTo>
                      <a:pt x="294" y="80"/>
                    </a:lnTo>
                    <a:lnTo>
                      <a:pt x="296" y="80"/>
                    </a:lnTo>
                    <a:lnTo>
                      <a:pt x="296" y="86"/>
                    </a:lnTo>
                    <a:lnTo>
                      <a:pt x="336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0"/>
                    </a:lnTo>
                    <a:lnTo>
                      <a:pt x="362" y="90"/>
                    </a:lnTo>
                    <a:lnTo>
                      <a:pt x="362" y="90"/>
                    </a:lnTo>
                    <a:lnTo>
                      <a:pt x="380" y="90"/>
                    </a:lnTo>
                    <a:lnTo>
                      <a:pt x="380" y="90"/>
                    </a:lnTo>
                    <a:lnTo>
                      <a:pt x="388" y="90"/>
                    </a:lnTo>
                    <a:lnTo>
                      <a:pt x="388" y="96"/>
                    </a:lnTo>
                    <a:lnTo>
                      <a:pt x="392" y="96"/>
                    </a:lnTo>
                    <a:lnTo>
                      <a:pt x="392" y="100"/>
                    </a:lnTo>
                    <a:lnTo>
                      <a:pt x="400" y="100"/>
                    </a:lnTo>
                    <a:lnTo>
                      <a:pt x="400" y="104"/>
                    </a:lnTo>
                    <a:lnTo>
                      <a:pt x="402" y="104"/>
                    </a:lnTo>
                    <a:lnTo>
                      <a:pt x="402" y="110"/>
                    </a:lnTo>
                    <a:lnTo>
                      <a:pt x="414" y="110"/>
                    </a:lnTo>
                    <a:lnTo>
                      <a:pt x="414" y="116"/>
                    </a:lnTo>
                    <a:lnTo>
                      <a:pt x="420" y="116"/>
                    </a:lnTo>
                    <a:lnTo>
                      <a:pt x="420" y="131"/>
                    </a:lnTo>
                    <a:lnTo>
                      <a:pt x="432" y="131"/>
                    </a:lnTo>
                    <a:lnTo>
                      <a:pt x="432" y="133"/>
                    </a:lnTo>
                    <a:lnTo>
                      <a:pt x="470" y="133"/>
                    </a:lnTo>
                    <a:lnTo>
                      <a:pt x="470" y="139"/>
                    </a:lnTo>
                    <a:lnTo>
                      <a:pt x="472" y="139"/>
                    </a:lnTo>
                    <a:lnTo>
                      <a:pt x="472" y="145"/>
                    </a:lnTo>
                    <a:lnTo>
                      <a:pt x="492" y="145"/>
                    </a:lnTo>
                    <a:lnTo>
                      <a:pt x="492" y="147"/>
                    </a:lnTo>
                    <a:lnTo>
                      <a:pt x="498" y="147"/>
                    </a:lnTo>
                    <a:lnTo>
                      <a:pt x="498" y="159"/>
                    </a:lnTo>
                    <a:lnTo>
                      <a:pt x="540" y="159"/>
                    </a:lnTo>
                    <a:lnTo>
                      <a:pt x="540" y="163"/>
                    </a:lnTo>
                    <a:lnTo>
                      <a:pt x="550" y="163"/>
                    </a:lnTo>
                    <a:lnTo>
                      <a:pt x="550" y="169"/>
                    </a:lnTo>
                    <a:lnTo>
                      <a:pt x="570" y="169"/>
                    </a:lnTo>
                    <a:lnTo>
                      <a:pt x="570" y="173"/>
                    </a:lnTo>
                    <a:lnTo>
                      <a:pt x="576" y="173"/>
                    </a:lnTo>
                    <a:lnTo>
                      <a:pt x="576" y="183"/>
                    </a:lnTo>
                    <a:lnTo>
                      <a:pt x="578" y="183"/>
                    </a:lnTo>
                    <a:lnTo>
                      <a:pt x="578" y="189"/>
                    </a:lnTo>
                    <a:lnTo>
                      <a:pt x="578" y="189"/>
                    </a:lnTo>
                    <a:lnTo>
                      <a:pt x="578" y="197"/>
                    </a:lnTo>
                    <a:lnTo>
                      <a:pt x="583" y="197"/>
                    </a:lnTo>
                    <a:lnTo>
                      <a:pt x="583" y="203"/>
                    </a:lnTo>
                    <a:lnTo>
                      <a:pt x="585" y="203"/>
                    </a:lnTo>
                    <a:lnTo>
                      <a:pt x="585" y="211"/>
                    </a:lnTo>
                    <a:lnTo>
                      <a:pt x="589" y="211"/>
                    </a:lnTo>
                    <a:lnTo>
                      <a:pt x="589" y="217"/>
                    </a:lnTo>
                    <a:lnTo>
                      <a:pt x="593" y="217"/>
                    </a:lnTo>
                    <a:lnTo>
                      <a:pt x="593" y="219"/>
                    </a:lnTo>
                    <a:lnTo>
                      <a:pt x="597" y="219"/>
                    </a:lnTo>
                    <a:lnTo>
                      <a:pt x="597" y="225"/>
                    </a:lnTo>
                    <a:lnTo>
                      <a:pt x="617" y="225"/>
                    </a:lnTo>
                    <a:lnTo>
                      <a:pt x="617" y="225"/>
                    </a:lnTo>
                    <a:lnTo>
                      <a:pt x="619" y="225"/>
                    </a:lnTo>
                    <a:lnTo>
                      <a:pt x="619" y="231"/>
                    </a:lnTo>
                    <a:lnTo>
                      <a:pt x="631" y="231"/>
                    </a:lnTo>
                    <a:lnTo>
                      <a:pt x="631" y="235"/>
                    </a:lnTo>
                    <a:lnTo>
                      <a:pt x="649" y="235"/>
                    </a:lnTo>
                    <a:lnTo>
                      <a:pt x="649" y="239"/>
                    </a:lnTo>
                    <a:lnTo>
                      <a:pt x="663" y="239"/>
                    </a:lnTo>
                    <a:lnTo>
                      <a:pt x="663" y="245"/>
                    </a:lnTo>
                    <a:lnTo>
                      <a:pt x="681" y="245"/>
                    </a:lnTo>
                    <a:lnTo>
                      <a:pt x="681" y="251"/>
                    </a:lnTo>
                    <a:lnTo>
                      <a:pt x="691" y="251"/>
                    </a:lnTo>
                    <a:lnTo>
                      <a:pt x="691" y="255"/>
                    </a:lnTo>
                    <a:lnTo>
                      <a:pt x="701" y="255"/>
                    </a:lnTo>
                    <a:lnTo>
                      <a:pt x="701" y="261"/>
                    </a:lnTo>
                    <a:lnTo>
                      <a:pt x="703" y="261"/>
                    </a:lnTo>
                    <a:lnTo>
                      <a:pt x="703" y="265"/>
                    </a:lnTo>
                    <a:lnTo>
                      <a:pt x="711" y="265"/>
                    </a:lnTo>
                    <a:lnTo>
                      <a:pt x="711" y="269"/>
                    </a:lnTo>
                    <a:lnTo>
                      <a:pt x="721" y="269"/>
                    </a:lnTo>
                    <a:lnTo>
                      <a:pt x="721" y="275"/>
                    </a:lnTo>
                    <a:lnTo>
                      <a:pt x="721" y="275"/>
                    </a:lnTo>
                    <a:lnTo>
                      <a:pt x="721" y="281"/>
                    </a:lnTo>
                    <a:lnTo>
                      <a:pt x="723" y="281"/>
                    </a:lnTo>
                    <a:lnTo>
                      <a:pt x="723" y="289"/>
                    </a:lnTo>
                    <a:lnTo>
                      <a:pt x="727" y="289"/>
                    </a:lnTo>
                    <a:lnTo>
                      <a:pt x="727" y="303"/>
                    </a:lnTo>
                    <a:lnTo>
                      <a:pt x="727" y="303"/>
                    </a:lnTo>
                    <a:lnTo>
                      <a:pt x="727" y="311"/>
                    </a:lnTo>
                    <a:lnTo>
                      <a:pt x="735" y="311"/>
                    </a:lnTo>
                    <a:lnTo>
                      <a:pt x="735" y="317"/>
                    </a:lnTo>
                    <a:lnTo>
                      <a:pt x="737" y="317"/>
                    </a:lnTo>
                    <a:lnTo>
                      <a:pt x="737" y="323"/>
                    </a:lnTo>
                    <a:lnTo>
                      <a:pt x="747" y="323"/>
                    </a:lnTo>
                    <a:lnTo>
                      <a:pt x="747" y="329"/>
                    </a:lnTo>
                    <a:lnTo>
                      <a:pt x="747" y="329"/>
                    </a:lnTo>
                    <a:lnTo>
                      <a:pt x="747" y="333"/>
                    </a:lnTo>
                    <a:lnTo>
                      <a:pt x="749" y="333"/>
                    </a:lnTo>
                    <a:lnTo>
                      <a:pt x="749" y="337"/>
                    </a:lnTo>
                    <a:lnTo>
                      <a:pt x="769" y="337"/>
                    </a:lnTo>
                    <a:lnTo>
                      <a:pt x="769" y="343"/>
                    </a:lnTo>
                    <a:lnTo>
                      <a:pt x="775" y="343"/>
                    </a:lnTo>
                    <a:lnTo>
                      <a:pt x="775" y="347"/>
                    </a:lnTo>
                    <a:lnTo>
                      <a:pt x="801" y="347"/>
                    </a:lnTo>
                    <a:lnTo>
                      <a:pt x="801" y="353"/>
                    </a:lnTo>
                    <a:lnTo>
                      <a:pt x="819" y="353"/>
                    </a:lnTo>
                    <a:lnTo>
                      <a:pt x="819" y="357"/>
                    </a:lnTo>
                    <a:lnTo>
                      <a:pt x="821" y="357"/>
                    </a:lnTo>
                    <a:lnTo>
                      <a:pt x="821" y="361"/>
                    </a:lnTo>
                    <a:lnTo>
                      <a:pt x="835" y="361"/>
                    </a:lnTo>
                    <a:lnTo>
                      <a:pt x="835" y="373"/>
                    </a:lnTo>
                    <a:lnTo>
                      <a:pt x="853" y="373"/>
                    </a:lnTo>
                    <a:lnTo>
                      <a:pt x="853" y="375"/>
                    </a:lnTo>
                    <a:lnTo>
                      <a:pt x="859" y="375"/>
                    </a:lnTo>
                    <a:lnTo>
                      <a:pt x="859" y="387"/>
                    </a:lnTo>
                    <a:lnTo>
                      <a:pt x="861" y="387"/>
                    </a:lnTo>
                    <a:lnTo>
                      <a:pt x="861" y="393"/>
                    </a:lnTo>
                    <a:lnTo>
                      <a:pt x="861" y="393"/>
                    </a:lnTo>
                    <a:lnTo>
                      <a:pt x="861" y="401"/>
                    </a:lnTo>
                    <a:lnTo>
                      <a:pt x="865" y="401"/>
                    </a:lnTo>
                    <a:lnTo>
                      <a:pt x="865" y="407"/>
                    </a:lnTo>
                    <a:lnTo>
                      <a:pt x="871" y="407"/>
                    </a:lnTo>
                    <a:lnTo>
                      <a:pt x="871" y="425"/>
                    </a:lnTo>
                    <a:lnTo>
                      <a:pt x="871" y="425"/>
                    </a:lnTo>
                    <a:lnTo>
                      <a:pt x="871" y="435"/>
                    </a:lnTo>
                    <a:lnTo>
                      <a:pt x="873" y="435"/>
                    </a:lnTo>
                    <a:lnTo>
                      <a:pt x="873" y="439"/>
                    </a:lnTo>
                    <a:lnTo>
                      <a:pt x="879" y="439"/>
                    </a:lnTo>
                    <a:lnTo>
                      <a:pt x="879" y="445"/>
                    </a:lnTo>
                    <a:lnTo>
                      <a:pt x="885" y="445"/>
                    </a:lnTo>
                    <a:lnTo>
                      <a:pt x="885" y="453"/>
                    </a:lnTo>
                    <a:lnTo>
                      <a:pt x="887" y="453"/>
                    </a:lnTo>
                    <a:lnTo>
                      <a:pt x="887" y="459"/>
                    </a:lnTo>
                    <a:lnTo>
                      <a:pt x="891" y="459"/>
                    </a:lnTo>
                    <a:lnTo>
                      <a:pt x="891" y="465"/>
                    </a:lnTo>
                    <a:lnTo>
                      <a:pt x="897" y="465"/>
                    </a:lnTo>
                    <a:lnTo>
                      <a:pt x="897" y="465"/>
                    </a:lnTo>
                    <a:lnTo>
                      <a:pt x="901" y="465"/>
                    </a:lnTo>
                    <a:lnTo>
                      <a:pt x="901" y="471"/>
                    </a:lnTo>
                    <a:lnTo>
                      <a:pt x="919" y="471"/>
                    </a:lnTo>
                    <a:lnTo>
                      <a:pt x="919" y="479"/>
                    </a:lnTo>
                    <a:lnTo>
                      <a:pt x="931" y="479"/>
                    </a:lnTo>
                    <a:lnTo>
                      <a:pt x="931" y="485"/>
                    </a:lnTo>
                    <a:lnTo>
                      <a:pt x="937" y="485"/>
                    </a:lnTo>
                    <a:lnTo>
                      <a:pt x="937" y="487"/>
                    </a:lnTo>
                    <a:lnTo>
                      <a:pt x="939" y="487"/>
                    </a:lnTo>
                    <a:lnTo>
                      <a:pt x="939" y="493"/>
                    </a:lnTo>
                    <a:lnTo>
                      <a:pt x="977" y="493"/>
                    </a:lnTo>
                    <a:lnTo>
                      <a:pt x="977" y="499"/>
                    </a:lnTo>
                    <a:lnTo>
                      <a:pt x="1003" y="499"/>
                    </a:lnTo>
                    <a:lnTo>
                      <a:pt x="1003" y="507"/>
                    </a:lnTo>
                    <a:lnTo>
                      <a:pt x="1005" y="507"/>
                    </a:lnTo>
                    <a:lnTo>
                      <a:pt x="1005" y="513"/>
                    </a:lnTo>
                    <a:lnTo>
                      <a:pt x="1009" y="513"/>
                    </a:lnTo>
                    <a:lnTo>
                      <a:pt x="1009" y="517"/>
                    </a:lnTo>
                    <a:lnTo>
                      <a:pt x="1009" y="517"/>
                    </a:lnTo>
                    <a:lnTo>
                      <a:pt x="1009" y="521"/>
                    </a:lnTo>
                    <a:lnTo>
                      <a:pt x="1011" y="521"/>
                    </a:lnTo>
                    <a:lnTo>
                      <a:pt x="1011" y="533"/>
                    </a:lnTo>
                    <a:lnTo>
                      <a:pt x="1015" y="533"/>
                    </a:lnTo>
                    <a:lnTo>
                      <a:pt x="1015" y="537"/>
                    </a:lnTo>
                    <a:lnTo>
                      <a:pt x="1019" y="537"/>
                    </a:lnTo>
                    <a:lnTo>
                      <a:pt x="1019" y="543"/>
                    </a:lnTo>
                    <a:lnTo>
                      <a:pt x="1019" y="543"/>
                    </a:lnTo>
                    <a:lnTo>
                      <a:pt x="1019" y="547"/>
                    </a:lnTo>
                    <a:lnTo>
                      <a:pt x="1023" y="547"/>
                    </a:lnTo>
                    <a:lnTo>
                      <a:pt x="1023" y="551"/>
                    </a:lnTo>
                    <a:lnTo>
                      <a:pt x="1025" y="551"/>
                    </a:lnTo>
                    <a:lnTo>
                      <a:pt x="1025" y="558"/>
                    </a:lnTo>
                    <a:lnTo>
                      <a:pt x="1035" y="558"/>
                    </a:lnTo>
                    <a:lnTo>
                      <a:pt x="1035" y="558"/>
                    </a:lnTo>
                    <a:lnTo>
                      <a:pt x="1039" y="558"/>
                    </a:lnTo>
                    <a:lnTo>
                      <a:pt x="1039" y="564"/>
                    </a:lnTo>
                    <a:lnTo>
                      <a:pt x="1043" y="564"/>
                    </a:lnTo>
                    <a:lnTo>
                      <a:pt x="1043" y="566"/>
                    </a:lnTo>
                    <a:lnTo>
                      <a:pt x="1055" y="566"/>
                    </a:lnTo>
                    <a:lnTo>
                      <a:pt x="1055" y="572"/>
                    </a:lnTo>
                    <a:lnTo>
                      <a:pt x="1075" y="572"/>
                    </a:lnTo>
                    <a:lnTo>
                      <a:pt x="1075" y="572"/>
                    </a:lnTo>
                    <a:lnTo>
                      <a:pt x="1091" y="572"/>
                    </a:lnTo>
                    <a:lnTo>
                      <a:pt x="1091" y="572"/>
                    </a:lnTo>
                    <a:lnTo>
                      <a:pt x="1121" y="572"/>
                    </a:lnTo>
                    <a:lnTo>
                      <a:pt x="1121" y="578"/>
                    </a:lnTo>
                    <a:lnTo>
                      <a:pt x="1137" y="578"/>
                    </a:lnTo>
                    <a:lnTo>
                      <a:pt x="1137" y="584"/>
                    </a:lnTo>
                    <a:lnTo>
                      <a:pt x="1149" y="584"/>
                    </a:lnTo>
                    <a:lnTo>
                      <a:pt x="1149" y="586"/>
                    </a:lnTo>
                    <a:lnTo>
                      <a:pt x="1157" y="586"/>
                    </a:lnTo>
                    <a:lnTo>
                      <a:pt x="1157" y="592"/>
                    </a:lnTo>
                    <a:lnTo>
                      <a:pt x="1161" y="592"/>
                    </a:lnTo>
                    <a:lnTo>
                      <a:pt x="1161" y="600"/>
                    </a:lnTo>
                    <a:lnTo>
                      <a:pt x="1173" y="600"/>
                    </a:lnTo>
                    <a:lnTo>
                      <a:pt x="1173" y="606"/>
                    </a:lnTo>
                    <a:lnTo>
                      <a:pt x="1181" y="606"/>
                    </a:lnTo>
                    <a:lnTo>
                      <a:pt x="1181" y="612"/>
                    </a:lnTo>
                    <a:lnTo>
                      <a:pt x="1187" y="612"/>
                    </a:lnTo>
                    <a:lnTo>
                      <a:pt x="1187" y="618"/>
                    </a:lnTo>
                    <a:lnTo>
                      <a:pt x="1195" y="618"/>
                    </a:lnTo>
                    <a:lnTo>
                      <a:pt x="1195" y="620"/>
                    </a:lnTo>
                    <a:lnTo>
                      <a:pt x="1199" y="620"/>
                    </a:lnTo>
                    <a:lnTo>
                      <a:pt x="1199" y="626"/>
                    </a:lnTo>
                    <a:lnTo>
                      <a:pt x="1199" y="626"/>
                    </a:lnTo>
                    <a:lnTo>
                      <a:pt x="1199" y="638"/>
                    </a:lnTo>
                    <a:lnTo>
                      <a:pt x="1209" y="638"/>
                    </a:lnTo>
                    <a:lnTo>
                      <a:pt x="1209" y="640"/>
                    </a:lnTo>
                    <a:lnTo>
                      <a:pt x="1221" y="640"/>
                    </a:lnTo>
                    <a:lnTo>
                      <a:pt x="1221" y="646"/>
                    </a:lnTo>
                    <a:lnTo>
                      <a:pt x="1265" y="646"/>
                    </a:lnTo>
                    <a:lnTo>
                      <a:pt x="1265" y="652"/>
                    </a:lnTo>
                    <a:lnTo>
                      <a:pt x="1267" y="652"/>
                    </a:lnTo>
                    <a:lnTo>
                      <a:pt x="1267" y="656"/>
                    </a:lnTo>
                    <a:lnTo>
                      <a:pt x="1331" y="656"/>
                    </a:lnTo>
                    <a:lnTo>
                      <a:pt x="1331" y="662"/>
                    </a:lnTo>
                    <a:lnTo>
                      <a:pt x="1343" y="662"/>
                    </a:lnTo>
                    <a:lnTo>
                      <a:pt x="1343" y="666"/>
                    </a:lnTo>
                    <a:lnTo>
                      <a:pt x="1345" y="666"/>
                    </a:lnTo>
                    <a:lnTo>
                      <a:pt x="1345" y="672"/>
                    </a:lnTo>
                    <a:lnTo>
                      <a:pt x="1353" y="672"/>
                    </a:lnTo>
                    <a:lnTo>
                      <a:pt x="1353" y="676"/>
                    </a:lnTo>
                    <a:lnTo>
                      <a:pt x="1406" y="676"/>
                    </a:lnTo>
                    <a:lnTo>
                      <a:pt x="1406" y="682"/>
                    </a:lnTo>
                    <a:lnTo>
                      <a:pt x="1406" y="682"/>
                    </a:lnTo>
                    <a:lnTo>
                      <a:pt x="1406" y="686"/>
                    </a:lnTo>
                    <a:lnTo>
                      <a:pt x="1424" y="686"/>
                    </a:lnTo>
                    <a:lnTo>
                      <a:pt x="1424" y="692"/>
                    </a:lnTo>
                    <a:lnTo>
                      <a:pt x="1432" y="692"/>
                    </a:lnTo>
                    <a:lnTo>
                      <a:pt x="1432" y="696"/>
                    </a:lnTo>
                    <a:lnTo>
                      <a:pt x="1436" y="696"/>
                    </a:lnTo>
                    <a:lnTo>
                      <a:pt x="1436" y="702"/>
                    </a:lnTo>
                    <a:lnTo>
                      <a:pt x="1438" y="702"/>
                    </a:lnTo>
                    <a:lnTo>
                      <a:pt x="1438" y="708"/>
                    </a:lnTo>
                    <a:lnTo>
                      <a:pt x="1462" y="708"/>
                    </a:lnTo>
                    <a:lnTo>
                      <a:pt x="1462" y="710"/>
                    </a:lnTo>
                    <a:lnTo>
                      <a:pt x="1496" y="710"/>
                    </a:lnTo>
                    <a:lnTo>
                      <a:pt x="1496" y="716"/>
                    </a:lnTo>
                    <a:lnTo>
                      <a:pt x="1508" y="716"/>
                    </a:lnTo>
                    <a:lnTo>
                      <a:pt x="1508" y="722"/>
                    </a:lnTo>
                    <a:lnTo>
                      <a:pt x="1514" y="722"/>
                    </a:lnTo>
                    <a:lnTo>
                      <a:pt x="1514" y="728"/>
                    </a:lnTo>
                    <a:lnTo>
                      <a:pt x="1522" y="728"/>
                    </a:lnTo>
                    <a:lnTo>
                      <a:pt x="1522" y="730"/>
                    </a:lnTo>
                    <a:lnTo>
                      <a:pt x="1534" y="730"/>
                    </a:lnTo>
                    <a:lnTo>
                      <a:pt x="1534" y="736"/>
                    </a:lnTo>
                    <a:lnTo>
                      <a:pt x="1534" y="736"/>
                    </a:lnTo>
                    <a:lnTo>
                      <a:pt x="1534" y="736"/>
                    </a:lnTo>
                    <a:lnTo>
                      <a:pt x="1538" y="736"/>
                    </a:lnTo>
                    <a:lnTo>
                      <a:pt x="1538" y="742"/>
                    </a:lnTo>
                    <a:lnTo>
                      <a:pt x="1608" y="742"/>
                    </a:lnTo>
                    <a:lnTo>
                      <a:pt x="1608" y="744"/>
                    </a:lnTo>
                    <a:lnTo>
                      <a:pt x="1610" y="744"/>
                    </a:lnTo>
                    <a:lnTo>
                      <a:pt x="1610" y="750"/>
                    </a:lnTo>
                    <a:lnTo>
                      <a:pt x="1628" y="750"/>
                    </a:lnTo>
                    <a:lnTo>
                      <a:pt x="1628" y="756"/>
                    </a:lnTo>
                    <a:lnTo>
                      <a:pt x="1646" y="756"/>
                    </a:lnTo>
                    <a:lnTo>
                      <a:pt x="1646" y="762"/>
                    </a:lnTo>
                    <a:lnTo>
                      <a:pt x="1656" y="762"/>
                    </a:lnTo>
                    <a:lnTo>
                      <a:pt x="1656" y="762"/>
                    </a:lnTo>
                    <a:lnTo>
                      <a:pt x="1678" y="762"/>
                    </a:lnTo>
                    <a:lnTo>
                      <a:pt x="1678" y="764"/>
                    </a:lnTo>
                    <a:lnTo>
                      <a:pt x="1734" y="764"/>
                    </a:lnTo>
                    <a:lnTo>
                      <a:pt x="1734" y="770"/>
                    </a:lnTo>
                    <a:lnTo>
                      <a:pt x="1738" y="770"/>
                    </a:lnTo>
                    <a:lnTo>
                      <a:pt x="1738" y="776"/>
                    </a:lnTo>
                    <a:lnTo>
                      <a:pt x="1754" y="776"/>
                    </a:lnTo>
                    <a:lnTo>
                      <a:pt x="1754" y="782"/>
                    </a:lnTo>
                    <a:lnTo>
                      <a:pt x="1798" y="782"/>
                    </a:lnTo>
                    <a:lnTo>
                      <a:pt x="1798" y="784"/>
                    </a:lnTo>
                    <a:lnTo>
                      <a:pt x="1844" y="784"/>
                    </a:lnTo>
                    <a:lnTo>
                      <a:pt x="1844" y="790"/>
                    </a:lnTo>
                    <a:lnTo>
                      <a:pt x="1850" y="790"/>
                    </a:lnTo>
                    <a:lnTo>
                      <a:pt x="1850" y="796"/>
                    </a:lnTo>
                    <a:lnTo>
                      <a:pt x="1858" y="796"/>
                    </a:lnTo>
                    <a:lnTo>
                      <a:pt x="1858" y="796"/>
                    </a:lnTo>
                    <a:lnTo>
                      <a:pt x="1974" y="796"/>
                    </a:lnTo>
                    <a:lnTo>
                      <a:pt x="1974" y="802"/>
                    </a:lnTo>
                    <a:lnTo>
                      <a:pt x="2014" y="802"/>
                    </a:lnTo>
                    <a:lnTo>
                      <a:pt x="2014" y="804"/>
                    </a:lnTo>
                    <a:lnTo>
                      <a:pt x="2036" y="804"/>
                    </a:lnTo>
                    <a:lnTo>
                      <a:pt x="2036" y="810"/>
                    </a:lnTo>
                    <a:lnTo>
                      <a:pt x="2046" y="810"/>
                    </a:lnTo>
                    <a:lnTo>
                      <a:pt x="2046" y="810"/>
                    </a:lnTo>
                    <a:lnTo>
                      <a:pt x="2048" y="810"/>
                    </a:lnTo>
                    <a:lnTo>
                      <a:pt x="2048" y="810"/>
                    </a:lnTo>
                    <a:lnTo>
                      <a:pt x="2060" y="810"/>
                    </a:lnTo>
                    <a:lnTo>
                      <a:pt x="2060" y="810"/>
                    </a:lnTo>
                    <a:lnTo>
                      <a:pt x="2072" y="810"/>
                    </a:lnTo>
                    <a:lnTo>
                      <a:pt x="2072" y="816"/>
                    </a:lnTo>
                    <a:lnTo>
                      <a:pt x="2112" y="816"/>
                    </a:lnTo>
                    <a:lnTo>
                      <a:pt x="2112" y="822"/>
                    </a:lnTo>
                    <a:lnTo>
                      <a:pt x="2134" y="822"/>
                    </a:lnTo>
                    <a:lnTo>
                      <a:pt x="2134" y="824"/>
                    </a:lnTo>
                    <a:lnTo>
                      <a:pt x="2144" y="824"/>
                    </a:lnTo>
                    <a:lnTo>
                      <a:pt x="2144" y="830"/>
                    </a:lnTo>
                    <a:lnTo>
                      <a:pt x="2176" y="830"/>
                    </a:lnTo>
                    <a:lnTo>
                      <a:pt x="2176" y="836"/>
                    </a:lnTo>
                    <a:lnTo>
                      <a:pt x="2206" y="836"/>
                    </a:lnTo>
                    <a:lnTo>
                      <a:pt x="2206" y="836"/>
                    </a:lnTo>
                    <a:lnTo>
                      <a:pt x="2231" y="836"/>
                    </a:lnTo>
                    <a:lnTo>
                      <a:pt x="2231" y="836"/>
                    </a:lnTo>
                    <a:lnTo>
                      <a:pt x="2243" y="836"/>
                    </a:lnTo>
                    <a:lnTo>
                      <a:pt x="2243" y="842"/>
                    </a:lnTo>
                    <a:lnTo>
                      <a:pt x="2283" y="842"/>
                    </a:lnTo>
                    <a:lnTo>
                      <a:pt x="2283" y="848"/>
                    </a:lnTo>
                    <a:lnTo>
                      <a:pt x="2329" y="848"/>
                    </a:lnTo>
                    <a:lnTo>
                      <a:pt x="2329" y="850"/>
                    </a:lnTo>
                    <a:lnTo>
                      <a:pt x="2331" y="850"/>
                    </a:lnTo>
                    <a:lnTo>
                      <a:pt x="2331" y="856"/>
                    </a:lnTo>
                    <a:lnTo>
                      <a:pt x="2389" y="856"/>
                    </a:lnTo>
                    <a:lnTo>
                      <a:pt x="2389" y="862"/>
                    </a:lnTo>
                    <a:lnTo>
                      <a:pt x="2415" y="862"/>
                    </a:lnTo>
                    <a:lnTo>
                      <a:pt x="2415" y="862"/>
                    </a:lnTo>
                    <a:lnTo>
                      <a:pt x="2421" y="862"/>
                    </a:lnTo>
                    <a:lnTo>
                      <a:pt x="2421" y="868"/>
                    </a:lnTo>
                    <a:lnTo>
                      <a:pt x="2447" y="868"/>
                    </a:lnTo>
                    <a:lnTo>
                      <a:pt x="2447" y="868"/>
                    </a:lnTo>
                    <a:lnTo>
                      <a:pt x="2455" y="868"/>
                    </a:lnTo>
                    <a:lnTo>
                      <a:pt x="2455" y="874"/>
                    </a:lnTo>
                    <a:lnTo>
                      <a:pt x="2481" y="874"/>
                    </a:lnTo>
                    <a:lnTo>
                      <a:pt x="2481" y="876"/>
                    </a:lnTo>
                    <a:lnTo>
                      <a:pt x="2507" y="876"/>
                    </a:lnTo>
                    <a:lnTo>
                      <a:pt x="2507" y="882"/>
                    </a:lnTo>
                    <a:lnTo>
                      <a:pt x="2551" y="882"/>
                    </a:lnTo>
                    <a:lnTo>
                      <a:pt x="2551" y="882"/>
                    </a:lnTo>
                    <a:lnTo>
                      <a:pt x="2611" y="882"/>
                    </a:lnTo>
                    <a:lnTo>
                      <a:pt x="2611" y="882"/>
                    </a:lnTo>
                    <a:lnTo>
                      <a:pt x="2639" y="882"/>
                    </a:lnTo>
                    <a:lnTo>
                      <a:pt x="2639" y="888"/>
                    </a:lnTo>
                    <a:lnTo>
                      <a:pt x="2699" y="888"/>
                    </a:lnTo>
                    <a:lnTo>
                      <a:pt x="2699" y="888"/>
                    </a:lnTo>
                    <a:lnTo>
                      <a:pt x="2721" y="888"/>
                    </a:lnTo>
                    <a:lnTo>
                      <a:pt x="2721" y="888"/>
                    </a:lnTo>
                    <a:lnTo>
                      <a:pt x="2763" y="888"/>
                    </a:lnTo>
                    <a:lnTo>
                      <a:pt x="2763" y="888"/>
                    </a:lnTo>
                    <a:lnTo>
                      <a:pt x="2789" y="888"/>
                    </a:lnTo>
                    <a:lnTo>
                      <a:pt x="2789" y="888"/>
                    </a:lnTo>
                    <a:lnTo>
                      <a:pt x="2815" y="888"/>
                    </a:lnTo>
                    <a:lnTo>
                      <a:pt x="2815" y="888"/>
                    </a:lnTo>
                    <a:lnTo>
                      <a:pt x="2815" y="888"/>
                    </a:lnTo>
                    <a:lnTo>
                      <a:pt x="2815" y="888"/>
                    </a:lnTo>
                    <a:lnTo>
                      <a:pt x="2835" y="888"/>
                    </a:lnTo>
                    <a:lnTo>
                      <a:pt x="2835" y="894"/>
                    </a:lnTo>
                    <a:lnTo>
                      <a:pt x="2875" y="894"/>
                    </a:lnTo>
                    <a:lnTo>
                      <a:pt x="2875" y="894"/>
                    </a:lnTo>
                    <a:lnTo>
                      <a:pt x="2881" y="894"/>
                    </a:lnTo>
                    <a:lnTo>
                      <a:pt x="2881" y="894"/>
                    </a:lnTo>
                    <a:lnTo>
                      <a:pt x="2885" y="894"/>
                    </a:lnTo>
                    <a:lnTo>
                      <a:pt x="2885" y="894"/>
                    </a:lnTo>
                    <a:lnTo>
                      <a:pt x="2889" y="894"/>
                    </a:lnTo>
                    <a:lnTo>
                      <a:pt x="2889" y="894"/>
                    </a:lnTo>
                    <a:lnTo>
                      <a:pt x="2893" y="894"/>
                    </a:lnTo>
                    <a:lnTo>
                      <a:pt x="2893" y="894"/>
                    </a:lnTo>
                    <a:lnTo>
                      <a:pt x="2895" y="894"/>
                    </a:lnTo>
                    <a:lnTo>
                      <a:pt x="2895" y="894"/>
                    </a:lnTo>
                    <a:lnTo>
                      <a:pt x="2899" y="894"/>
                    </a:lnTo>
                    <a:lnTo>
                      <a:pt x="2899" y="894"/>
                    </a:lnTo>
                    <a:lnTo>
                      <a:pt x="2905" y="894"/>
                    </a:lnTo>
                    <a:lnTo>
                      <a:pt x="2905" y="894"/>
                    </a:lnTo>
                    <a:lnTo>
                      <a:pt x="2905" y="894"/>
                    </a:lnTo>
                    <a:lnTo>
                      <a:pt x="2905" y="894"/>
                    </a:lnTo>
                    <a:lnTo>
                      <a:pt x="2907" y="894"/>
                    </a:lnTo>
                    <a:lnTo>
                      <a:pt x="2907" y="900"/>
                    </a:lnTo>
                    <a:lnTo>
                      <a:pt x="2907" y="900"/>
                    </a:lnTo>
                    <a:lnTo>
                      <a:pt x="2907" y="900"/>
                    </a:lnTo>
                    <a:lnTo>
                      <a:pt x="2911" y="900"/>
                    </a:lnTo>
                    <a:lnTo>
                      <a:pt x="2911" y="900"/>
                    </a:lnTo>
                    <a:lnTo>
                      <a:pt x="2913" y="900"/>
                    </a:lnTo>
                    <a:lnTo>
                      <a:pt x="2913" y="900"/>
                    </a:lnTo>
                    <a:lnTo>
                      <a:pt x="2915" y="900"/>
                    </a:lnTo>
                    <a:lnTo>
                      <a:pt x="2915" y="900"/>
                    </a:lnTo>
                    <a:lnTo>
                      <a:pt x="2927" y="900"/>
                    </a:lnTo>
                    <a:lnTo>
                      <a:pt x="2927" y="906"/>
                    </a:lnTo>
                    <a:lnTo>
                      <a:pt x="2939" y="906"/>
                    </a:lnTo>
                    <a:lnTo>
                      <a:pt x="2939" y="906"/>
                    </a:lnTo>
                    <a:lnTo>
                      <a:pt x="2941" y="906"/>
                    </a:lnTo>
                    <a:lnTo>
                      <a:pt x="2941" y="906"/>
                    </a:lnTo>
                    <a:lnTo>
                      <a:pt x="2951" y="906"/>
                    </a:lnTo>
                    <a:lnTo>
                      <a:pt x="2951" y="906"/>
                    </a:lnTo>
                    <a:lnTo>
                      <a:pt x="2957" y="906"/>
                    </a:lnTo>
                    <a:lnTo>
                      <a:pt x="2957" y="906"/>
                    </a:lnTo>
                    <a:lnTo>
                      <a:pt x="2961" y="906"/>
                    </a:lnTo>
                    <a:lnTo>
                      <a:pt x="2961" y="906"/>
                    </a:lnTo>
                    <a:lnTo>
                      <a:pt x="2965" y="906"/>
                    </a:lnTo>
                    <a:lnTo>
                      <a:pt x="2965" y="906"/>
                    </a:lnTo>
                    <a:lnTo>
                      <a:pt x="2971" y="906"/>
                    </a:lnTo>
                    <a:lnTo>
                      <a:pt x="2971" y="906"/>
                    </a:lnTo>
                    <a:lnTo>
                      <a:pt x="2973" y="906"/>
                    </a:lnTo>
                    <a:lnTo>
                      <a:pt x="2973" y="906"/>
                    </a:lnTo>
                    <a:lnTo>
                      <a:pt x="2977" y="906"/>
                    </a:lnTo>
                    <a:lnTo>
                      <a:pt x="2977" y="906"/>
                    </a:lnTo>
                    <a:lnTo>
                      <a:pt x="2981" y="906"/>
                    </a:lnTo>
                    <a:lnTo>
                      <a:pt x="2981" y="906"/>
                    </a:lnTo>
                    <a:lnTo>
                      <a:pt x="2985" y="906"/>
                    </a:lnTo>
                    <a:lnTo>
                      <a:pt x="2985" y="906"/>
                    </a:lnTo>
                    <a:lnTo>
                      <a:pt x="2991" y="906"/>
                    </a:lnTo>
                    <a:lnTo>
                      <a:pt x="2991" y="912"/>
                    </a:lnTo>
                    <a:lnTo>
                      <a:pt x="2999" y="912"/>
                    </a:lnTo>
                    <a:lnTo>
                      <a:pt x="2999" y="912"/>
                    </a:lnTo>
                    <a:lnTo>
                      <a:pt x="3005" y="912"/>
                    </a:lnTo>
                    <a:lnTo>
                      <a:pt x="3005" y="912"/>
                    </a:lnTo>
                    <a:lnTo>
                      <a:pt x="3005" y="912"/>
                    </a:lnTo>
                    <a:lnTo>
                      <a:pt x="3005" y="912"/>
                    </a:lnTo>
                    <a:lnTo>
                      <a:pt x="3013" y="912"/>
                    </a:lnTo>
                    <a:lnTo>
                      <a:pt x="3013" y="912"/>
                    </a:lnTo>
                    <a:lnTo>
                      <a:pt x="3025" y="912"/>
                    </a:lnTo>
                    <a:lnTo>
                      <a:pt x="3025" y="912"/>
                    </a:lnTo>
                    <a:lnTo>
                      <a:pt x="3038" y="912"/>
                    </a:lnTo>
                    <a:lnTo>
                      <a:pt x="3038" y="912"/>
                    </a:lnTo>
                    <a:lnTo>
                      <a:pt x="3044" y="912"/>
                    </a:lnTo>
                    <a:lnTo>
                      <a:pt x="3044" y="912"/>
                    </a:lnTo>
                    <a:lnTo>
                      <a:pt x="3050" y="912"/>
                    </a:lnTo>
                    <a:lnTo>
                      <a:pt x="3050" y="912"/>
                    </a:lnTo>
                    <a:lnTo>
                      <a:pt x="3054" y="912"/>
                    </a:lnTo>
                    <a:lnTo>
                      <a:pt x="3054" y="912"/>
                    </a:lnTo>
                    <a:lnTo>
                      <a:pt x="3064" y="912"/>
                    </a:lnTo>
                    <a:lnTo>
                      <a:pt x="3064" y="912"/>
                    </a:lnTo>
                    <a:lnTo>
                      <a:pt x="3070" y="912"/>
                    </a:lnTo>
                    <a:lnTo>
                      <a:pt x="3070" y="912"/>
                    </a:lnTo>
                    <a:lnTo>
                      <a:pt x="3072" y="912"/>
                    </a:lnTo>
                    <a:lnTo>
                      <a:pt x="3072" y="912"/>
                    </a:lnTo>
                    <a:lnTo>
                      <a:pt x="3076" y="912"/>
                    </a:lnTo>
                    <a:lnTo>
                      <a:pt x="3076" y="912"/>
                    </a:lnTo>
                    <a:lnTo>
                      <a:pt x="3076" y="912"/>
                    </a:lnTo>
                    <a:lnTo>
                      <a:pt x="3076" y="912"/>
                    </a:lnTo>
                    <a:lnTo>
                      <a:pt x="3086" y="912"/>
                    </a:lnTo>
                    <a:lnTo>
                      <a:pt x="3086" y="912"/>
                    </a:lnTo>
                    <a:lnTo>
                      <a:pt x="3090" y="912"/>
                    </a:lnTo>
                    <a:lnTo>
                      <a:pt x="3090" y="912"/>
                    </a:lnTo>
                    <a:lnTo>
                      <a:pt x="3092" y="912"/>
                    </a:lnTo>
                    <a:lnTo>
                      <a:pt x="3092" y="912"/>
                    </a:lnTo>
                    <a:lnTo>
                      <a:pt x="3092" y="912"/>
                    </a:lnTo>
                    <a:lnTo>
                      <a:pt x="3092" y="920"/>
                    </a:lnTo>
                    <a:lnTo>
                      <a:pt x="3102" y="920"/>
                    </a:lnTo>
                    <a:lnTo>
                      <a:pt x="3102" y="920"/>
                    </a:lnTo>
                    <a:lnTo>
                      <a:pt x="3102" y="920"/>
                    </a:lnTo>
                    <a:lnTo>
                      <a:pt x="3102" y="926"/>
                    </a:lnTo>
                    <a:lnTo>
                      <a:pt x="3106" y="926"/>
                    </a:lnTo>
                    <a:lnTo>
                      <a:pt x="3106" y="926"/>
                    </a:lnTo>
                    <a:lnTo>
                      <a:pt x="3110" y="926"/>
                    </a:lnTo>
                    <a:lnTo>
                      <a:pt x="3110" y="926"/>
                    </a:lnTo>
                    <a:lnTo>
                      <a:pt x="3118" y="926"/>
                    </a:lnTo>
                    <a:lnTo>
                      <a:pt x="3118" y="926"/>
                    </a:lnTo>
                    <a:lnTo>
                      <a:pt x="3122" y="926"/>
                    </a:lnTo>
                    <a:lnTo>
                      <a:pt x="3122" y="926"/>
                    </a:lnTo>
                    <a:lnTo>
                      <a:pt x="3130" y="926"/>
                    </a:lnTo>
                    <a:lnTo>
                      <a:pt x="3130" y="926"/>
                    </a:lnTo>
                    <a:lnTo>
                      <a:pt x="3144" y="926"/>
                    </a:lnTo>
                    <a:lnTo>
                      <a:pt x="3144" y="926"/>
                    </a:lnTo>
                    <a:lnTo>
                      <a:pt x="3152" y="926"/>
                    </a:lnTo>
                    <a:lnTo>
                      <a:pt x="3152" y="926"/>
                    </a:lnTo>
                    <a:lnTo>
                      <a:pt x="3162" y="926"/>
                    </a:lnTo>
                    <a:lnTo>
                      <a:pt x="3162" y="926"/>
                    </a:lnTo>
                    <a:lnTo>
                      <a:pt x="3168" y="926"/>
                    </a:lnTo>
                    <a:lnTo>
                      <a:pt x="3168" y="926"/>
                    </a:lnTo>
                    <a:lnTo>
                      <a:pt x="3170" y="926"/>
                    </a:lnTo>
                    <a:lnTo>
                      <a:pt x="3170" y="926"/>
                    </a:lnTo>
                    <a:lnTo>
                      <a:pt x="3178" y="926"/>
                    </a:lnTo>
                    <a:lnTo>
                      <a:pt x="3178" y="926"/>
                    </a:lnTo>
                    <a:lnTo>
                      <a:pt x="3182" y="926"/>
                    </a:lnTo>
                    <a:lnTo>
                      <a:pt x="3182" y="926"/>
                    </a:lnTo>
                    <a:lnTo>
                      <a:pt x="3182" y="926"/>
                    </a:lnTo>
                    <a:lnTo>
                      <a:pt x="3182" y="926"/>
                    </a:lnTo>
                    <a:lnTo>
                      <a:pt x="3184" y="926"/>
                    </a:lnTo>
                    <a:lnTo>
                      <a:pt x="3184" y="926"/>
                    </a:lnTo>
                    <a:lnTo>
                      <a:pt x="3188" y="926"/>
                    </a:lnTo>
                    <a:lnTo>
                      <a:pt x="3188" y="926"/>
                    </a:lnTo>
                    <a:lnTo>
                      <a:pt x="3190" y="926"/>
                    </a:lnTo>
                    <a:lnTo>
                      <a:pt x="3190" y="926"/>
                    </a:lnTo>
                    <a:lnTo>
                      <a:pt x="3196" y="926"/>
                    </a:lnTo>
                    <a:lnTo>
                      <a:pt x="3196" y="926"/>
                    </a:lnTo>
                    <a:lnTo>
                      <a:pt x="3198" y="926"/>
                    </a:lnTo>
                    <a:lnTo>
                      <a:pt x="3198" y="926"/>
                    </a:lnTo>
                    <a:lnTo>
                      <a:pt x="3208" y="926"/>
                    </a:lnTo>
                    <a:lnTo>
                      <a:pt x="3208" y="926"/>
                    </a:lnTo>
                    <a:lnTo>
                      <a:pt x="3208" y="926"/>
                    </a:lnTo>
                    <a:lnTo>
                      <a:pt x="3208" y="926"/>
                    </a:lnTo>
                    <a:lnTo>
                      <a:pt x="3216" y="926"/>
                    </a:lnTo>
                    <a:lnTo>
                      <a:pt x="3216" y="926"/>
                    </a:lnTo>
                    <a:lnTo>
                      <a:pt x="3230" y="926"/>
                    </a:lnTo>
                    <a:lnTo>
                      <a:pt x="3230" y="926"/>
                    </a:lnTo>
                    <a:lnTo>
                      <a:pt x="3242" y="926"/>
                    </a:lnTo>
                    <a:lnTo>
                      <a:pt x="3242" y="926"/>
                    </a:lnTo>
                    <a:lnTo>
                      <a:pt x="3244" y="926"/>
                    </a:lnTo>
                    <a:lnTo>
                      <a:pt x="3244" y="926"/>
                    </a:lnTo>
                    <a:lnTo>
                      <a:pt x="3254" y="926"/>
                    </a:lnTo>
                    <a:lnTo>
                      <a:pt x="3254" y="926"/>
                    </a:lnTo>
                    <a:lnTo>
                      <a:pt x="3256" y="926"/>
                    </a:lnTo>
                    <a:lnTo>
                      <a:pt x="3256" y="926"/>
                    </a:lnTo>
                    <a:lnTo>
                      <a:pt x="3266" y="926"/>
                    </a:lnTo>
                    <a:lnTo>
                      <a:pt x="3266" y="926"/>
                    </a:lnTo>
                    <a:lnTo>
                      <a:pt x="3270" y="926"/>
                    </a:lnTo>
                    <a:lnTo>
                      <a:pt x="3270" y="926"/>
                    </a:lnTo>
                    <a:lnTo>
                      <a:pt x="3274" y="926"/>
                    </a:lnTo>
                    <a:lnTo>
                      <a:pt x="3274" y="926"/>
                    </a:lnTo>
                    <a:lnTo>
                      <a:pt x="3280" y="926"/>
                    </a:lnTo>
                    <a:lnTo>
                      <a:pt x="3280" y="926"/>
                    </a:lnTo>
                    <a:lnTo>
                      <a:pt x="3286" y="926"/>
                    </a:lnTo>
                    <a:lnTo>
                      <a:pt x="3286" y="926"/>
                    </a:lnTo>
                    <a:lnTo>
                      <a:pt x="3290" y="926"/>
                    </a:lnTo>
                    <a:lnTo>
                      <a:pt x="3290" y="938"/>
                    </a:lnTo>
                    <a:lnTo>
                      <a:pt x="3296" y="938"/>
                    </a:lnTo>
                    <a:lnTo>
                      <a:pt x="3296" y="938"/>
                    </a:lnTo>
                    <a:lnTo>
                      <a:pt x="3302" y="938"/>
                    </a:lnTo>
                    <a:lnTo>
                      <a:pt x="3302" y="938"/>
                    </a:lnTo>
                    <a:lnTo>
                      <a:pt x="3328" y="938"/>
                    </a:lnTo>
                    <a:lnTo>
                      <a:pt x="3328" y="938"/>
                    </a:lnTo>
                    <a:lnTo>
                      <a:pt x="3328" y="938"/>
                    </a:lnTo>
                    <a:lnTo>
                      <a:pt x="3328" y="946"/>
                    </a:lnTo>
                    <a:lnTo>
                      <a:pt x="3338" y="946"/>
                    </a:lnTo>
                    <a:lnTo>
                      <a:pt x="3338" y="946"/>
                    </a:lnTo>
                    <a:lnTo>
                      <a:pt x="3340" y="946"/>
                    </a:lnTo>
                    <a:lnTo>
                      <a:pt x="3340" y="946"/>
                    </a:lnTo>
                    <a:lnTo>
                      <a:pt x="3346" y="946"/>
                    </a:lnTo>
                    <a:lnTo>
                      <a:pt x="3346" y="946"/>
                    </a:lnTo>
                    <a:lnTo>
                      <a:pt x="3352" y="946"/>
                    </a:lnTo>
                    <a:lnTo>
                      <a:pt x="3352" y="946"/>
                    </a:lnTo>
                    <a:lnTo>
                      <a:pt x="3354" y="946"/>
                    </a:lnTo>
                    <a:lnTo>
                      <a:pt x="3354" y="946"/>
                    </a:lnTo>
                    <a:lnTo>
                      <a:pt x="3362" y="946"/>
                    </a:lnTo>
                    <a:lnTo>
                      <a:pt x="3362" y="946"/>
                    </a:lnTo>
                    <a:lnTo>
                      <a:pt x="3366" y="946"/>
                    </a:lnTo>
                    <a:lnTo>
                      <a:pt x="3366" y="946"/>
                    </a:lnTo>
                    <a:lnTo>
                      <a:pt x="3368" y="946"/>
                    </a:lnTo>
                    <a:lnTo>
                      <a:pt x="3368" y="946"/>
                    </a:lnTo>
                    <a:lnTo>
                      <a:pt x="3378" y="946"/>
                    </a:lnTo>
                    <a:lnTo>
                      <a:pt x="3378" y="946"/>
                    </a:lnTo>
                    <a:lnTo>
                      <a:pt x="3388" y="946"/>
                    </a:lnTo>
                    <a:lnTo>
                      <a:pt x="3388" y="946"/>
                    </a:lnTo>
                    <a:lnTo>
                      <a:pt x="3398" y="946"/>
                    </a:lnTo>
                    <a:lnTo>
                      <a:pt x="3398" y="946"/>
                    </a:lnTo>
                    <a:lnTo>
                      <a:pt x="3400" y="946"/>
                    </a:lnTo>
                    <a:lnTo>
                      <a:pt x="3400" y="946"/>
                    </a:lnTo>
                    <a:lnTo>
                      <a:pt x="3412" y="946"/>
                    </a:lnTo>
                    <a:lnTo>
                      <a:pt x="3412" y="946"/>
                    </a:lnTo>
                    <a:lnTo>
                      <a:pt x="3446" y="946"/>
                    </a:lnTo>
                    <a:lnTo>
                      <a:pt x="3446" y="946"/>
                    </a:lnTo>
                    <a:lnTo>
                      <a:pt x="3450" y="946"/>
                    </a:lnTo>
                    <a:lnTo>
                      <a:pt x="3450" y="946"/>
                    </a:lnTo>
                    <a:lnTo>
                      <a:pt x="3452" y="946"/>
                    </a:lnTo>
                    <a:lnTo>
                      <a:pt x="3452" y="946"/>
                    </a:lnTo>
                    <a:lnTo>
                      <a:pt x="3460" y="946"/>
                    </a:lnTo>
                    <a:lnTo>
                      <a:pt x="3460" y="946"/>
                    </a:lnTo>
                    <a:lnTo>
                      <a:pt x="3464" y="946"/>
                    </a:lnTo>
                    <a:lnTo>
                      <a:pt x="3464" y="946"/>
                    </a:lnTo>
                    <a:lnTo>
                      <a:pt x="3470" y="946"/>
                    </a:lnTo>
                    <a:lnTo>
                      <a:pt x="3470" y="946"/>
                    </a:lnTo>
                    <a:lnTo>
                      <a:pt x="3472" y="946"/>
                    </a:lnTo>
                    <a:lnTo>
                      <a:pt x="3472" y="946"/>
                    </a:lnTo>
                    <a:lnTo>
                      <a:pt x="3472" y="946"/>
                    </a:lnTo>
                    <a:lnTo>
                      <a:pt x="3472" y="946"/>
                    </a:lnTo>
                    <a:lnTo>
                      <a:pt x="3476" y="946"/>
                    </a:lnTo>
                    <a:lnTo>
                      <a:pt x="3476" y="946"/>
                    </a:lnTo>
                    <a:lnTo>
                      <a:pt x="3478" y="946"/>
                    </a:lnTo>
                    <a:lnTo>
                      <a:pt x="3478" y="946"/>
                    </a:lnTo>
                    <a:lnTo>
                      <a:pt x="3480" y="946"/>
                    </a:lnTo>
                    <a:lnTo>
                      <a:pt x="3480" y="946"/>
                    </a:lnTo>
                    <a:lnTo>
                      <a:pt x="3484" y="946"/>
                    </a:lnTo>
                    <a:lnTo>
                      <a:pt x="3484" y="946"/>
                    </a:lnTo>
                    <a:lnTo>
                      <a:pt x="3484" y="946"/>
                    </a:lnTo>
                    <a:lnTo>
                      <a:pt x="3484" y="946"/>
                    </a:lnTo>
                    <a:lnTo>
                      <a:pt x="3490" y="946"/>
                    </a:lnTo>
                    <a:lnTo>
                      <a:pt x="3490" y="946"/>
                    </a:lnTo>
                    <a:lnTo>
                      <a:pt x="3490" y="946"/>
                    </a:lnTo>
                    <a:lnTo>
                      <a:pt x="3490" y="946"/>
                    </a:lnTo>
                    <a:lnTo>
                      <a:pt x="3496" y="946"/>
                    </a:lnTo>
                    <a:lnTo>
                      <a:pt x="3496" y="946"/>
                    </a:lnTo>
                    <a:lnTo>
                      <a:pt x="3498" y="946"/>
                    </a:lnTo>
                    <a:lnTo>
                      <a:pt x="3498" y="946"/>
                    </a:lnTo>
                    <a:lnTo>
                      <a:pt x="3506" y="946"/>
                    </a:lnTo>
                    <a:lnTo>
                      <a:pt x="3506" y="946"/>
                    </a:lnTo>
                    <a:lnTo>
                      <a:pt x="3510" y="946"/>
                    </a:lnTo>
                    <a:lnTo>
                      <a:pt x="3510" y="946"/>
                    </a:lnTo>
                    <a:lnTo>
                      <a:pt x="3516" y="946"/>
                    </a:lnTo>
                    <a:lnTo>
                      <a:pt x="3516" y="946"/>
                    </a:lnTo>
                    <a:lnTo>
                      <a:pt x="3516" y="946"/>
                    </a:lnTo>
                    <a:lnTo>
                      <a:pt x="3516" y="946"/>
                    </a:lnTo>
                    <a:lnTo>
                      <a:pt x="3518" y="946"/>
                    </a:lnTo>
                    <a:lnTo>
                      <a:pt x="3518" y="946"/>
                    </a:lnTo>
                    <a:lnTo>
                      <a:pt x="3524" y="946"/>
                    </a:lnTo>
                    <a:lnTo>
                      <a:pt x="3524" y="946"/>
                    </a:lnTo>
                    <a:lnTo>
                      <a:pt x="3528" y="946"/>
                    </a:lnTo>
                    <a:lnTo>
                      <a:pt x="3528" y="946"/>
                    </a:lnTo>
                    <a:lnTo>
                      <a:pt x="3530" y="946"/>
                    </a:lnTo>
                    <a:lnTo>
                      <a:pt x="3530" y="946"/>
                    </a:lnTo>
                    <a:lnTo>
                      <a:pt x="3544" y="946"/>
                    </a:lnTo>
                    <a:lnTo>
                      <a:pt x="3544" y="946"/>
                    </a:lnTo>
                    <a:lnTo>
                      <a:pt x="3558" y="946"/>
                    </a:lnTo>
                    <a:lnTo>
                      <a:pt x="3558" y="946"/>
                    </a:lnTo>
                    <a:lnTo>
                      <a:pt x="3568" y="946"/>
                    </a:lnTo>
                    <a:lnTo>
                      <a:pt x="3568" y="968"/>
                    </a:lnTo>
                    <a:lnTo>
                      <a:pt x="3570" y="968"/>
                    </a:lnTo>
                    <a:lnTo>
                      <a:pt x="3570" y="968"/>
                    </a:lnTo>
                    <a:lnTo>
                      <a:pt x="3608" y="968"/>
                    </a:lnTo>
                    <a:lnTo>
                      <a:pt x="3608" y="968"/>
                    </a:lnTo>
                    <a:lnTo>
                      <a:pt x="3610" y="968"/>
                    </a:lnTo>
                    <a:lnTo>
                      <a:pt x="3610" y="968"/>
                    </a:lnTo>
                    <a:lnTo>
                      <a:pt x="3650" y="968"/>
                    </a:lnTo>
                    <a:lnTo>
                      <a:pt x="3650" y="968"/>
                    </a:lnTo>
                    <a:lnTo>
                      <a:pt x="3656" y="968"/>
                    </a:lnTo>
                    <a:lnTo>
                      <a:pt x="3656" y="968"/>
                    </a:lnTo>
                    <a:lnTo>
                      <a:pt x="3660" y="968"/>
                    </a:lnTo>
                    <a:lnTo>
                      <a:pt x="3660" y="968"/>
                    </a:lnTo>
                    <a:lnTo>
                      <a:pt x="3674" y="968"/>
                    </a:lnTo>
                    <a:lnTo>
                      <a:pt x="3674" y="968"/>
                    </a:lnTo>
                    <a:lnTo>
                      <a:pt x="3676" y="968"/>
                    </a:lnTo>
                    <a:lnTo>
                      <a:pt x="3676" y="968"/>
                    </a:lnTo>
                    <a:lnTo>
                      <a:pt x="3688" y="968"/>
                    </a:lnTo>
                    <a:lnTo>
                      <a:pt x="3688" y="968"/>
                    </a:lnTo>
                    <a:lnTo>
                      <a:pt x="3692" y="968"/>
                    </a:lnTo>
                    <a:lnTo>
                      <a:pt x="3692" y="968"/>
                    </a:lnTo>
                    <a:lnTo>
                      <a:pt x="3696" y="968"/>
                    </a:lnTo>
                    <a:lnTo>
                      <a:pt x="3696" y="968"/>
                    </a:lnTo>
                    <a:lnTo>
                      <a:pt x="3702" y="968"/>
                    </a:lnTo>
                    <a:lnTo>
                      <a:pt x="3702" y="968"/>
                    </a:lnTo>
                    <a:lnTo>
                      <a:pt x="3726" y="968"/>
                    </a:lnTo>
                    <a:lnTo>
                      <a:pt x="3726" y="968"/>
                    </a:lnTo>
                    <a:lnTo>
                      <a:pt x="3738" y="968"/>
                    </a:lnTo>
                    <a:lnTo>
                      <a:pt x="3738" y="968"/>
                    </a:lnTo>
                    <a:lnTo>
                      <a:pt x="3738" y="968"/>
                    </a:lnTo>
                    <a:lnTo>
                      <a:pt x="3738" y="968"/>
                    </a:lnTo>
                    <a:lnTo>
                      <a:pt x="3740" y="968"/>
                    </a:lnTo>
                    <a:lnTo>
                      <a:pt x="3740" y="968"/>
                    </a:lnTo>
                    <a:lnTo>
                      <a:pt x="3742" y="968"/>
                    </a:lnTo>
                    <a:lnTo>
                      <a:pt x="3742" y="968"/>
                    </a:lnTo>
                    <a:lnTo>
                      <a:pt x="3748" y="968"/>
                    </a:lnTo>
                    <a:lnTo>
                      <a:pt x="3748" y="968"/>
                    </a:lnTo>
                    <a:lnTo>
                      <a:pt x="3754" y="968"/>
                    </a:lnTo>
                    <a:lnTo>
                      <a:pt x="3754" y="968"/>
                    </a:lnTo>
                    <a:lnTo>
                      <a:pt x="3758" y="968"/>
                    </a:lnTo>
                    <a:lnTo>
                      <a:pt x="3758" y="968"/>
                    </a:lnTo>
                    <a:lnTo>
                      <a:pt x="3758" y="968"/>
                    </a:lnTo>
                    <a:lnTo>
                      <a:pt x="3758" y="968"/>
                    </a:lnTo>
                    <a:lnTo>
                      <a:pt x="3760" y="968"/>
                    </a:lnTo>
                    <a:lnTo>
                      <a:pt x="3760" y="968"/>
                    </a:lnTo>
                    <a:lnTo>
                      <a:pt x="3764" y="968"/>
                    </a:lnTo>
                    <a:lnTo>
                      <a:pt x="3764" y="968"/>
                    </a:lnTo>
                    <a:lnTo>
                      <a:pt x="3766" y="968"/>
                    </a:lnTo>
                    <a:lnTo>
                      <a:pt x="3766" y="968"/>
                    </a:lnTo>
                    <a:lnTo>
                      <a:pt x="3784" y="968"/>
                    </a:lnTo>
                    <a:lnTo>
                      <a:pt x="3784" y="968"/>
                    </a:lnTo>
                    <a:lnTo>
                      <a:pt x="3798" y="968"/>
                    </a:lnTo>
                    <a:lnTo>
                      <a:pt x="3798" y="968"/>
                    </a:lnTo>
                    <a:lnTo>
                      <a:pt x="3810" y="968"/>
                    </a:lnTo>
                    <a:lnTo>
                      <a:pt x="3810" y="968"/>
                    </a:lnTo>
                    <a:lnTo>
                      <a:pt x="3814" y="968"/>
                    </a:lnTo>
                    <a:lnTo>
                      <a:pt x="3814" y="968"/>
                    </a:lnTo>
                    <a:lnTo>
                      <a:pt x="3826" y="968"/>
                    </a:lnTo>
                    <a:lnTo>
                      <a:pt x="3826" y="968"/>
                    </a:lnTo>
                    <a:lnTo>
                      <a:pt x="3857" y="968"/>
                    </a:lnTo>
                    <a:lnTo>
                      <a:pt x="3857" y="968"/>
                    </a:lnTo>
                    <a:lnTo>
                      <a:pt x="3871" y="968"/>
                    </a:lnTo>
                    <a:lnTo>
                      <a:pt x="3871" y="968"/>
                    </a:lnTo>
                    <a:lnTo>
                      <a:pt x="3883" y="968"/>
                    </a:lnTo>
                    <a:lnTo>
                      <a:pt x="3883" y="968"/>
                    </a:lnTo>
                    <a:lnTo>
                      <a:pt x="3969" y="968"/>
                    </a:lnTo>
                    <a:lnTo>
                      <a:pt x="3969" y="968"/>
                    </a:lnTo>
                    <a:lnTo>
                      <a:pt x="4003" y="968"/>
                    </a:lnTo>
                    <a:lnTo>
                      <a:pt x="4003" y="968"/>
                    </a:lnTo>
                    <a:lnTo>
                      <a:pt x="4037" y="968"/>
                    </a:lnTo>
                    <a:lnTo>
                      <a:pt x="4037" y="968"/>
                    </a:lnTo>
                    <a:lnTo>
                      <a:pt x="4055" y="968"/>
                    </a:lnTo>
                    <a:lnTo>
                      <a:pt x="4055" y="968"/>
                    </a:lnTo>
                    <a:lnTo>
                      <a:pt x="4075" y="968"/>
                    </a:lnTo>
                    <a:lnTo>
                      <a:pt x="4075" y="968"/>
                    </a:lnTo>
                    <a:lnTo>
                      <a:pt x="4089" y="968"/>
                    </a:lnTo>
                    <a:lnTo>
                      <a:pt x="4089" y="968"/>
                    </a:lnTo>
                    <a:lnTo>
                      <a:pt x="4161" y="968"/>
                    </a:lnTo>
                    <a:lnTo>
                      <a:pt x="4161" y="968"/>
                    </a:lnTo>
                    <a:lnTo>
                      <a:pt x="4161" y="968"/>
                    </a:lnTo>
                  </a:path>
                </a:pathLst>
              </a:custGeom>
              <a:noFill/>
              <a:ln w="28575" cap="flat">
                <a:solidFill>
                  <a:srgbClr val="3B61A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443" name="Group 442">
              <a:extLst>
                <a:ext uri="{FF2B5EF4-FFF2-40B4-BE49-F238E27FC236}">
                  <a16:creationId xmlns:a16="http://schemas.microsoft.com/office/drawing/2014/main" id="{0D360FE6-7A44-4ADB-8C89-5497C45B5554}"/>
                </a:ext>
              </a:extLst>
            </p:cNvPr>
            <p:cNvGrpSpPr/>
            <p:nvPr/>
          </p:nvGrpSpPr>
          <p:grpSpPr>
            <a:xfrm>
              <a:off x="2721859" y="3716662"/>
              <a:ext cx="13646852" cy="3049177"/>
              <a:chOff x="3255963" y="1496217"/>
              <a:chExt cx="6462712" cy="2094709"/>
            </a:xfrm>
          </p:grpSpPr>
          <p:sp>
            <p:nvSpPr>
              <p:cNvPr id="444" name="Freeform 444">
                <a:extLst>
                  <a:ext uri="{FF2B5EF4-FFF2-40B4-BE49-F238E27FC236}">
                    <a16:creationId xmlns:a16="http://schemas.microsoft.com/office/drawing/2014/main" id="{3458BAFE-1974-4A3E-805E-D6F44E0B9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0888" y="1531938"/>
                <a:ext cx="6392863" cy="2024063"/>
              </a:xfrm>
              <a:custGeom>
                <a:avLst/>
                <a:gdLst>
                  <a:gd name="T0" fmla="*/ 26 w 4027"/>
                  <a:gd name="T1" fmla="*/ 10 h 1275"/>
                  <a:gd name="T2" fmla="*/ 42 w 4027"/>
                  <a:gd name="T3" fmla="*/ 28 h 1275"/>
                  <a:gd name="T4" fmla="*/ 58 w 4027"/>
                  <a:gd name="T5" fmla="*/ 52 h 1275"/>
                  <a:gd name="T6" fmla="*/ 80 w 4027"/>
                  <a:gd name="T7" fmla="*/ 70 h 1275"/>
                  <a:gd name="T8" fmla="*/ 92 w 4027"/>
                  <a:gd name="T9" fmla="*/ 110 h 1275"/>
                  <a:gd name="T10" fmla="*/ 100 w 4027"/>
                  <a:gd name="T11" fmla="*/ 155 h 1275"/>
                  <a:gd name="T12" fmla="*/ 108 w 4027"/>
                  <a:gd name="T13" fmla="*/ 171 h 1275"/>
                  <a:gd name="T14" fmla="*/ 114 w 4027"/>
                  <a:gd name="T15" fmla="*/ 181 h 1275"/>
                  <a:gd name="T16" fmla="*/ 134 w 4027"/>
                  <a:gd name="T17" fmla="*/ 223 h 1275"/>
                  <a:gd name="T18" fmla="*/ 142 w 4027"/>
                  <a:gd name="T19" fmla="*/ 247 h 1275"/>
                  <a:gd name="T20" fmla="*/ 148 w 4027"/>
                  <a:gd name="T21" fmla="*/ 357 h 1275"/>
                  <a:gd name="T22" fmla="*/ 154 w 4027"/>
                  <a:gd name="T23" fmla="*/ 379 h 1275"/>
                  <a:gd name="T24" fmla="*/ 182 w 4027"/>
                  <a:gd name="T25" fmla="*/ 415 h 1275"/>
                  <a:gd name="T26" fmla="*/ 228 w 4027"/>
                  <a:gd name="T27" fmla="*/ 451 h 1275"/>
                  <a:gd name="T28" fmla="*/ 260 w 4027"/>
                  <a:gd name="T29" fmla="*/ 471 h 1275"/>
                  <a:gd name="T30" fmla="*/ 286 w 4027"/>
                  <a:gd name="T31" fmla="*/ 507 h 1275"/>
                  <a:gd name="T32" fmla="*/ 292 w 4027"/>
                  <a:gd name="T33" fmla="*/ 596 h 1275"/>
                  <a:gd name="T34" fmla="*/ 304 w 4027"/>
                  <a:gd name="T35" fmla="*/ 608 h 1275"/>
                  <a:gd name="T36" fmla="*/ 338 w 4027"/>
                  <a:gd name="T37" fmla="*/ 640 h 1275"/>
                  <a:gd name="T38" fmla="*/ 360 w 4027"/>
                  <a:gd name="T39" fmla="*/ 656 h 1275"/>
                  <a:gd name="T40" fmla="*/ 384 w 4027"/>
                  <a:gd name="T41" fmla="*/ 682 h 1275"/>
                  <a:gd name="T42" fmla="*/ 432 w 4027"/>
                  <a:gd name="T43" fmla="*/ 700 h 1275"/>
                  <a:gd name="T44" fmla="*/ 468 w 4027"/>
                  <a:gd name="T45" fmla="*/ 754 h 1275"/>
                  <a:gd name="T46" fmla="*/ 480 w 4027"/>
                  <a:gd name="T47" fmla="*/ 776 h 1275"/>
                  <a:gd name="T48" fmla="*/ 492 w 4027"/>
                  <a:gd name="T49" fmla="*/ 784 h 1275"/>
                  <a:gd name="T50" fmla="*/ 574 w 4027"/>
                  <a:gd name="T51" fmla="*/ 806 h 1275"/>
                  <a:gd name="T52" fmla="*/ 589 w 4027"/>
                  <a:gd name="T53" fmla="*/ 842 h 1275"/>
                  <a:gd name="T54" fmla="*/ 607 w 4027"/>
                  <a:gd name="T55" fmla="*/ 856 h 1275"/>
                  <a:gd name="T56" fmla="*/ 629 w 4027"/>
                  <a:gd name="T57" fmla="*/ 868 h 1275"/>
                  <a:gd name="T58" fmla="*/ 675 w 4027"/>
                  <a:gd name="T59" fmla="*/ 876 h 1275"/>
                  <a:gd name="T60" fmla="*/ 709 w 4027"/>
                  <a:gd name="T61" fmla="*/ 898 h 1275"/>
                  <a:gd name="T62" fmla="*/ 733 w 4027"/>
                  <a:gd name="T63" fmla="*/ 932 h 1275"/>
                  <a:gd name="T64" fmla="*/ 745 w 4027"/>
                  <a:gd name="T65" fmla="*/ 946 h 1275"/>
                  <a:gd name="T66" fmla="*/ 857 w 4027"/>
                  <a:gd name="T67" fmla="*/ 958 h 1275"/>
                  <a:gd name="T68" fmla="*/ 891 w 4027"/>
                  <a:gd name="T69" fmla="*/ 980 h 1275"/>
                  <a:gd name="T70" fmla="*/ 903 w 4027"/>
                  <a:gd name="T71" fmla="*/ 1001 h 1275"/>
                  <a:gd name="T72" fmla="*/ 975 w 4027"/>
                  <a:gd name="T73" fmla="*/ 1017 h 1275"/>
                  <a:gd name="T74" fmla="*/ 1017 w 4027"/>
                  <a:gd name="T75" fmla="*/ 1027 h 1275"/>
                  <a:gd name="T76" fmla="*/ 1057 w 4027"/>
                  <a:gd name="T77" fmla="*/ 1059 h 1275"/>
                  <a:gd name="T78" fmla="*/ 1151 w 4027"/>
                  <a:gd name="T79" fmla="*/ 1067 h 1275"/>
                  <a:gd name="T80" fmla="*/ 1175 w 4027"/>
                  <a:gd name="T81" fmla="*/ 1083 h 1275"/>
                  <a:gd name="T82" fmla="*/ 1277 w 4027"/>
                  <a:gd name="T83" fmla="*/ 1093 h 1275"/>
                  <a:gd name="T84" fmla="*/ 1442 w 4027"/>
                  <a:gd name="T85" fmla="*/ 1103 h 1275"/>
                  <a:gd name="T86" fmla="*/ 1476 w 4027"/>
                  <a:gd name="T87" fmla="*/ 1113 h 1275"/>
                  <a:gd name="T88" fmla="*/ 1494 w 4027"/>
                  <a:gd name="T89" fmla="*/ 1129 h 1275"/>
                  <a:gd name="T90" fmla="*/ 1706 w 4027"/>
                  <a:gd name="T91" fmla="*/ 1139 h 1275"/>
                  <a:gd name="T92" fmla="*/ 1758 w 4027"/>
                  <a:gd name="T93" fmla="*/ 1159 h 1275"/>
                  <a:gd name="T94" fmla="*/ 1844 w 4027"/>
                  <a:gd name="T95" fmla="*/ 1175 h 1275"/>
                  <a:gd name="T96" fmla="*/ 2066 w 4027"/>
                  <a:gd name="T97" fmla="*/ 1187 h 1275"/>
                  <a:gd name="T98" fmla="*/ 2257 w 4027"/>
                  <a:gd name="T99" fmla="*/ 1203 h 1275"/>
                  <a:gd name="T100" fmla="*/ 2609 w 4027"/>
                  <a:gd name="T101" fmla="*/ 1211 h 1275"/>
                  <a:gd name="T102" fmla="*/ 2891 w 4027"/>
                  <a:gd name="T103" fmla="*/ 1223 h 1275"/>
                  <a:gd name="T104" fmla="*/ 3122 w 4027"/>
                  <a:gd name="T105" fmla="*/ 1235 h 1275"/>
                  <a:gd name="T106" fmla="*/ 3438 w 4027"/>
                  <a:gd name="T107" fmla="*/ 1249 h 1275"/>
                  <a:gd name="T108" fmla="*/ 4027 w 4027"/>
                  <a:gd name="T109" fmla="*/ 1275 h 1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027" h="1275">
                    <a:moveTo>
                      <a:pt x="0" y="0"/>
                    </a:moveTo>
                    <a:lnTo>
                      <a:pt x="18" y="0"/>
                    </a:lnTo>
                    <a:lnTo>
                      <a:pt x="18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32" y="14"/>
                    </a:lnTo>
                    <a:lnTo>
                      <a:pt x="32" y="28"/>
                    </a:lnTo>
                    <a:lnTo>
                      <a:pt x="42" y="28"/>
                    </a:lnTo>
                    <a:lnTo>
                      <a:pt x="42" y="42"/>
                    </a:lnTo>
                    <a:lnTo>
                      <a:pt x="52" y="42"/>
                    </a:lnTo>
                    <a:lnTo>
                      <a:pt x="52" y="52"/>
                    </a:lnTo>
                    <a:lnTo>
                      <a:pt x="58" y="52"/>
                    </a:lnTo>
                    <a:lnTo>
                      <a:pt x="58" y="60"/>
                    </a:lnTo>
                    <a:lnTo>
                      <a:pt x="70" y="60"/>
                    </a:lnTo>
                    <a:lnTo>
                      <a:pt x="70" y="70"/>
                    </a:lnTo>
                    <a:lnTo>
                      <a:pt x="80" y="70"/>
                    </a:lnTo>
                    <a:lnTo>
                      <a:pt x="80" y="88"/>
                    </a:lnTo>
                    <a:lnTo>
                      <a:pt x="90" y="88"/>
                    </a:lnTo>
                    <a:lnTo>
                      <a:pt x="90" y="110"/>
                    </a:lnTo>
                    <a:lnTo>
                      <a:pt x="92" y="110"/>
                    </a:lnTo>
                    <a:lnTo>
                      <a:pt x="92" y="127"/>
                    </a:lnTo>
                    <a:lnTo>
                      <a:pt x="96" y="127"/>
                    </a:lnTo>
                    <a:lnTo>
                      <a:pt x="96" y="155"/>
                    </a:lnTo>
                    <a:lnTo>
                      <a:pt x="100" y="155"/>
                    </a:lnTo>
                    <a:lnTo>
                      <a:pt x="100" y="163"/>
                    </a:lnTo>
                    <a:lnTo>
                      <a:pt x="104" y="163"/>
                    </a:lnTo>
                    <a:lnTo>
                      <a:pt x="104" y="171"/>
                    </a:lnTo>
                    <a:lnTo>
                      <a:pt x="108" y="171"/>
                    </a:lnTo>
                    <a:lnTo>
                      <a:pt x="108" y="177"/>
                    </a:lnTo>
                    <a:lnTo>
                      <a:pt x="110" y="177"/>
                    </a:lnTo>
                    <a:lnTo>
                      <a:pt x="110" y="181"/>
                    </a:lnTo>
                    <a:lnTo>
                      <a:pt x="114" y="181"/>
                    </a:lnTo>
                    <a:lnTo>
                      <a:pt x="114" y="185"/>
                    </a:lnTo>
                    <a:lnTo>
                      <a:pt x="124" y="185"/>
                    </a:lnTo>
                    <a:lnTo>
                      <a:pt x="124" y="223"/>
                    </a:lnTo>
                    <a:lnTo>
                      <a:pt x="134" y="223"/>
                    </a:lnTo>
                    <a:lnTo>
                      <a:pt x="134" y="225"/>
                    </a:lnTo>
                    <a:lnTo>
                      <a:pt x="138" y="225"/>
                    </a:lnTo>
                    <a:lnTo>
                      <a:pt x="138" y="247"/>
                    </a:lnTo>
                    <a:lnTo>
                      <a:pt x="142" y="247"/>
                    </a:lnTo>
                    <a:lnTo>
                      <a:pt x="142" y="287"/>
                    </a:lnTo>
                    <a:lnTo>
                      <a:pt x="144" y="287"/>
                    </a:lnTo>
                    <a:lnTo>
                      <a:pt x="144" y="357"/>
                    </a:lnTo>
                    <a:lnTo>
                      <a:pt x="148" y="357"/>
                    </a:lnTo>
                    <a:lnTo>
                      <a:pt x="148" y="369"/>
                    </a:lnTo>
                    <a:lnTo>
                      <a:pt x="150" y="369"/>
                    </a:lnTo>
                    <a:lnTo>
                      <a:pt x="150" y="379"/>
                    </a:lnTo>
                    <a:lnTo>
                      <a:pt x="154" y="379"/>
                    </a:lnTo>
                    <a:lnTo>
                      <a:pt x="154" y="385"/>
                    </a:lnTo>
                    <a:lnTo>
                      <a:pt x="156" y="385"/>
                    </a:lnTo>
                    <a:lnTo>
                      <a:pt x="156" y="415"/>
                    </a:lnTo>
                    <a:lnTo>
                      <a:pt x="182" y="415"/>
                    </a:lnTo>
                    <a:lnTo>
                      <a:pt x="182" y="421"/>
                    </a:lnTo>
                    <a:lnTo>
                      <a:pt x="194" y="421"/>
                    </a:lnTo>
                    <a:lnTo>
                      <a:pt x="194" y="451"/>
                    </a:lnTo>
                    <a:lnTo>
                      <a:pt x="228" y="451"/>
                    </a:lnTo>
                    <a:lnTo>
                      <a:pt x="228" y="467"/>
                    </a:lnTo>
                    <a:lnTo>
                      <a:pt x="238" y="467"/>
                    </a:lnTo>
                    <a:lnTo>
                      <a:pt x="238" y="471"/>
                    </a:lnTo>
                    <a:lnTo>
                      <a:pt x="260" y="471"/>
                    </a:lnTo>
                    <a:lnTo>
                      <a:pt x="260" y="477"/>
                    </a:lnTo>
                    <a:lnTo>
                      <a:pt x="270" y="477"/>
                    </a:lnTo>
                    <a:lnTo>
                      <a:pt x="270" y="507"/>
                    </a:lnTo>
                    <a:lnTo>
                      <a:pt x="286" y="507"/>
                    </a:lnTo>
                    <a:lnTo>
                      <a:pt x="286" y="519"/>
                    </a:lnTo>
                    <a:lnTo>
                      <a:pt x="288" y="519"/>
                    </a:lnTo>
                    <a:lnTo>
                      <a:pt x="288" y="596"/>
                    </a:lnTo>
                    <a:lnTo>
                      <a:pt x="292" y="596"/>
                    </a:lnTo>
                    <a:lnTo>
                      <a:pt x="292" y="606"/>
                    </a:lnTo>
                    <a:lnTo>
                      <a:pt x="294" y="606"/>
                    </a:lnTo>
                    <a:lnTo>
                      <a:pt x="294" y="608"/>
                    </a:lnTo>
                    <a:lnTo>
                      <a:pt x="304" y="608"/>
                    </a:lnTo>
                    <a:lnTo>
                      <a:pt x="304" y="636"/>
                    </a:lnTo>
                    <a:lnTo>
                      <a:pt x="334" y="636"/>
                    </a:lnTo>
                    <a:lnTo>
                      <a:pt x="334" y="640"/>
                    </a:lnTo>
                    <a:lnTo>
                      <a:pt x="338" y="640"/>
                    </a:lnTo>
                    <a:lnTo>
                      <a:pt x="338" y="650"/>
                    </a:lnTo>
                    <a:lnTo>
                      <a:pt x="346" y="650"/>
                    </a:lnTo>
                    <a:lnTo>
                      <a:pt x="346" y="656"/>
                    </a:lnTo>
                    <a:lnTo>
                      <a:pt x="360" y="656"/>
                    </a:lnTo>
                    <a:lnTo>
                      <a:pt x="360" y="678"/>
                    </a:lnTo>
                    <a:lnTo>
                      <a:pt x="382" y="678"/>
                    </a:lnTo>
                    <a:lnTo>
                      <a:pt x="382" y="682"/>
                    </a:lnTo>
                    <a:lnTo>
                      <a:pt x="384" y="682"/>
                    </a:lnTo>
                    <a:lnTo>
                      <a:pt x="384" y="686"/>
                    </a:lnTo>
                    <a:lnTo>
                      <a:pt x="386" y="686"/>
                    </a:lnTo>
                    <a:lnTo>
                      <a:pt x="386" y="700"/>
                    </a:lnTo>
                    <a:lnTo>
                      <a:pt x="432" y="700"/>
                    </a:lnTo>
                    <a:lnTo>
                      <a:pt x="432" y="748"/>
                    </a:lnTo>
                    <a:lnTo>
                      <a:pt x="436" y="748"/>
                    </a:lnTo>
                    <a:lnTo>
                      <a:pt x="436" y="754"/>
                    </a:lnTo>
                    <a:lnTo>
                      <a:pt x="468" y="754"/>
                    </a:lnTo>
                    <a:lnTo>
                      <a:pt x="468" y="770"/>
                    </a:lnTo>
                    <a:lnTo>
                      <a:pt x="480" y="770"/>
                    </a:lnTo>
                    <a:lnTo>
                      <a:pt x="480" y="776"/>
                    </a:lnTo>
                    <a:lnTo>
                      <a:pt x="480" y="776"/>
                    </a:lnTo>
                    <a:lnTo>
                      <a:pt x="480" y="780"/>
                    </a:lnTo>
                    <a:lnTo>
                      <a:pt x="482" y="780"/>
                    </a:lnTo>
                    <a:lnTo>
                      <a:pt x="482" y="784"/>
                    </a:lnTo>
                    <a:lnTo>
                      <a:pt x="492" y="784"/>
                    </a:lnTo>
                    <a:lnTo>
                      <a:pt x="492" y="790"/>
                    </a:lnTo>
                    <a:lnTo>
                      <a:pt x="570" y="790"/>
                    </a:lnTo>
                    <a:lnTo>
                      <a:pt x="570" y="806"/>
                    </a:lnTo>
                    <a:lnTo>
                      <a:pt x="574" y="806"/>
                    </a:lnTo>
                    <a:lnTo>
                      <a:pt x="574" y="820"/>
                    </a:lnTo>
                    <a:lnTo>
                      <a:pt x="576" y="820"/>
                    </a:lnTo>
                    <a:lnTo>
                      <a:pt x="576" y="842"/>
                    </a:lnTo>
                    <a:lnTo>
                      <a:pt x="589" y="842"/>
                    </a:lnTo>
                    <a:lnTo>
                      <a:pt x="589" y="848"/>
                    </a:lnTo>
                    <a:lnTo>
                      <a:pt x="601" y="848"/>
                    </a:lnTo>
                    <a:lnTo>
                      <a:pt x="601" y="856"/>
                    </a:lnTo>
                    <a:lnTo>
                      <a:pt x="607" y="856"/>
                    </a:lnTo>
                    <a:lnTo>
                      <a:pt x="607" y="862"/>
                    </a:lnTo>
                    <a:lnTo>
                      <a:pt x="615" y="862"/>
                    </a:lnTo>
                    <a:lnTo>
                      <a:pt x="615" y="868"/>
                    </a:lnTo>
                    <a:lnTo>
                      <a:pt x="629" y="868"/>
                    </a:lnTo>
                    <a:lnTo>
                      <a:pt x="629" y="874"/>
                    </a:lnTo>
                    <a:lnTo>
                      <a:pt x="631" y="874"/>
                    </a:lnTo>
                    <a:lnTo>
                      <a:pt x="631" y="876"/>
                    </a:lnTo>
                    <a:lnTo>
                      <a:pt x="675" y="876"/>
                    </a:lnTo>
                    <a:lnTo>
                      <a:pt x="675" y="890"/>
                    </a:lnTo>
                    <a:lnTo>
                      <a:pt x="707" y="890"/>
                    </a:lnTo>
                    <a:lnTo>
                      <a:pt x="707" y="898"/>
                    </a:lnTo>
                    <a:lnTo>
                      <a:pt x="709" y="898"/>
                    </a:lnTo>
                    <a:lnTo>
                      <a:pt x="709" y="902"/>
                    </a:lnTo>
                    <a:lnTo>
                      <a:pt x="719" y="902"/>
                    </a:lnTo>
                    <a:lnTo>
                      <a:pt x="719" y="932"/>
                    </a:lnTo>
                    <a:lnTo>
                      <a:pt x="733" y="932"/>
                    </a:lnTo>
                    <a:lnTo>
                      <a:pt x="733" y="938"/>
                    </a:lnTo>
                    <a:lnTo>
                      <a:pt x="741" y="938"/>
                    </a:lnTo>
                    <a:lnTo>
                      <a:pt x="741" y="946"/>
                    </a:lnTo>
                    <a:lnTo>
                      <a:pt x="745" y="946"/>
                    </a:lnTo>
                    <a:lnTo>
                      <a:pt x="745" y="950"/>
                    </a:lnTo>
                    <a:lnTo>
                      <a:pt x="831" y="950"/>
                    </a:lnTo>
                    <a:lnTo>
                      <a:pt x="831" y="958"/>
                    </a:lnTo>
                    <a:lnTo>
                      <a:pt x="857" y="958"/>
                    </a:lnTo>
                    <a:lnTo>
                      <a:pt x="857" y="966"/>
                    </a:lnTo>
                    <a:lnTo>
                      <a:pt x="865" y="966"/>
                    </a:lnTo>
                    <a:lnTo>
                      <a:pt x="865" y="980"/>
                    </a:lnTo>
                    <a:lnTo>
                      <a:pt x="891" y="980"/>
                    </a:lnTo>
                    <a:lnTo>
                      <a:pt x="891" y="999"/>
                    </a:lnTo>
                    <a:lnTo>
                      <a:pt x="899" y="999"/>
                    </a:lnTo>
                    <a:lnTo>
                      <a:pt x="899" y="1001"/>
                    </a:lnTo>
                    <a:lnTo>
                      <a:pt x="903" y="1001"/>
                    </a:lnTo>
                    <a:lnTo>
                      <a:pt x="903" y="1007"/>
                    </a:lnTo>
                    <a:lnTo>
                      <a:pt x="909" y="1007"/>
                    </a:lnTo>
                    <a:lnTo>
                      <a:pt x="909" y="1017"/>
                    </a:lnTo>
                    <a:lnTo>
                      <a:pt x="975" y="1017"/>
                    </a:lnTo>
                    <a:lnTo>
                      <a:pt x="975" y="1021"/>
                    </a:lnTo>
                    <a:lnTo>
                      <a:pt x="1003" y="1021"/>
                    </a:lnTo>
                    <a:lnTo>
                      <a:pt x="1003" y="1027"/>
                    </a:lnTo>
                    <a:lnTo>
                      <a:pt x="1017" y="1027"/>
                    </a:lnTo>
                    <a:lnTo>
                      <a:pt x="1017" y="1033"/>
                    </a:lnTo>
                    <a:lnTo>
                      <a:pt x="1023" y="1033"/>
                    </a:lnTo>
                    <a:lnTo>
                      <a:pt x="1023" y="1059"/>
                    </a:lnTo>
                    <a:lnTo>
                      <a:pt x="1057" y="1059"/>
                    </a:lnTo>
                    <a:lnTo>
                      <a:pt x="1057" y="1063"/>
                    </a:lnTo>
                    <a:lnTo>
                      <a:pt x="1099" y="1063"/>
                    </a:lnTo>
                    <a:lnTo>
                      <a:pt x="1099" y="1067"/>
                    </a:lnTo>
                    <a:lnTo>
                      <a:pt x="1151" y="1067"/>
                    </a:lnTo>
                    <a:lnTo>
                      <a:pt x="1151" y="1079"/>
                    </a:lnTo>
                    <a:lnTo>
                      <a:pt x="1167" y="1079"/>
                    </a:lnTo>
                    <a:lnTo>
                      <a:pt x="1167" y="1083"/>
                    </a:lnTo>
                    <a:lnTo>
                      <a:pt x="1175" y="1083"/>
                    </a:lnTo>
                    <a:lnTo>
                      <a:pt x="1175" y="1087"/>
                    </a:lnTo>
                    <a:lnTo>
                      <a:pt x="1261" y="1087"/>
                    </a:lnTo>
                    <a:lnTo>
                      <a:pt x="1261" y="1093"/>
                    </a:lnTo>
                    <a:lnTo>
                      <a:pt x="1277" y="1093"/>
                    </a:lnTo>
                    <a:lnTo>
                      <a:pt x="1277" y="1099"/>
                    </a:lnTo>
                    <a:lnTo>
                      <a:pt x="1391" y="1099"/>
                    </a:lnTo>
                    <a:lnTo>
                      <a:pt x="1391" y="1103"/>
                    </a:lnTo>
                    <a:lnTo>
                      <a:pt x="1442" y="1103"/>
                    </a:lnTo>
                    <a:lnTo>
                      <a:pt x="1442" y="1107"/>
                    </a:lnTo>
                    <a:lnTo>
                      <a:pt x="1462" y="1107"/>
                    </a:lnTo>
                    <a:lnTo>
                      <a:pt x="1462" y="1113"/>
                    </a:lnTo>
                    <a:lnTo>
                      <a:pt x="1476" y="1113"/>
                    </a:lnTo>
                    <a:lnTo>
                      <a:pt x="1476" y="1119"/>
                    </a:lnTo>
                    <a:lnTo>
                      <a:pt x="1488" y="1119"/>
                    </a:lnTo>
                    <a:lnTo>
                      <a:pt x="1488" y="1129"/>
                    </a:lnTo>
                    <a:lnTo>
                      <a:pt x="1494" y="1129"/>
                    </a:lnTo>
                    <a:lnTo>
                      <a:pt x="1494" y="1133"/>
                    </a:lnTo>
                    <a:lnTo>
                      <a:pt x="1632" y="1133"/>
                    </a:lnTo>
                    <a:lnTo>
                      <a:pt x="1632" y="1139"/>
                    </a:lnTo>
                    <a:lnTo>
                      <a:pt x="1706" y="1139"/>
                    </a:lnTo>
                    <a:lnTo>
                      <a:pt x="1706" y="1153"/>
                    </a:lnTo>
                    <a:lnTo>
                      <a:pt x="1736" y="1153"/>
                    </a:lnTo>
                    <a:lnTo>
                      <a:pt x="1736" y="1159"/>
                    </a:lnTo>
                    <a:lnTo>
                      <a:pt x="1758" y="1159"/>
                    </a:lnTo>
                    <a:lnTo>
                      <a:pt x="1758" y="1165"/>
                    </a:lnTo>
                    <a:lnTo>
                      <a:pt x="1826" y="1165"/>
                    </a:lnTo>
                    <a:lnTo>
                      <a:pt x="1826" y="1175"/>
                    </a:lnTo>
                    <a:lnTo>
                      <a:pt x="1844" y="1175"/>
                    </a:lnTo>
                    <a:lnTo>
                      <a:pt x="1844" y="1179"/>
                    </a:lnTo>
                    <a:lnTo>
                      <a:pt x="1988" y="1179"/>
                    </a:lnTo>
                    <a:lnTo>
                      <a:pt x="1988" y="1187"/>
                    </a:lnTo>
                    <a:lnTo>
                      <a:pt x="2066" y="1187"/>
                    </a:lnTo>
                    <a:lnTo>
                      <a:pt x="2066" y="1191"/>
                    </a:lnTo>
                    <a:lnTo>
                      <a:pt x="2202" y="1191"/>
                    </a:lnTo>
                    <a:lnTo>
                      <a:pt x="2202" y="1203"/>
                    </a:lnTo>
                    <a:lnTo>
                      <a:pt x="2257" y="1203"/>
                    </a:lnTo>
                    <a:lnTo>
                      <a:pt x="2257" y="1209"/>
                    </a:lnTo>
                    <a:lnTo>
                      <a:pt x="2593" y="1209"/>
                    </a:lnTo>
                    <a:lnTo>
                      <a:pt x="2593" y="1211"/>
                    </a:lnTo>
                    <a:lnTo>
                      <a:pt x="2609" y="1211"/>
                    </a:lnTo>
                    <a:lnTo>
                      <a:pt x="2609" y="1217"/>
                    </a:lnTo>
                    <a:lnTo>
                      <a:pt x="2771" y="1217"/>
                    </a:lnTo>
                    <a:lnTo>
                      <a:pt x="2771" y="1223"/>
                    </a:lnTo>
                    <a:lnTo>
                      <a:pt x="2891" y="1223"/>
                    </a:lnTo>
                    <a:lnTo>
                      <a:pt x="2891" y="1229"/>
                    </a:lnTo>
                    <a:lnTo>
                      <a:pt x="3032" y="1229"/>
                    </a:lnTo>
                    <a:lnTo>
                      <a:pt x="3032" y="1235"/>
                    </a:lnTo>
                    <a:lnTo>
                      <a:pt x="3122" y="1235"/>
                    </a:lnTo>
                    <a:lnTo>
                      <a:pt x="3122" y="1243"/>
                    </a:lnTo>
                    <a:lnTo>
                      <a:pt x="3180" y="1243"/>
                    </a:lnTo>
                    <a:lnTo>
                      <a:pt x="3180" y="1249"/>
                    </a:lnTo>
                    <a:lnTo>
                      <a:pt x="3438" y="1249"/>
                    </a:lnTo>
                    <a:lnTo>
                      <a:pt x="3438" y="1263"/>
                    </a:lnTo>
                    <a:lnTo>
                      <a:pt x="3472" y="1263"/>
                    </a:lnTo>
                    <a:lnTo>
                      <a:pt x="3472" y="1275"/>
                    </a:lnTo>
                    <a:lnTo>
                      <a:pt x="4027" y="1275"/>
                    </a:lnTo>
                  </a:path>
                </a:pathLst>
              </a:custGeom>
              <a:noFill/>
              <a:ln w="28575" cap="flat">
                <a:solidFill>
                  <a:srgbClr val="9851A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grpSp>
            <p:nvGrpSpPr>
              <p:cNvPr id="445" name="Group 444">
                <a:extLst>
                  <a:ext uri="{FF2B5EF4-FFF2-40B4-BE49-F238E27FC236}">
                    <a16:creationId xmlns:a16="http://schemas.microsoft.com/office/drawing/2014/main" id="{B6E6DB7B-D69A-46E6-BDC5-774C5AA53CC0}"/>
                  </a:ext>
                </a:extLst>
              </p:cNvPr>
              <p:cNvGrpSpPr/>
              <p:nvPr/>
            </p:nvGrpSpPr>
            <p:grpSpPr>
              <a:xfrm>
                <a:off x="3255963" y="1496217"/>
                <a:ext cx="6462712" cy="2094709"/>
                <a:chOff x="3255963" y="1496217"/>
                <a:chExt cx="6462712" cy="2094709"/>
              </a:xfrm>
            </p:grpSpPr>
            <p:sp>
              <p:nvSpPr>
                <p:cNvPr id="446" name="Line 214">
                  <a:extLst>
                    <a:ext uri="{FF2B5EF4-FFF2-40B4-BE49-F238E27FC236}">
                      <a16:creationId xmlns:a16="http://schemas.microsoft.com/office/drawing/2014/main" id="{20BCAD34-F696-4A16-8844-1C4FB6B48ED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255963" y="1531142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47" name="Line 215">
                  <a:extLst>
                    <a:ext uri="{FF2B5EF4-FFF2-40B4-BE49-F238E27FC236}">
                      <a16:creationId xmlns:a16="http://schemas.microsoft.com/office/drawing/2014/main" id="{116168C5-6C02-4466-83F5-E2531EAF20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90888" y="1496217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48" name="Line 445">
                  <a:extLst>
                    <a:ext uri="{FF2B5EF4-FFF2-40B4-BE49-F238E27FC236}">
                      <a16:creationId xmlns:a16="http://schemas.microsoft.com/office/drawing/2014/main" id="{4E5A6C8B-8B9E-42A3-BB53-DAF39DEC496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255963" y="1531142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49" name="Line 446">
                  <a:extLst>
                    <a:ext uri="{FF2B5EF4-FFF2-40B4-BE49-F238E27FC236}">
                      <a16:creationId xmlns:a16="http://schemas.microsoft.com/office/drawing/2014/main" id="{95629A44-883B-4FD2-9713-39BCF1D120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90888" y="1496217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0" name="Line 447">
                  <a:extLst>
                    <a:ext uri="{FF2B5EF4-FFF2-40B4-BE49-F238E27FC236}">
                      <a16:creationId xmlns:a16="http://schemas.microsoft.com/office/drawing/2014/main" id="{B5BDD870-5EE6-4A71-87CA-1511CC0B9F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14713" y="179070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1" name="Line 448">
                  <a:extLst>
                    <a:ext uri="{FF2B5EF4-FFF2-40B4-BE49-F238E27FC236}">
                      <a16:creationId xmlns:a16="http://schemas.microsoft.com/office/drawing/2014/main" id="{B5207330-7BA7-4CA1-B59D-BBECB026890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49638" y="17526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2" name="Line 449">
                  <a:extLst>
                    <a:ext uri="{FF2B5EF4-FFF2-40B4-BE49-F238E27FC236}">
                      <a16:creationId xmlns:a16="http://schemas.microsoft.com/office/drawing/2014/main" id="{F63A3065-63FD-41A2-9048-B1E942CEB8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871913" y="264318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3" name="Line 450">
                  <a:extLst>
                    <a:ext uri="{FF2B5EF4-FFF2-40B4-BE49-F238E27FC236}">
                      <a16:creationId xmlns:a16="http://schemas.microsoft.com/office/drawing/2014/main" id="{1B65C6A9-C7F0-4ED3-9F35-0A084A9E52C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0013" y="26082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4" name="Line 451">
                  <a:extLst>
                    <a:ext uri="{FF2B5EF4-FFF2-40B4-BE49-F238E27FC236}">
                      <a16:creationId xmlns:a16="http://schemas.microsoft.com/office/drawing/2014/main" id="{19C56F12-4878-48E1-91A5-ADF396DC3CA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027488" y="27765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5" name="Line 452">
                  <a:extLst>
                    <a:ext uri="{FF2B5EF4-FFF2-40B4-BE49-F238E27FC236}">
                      <a16:creationId xmlns:a16="http://schemas.microsoft.com/office/drawing/2014/main" id="{DBE58106-F7AA-4206-9CAA-2CE6C003DB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65588" y="27384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6" name="Line 453">
                  <a:extLst>
                    <a:ext uri="{FF2B5EF4-FFF2-40B4-BE49-F238E27FC236}">
                      <a16:creationId xmlns:a16="http://schemas.microsoft.com/office/drawing/2014/main" id="{495CE8A3-CA59-420F-81A8-78442EF179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033838" y="277653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7" name="Line 454">
                  <a:extLst>
                    <a:ext uri="{FF2B5EF4-FFF2-40B4-BE49-F238E27FC236}">
                      <a16:creationId xmlns:a16="http://schemas.microsoft.com/office/drawing/2014/main" id="{4ED234F7-831D-4E12-B45A-F82BED1FA67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68763" y="27384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8" name="Line 455">
                  <a:extLst>
                    <a:ext uri="{FF2B5EF4-FFF2-40B4-BE49-F238E27FC236}">
                      <a16:creationId xmlns:a16="http://schemas.microsoft.com/office/drawing/2014/main" id="{6CC01751-0BCD-4B1D-9942-456E63BCA89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132263" y="278606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59" name="Line 456">
                  <a:extLst>
                    <a:ext uri="{FF2B5EF4-FFF2-40B4-BE49-F238E27FC236}">
                      <a16:creationId xmlns:a16="http://schemas.microsoft.com/office/drawing/2014/main" id="{01E3B6FF-4828-430D-9E93-38CF8CCE097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170363" y="27511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0" name="Line 457">
                  <a:extLst>
                    <a:ext uri="{FF2B5EF4-FFF2-40B4-BE49-F238E27FC236}">
                      <a16:creationId xmlns:a16="http://schemas.microsoft.com/office/drawing/2014/main" id="{CC4FDC55-13ED-4709-8832-DC2554A289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056063" y="2786063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1" name="Line 458">
                  <a:extLst>
                    <a:ext uri="{FF2B5EF4-FFF2-40B4-BE49-F238E27FC236}">
                      <a16:creationId xmlns:a16="http://schemas.microsoft.com/office/drawing/2014/main" id="{ED2E7840-C7E5-4BD9-9DC3-BF9908527A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090988" y="275113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2" name="Line 459">
                  <a:extLst>
                    <a:ext uri="{FF2B5EF4-FFF2-40B4-BE49-F238E27FC236}">
                      <a16:creationId xmlns:a16="http://schemas.microsoft.com/office/drawing/2014/main" id="{95E2B488-A6A5-40EF-9799-2B754997F73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183063" y="2868613"/>
                  <a:ext cx="74613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3" name="Line 460">
                  <a:extLst>
                    <a:ext uri="{FF2B5EF4-FFF2-40B4-BE49-F238E27FC236}">
                      <a16:creationId xmlns:a16="http://schemas.microsoft.com/office/drawing/2014/main" id="{AEEA1784-4D75-4C3F-9784-C54A543082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22750" y="283051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4" name="Line 461">
                  <a:extLst>
                    <a:ext uri="{FF2B5EF4-FFF2-40B4-BE49-F238E27FC236}">
                      <a16:creationId xmlns:a16="http://schemas.microsoft.com/office/drawing/2014/main" id="{5718340B-D63C-457E-BC10-4D0DDD0959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192588" y="2878138"/>
                  <a:ext cx="74613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5" name="Line 462">
                  <a:extLst>
                    <a:ext uri="{FF2B5EF4-FFF2-40B4-BE49-F238E27FC236}">
                      <a16:creationId xmlns:a16="http://schemas.microsoft.com/office/drawing/2014/main" id="{C5019D9D-8CE7-4A8D-A55E-EA69AFE6D88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29100" y="2840038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6" name="Line 463">
                  <a:extLst>
                    <a:ext uri="{FF2B5EF4-FFF2-40B4-BE49-F238E27FC236}">
                      <a16:creationId xmlns:a16="http://schemas.microsoft.com/office/drawing/2014/main" id="{AAF326C8-FDB5-4D7B-8878-FC7DCFE2E40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235450" y="290988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7" name="Line 464">
                  <a:extLst>
                    <a:ext uri="{FF2B5EF4-FFF2-40B4-BE49-F238E27FC236}">
                      <a16:creationId xmlns:a16="http://schemas.microsoft.com/office/drawing/2014/main" id="{9FF61FC8-9286-428D-953B-79A2923E887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70375" y="2871788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8" name="Line 465">
                  <a:extLst>
                    <a:ext uri="{FF2B5EF4-FFF2-40B4-BE49-F238E27FC236}">
                      <a16:creationId xmlns:a16="http://schemas.microsoft.com/office/drawing/2014/main" id="{507249F2-6472-4088-946D-3E5301887A2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279900" y="292258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69" name="Line 466">
                  <a:extLst>
                    <a:ext uri="{FF2B5EF4-FFF2-40B4-BE49-F238E27FC236}">
                      <a16:creationId xmlns:a16="http://schemas.microsoft.com/office/drawing/2014/main" id="{B48A8D31-1F7F-474E-8789-7075F57C24D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318000" y="2887663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0" name="Line 467">
                  <a:extLst>
                    <a:ext uri="{FF2B5EF4-FFF2-40B4-BE49-F238E27FC236}">
                      <a16:creationId xmlns:a16="http://schemas.microsoft.com/office/drawing/2014/main" id="{EC155D3F-CFE1-44F2-A8C5-F7D7AFB930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641850" y="3087688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1" name="Line 468">
                  <a:extLst>
                    <a:ext uri="{FF2B5EF4-FFF2-40B4-BE49-F238E27FC236}">
                      <a16:creationId xmlns:a16="http://schemas.microsoft.com/office/drawing/2014/main" id="{B6F52FA4-DDF0-4C1A-B70F-C6A70FC9698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676775" y="3052763"/>
                  <a:ext cx="0" cy="74613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2" name="Line 469">
                  <a:extLst>
                    <a:ext uri="{FF2B5EF4-FFF2-40B4-BE49-F238E27FC236}">
                      <a16:creationId xmlns:a16="http://schemas.microsoft.com/office/drawing/2014/main" id="{E127A528-AFDD-4F0F-AB6D-08F8F3DDECF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111750" y="325120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3" name="Line 470">
                  <a:extLst>
                    <a:ext uri="{FF2B5EF4-FFF2-40B4-BE49-F238E27FC236}">
                      <a16:creationId xmlns:a16="http://schemas.microsoft.com/office/drawing/2014/main" id="{6F81AB61-C190-42AF-9A71-7CFB350CDC3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146675" y="32131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4" name="Line 471">
                  <a:extLst>
                    <a:ext uri="{FF2B5EF4-FFF2-40B4-BE49-F238E27FC236}">
                      <a16:creationId xmlns:a16="http://schemas.microsoft.com/office/drawing/2014/main" id="{588266A2-BF56-449D-8D10-614695AF5A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130800" y="325755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5" name="Line 472">
                  <a:extLst>
                    <a:ext uri="{FF2B5EF4-FFF2-40B4-BE49-F238E27FC236}">
                      <a16:creationId xmlns:a16="http://schemas.microsoft.com/office/drawing/2014/main" id="{CC0A9231-F8BD-4DD9-94D3-F3528019692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165725" y="32226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6" name="Line 473">
                  <a:extLst>
                    <a:ext uri="{FF2B5EF4-FFF2-40B4-BE49-F238E27FC236}">
                      <a16:creationId xmlns:a16="http://schemas.microsoft.com/office/drawing/2014/main" id="{CE4E54E7-4DEF-4EFB-BAA8-17FCA499353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589588" y="3298826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7" name="Line 474">
                  <a:extLst>
                    <a:ext uri="{FF2B5EF4-FFF2-40B4-BE49-F238E27FC236}">
                      <a16:creationId xmlns:a16="http://schemas.microsoft.com/office/drawing/2014/main" id="{AE565759-1238-471A-8A5B-8B80A37051F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624513" y="3263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8" name="Line 475">
                  <a:extLst>
                    <a:ext uri="{FF2B5EF4-FFF2-40B4-BE49-F238E27FC236}">
                      <a16:creationId xmlns:a16="http://schemas.microsoft.com/office/drawing/2014/main" id="{C96CC241-5581-4281-B4E7-6C4AEC7ECE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599113" y="330835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79" name="Line 476">
                  <a:extLst>
                    <a:ext uri="{FF2B5EF4-FFF2-40B4-BE49-F238E27FC236}">
                      <a16:creationId xmlns:a16="http://schemas.microsoft.com/office/drawing/2014/main" id="{1B6A4D57-F249-427F-9836-C2F9F684E5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634038" y="32734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0" name="Line 477">
                  <a:extLst>
                    <a:ext uri="{FF2B5EF4-FFF2-40B4-BE49-F238E27FC236}">
                      <a16:creationId xmlns:a16="http://schemas.microsoft.com/office/drawing/2014/main" id="{FBCC772C-6C18-4F1F-A8D0-3FE9439C1A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027738" y="337185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1" name="Line 478">
                  <a:extLst>
                    <a:ext uri="{FF2B5EF4-FFF2-40B4-BE49-F238E27FC236}">
                      <a16:creationId xmlns:a16="http://schemas.microsoft.com/office/drawing/2014/main" id="{61E0A443-A384-4817-B51C-A078D4F7235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065838" y="33369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2" name="Line 479">
                  <a:extLst>
                    <a:ext uri="{FF2B5EF4-FFF2-40B4-BE49-F238E27FC236}">
                      <a16:creationId xmlns:a16="http://schemas.microsoft.com/office/drawing/2014/main" id="{2B4E76E4-4EFE-4B5E-BFC3-EFA34B2D47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173788" y="3394076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3" name="Line 480">
                  <a:extLst>
                    <a:ext uri="{FF2B5EF4-FFF2-40B4-BE49-F238E27FC236}">
                      <a16:creationId xmlns:a16="http://schemas.microsoft.com/office/drawing/2014/main" id="{1F0E2711-8FFE-4DDF-B612-E5246A55E59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11888" y="335915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4" name="Line 481">
                  <a:extLst>
                    <a:ext uri="{FF2B5EF4-FFF2-40B4-BE49-F238E27FC236}">
                      <a16:creationId xmlns:a16="http://schemas.microsoft.com/office/drawing/2014/main" id="{CB860C51-CCA5-47C1-9942-C104ABA1186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503988" y="33782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5" name="Line 482">
                  <a:extLst>
                    <a:ext uri="{FF2B5EF4-FFF2-40B4-BE49-F238E27FC236}">
                      <a16:creationId xmlns:a16="http://schemas.microsoft.com/office/drawing/2014/main" id="{28991827-8CF6-44DE-83FE-6C2A0A8A87F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519863" y="33782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6" name="Line 483">
                  <a:extLst>
                    <a:ext uri="{FF2B5EF4-FFF2-40B4-BE49-F238E27FC236}">
                      <a16:creationId xmlns:a16="http://schemas.microsoft.com/office/drawing/2014/main" id="{7D1E4FAC-E0E8-4D12-B260-2E38934DA7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634163" y="33877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7" name="Line 484">
                  <a:extLst>
                    <a:ext uri="{FF2B5EF4-FFF2-40B4-BE49-F238E27FC236}">
                      <a16:creationId xmlns:a16="http://schemas.microsoft.com/office/drawing/2014/main" id="{9FC8C9FF-AE89-4917-B823-C87158D75A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054850" y="34131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8" name="Line 485">
                  <a:extLst>
                    <a:ext uri="{FF2B5EF4-FFF2-40B4-BE49-F238E27FC236}">
                      <a16:creationId xmlns:a16="http://schemas.microsoft.com/office/drawing/2014/main" id="{1A17B8DB-2342-4E12-9B63-983371F05D7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099300" y="34131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89" name="Line 486">
                  <a:extLst>
                    <a:ext uri="{FF2B5EF4-FFF2-40B4-BE49-F238E27FC236}">
                      <a16:creationId xmlns:a16="http://schemas.microsoft.com/office/drawing/2014/main" id="{4E7B4501-55EF-4051-9571-416AA13DA55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172325" y="34131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0" name="Line 487">
                  <a:extLst>
                    <a:ext uri="{FF2B5EF4-FFF2-40B4-BE49-F238E27FC236}">
                      <a16:creationId xmlns:a16="http://schemas.microsoft.com/office/drawing/2014/main" id="{DD74C9C0-9478-4057-8E5D-6A00D088294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07325" y="34385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1" name="Line 488">
                  <a:extLst>
                    <a:ext uri="{FF2B5EF4-FFF2-40B4-BE49-F238E27FC236}">
                      <a16:creationId xmlns:a16="http://schemas.microsoft.com/office/drawing/2014/main" id="{B288C74E-A934-4E38-8576-203D7883AB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15275" y="344487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2" name="Line 489">
                  <a:extLst>
                    <a:ext uri="{FF2B5EF4-FFF2-40B4-BE49-F238E27FC236}">
                      <a16:creationId xmlns:a16="http://schemas.microsoft.com/office/drawing/2014/main" id="{7A729BE5-8BF4-4399-A21B-05BE720462F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020050" y="344487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3" name="Line 490">
                  <a:extLst>
                    <a:ext uri="{FF2B5EF4-FFF2-40B4-BE49-F238E27FC236}">
                      <a16:creationId xmlns:a16="http://schemas.microsoft.com/office/drawing/2014/main" id="{7EC74D4A-6C42-4E7A-A3B7-CAE7808451D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54988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4" name="Line 491">
                  <a:extLst>
                    <a:ext uri="{FF2B5EF4-FFF2-40B4-BE49-F238E27FC236}">
                      <a16:creationId xmlns:a16="http://schemas.microsoft.com/office/drawing/2014/main" id="{0FBDEC91-E7A8-4B33-BD59-691FB743C2E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70863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5" name="Line 492">
                  <a:extLst>
                    <a:ext uri="{FF2B5EF4-FFF2-40B4-BE49-F238E27FC236}">
                      <a16:creationId xmlns:a16="http://schemas.microsoft.com/office/drawing/2014/main" id="{7C65472E-B2E4-4903-A57F-DA7C7B313AC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83563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6" name="Line 493">
                  <a:extLst>
                    <a:ext uri="{FF2B5EF4-FFF2-40B4-BE49-F238E27FC236}">
                      <a16:creationId xmlns:a16="http://schemas.microsoft.com/office/drawing/2014/main" id="{FF394B2C-EF1E-4B05-A231-9D994BFA3C1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05788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7" name="Line 494">
                  <a:extLst>
                    <a:ext uri="{FF2B5EF4-FFF2-40B4-BE49-F238E27FC236}">
                      <a16:creationId xmlns:a16="http://schemas.microsoft.com/office/drawing/2014/main" id="{C8A8D525-C026-4CA5-85DE-8A9AA1C4D9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08963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8" name="Line 495">
                  <a:extLst>
                    <a:ext uri="{FF2B5EF4-FFF2-40B4-BE49-F238E27FC236}">
                      <a16:creationId xmlns:a16="http://schemas.microsoft.com/office/drawing/2014/main" id="{5B82D4C1-4DC1-4398-9E11-5C360C0C86D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21663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99" name="Line 496">
                  <a:extLst>
                    <a:ext uri="{FF2B5EF4-FFF2-40B4-BE49-F238E27FC236}">
                      <a16:creationId xmlns:a16="http://schemas.microsoft.com/office/drawing/2014/main" id="{6CDD3704-58F4-40CC-A844-2C91AEC253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81988" y="34671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0" name="Line 497">
                  <a:extLst>
                    <a:ext uri="{FF2B5EF4-FFF2-40B4-BE49-F238E27FC236}">
                      <a16:creationId xmlns:a16="http://schemas.microsoft.com/office/drawing/2014/main" id="{44DA173C-3F40-4ECF-A96D-B483B131FD9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4866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1" name="Line 498">
                  <a:extLst>
                    <a:ext uri="{FF2B5EF4-FFF2-40B4-BE49-F238E27FC236}">
                      <a16:creationId xmlns:a16="http://schemas.microsoft.com/office/drawing/2014/main" id="{6123AA97-2F2C-4FE0-A561-DE9309FF92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6136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2" name="Line 499">
                  <a:extLst>
                    <a:ext uri="{FF2B5EF4-FFF2-40B4-BE49-F238E27FC236}">
                      <a16:creationId xmlns:a16="http://schemas.microsoft.com/office/drawing/2014/main" id="{966EF437-495F-4933-8564-C75166DCCE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7088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3" name="Line 500">
                  <a:extLst>
                    <a:ext uri="{FF2B5EF4-FFF2-40B4-BE49-F238E27FC236}">
                      <a16:creationId xmlns:a16="http://schemas.microsoft.com/office/drawing/2014/main" id="{102F3163-7801-4A9B-9ABE-2D9261A19A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1533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4" name="Line 501">
                  <a:extLst>
                    <a:ext uri="{FF2B5EF4-FFF2-40B4-BE49-F238E27FC236}">
                      <a16:creationId xmlns:a16="http://schemas.microsoft.com/office/drawing/2014/main" id="{CD6118BD-C22E-4FF3-A9B0-D3DC340C0C5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3121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5" name="Line 502">
                  <a:extLst>
                    <a:ext uri="{FF2B5EF4-FFF2-40B4-BE49-F238E27FC236}">
                      <a16:creationId xmlns:a16="http://schemas.microsoft.com/office/drawing/2014/main" id="{92DBF8C9-6A77-4297-854E-EEB54CDC87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6613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6" name="Line 503">
                  <a:extLst>
                    <a:ext uri="{FF2B5EF4-FFF2-40B4-BE49-F238E27FC236}">
                      <a16:creationId xmlns:a16="http://schemas.microsoft.com/office/drawing/2014/main" id="{859D9BA2-F3EE-43DD-B4AB-828E7AE6337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49471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7" name="Line 504">
                  <a:extLst>
                    <a:ext uri="{FF2B5EF4-FFF2-40B4-BE49-F238E27FC236}">
                      <a16:creationId xmlns:a16="http://schemas.microsoft.com/office/drawing/2014/main" id="{2A7F46E5-6963-4E83-9CDA-1C176EC73E4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058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8" name="Line 505">
                  <a:extLst>
                    <a:ext uri="{FF2B5EF4-FFF2-40B4-BE49-F238E27FC236}">
                      <a16:creationId xmlns:a16="http://schemas.microsoft.com/office/drawing/2014/main" id="{8F833238-27FA-430F-8D81-1607BB4A12B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2328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09" name="Line 506">
                  <a:extLst>
                    <a:ext uri="{FF2B5EF4-FFF2-40B4-BE49-F238E27FC236}">
                      <a16:creationId xmlns:a16="http://schemas.microsoft.com/office/drawing/2014/main" id="{8135A349-8F1B-4E78-8D83-D7F9E8C744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81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0" name="Line 507">
                  <a:extLst>
                    <a:ext uri="{FF2B5EF4-FFF2-40B4-BE49-F238E27FC236}">
                      <a16:creationId xmlns:a16="http://schemas.microsoft.com/office/drawing/2014/main" id="{881D26F5-236C-4400-B371-286F785AB39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4233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1" name="Line 508">
                  <a:extLst>
                    <a:ext uri="{FF2B5EF4-FFF2-40B4-BE49-F238E27FC236}">
                      <a16:creationId xmlns:a16="http://schemas.microsoft.com/office/drawing/2014/main" id="{9B990ED8-3DFB-4DFA-A012-678DEB9E71D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0266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2" name="Line 509">
                  <a:extLst>
                    <a:ext uri="{FF2B5EF4-FFF2-40B4-BE49-F238E27FC236}">
                      <a16:creationId xmlns:a16="http://schemas.microsoft.com/office/drawing/2014/main" id="{8F82FBC5-21BD-4672-B7B8-24E2BB0D5DC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4393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3" name="Line 510">
                  <a:extLst>
                    <a:ext uri="{FF2B5EF4-FFF2-40B4-BE49-F238E27FC236}">
                      <a16:creationId xmlns:a16="http://schemas.microsoft.com/office/drawing/2014/main" id="{CC77955F-AAB7-4A17-B3F7-531BA460A2F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4711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4" name="Line 511">
                  <a:extLst>
                    <a:ext uri="{FF2B5EF4-FFF2-40B4-BE49-F238E27FC236}">
                      <a16:creationId xmlns:a16="http://schemas.microsoft.com/office/drawing/2014/main" id="{066A854A-47E2-4E38-BDE5-1037867AA8C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86813" y="35020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5" name="Line 512">
                  <a:extLst>
                    <a:ext uri="{FF2B5EF4-FFF2-40B4-BE49-F238E27FC236}">
                      <a16:creationId xmlns:a16="http://schemas.microsoft.com/office/drawing/2014/main" id="{F5E2226C-A072-4B48-8354-0D7F4671FD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8206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6" name="Line 513">
                  <a:extLst>
                    <a:ext uri="{FF2B5EF4-FFF2-40B4-BE49-F238E27FC236}">
                      <a16:creationId xmlns:a16="http://schemas.microsoft.com/office/drawing/2014/main" id="{C91C407C-E076-4E32-ADBE-51B07EEF565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534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7" name="Line 514">
                  <a:extLst>
                    <a:ext uri="{FF2B5EF4-FFF2-40B4-BE49-F238E27FC236}">
                      <a16:creationId xmlns:a16="http://schemas.microsoft.com/office/drawing/2014/main" id="{4D4AB0E8-698C-492D-9450-D9ABDB96DA1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042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8" name="Line 515">
                  <a:extLst>
                    <a:ext uri="{FF2B5EF4-FFF2-40B4-BE49-F238E27FC236}">
                      <a16:creationId xmlns:a16="http://schemas.microsoft.com/office/drawing/2014/main" id="{0A02BD87-7BFD-4C1B-A8BB-ACD06DBC1F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677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19" name="Line 516">
                  <a:extLst>
                    <a:ext uri="{FF2B5EF4-FFF2-40B4-BE49-F238E27FC236}">
                      <a16:creationId xmlns:a16="http://schemas.microsoft.com/office/drawing/2014/main" id="{AE8D50FC-DAA9-4AA8-999A-3292277A479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9001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0" name="Line 517">
                  <a:extLst>
                    <a:ext uri="{FF2B5EF4-FFF2-40B4-BE49-F238E27FC236}">
                      <a16:creationId xmlns:a16="http://schemas.microsoft.com/office/drawing/2014/main" id="{4E3044B0-D2E1-444F-A985-287F2AC255C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058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1" name="Line 518">
                  <a:extLst>
                    <a:ext uri="{FF2B5EF4-FFF2-40B4-BE49-F238E27FC236}">
                      <a16:creationId xmlns:a16="http://schemas.microsoft.com/office/drawing/2014/main" id="{F8B5BA6C-D003-4A2D-B443-C5A5583B230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376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2" name="Line 519">
                  <a:extLst>
                    <a:ext uri="{FF2B5EF4-FFF2-40B4-BE49-F238E27FC236}">
                      <a16:creationId xmlns:a16="http://schemas.microsoft.com/office/drawing/2014/main" id="{6A86CBC5-8A9C-4872-BEB8-5E7FA09D2D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4716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3" name="Line 520">
                  <a:extLst>
                    <a:ext uri="{FF2B5EF4-FFF2-40B4-BE49-F238E27FC236}">
                      <a16:creationId xmlns:a16="http://schemas.microsoft.com/office/drawing/2014/main" id="{1EB3AF8E-41E9-466E-B39D-F6F7ACC92CA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820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4" name="Line 521">
                  <a:extLst>
                    <a:ext uri="{FF2B5EF4-FFF2-40B4-BE49-F238E27FC236}">
                      <a16:creationId xmlns:a16="http://schemas.microsoft.com/office/drawing/2014/main" id="{94B80D4A-8B4E-4ED3-9C7D-93CF7C965C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138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5" name="Line 522">
                  <a:extLst>
                    <a:ext uri="{FF2B5EF4-FFF2-40B4-BE49-F238E27FC236}">
                      <a16:creationId xmlns:a16="http://schemas.microsoft.com/office/drawing/2014/main" id="{6319E585-C537-4E14-B63A-1969180622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3606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6" name="Line 523">
                  <a:extLst>
                    <a:ext uri="{FF2B5EF4-FFF2-40B4-BE49-F238E27FC236}">
                      <a16:creationId xmlns:a16="http://schemas.microsoft.com/office/drawing/2014/main" id="{F2CF9559-02DE-41B1-8440-78C5602DDB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6146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7" name="Line 524">
                  <a:extLst>
                    <a:ext uri="{FF2B5EF4-FFF2-40B4-BE49-F238E27FC236}">
                      <a16:creationId xmlns:a16="http://schemas.microsoft.com/office/drawing/2014/main" id="{DA2115B3-F8CB-473D-92DB-F754376D09C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14876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8" name="Line 525">
                  <a:extLst>
                    <a:ext uri="{FF2B5EF4-FFF2-40B4-BE49-F238E27FC236}">
                      <a16:creationId xmlns:a16="http://schemas.microsoft.com/office/drawing/2014/main" id="{2FE3FD27-6E83-4B51-BFA8-68E09FD60F1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217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29" name="Line 526">
                  <a:extLst>
                    <a:ext uri="{FF2B5EF4-FFF2-40B4-BE49-F238E27FC236}">
                      <a16:creationId xmlns:a16="http://schemas.microsoft.com/office/drawing/2014/main" id="{BFA0F5DC-3A76-45BB-AE55-8937DA801B4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471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0" name="Line 527">
                  <a:extLst>
                    <a:ext uri="{FF2B5EF4-FFF2-40B4-BE49-F238E27FC236}">
                      <a16:creationId xmlns:a16="http://schemas.microsoft.com/office/drawing/2014/main" id="{F284D6CD-3A00-42B1-A178-4F4022A9ADC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598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1" name="Line 528">
                  <a:extLst>
                    <a:ext uri="{FF2B5EF4-FFF2-40B4-BE49-F238E27FC236}">
                      <a16:creationId xmlns:a16="http://schemas.microsoft.com/office/drawing/2014/main" id="{79828765-B4A5-44F6-A8AF-41C58A6EB24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535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2" name="Line 529">
                  <a:extLst>
                    <a:ext uri="{FF2B5EF4-FFF2-40B4-BE49-F238E27FC236}">
                      <a16:creationId xmlns:a16="http://schemas.microsoft.com/office/drawing/2014/main" id="{60259E28-1091-4B9F-B6EE-25A3BF6EA3F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7576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3" name="Line 530">
                  <a:extLst>
                    <a:ext uri="{FF2B5EF4-FFF2-40B4-BE49-F238E27FC236}">
                      <a16:creationId xmlns:a16="http://schemas.microsoft.com/office/drawing/2014/main" id="{9E4B2A5B-6D10-4EB9-9F2D-AB7EE1A6B21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852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4" name="Line 531">
                  <a:extLst>
                    <a:ext uri="{FF2B5EF4-FFF2-40B4-BE49-F238E27FC236}">
                      <a16:creationId xmlns:a16="http://schemas.microsoft.com/office/drawing/2014/main" id="{356A9EDB-C1B6-4925-A020-A2394B9CC5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916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5" name="Line 532">
                  <a:extLst>
                    <a:ext uri="{FF2B5EF4-FFF2-40B4-BE49-F238E27FC236}">
                      <a16:creationId xmlns:a16="http://schemas.microsoft.com/office/drawing/2014/main" id="{1DA00A28-04DF-4A8C-BADB-A4D486AAA1A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3043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6" name="Line 533">
                  <a:extLst>
                    <a:ext uri="{FF2B5EF4-FFF2-40B4-BE49-F238E27FC236}">
                      <a16:creationId xmlns:a16="http://schemas.microsoft.com/office/drawing/2014/main" id="{CF6E59FB-B19A-477B-97C5-A4E58D020DD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30751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7" name="Line 534">
                  <a:extLst>
                    <a:ext uri="{FF2B5EF4-FFF2-40B4-BE49-F238E27FC236}">
                      <a16:creationId xmlns:a16="http://schemas.microsoft.com/office/drawing/2014/main" id="{28D7CCEE-9566-4D8D-A9C9-BEB89B37519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3170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8" name="Line 535">
                  <a:extLst>
                    <a:ext uri="{FF2B5EF4-FFF2-40B4-BE49-F238E27FC236}">
                      <a16:creationId xmlns:a16="http://schemas.microsoft.com/office/drawing/2014/main" id="{8621BAC6-E8B7-437F-AA3E-8324C4DF466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32021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39" name="Line 536">
                  <a:extLst>
                    <a:ext uri="{FF2B5EF4-FFF2-40B4-BE49-F238E27FC236}">
                      <a16:creationId xmlns:a16="http://schemas.microsoft.com/office/drawing/2014/main" id="{4320E10E-C3A1-416E-A15C-AA206B05C2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3424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0" name="Line 537">
                  <a:extLst>
                    <a:ext uri="{FF2B5EF4-FFF2-40B4-BE49-F238E27FC236}">
                      <a16:creationId xmlns:a16="http://schemas.microsoft.com/office/drawing/2014/main" id="{AC97007C-21BD-47EB-A2E0-1BE7B538EAF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804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1" name="Line 538">
                  <a:extLst>
                    <a:ext uri="{FF2B5EF4-FFF2-40B4-BE49-F238E27FC236}">
                      <a16:creationId xmlns:a16="http://schemas.microsoft.com/office/drawing/2014/main" id="{34EFA3B5-1E79-4724-90D6-3BE5586385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407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2" name="Line 539">
                  <a:extLst>
                    <a:ext uri="{FF2B5EF4-FFF2-40B4-BE49-F238E27FC236}">
                      <a16:creationId xmlns:a16="http://schemas.microsoft.com/office/drawing/2014/main" id="{E3BC244A-EA85-4F4F-8960-FB00A60B75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344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3" name="Line 540">
                  <a:extLst>
                    <a:ext uri="{FF2B5EF4-FFF2-40B4-BE49-F238E27FC236}">
                      <a16:creationId xmlns:a16="http://schemas.microsoft.com/office/drawing/2014/main" id="{3E00B571-AED4-4682-9B0F-99317CD518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217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4" name="Line 541">
                  <a:extLst>
                    <a:ext uri="{FF2B5EF4-FFF2-40B4-BE49-F238E27FC236}">
                      <a16:creationId xmlns:a16="http://schemas.microsoft.com/office/drawing/2014/main" id="{0C897012-C444-458D-BCC2-9CB6234A57D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217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5" name="Line 542">
                  <a:extLst>
                    <a:ext uri="{FF2B5EF4-FFF2-40B4-BE49-F238E27FC236}">
                      <a16:creationId xmlns:a16="http://schemas.microsoft.com/office/drawing/2014/main" id="{5710BE81-50B9-4F94-BBE6-3C80705760E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296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6" name="Line 543">
                  <a:extLst>
                    <a:ext uri="{FF2B5EF4-FFF2-40B4-BE49-F238E27FC236}">
                      <a16:creationId xmlns:a16="http://schemas.microsoft.com/office/drawing/2014/main" id="{4DBF7F48-A5DD-47F3-AC29-6D5E6EDD3AF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2968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7" name="Line 544">
                  <a:extLst>
                    <a:ext uri="{FF2B5EF4-FFF2-40B4-BE49-F238E27FC236}">
                      <a16:creationId xmlns:a16="http://schemas.microsoft.com/office/drawing/2014/main" id="{5B7357E4-8CEC-44BB-9948-197D22FF3A5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487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8" name="Line 545">
                  <a:extLst>
                    <a:ext uri="{FF2B5EF4-FFF2-40B4-BE49-F238E27FC236}">
                      <a16:creationId xmlns:a16="http://schemas.microsoft.com/office/drawing/2014/main" id="{923D03A6-D75F-40AE-9FF4-EE141ECBC07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945563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49" name="Line 546">
                  <a:extLst>
                    <a:ext uri="{FF2B5EF4-FFF2-40B4-BE49-F238E27FC236}">
                      <a16:creationId xmlns:a16="http://schemas.microsoft.com/office/drawing/2014/main" id="{AF70EEAF-B619-4F36-8E15-DB18BE3489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96338" y="35020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0" name="Line 547">
                  <a:extLst>
                    <a:ext uri="{FF2B5EF4-FFF2-40B4-BE49-F238E27FC236}">
                      <a16:creationId xmlns:a16="http://schemas.microsoft.com/office/drawing/2014/main" id="{FDB3D6EB-7A7F-43F8-826E-2C2E8A0F6D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0426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1" name="Line 548">
                  <a:extLst>
                    <a:ext uri="{FF2B5EF4-FFF2-40B4-BE49-F238E27FC236}">
                      <a16:creationId xmlns:a16="http://schemas.microsoft.com/office/drawing/2014/main" id="{A43BB994-3ADB-401D-8FA8-B9CB20F3103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8521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2" name="Line 549">
                  <a:extLst>
                    <a:ext uri="{FF2B5EF4-FFF2-40B4-BE49-F238E27FC236}">
                      <a16:creationId xmlns:a16="http://schemas.microsoft.com/office/drawing/2014/main" id="{F5C41086-FDBF-4B3C-909E-367CCDF6032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69473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3" name="Line 550">
                  <a:extLst>
                    <a:ext uri="{FF2B5EF4-FFF2-40B4-BE49-F238E27FC236}">
                      <a16:creationId xmlns:a16="http://schemas.microsoft.com/office/drawing/2014/main" id="{E88A7138-5AF1-4FED-A5A6-FBBABDBC7AC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2331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4" name="Line 551">
                  <a:extLst>
                    <a:ext uri="{FF2B5EF4-FFF2-40B4-BE49-F238E27FC236}">
                      <a16:creationId xmlns:a16="http://schemas.microsoft.com/office/drawing/2014/main" id="{CD153404-9734-404F-AE3B-E668662F2F2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3283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5" name="Line 552">
                  <a:extLst>
                    <a:ext uri="{FF2B5EF4-FFF2-40B4-BE49-F238E27FC236}">
                      <a16:creationId xmlns:a16="http://schemas.microsoft.com/office/drawing/2014/main" id="{A3A85578-5C6D-4226-AD26-BE99940C538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07438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6" name="Line 553">
                  <a:extLst>
                    <a:ext uri="{FF2B5EF4-FFF2-40B4-BE49-F238E27FC236}">
                      <a16:creationId xmlns:a16="http://schemas.microsoft.com/office/drawing/2014/main" id="{DCBC7BF5-05FC-4289-96D6-B59988D03C7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26438" y="347345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7" name="Line 554">
                  <a:extLst>
                    <a:ext uri="{FF2B5EF4-FFF2-40B4-BE49-F238E27FC236}">
                      <a16:creationId xmlns:a16="http://schemas.microsoft.com/office/drawing/2014/main" id="{4897BF85-8B6B-4102-A26F-5EF7291462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20088" y="34671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8" name="Line 555">
                  <a:extLst>
                    <a:ext uri="{FF2B5EF4-FFF2-40B4-BE49-F238E27FC236}">
                      <a16:creationId xmlns:a16="http://schemas.microsoft.com/office/drawing/2014/main" id="{0564D3B0-9160-4FB3-A255-1B1B777E5B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21663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59" name="Line 556">
                  <a:extLst>
                    <a:ext uri="{FF2B5EF4-FFF2-40B4-BE49-F238E27FC236}">
                      <a16:creationId xmlns:a16="http://schemas.microsoft.com/office/drawing/2014/main" id="{DB3AF4B7-B163-4900-AFF0-794EFFAFBAC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37538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0" name="Line 557">
                  <a:extLst>
                    <a:ext uri="{FF2B5EF4-FFF2-40B4-BE49-F238E27FC236}">
                      <a16:creationId xmlns:a16="http://schemas.microsoft.com/office/drawing/2014/main" id="{36B4AE2A-93E1-4074-BA19-12244627DDA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20063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1" name="Line 558">
                  <a:extLst>
                    <a:ext uri="{FF2B5EF4-FFF2-40B4-BE49-F238E27FC236}">
                      <a16:creationId xmlns:a16="http://schemas.microsoft.com/office/drawing/2014/main" id="{1750E170-14E7-4898-B6ED-A720F317662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23238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2" name="Line 559">
                  <a:extLst>
                    <a:ext uri="{FF2B5EF4-FFF2-40B4-BE49-F238E27FC236}">
                      <a16:creationId xmlns:a16="http://schemas.microsoft.com/office/drawing/2014/main" id="{002314DA-8DE6-44D3-A45A-5A0FAFF3B67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27975" y="344487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3" name="Line 560">
                  <a:extLst>
                    <a:ext uri="{FF2B5EF4-FFF2-40B4-BE49-F238E27FC236}">
                      <a16:creationId xmlns:a16="http://schemas.microsoft.com/office/drawing/2014/main" id="{94239750-CFA0-4CCD-8B54-F6A8C89BD6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43850" y="344487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4" name="Line 561">
                  <a:extLst>
                    <a:ext uri="{FF2B5EF4-FFF2-40B4-BE49-F238E27FC236}">
                      <a16:creationId xmlns:a16="http://schemas.microsoft.com/office/drawing/2014/main" id="{DA3C6661-B17F-4F4E-9C77-5C60D5A0E25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50200" y="344487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5" name="Line 562">
                  <a:extLst>
                    <a:ext uri="{FF2B5EF4-FFF2-40B4-BE49-F238E27FC236}">
                      <a16:creationId xmlns:a16="http://schemas.microsoft.com/office/drawing/2014/main" id="{D1DF33A0-739F-4E14-B575-076746B0FA3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58125" y="34385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6" name="Line 563">
                  <a:extLst>
                    <a:ext uri="{FF2B5EF4-FFF2-40B4-BE49-F238E27FC236}">
                      <a16:creationId xmlns:a16="http://schemas.microsoft.com/office/drawing/2014/main" id="{1635A7B0-670D-4D32-A0F8-32B2E2E5720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385050" y="345440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7" name="Line 564">
                  <a:extLst>
                    <a:ext uri="{FF2B5EF4-FFF2-40B4-BE49-F238E27FC236}">
                      <a16:creationId xmlns:a16="http://schemas.microsoft.com/office/drawing/2014/main" id="{1746A5ED-178E-4E38-8E68-0175896521B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423150" y="341947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8" name="Line 565">
                  <a:extLst>
                    <a:ext uri="{FF2B5EF4-FFF2-40B4-BE49-F238E27FC236}">
                      <a16:creationId xmlns:a16="http://schemas.microsoft.com/office/drawing/2014/main" id="{0C47776C-3F7B-4E5F-8B9A-8B6BF20F47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829550" y="347345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69" name="Line 566">
                  <a:extLst>
                    <a:ext uri="{FF2B5EF4-FFF2-40B4-BE49-F238E27FC236}">
                      <a16:creationId xmlns:a16="http://schemas.microsoft.com/office/drawing/2014/main" id="{B2E77054-1870-4CE8-BA44-3733BB4585A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864475" y="34385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0" name="Line 567">
                  <a:extLst>
                    <a:ext uri="{FF2B5EF4-FFF2-40B4-BE49-F238E27FC236}">
                      <a16:creationId xmlns:a16="http://schemas.microsoft.com/office/drawing/2014/main" id="{2852E082-9B78-4F28-8027-73E3477B3A0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867650" y="3482976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1" name="Line 568">
                  <a:extLst>
                    <a:ext uri="{FF2B5EF4-FFF2-40B4-BE49-F238E27FC236}">
                      <a16:creationId xmlns:a16="http://schemas.microsoft.com/office/drawing/2014/main" id="{D3BFFA71-C224-446D-894B-C94E0B01DF0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902575" y="344487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2" name="Line 569">
                  <a:extLst>
                    <a:ext uri="{FF2B5EF4-FFF2-40B4-BE49-F238E27FC236}">
                      <a16:creationId xmlns:a16="http://schemas.microsoft.com/office/drawing/2014/main" id="{AFEAE3F4-67A9-40FB-B4B9-9545B1D0CAB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077200" y="3492501"/>
                  <a:ext cx="74613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3" name="Line 570">
                  <a:extLst>
                    <a:ext uri="{FF2B5EF4-FFF2-40B4-BE49-F238E27FC236}">
                      <a16:creationId xmlns:a16="http://schemas.microsoft.com/office/drawing/2014/main" id="{A92DC933-0E3C-422C-A385-FEEC3830415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113713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4" name="Line 571">
                  <a:extLst>
                    <a:ext uri="{FF2B5EF4-FFF2-40B4-BE49-F238E27FC236}">
                      <a16:creationId xmlns:a16="http://schemas.microsoft.com/office/drawing/2014/main" id="{67956A6A-51C1-4360-A46F-4189145B4B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205788" y="349250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5" name="Line 572">
                  <a:extLst>
                    <a:ext uri="{FF2B5EF4-FFF2-40B4-BE49-F238E27FC236}">
                      <a16:creationId xmlns:a16="http://schemas.microsoft.com/office/drawing/2014/main" id="{B79600A7-7895-4A06-96CE-C0E27FF29B8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40713" y="34544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6" name="Line 573">
                  <a:extLst>
                    <a:ext uri="{FF2B5EF4-FFF2-40B4-BE49-F238E27FC236}">
                      <a16:creationId xmlns:a16="http://schemas.microsoft.com/office/drawing/2014/main" id="{92B5037C-9EAC-41E2-A1E3-C227631B62E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297863" y="350520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7" name="Line 574">
                  <a:extLst>
                    <a:ext uri="{FF2B5EF4-FFF2-40B4-BE49-F238E27FC236}">
                      <a16:creationId xmlns:a16="http://schemas.microsoft.com/office/drawing/2014/main" id="{74DC2131-D245-4AE0-87CE-ACED664978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32788" y="34671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8" name="Line 575">
                  <a:extLst>
                    <a:ext uri="{FF2B5EF4-FFF2-40B4-BE49-F238E27FC236}">
                      <a16:creationId xmlns:a16="http://schemas.microsoft.com/office/drawing/2014/main" id="{1BB0D7EE-3348-419A-80E8-35589C44A44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228013" y="350520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79" name="Line 576">
                  <a:extLst>
                    <a:ext uri="{FF2B5EF4-FFF2-40B4-BE49-F238E27FC236}">
                      <a16:creationId xmlns:a16="http://schemas.microsoft.com/office/drawing/2014/main" id="{D3231FC7-0D04-4E09-B8AC-C4AC90F61AD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266113" y="34671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0" name="Line 577">
                  <a:extLst>
                    <a:ext uri="{FF2B5EF4-FFF2-40B4-BE49-F238E27FC236}">
                      <a16:creationId xmlns:a16="http://schemas.microsoft.com/office/drawing/2014/main" id="{83D020FF-9AD4-44E4-B012-2A804449AC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307388" y="3514726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1" name="Line 578">
                  <a:extLst>
                    <a:ext uri="{FF2B5EF4-FFF2-40B4-BE49-F238E27FC236}">
                      <a16:creationId xmlns:a16="http://schemas.microsoft.com/office/drawing/2014/main" id="{E56B1166-A72E-490D-B515-F350F3AE3B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342313" y="3476626"/>
                  <a:ext cx="0" cy="7620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2" name="Line 579">
                  <a:extLst>
                    <a:ext uri="{FF2B5EF4-FFF2-40B4-BE49-F238E27FC236}">
                      <a16:creationId xmlns:a16="http://schemas.microsoft.com/office/drawing/2014/main" id="{A6F2C279-0A7A-4759-ACC8-1340FB5F7D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704263" y="3514726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3" name="Line 580">
                  <a:extLst>
                    <a:ext uri="{FF2B5EF4-FFF2-40B4-BE49-F238E27FC236}">
                      <a16:creationId xmlns:a16="http://schemas.microsoft.com/office/drawing/2014/main" id="{B9AAAC7F-5B97-440C-A787-A391C1F5558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42363" y="34766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4" name="Line 581">
                  <a:extLst>
                    <a:ext uri="{FF2B5EF4-FFF2-40B4-BE49-F238E27FC236}">
                      <a16:creationId xmlns:a16="http://schemas.microsoft.com/office/drawing/2014/main" id="{C985E358-81AE-4CA2-867B-138F5E99C92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729663" y="353695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5" name="Line 582">
                  <a:extLst>
                    <a:ext uri="{FF2B5EF4-FFF2-40B4-BE49-F238E27FC236}">
                      <a16:creationId xmlns:a16="http://schemas.microsoft.com/office/drawing/2014/main" id="{276E634B-AF70-4912-A628-F6386FF2B9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67763" y="35020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6" name="Line 583">
                  <a:extLst>
                    <a:ext uri="{FF2B5EF4-FFF2-40B4-BE49-F238E27FC236}">
                      <a16:creationId xmlns:a16="http://schemas.microsoft.com/office/drawing/2014/main" id="{72BA0F77-9A4D-453F-84A0-9DF49BF94B8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764588" y="353695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7" name="Line 584">
                  <a:extLst>
                    <a:ext uri="{FF2B5EF4-FFF2-40B4-BE49-F238E27FC236}">
                      <a16:creationId xmlns:a16="http://schemas.microsoft.com/office/drawing/2014/main" id="{EA3725F6-E1D7-4E46-873C-2C075A077E6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799513" y="3502026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8" name="Line 585">
                  <a:extLst>
                    <a:ext uri="{FF2B5EF4-FFF2-40B4-BE49-F238E27FC236}">
                      <a16:creationId xmlns:a16="http://schemas.microsoft.com/office/drawing/2014/main" id="{0D355560-EBFD-4C75-A011-FB3DC4D22F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8774113" y="355600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89" name="Line 586">
                  <a:extLst>
                    <a:ext uri="{FF2B5EF4-FFF2-40B4-BE49-F238E27FC236}">
                      <a16:creationId xmlns:a16="http://schemas.microsoft.com/office/drawing/2014/main" id="{FB1E5113-F1B2-4640-B148-F51794A05F7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809038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90" name="Line 587">
                  <a:extLst>
                    <a:ext uri="{FF2B5EF4-FFF2-40B4-BE49-F238E27FC236}">
                      <a16:creationId xmlns:a16="http://schemas.microsoft.com/office/drawing/2014/main" id="{117CF847-7ECF-40C0-96E1-E84582778ED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9645650" y="3556001"/>
                  <a:ext cx="73025" cy="0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591" name="Line 588">
                  <a:extLst>
                    <a:ext uri="{FF2B5EF4-FFF2-40B4-BE49-F238E27FC236}">
                      <a16:creationId xmlns:a16="http://schemas.microsoft.com/office/drawing/2014/main" id="{2D3CD099-4913-4C06-BF4D-350ACE2F94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683750" y="3517901"/>
                  <a:ext cx="0" cy="73025"/>
                </a:xfrm>
                <a:prstGeom prst="line">
                  <a:avLst/>
                </a:prstGeom>
                <a:noFill/>
                <a:ln w="28575" cap="flat">
                  <a:solidFill>
                    <a:srgbClr val="9851A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31657" tIns="65828" rIns="131657" bIns="658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607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endParaRPr>
                </a:p>
              </p:txBody>
            </p:sp>
          </p:grpSp>
        </p:grpSp>
        <p:cxnSp>
          <p:nvCxnSpPr>
            <p:cNvPr id="594" name="Straight Connector 593">
              <a:extLst>
                <a:ext uri="{FF2B5EF4-FFF2-40B4-BE49-F238E27FC236}">
                  <a16:creationId xmlns:a16="http://schemas.microsoft.com/office/drawing/2014/main" id="{C2500A42-B76E-432A-AB68-72C97D6704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215456" y="3794760"/>
              <a:ext cx="0" cy="4434841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6" name="TextBox 595">
              <a:extLst>
                <a:ext uri="{FF2B5EF4-FFF2-40B4-BE49-F238E27FC236}">
                  <a16:creationId xmlns:a16="http://schemas.microsoft.com/office/drawing/2014/main" id="{B98B88B6-5E31-4822-924A-99A183C4FAD8}"/>
                </a:ext>
              </a:extLst>
            </p:cNvPr>
            <p:cNvSpPr txBox="1"/>
            <p:nvPr/>
          </p:nvSpPr>
          <p:spPr>
            <a:xfrm>
              <a:off x="13322172" y="4990100"/>
              <a:ext cx="2267573" cy="6950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80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52% </a:t>
              </a:r>
              <a:br>
                <a:rPr kumimoji="0" lang="en-US" sz="3732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728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(95% CI, 48%-58%)</a:t>
              </a:r>
            </a:p>
          </p:txBody>
        </p:sp>
        <p:sp>
          <p:nvSpPr>
            <p:cNvPr id="598" name="TextBox 597">
              <a:extLst>
                <a:ext uri="{FF2B5EF4-FFF2-40B4-BE49-F238E27FC236}">
                  <a16:creationId xmlns:a16="http://schemas.microsoft.com/office/drawing/2014/main" id="{9E7EFC85-1A36-4952-9DC1-47C7DC0A3917}"/>
                </a:ext>
              </a:extLst>
            </p:cNvPr>
            <p:cNvSpPr txBox="1"/>
            <p:nvPr/>
          </p:nvSpPr>
          <p:spPr>
            <a:xfrm>
              <a:off x="13322172" y="6779086"/>
              <a:ext cx="2163949" cy="6950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80" b="1" i="0" u="none" strike="noStrike" kern="1200" cap="none" spc="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6% </a:t>
              </a:r>
              <a:br>
                <a:rPr kumimoji="0" lang="en-US" sz="3732" b="1" i="0" u="none" strike="noStrike" kern="1200" cap="none" spc="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728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(95% CI, 32%-41%)</a:t>
              </a:r>
              <a:endParaRPr kumimoji="0" lang="en-US" sz="2016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610" name="TextBox 609">
              <a:extLst>
                <a:ext uri="{FF2B5EF4-FFF2-40B4-BE49-F238E27FC236}">
                  <a16:creationId xmlns:a16="http://schemas.microsoft.com/office/drawing/2014/main" id="{2E6B190E-EDC2-4F32-9072-2437FB0894C9}"/>
                </a:ext>
              </a:extLst>
            </p:cNvPr>
            <p:cNvSpPr txBox="1"/>
            <p:nvPr/>
          </p:nvSpPr>
          <p:spPr>
            <a:xfrm>
              <a:off x="11197485" y="4867358"/>
              <a:ext cx="2127348" cy="6950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80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55% </a:t>
              </a:r>
              <a:br>
                <a:rPr kumimoji="0" lang="en-US" sz="3732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728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(95% CI, 50%-60%)</a:t>
              </a:r>
            </a:p>
          </p:txBody>
        </p:sp>
        <p:sp>
          <p:nvSpPr>
            <p:cNvPr id="611" name="TextBox 610">
              <a:extLst>
                <a:ext uri="{FF2B5EF4-FFF2-40B4-BE49-F238E27FC236}">
                  <a16:creationId xmlns:a16="http://schemas.microsoft.com/office/drawing/2014/main" id="{818F2D9F-42B7-4F8E-90D0-3507F86F56E8}"/>
                </a:ext>
              </a:extLst>
            </p:cNvPr>
            <p:cNvSpPr txBox="1"/>
            <p:nvPr/>
          </p:nvSpPr>
          <p:spPr>
            <a:xfrm>
              <a:off x="11197485" y="6692355"/>
              <a:ext cx="2082939" cy="6950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80" b="1" i="0" u="none" strike="noStrike" kern="1200" cap="none" spc="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8% </a:t>
              </a:r>
              <a:br>
                <a:rPr kumimoji="0" lang="en-US" sz="3732" b="1" i="0" u="none" strike="noStrike" kern="1200" cap="none" spc="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728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(95% CI, 34%-43%)</a:t>
              </a:r>
            </a:p>
          </p:txBody>
        </p:sp>
        <p:sp>
          <p:nvSpPr>
            <p:cNvPr id="612" name="TextBox 611">
              <a:extLst>
                <a:ext uri="{FF2B5EF4-FFF2-40B4-BE49-F238E27FC236}">
                  <a16:creationId xmlns:a16="http://schemas.microsoft.com/office/drawing/2014/main" id="{0220EBB7-6B78-4066-99F6-15D06BF4F113}"/>
                </a:ext>
              </a:extLst>
            </p:cNvPr>
            <p:cNvSpPr txBox="1"/>
            <p:nvPr/>
          </p:nvSpPr>
          <p:spPr>
            <a:xfrm>
              <a:off x="9075309" y="4687708"/>
              <a:ext cx="2102604" cy="6950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80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59% </a:t>
              </a:r>
              <a:br>
                <a:rPr kumimoji="0" lang="en-US" sz="3732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728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(95% CI, 55%-64%)</a:t>
              </a:r>
            </a:p>
          </p:txBody>
        </p:sp>
        <p:sp>
          <p:nvSpPr>
            <p:cNvPr id="613" name="TextBox 612">
              <a:extLst>
                <a:ext uri="{FF2B5EF4-FFF2-40B4-BE49-F238E27FC236}">
                  <a16:creationId xmlns:a16="http://schemas.microsoft.com/office/drawing/2014/main" id="{D5B9B07D-FE59-45A0-99FC-50914436B8B2}"/>
                </a:ext>
              </a:extLst>
            </p:cNvPr>
            <p:cNvSpPr txBox="1"/>
            <p:nvPr/>
          </p:nvSpPr>
          <p:spPr>
            <a:xfrm>
              <a:off x="9075309" y="6609546"/>
              <a:ext cx="2132210" cy="6950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80" b="1" i="0" u="none" strike="noStrike" kern="1200" cap="none" spc="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39% </a:t>
              </a:r>
              <a:br>
                <a:rPr kumimoji="0" lang="en-US" sz="3732" b="1" i="0" u="none" strike="noStrike" kern="1200" cap="none" spc="0" normalizeH="0" baseline="0" noProof="0" dirty="0">
                  <a:ln>
                    <a:noFill/>
                  </a:ln>
                  <a:solidFill>
                    <a:srgbClr val="9851A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728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rPr>
                <a:t>(95% CI, 35%-45%)</a:t>
              </a:r>
            </a:p>
          </p:txBody>
        </p:sp>
        <p:grpSp>
          <p:nvGrpSpPr>
            <p:cNvPr id="651" name="Agrupar 650">
              <a:extLst>
                <a:ext uri="{FF2B5EF4-FFF2-40B4-BE49-F238E27FC236}">
                  <a16:creationId xmlns:a16="http://schemas.microsoft.com/office/drawing/2014/main" id="{8479B628-957F-47F0-B2F8-CEC458354E32}"/>
                </a:ext>
              </a:extLst>
            </p:cNvPr>
            <p:cNvGrpSpPr/>
            <p:nvPr/>
          </p:nvGrpSpPr>
          <p:grpSpPr>
            <a:xfrm>
              <a:off x="2654815" y="8099460"/>
              <a:ext cx="14258023" cy="261610"/>
              <a:chOff x="2654815" y="8099460"/>
              <a:chExt cx="14258023" cy="261610"/>
            </a:xfrm>
          </p:grpSpPr>
          <p:sp>
            <p:nvSpPr>
              <p:cNvPr id="653" name="Line 212">
                <a:extLst>
                  <a:ext uri="{FF2B5EF4-FFF2-40B4-BE49-F238E27FC236}">
                    <a16:creationId xmlns:a16="http://schemas.microsoft.com/office/drawing/2014/main" id="{F0A0C48F-307C-4797-9834-0427A5CAE4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654815" y="8281381"/>
                <a:ext cx="11290210" cy="0"/>
              </a:xfrm>
              <a:prstGeom prst="line">
                <a:avLst/>
              </a:prstGeom>
              <a:noFill/>
              <a:ln w="12700" cap="sq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31657" tIns="65828" rIns="131657" bIns="658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60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654" name="Rectangle 1074">
                <a:extLst>
                  <a:ext uri="{FF2B5EF4-FFF2-40B4-BE49-F238E27FC236}">
                    <a16:creationId xmlns:a16="http://schemas.microsoft.com/office/drawing/2014/main" id="{08849D35-2F2C-4610-BF03-4F0145222F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96361" y="8099460"/>
                <a:ext cx="2816477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31655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 panose="020F0502020204030204" pitchFamily="34" charset="0"/>
                  </a:rPr>
                  <a:t>Months Since Randomization</a:t>
                </a:r>
                <a:endPara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5720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6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6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6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4" grpId="0" animBg="1"/>
      <p:bldP spid="621" grpId="0"/>
      <p:bldP spid="631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1257153" y="268585"/>
            <a:ext cx="150434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A expressão de PD-L1 afeta a seleção da </a:t>
            </a:r>
            <a:r>
              <a:rPr lang="pt-BR" sz="5400" dirty="0" err="1"/>
              <a:t>adjuvância</a:t>
            </a:r>
            <a:r>
              <a:rPr lang="pt-BR" sz="5400" dirty="0"/>
              <a:t>?</a:t>
            </a:r>
          </a:p>
        </p:txBody>
      </p:sp>
      <p:pic>
        <p:nvPicPr>
          <p:cNvPr id="4" name="Imagem 3" descr="Gráfico, Gráfico de linhas&#10;&#10;Descrição gerada automaticamente">
            <a:extLst>
              <a:ext uri="{FF2B5EF4-FFF2-40B4-BE49-F238E27FC236}">
                <a16:creationId xmlns:a16="http://schemas.microsoft.com/office/drawing/2014/main" id="{75E227DA-AD1E-9CA6-1F3A-7C4F8B847D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7153" y="1403498"/>
            <a:ext cx="14755509" cy="7506586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1CF236B6-7BC5-D38B-9427-49BF385AB4BB}"/>
              </a:ext>
            </a:extLst>
          </p:cNvPr>
          <p:cNvSpPr txBox="1"/>
          <p:nvPr/>
        </p:nvSpPr>
        <p:spPr>
          <a:xfrm>
            <a:off x="8080744" y="9257598"/>
            <a:ext cx="91865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 err="1"/>
              <a:t>Eggermont</a:t>
            </a:r>
            <a:r>
              <a:rPr lang="pt-BR" dirty="0"/>
              <a:t> AAM et al. ASCO 2020</a:t>
            </a:r>
          </a:p>
        </p:txBody>
      </p:sp>
    </p:spTree>
    <p:extLst>
      <p:ext uri="{BB962C8B-B14F-4D97-AF65-F5344CB8AC3E}">
        <p14:creationId xmlns:p14="http://schemas.microsoft.com/office/powerpoint/2010/main" val="13965842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Tabela&#10;&#10;Descrição gerada automaticamente">
            <a:extLst>
              <a:ext uri="{FF2B5EF4-FFF2-40B4-BE49-F238E27FC236}">
                <a16:creationId xmlns:a16="http://schemas.microsoft.com/office/drawing/2014/main" id="{65AAC9A8-82E5-B1FC-BB52-8991ED181E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9285" y="1486936"/>
            <a:ext cx="13579180" cy="7600924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79E3B6B6-3456-FE0A-30A5-0BA78D20D43C}"/>
              </a:ext>
            </a:extLst>
          </p:cNvPr>
          <p:cNvSpPr txBox="1"/>
          <p:nvPr/>
        </p:nvSpPr>
        <p:spPr>
          <a:xfrm>
            <a:off x="1257153" y="268585"/>
            <a:ext cx="150434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A expressão de PD-L1 afeta a seleção da </a:t>
            </a:r>
            <a:r>
              <a:rPr lang="pt-BR" sz="5400" dirty="0" err="1"/>
              <a:t>adjuvância</a:t>
            </a:r>
            <a:r>
              <a:rPr lang="pt-BR" sz="5400" dirty="0"/>
              <a:t>?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2F52383C-C7B5-2FC6-5619-0DAF852240E7}"/>
              </a:ext>
            </a:extLst>
          </p:cNvPr>
          <p:cNvSpPr txBox="1"/>
          <p:nvPr/>
        </p:nvSpPr>
        <p:spPr>
          <a:xfrm>
            <a:off x="13290697" y="9236333"/>
            <a:ext cx="38915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/>
              <a:t>Weber 1 et al. ESMO 2019</a:t>
            </a:r>
          </a:p>
        </p:txBody>
      </p:sp>
    </p:spTree>
    <p:extLst>
      <p:ext uri="{BB962C8B-B14F-4D97-AF65-F5344CB8AC3E}">
        <p14:creationId xmlns:p14="http://schemas.microsoft.com/office/powerpoint/2010/main" val="10516375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552894" y="548652"/>
            <a:ext cx="157477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A mutação em BRAF muda a Imunoterapia adjuvante?</a:t>
            </a:r>
          </a:p>
        </p:txBody>
      </p:sp>
      <p:pic>
        <p:nvPicPr>
          <p:cNvPr id="4" name="Imagem 3" descr="Gráfico, Gráfico de linhas&#10;&#10;Descrição gerada automaticamente">
            <a:extLst>
              <a:ext uri="{FF2B5EF4-FFF2-40B4-BE49-F238E27FC236}">
                <a16:creationId xmlns:a16="http://schemas.microsoft.com/office/drawing/2014/main" id="{958A31EC-642F-A052-404B-F7BB4C5F45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187" y="1699200"/>
            <a:ext cx="14949376" cy="7381781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4DC728A8-FCEA-495E-70F9-162D6FF56C48}"/>
              </a:ext>
            </a:extLst>
          </p:cNvPr>
          <p:cNvSpPr txBox="1"/>
          <p:nvPr/>
        </p:nvSpPr>
        <p:spPr>
          <a:xfrm>
            <a:off x="11972260" y="9325598"/>
            <a:ext cx="4678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Eggermont</a:t>
            </a:r>
            <a:r>
              <a:rPr lang="pt-BR" dirty="0"/>
              <a:t> AM et al. ASCO 2020</a:t>
            </a:r>
          </a:p>
        </p:txBody>
      </p:sp>
    </p:spTree>
    <p:extLst>
      <p:ext uri="{BB962C8B-B14F-4D97-AF65-F5344CB8AC3E}">
        <p14:creationId xmlns:p14="http://schemas.microsoft.com/office/powerpoint/2010/main" val="16227406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tângulo 72">
            <a:extLst>
              <a:ext uri="{FF2B5EF4-FFF2-40B4-BE49-F238E27FC236}">
                <a16:creationId xmlns:a16="http://schemas.microsoft.com/office/drawing/2014/main" id="{C0E627A2-5262-41C4-B59C-909B35D6C089}"/>
              </a:ext>
            </a:extLst>
          </p:cNvPr>
          <p:cNvSpPr/>
          <p:nvPr/>
        </p:nvSpPr>
        <p:spPr>
          <a:xfrm>
            <a:off x="5288280" y="5044440"/>
            <a:ext cx="12269470" cy="6400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9" name="Agrupar 98">
            <a:extLst>
              <a:ext uri="{FF2B5EF4-FFF2-40B4-BE49-F238E27FC236}">
                <a16:creationId xmlns:a16="http://schemas.microsoft.com/office/drawing/2014/main" id="{3E0C6A51-5501-456A-B87D-E3417C4EECDB}"/>
              </a:ext>
            </a:extLst>
          </p:cNvPr>
          <p:cNvGrpSpPr/>
          <p:nvPr/>
        </p:nvGrpSpPr>
        <p:grpSpPr>
          <a:xfrm>
            <a:off x="9122893" y="1667872"/>
            <a:ext cx="3881591" cy="5466127"/>
            <a:chOff x="5785333" y="2521312"/>
            <a:chExt cx="3881591" cy="5466127"/>
          </a:xfrm>
        </p:grpSpPr>
        <p:grpSp>
          <p:nvGrpSpPr>
            <p:cNvPr id="12" name="Agrupar 11">
              <a:extLst>
                <a:ext uri="{FF2B5EF4-FFF2-40B4-BE49-F238E27FC236}">
                  <a16:creationId xmlns:a16="http://schemas.microsoft.com/office/drawing/2014/main" id="{00FEFA3F-0AC8-4D77-8348-93EC451DA1D6}"/>
                </a:ext>
              </a:extLst>
            </p:cNvPr>
            <p:cNvGrpSpPr/>
            <p:nvPr/>
          </p:nvGrpSpPr>
          <p:grpSpPr>
            <a:xfrm>
              <a:off x="5897880" y="4130040"/>
              <a:ext cx="3520440" cy="533400"/>
              <a:chOff x="-8595360" y="4709160"/>
              <a:chExt cx="3520440" cy="533400"/>
            </a:xfrm>
          </p:grpSpPr>
          <p:sp>
            <p:nvSpPr>
              <p:cNvPr id="47" name="Retângulo 46">
                <a:extLst>
                  <a:ext uri="{FF2B5EF4-FFF2-40B4-BE49-F238E27FC236}">
                    <a16:creationId xmlns:a16="http://schemas.microsoft.com/office/drawing/2014/main" id="{E6AF0D24-7829-478D-81D4-AFB58CCE5D38}"/>
                  </a:ext>
                </a:extLst>
              </p:cNvPr>
              <p:cNvSpPr/>
              <p:nvPr/>
            </p:nvSpPr>
            <p:spPr>
              <a:xfrm>
                <a:off x="-8595360" y="4709160"/>
                <a:ext cx="3520440" cy="5334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Retângulo 45">
                <a:extLst>
                  <a:ext uri="{FF2B5EF4-FFF2-40B4-BE49-F238E27FC236}">
                    <a16:creationId xmlns:a16="http://schemas.microsoft.com/office/drawing/2014/main" id="{D26C08CC-7294-48F4-A527-E487A67EEB6E}"/>
                  </a:ext>
                </a:extLst>
              </p:cNvPr>
              <p:cNvSpPr/>
              <p:nvPr/>
            </p:nvSpPr>
            <p:spPr>
              <a:xfrm>
                <a:off x="-8595360" y="4709160"/>
                <a:ext cx="1021080" cy="533400"/>
              </a:xfrm>
              <a:prstGeom prst="rect">
                <a:avLst/>
              </a:prstGeom>
              <a:solidFill>
                <a:srgbClr val="56EFF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D92B6E08-CDEE-4941-8852-211F486E1619}"/>
                </a:ext>
              </a:extLst>
            </p:cNvPr>
            <p:cNvSpPr/>
            <p:nvPr/>
          </p:nvSpPr>
          <p:spPr>
            <a:xfrm>
              <a:off x="5785333" y="2521312"/>
              <a:ext cx="3881591" cy="8248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3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CheckMate</a:t>
              </a:r>
              <a:r>
                <a:rPr kumimoji="0" lang="pt-BR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 238 </a:t>
              </a:r>
              <a:b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</a:br>
              <a: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(Braço </a:t>
              </a:r>
              <a:r>
                <a:rPr kumimoji="0" lang="pt-BR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Nivolumab</a:t>
              </a:r>
              <a: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)³</a:t>
              </a:r>
              <a:endPara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524671F7-BB6C-4605-8294-DB66DEE83BEB}"/>
                </a:ext>
              </a:extLst>
            </p:cNvPr>
            <p:cNvSpPr/>
            <p:nvPr/>
          </p:nvSpPr>
          <p:spPr>
            <a:xfrm>
              <a:off x="5785333" y="3578261"/>
              <a:ext cx="3605588" cy="3277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Pacientes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 (N=453)</a:t>
              </a: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1F95C6DC-8021-4A48-B578-7F4C7896C22D}"/>
                </a:ext>
              </a:extLst>
            </p:cNvPr>
            <p:cNvSpPr/>
            <p:nvPr/>
          </p:nvSpPr>
          <p:spPr>
            <a:xfrm>
              <a:off x="6015235" y="4156649"/>
              <a:ext cx="1060924" cy="5109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29%</a:t>
              </a:r>
            </a:p>
          </p:txBody>
        </p:sp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1F17C726-D8B1-48D8-B2D0-067617A54913}"/>
                </a:ext>
              </a:extLst>
            </p:cNvPr>
            <p:cNvSpPr/>
            <p:nvPr/>
          </p:nvSpPr>
          <p:spPr>
            <a:xfrm>
              <a:off x="8689550" y="4195323"/>
              <a:ext cx="771967" cy="4062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71%</a:t>
              </a:r>
            </a:p>
          </p:txBody>
        </p:sp>
        <p:sp>
          <p:nvSpPr>
            <p:cNvPr id="29" name="Retângulo 28">
              <a:extLst>
                <a:ext uri="{FF2B5EF4-FFF2-40B4-BE49-F238E27FC236}">
                  <a16:creationId xmlns:a16="http://schemas.microsoft.com/office/drawing/2014/main" id="{5FF0E79D-C2AA-40E6-9100-D47A176D53D9}"/>
                </a:ext>
              </a:extLst>
            </p:cNvPr>
            <p:cNvSpPr/>
            <p:nvPr/>
          </p:nvSpPr>
          <p:spPr>
            <a:xfrm>
              <a:off x="7066175" y="5190212"/>
              <a:ext cx="2490897" cy="5632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lvl="0">
                <a:lnSpc>
                  <a:spcPct val="85000"/>
                </a:lnSpc>
                <a:spcBef>
                  <a:spcPts val="1000"/>
                </a:spcBef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 </a:t>
              </a:r>
              <a:r>
                <a:rPr lang="pt-BR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Recidiva após descontinuação do </a:t>
              </a:r>
              <a:r>
                <a:rPr lang="pt-BR" dirty="0" err="1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tto</a:t>
              </a:r>
              <a:endParaRPr lang="pt-BR" dirty="0">
                <a:solidFill>
                  <a:srgbClr val="404040"/>
                </a:solidFill>
                <a:latin typeface="Bahnschrift" panose="020B0502040204020203" pitchFamily="34" charset="0"/>
                <a:cs typeface="Calibri"/>
              </a:endParaRPr>
            </a:p>
          </p:txBody>
        </p:sp>
        <p:sp>
          <p:nvSpPr>
            <p:cNvPr id="32" name="Retângulo 31">
              <a:extLst>
                <a:ext uri="{FF2B5EF4-FFF2-40B4-BE49-F238E27FC236}">
                  <a16:creationId xmlns:a16="http://schemas.microsoft.com/office/drawing/2014/main" id="{0D8DE38E-1131-458C-B9ED-4CE244407B0B}"/>
                </a:ext>
              </a:extLst>
            </p:cNvPr>
            <p:cNvSpPr/>
            <p:nvPr/>
          </p:nvSpPr>
          <p:spPr>
            <a:xfrm>
              <a:off x="7142375" y="5966801"/>
              <a:ext cx="2458825" cy="5632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lvl="0">
                <a:lnSpc>
                  <a:spcPct val="85000"/>
                </a:lnSpc>
                <a:spcBef>
                  <a:spcPts val="1000"/>
                </a:spcBef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(n=121) </a:t>
              </a:r>
              <a:r>
                <a:rPr lang="pt-BR" dirty="0">
                  <a:solidFill>
                    <a:srgbClr val="3B61AC"/>
                  </a:solidFill>
                  <a:latin typeface="Bahnschrift" panose="020B0502040204020203" pitchFamily="34" charset="0"/>
                  <a:cs typeface="Calibri"/>
                </a:rPr>
                <a:t>recidiva durante o tratamento</a:t>
              </a:r>
              <a:endParaRPr lang="pt-BR" dirty="0">
                <a:solidFill>
                  <a:srgbClr val="3B61AC"/>
                </a:solidFill>
                <a:latin typeface="Bahnschrift" panose="020B0502040204020203" pitchFamily="34" charset="0"/>
              </a:endParaRPr>
            </a:p>
          </p:txBody>
        </p:sp>
        <p:sp>
          <p:nvSpPr>
            <p:cNvPr id="35" name="Retângulo 34">
              <a:extLst>
                <a:ext uri="{FF2B5EF4-FFF2-40B4-BE49-F238E27FC236}">
                  <a16:creationId xmlns:a16="http://schemas.microsoft.com/office/drawing/2014/main" id="{63D9BBC5-779F-4A56-A1D9-6DE3CE8FC473}"/>
                </a:ext>
              </a:extLst>
            </p:cNvPr>
            <p:cNvSpPr/>
            <p:nvPr/>
          </p:nvSpPr>
          <p:spPr>
            <a:xfrm>
              <a:off x="5897880" y="6848666"/>
              <a:ext cx="3659192" cy="11387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lvl="0">
                <a:lnSpc>
                  <a:spcPct val="85000"/>
                </a:lnSpc>
                <a:spcBef>
                  <a:spcPts val="1000"/>
                </a:spcBef>
                <a:defRPr/>
              </a:pPr>
              <a:r>
                <a:rPr kumimoji="0" lang="pt-BR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~83%</a:t>
              </a: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 </a:t>
              </a:r>
              <a:r>
                <a:rPr lang="pt-BR" sz="2000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dos pacientes que descontinuaram </a:t>
              </a:r>
              <a:r>
                <a:rPr lang="pt-BR" sz="2000" dirty="0" err="1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nivolumab</a:t>
              </a:r>
              <a:r>
                <a:rPr lang="pt-BR" sz="2000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 precocemente</a:t>
              </a:r>
              <a:r>
                <a:rPr lang="pt-BR" sz="2000" b="1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 não recidivaram</a:t>
              </a:r>
              <a:endParaRPr lang="pt-BR" sz="2000" b="1" u="sng" dirty="0">
                <a:solidFill>
                  <a:srgbClr val="404040"/>
                </a:solidFill>
                <a:latin typeface="Bahnschrift" panose="020B0502040204020203" pitchFamily="34" charset="0"/>
                <a:cs typeface="Calibri"/>
              </a:endParaRPr>
            </a:p>
          </p:txBody>
        </p:sp>
        <p:cxnSp>
          <p:nvCxnSpPr>
            <p:cNvPr id="62" name="Conector reto 61">
              <a:extLst>
                <a:ext uri="{FF2B5EF4-FFF2-40B4-BE49-F238E27FC236}">
                  <a16:creationId xmlns:a16="http://schemas.microsoft.com/office/drawing/2014/main" id="{75EDDB9D-3DBA-4DA2-8559-6B8F3975EC12}"/>
                </a:ext>
              </a:extLst>
            </p:cNvPr>
            <p:cNvCxnSpPr>
              <a:cxnSpLocks/>
            </p:cNvCxnSpPr>
            <p:nvPr/>
          </p:nvCxnSpPr>
          <p:spPr>
            <a:xfrm>
              <a:off x="6175764" y="4729858"/>
              <a:ext cx="0" cy="1637731"/>
            </a:xfrm>
            <a:prstGeom prst="line">
              <a:avLst/>
            </a:prstGeom>
            <a:ln w="38100">
              <a:solidFill>
                <a:srgbClr val="56EFF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tângulo 62">
              <a:extLst>
                <a:ext uri="{FF2B5EF4-FFF2-40B4-BE49-F238E27FC236}">
                  <a16:creationId xmlns:a16="http://schemas.microsoft.com/office/drawing/2014/main" id="{5793177F-9EDA-476A-81D7-AEEFE55C09AF}"/>
                </a:ext>
              </a:extLst>
            </p:cNvPr>
            <p:cNvSpPr/>
            <p:nvPr/>
          </p:nvSpPr>
          <p:spPr>
            <a:xfrm>
              <a:off x="6248384" y="5235171"/>
              <a:ext cx="903271" cy="4585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~2%</a:t>
              </a:r>
            </a:p>
          </p:txBody>
        </p:sp>
        <p:sp>
          <p:nvSpPr>
            <p:cNvPr id="64" name="Retângulo 63">
              <a:extLst>
                <a:ext uri="{FF2B5EF4-FFF2-40B4-BE49-F238E27FC236}">
                  <a16:creationId xmlns:a16="http://schemas.microsoft.com/office/drawing/2014/main" id="{6120731D-C6C7-400B-80D9-2D987709B346}"/>
                </a:ext>
              </a:extLst>
            </p:cNvPr>
            <p:cNvSpPr/>
            <p:nvPr/>
          </p:nvSpPr>
          <p:spPr>
            <a:xfrm>
              <a:off x="6248384" y="5985599"/>
              <a:ext cx="944896" cy="5109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27%</a:t>
              </a:r>
            </a:p>
          </p:txBody>
        </p:sp>
      </p:grpSp>
      <p:grpSp>
        <p:nvGrpSpPr>
          <p:cNvPr id="89" name="Agrupar 88">
            <a:extLst>
              <a:ext uri="{FF2B5EF4-FFF2-40B4-BE49-F238E27FC236}">
                <a16:creationId xmlns:a16="http://schemas.microsoft.com/office/drawing/2014/main" id="{9C00A13B-655B-4B08-BBC9-395E0C470D2C}"/>
              </a:ext>
            </a:extLst>
          </p:cNvPr>
          <p:cNvGrpSpPr/>
          <p:nvPr/>
        </p:nvGrpSpPr>
        <p:grpSpPr>
          <a:xfrm>
            <a:off x="13071832" y="1667871"/>
            <a:ext cx="4373206" cy="5335323"/>
            <a:chOff x="10481032" y="2521311"/>
            <a:chExt cx="4373206" cy="5335323"/>
          </a:xfrm>
        </p:grpSpPr>
        <p:grpSp>
          <p:nvGrpSpPr>
            <p:cNvPr id="50" name="Agrupar 49">
              <a:extLst>
                <a:ext uri="{FF2B5EF4-FFF2-40B4-BE49-F238E27FC236}">
                  <a16:creationId xmlns:a16="http://schemas.microsoft.com/office/drawing/2014/main" id="{1FF7E8CE-B275-43AA-825E-C3F8EC012E88}"/>
                </a:ext>
              </a:extLst>
            </p:cNvPr>
            <p:cNvGrpSpPr/>
            <p:nvPr/>
          </p:nvGrpSpPr>
          <p:grpSpPr>
            <a:xfrm>
              <a:off x="10576560" y="4130040"/>
              <a:ext cx="3520440" cy="533400"/>
              <a:chOff x="-4663440" y="4709160"/>
              <a:chExt cx="3520440" cy="533400"/>
            </a:xfrm>
          </p:grpSpPr>
          <p:sp>
            <p:nvSpPr>
              <p:cNvPr id="49" name="Retângulo 48">
                <a:extLst>
                  <a:ext uri="{FF2B5EF4-FFF2-40B4-BE49-F238E27FC236}">
                    <a16:creationId xmlns:a16="http://schemas.microsoft.com/office/drawing/2014/main" id="{98F93A5E-4B56-477E-9718-BC878C8F0F88}"/>
                  </a:ext>
                </a:extLst>
              </p:cNvPr>
              <p:cNvSpPr/>
              <p:nvPr/>
            </p:nvSpPr>
            <p:spPr>
              <a:xfrm>
                <a:off x="-4663440" y="4709160"/>
                <a:ext cx="3520440" cy="5334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Retângulo 47">
                <a:extLst>
                  <a:ext uri="{FF2B5EF4-FFF2-40B4-BE49-F238E27FC236}">
                    <a16:creationId xmlns:a16="http://schemas.microsoft.com/office/drawing/2014/main" id="{C5EF6B8A-B488-423D-A07D-1CA011C31E8D}"/>
                  </a:ext>
                </a:extLst>
              </p:cNvPr>
              <p:cNvSpPr/>
              <p:nvPr/>
            </p:nvSpPr>
            <p:spPr>
              <a:xfrm>
                <a:off x="-4663440" y="4709160"/>
                <a:ext cx="899160" cy="533400"/>
              </a:xfrm>
              <a:prstGeom prst="rect">
                <a:avLst/>
              </a:prstGeom>
              <a:solidFill>
                <a:srgbClr val="56EFF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642163B3-490C-47C1-95BF-043960FE583F}"/>
                </a:ext>
              </a:extLst>
            </p:cNvPr>
            <p:cNvSpPr/>
            <p:nvPr/>
          </p:nvSpPr>
          <p:spPr>
            <a:xfrm>
              <a:off x="10481032" y="2521311"/>
              <a:ext cx="3923042" cy="8248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Keynote-054 </a:t>
              </a:r>
              <a:b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</a:br>
              <a: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(Braço </a:t>
              </a:r>
              <a:r>
                <a:rPr kumimoji="0" lang="pt-BR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Pembrolizumab</a:t>
              </a:r>
              <a: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)</a:t>
              </a:r>
              <a:r>
                <a: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lt"/>
                  <a:cs typeface="Calibri" panose="020F0502020204030204"/>
                </a:rPr>
                <a:t>⁴ </a:t>
              </a:r>
              <a:endPara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Calibri"/>
              </a:endParaRP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9C7627E0-2FD6-4F4C-A5D9-F8DEE9582DFD}"/>
                </a:ext>
              </a:extLst>
            </p:cNvPr>
            <p:cNvSpPr/>
            <p:nvPr/>
          </p:nvSpPr>
          <p:spPr>
            <a:xfrm>
              <a:off x="10481032" y="3578260"/>
              <a:ext cx="3605588" cy="3277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Pacientes</a:t>
              </a: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 (N=514)</a:t>
              </a:r>
              <a:endPara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663AC20A-3118-4D77-BA7B-B0D83C98AB1B}"/>
                </a:ext>
              </a:extLst>
            </p:cNvPr>
            <p:cNvSpPr/>
            <p:nvPr/>
          </p:nvSpPr>
          <p:spPr>
            <a:xfrm>
              <a:off x="10717094" y="4156649"/>
              <a:ext cx="1060924" cy="5109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25%</a:t>
              </a:r>
            </a:p>
          </p:txBody>
        </p:sp>
        <p:sp>
          <p:nvSpPr>
            <p:cNvPr id="27" name="Retângulo 26">
              <a:extLst>
                <a:ext uri="{FF2B5EF4-FFF2-40B4-BE49-F238E27FC236}">
                  <a16:creationId xmlns:a16="http://schemas.microsoft.com/office/drawing/2014/main" id="{9029EA0F-4A8C-4494-8B5D-8E82D251ADA8}"/>
                </a:ext>
              </a:extLst>
            </p:cNvPr>
            <p:cNvSpPr/>
            <p:nvPr/>
          </p:nvSpPr>
          <p:spPr>
            <a:xfrm>
              <a:off x="13315291" y="4195323"/>
              <a:ext cx="771967" cy="4062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75%</a:t>
              </a:r>
            </a:p>
          </p:txBody>
        </p:sp>
        <p:sp>
          <p:nvSpPr>
            <p:cNvPr id="30" name="Retângulo 29">
              <a:extLst>
                <a:ext uri="{FF2B5EF4-FFF2-40B4-BE49-F238E27FC236}">
                  <a16:creationId xmlns:a16="http://schemas.microsoft.com/office/drawing/2014/main" id="{C7CC0239-8CF8-430A-85B3-4C32305DCA14}"/>
                </a:ext>
              </a:extLst>
            </p:cNvPr>
            <p:cNvSpPr/>
            <p:nvPr/>
          </p:nvSpPr>
          <p:spPr>
            <a:xfrm>
              <a:off x="11769607" y="5199360"/>
              <a:ext cx="2634467" cy="5632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lvl="0">
                <a:lnSpc>
                  <a:spcPct val="85000"/>
                </a:lnSpc>
                <a:spcBef>
                  <a:spcPts val="1000"/>
                </a:spcBef>
                <a:defRPr/>
              </a:pPr>
              <a:r>
                <a:rPr lang="pt-BR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Recidiva após descontinuação do </a:t>
              </a:r>
              <a:r>
                <a:rPr lang="pt-BR" dirty="0" err="1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tto</a:t>
              </a:r>
              <a:endParaRPr lang="pt-BR" dirty="0">
                <a:solidFill>
                  <a:srgbClr val="404040"/>
                </a:solidFill>
                <a:latin typeface="Bahnschrift" panose="020B0502040204020203" pitchFamily="34" charset="0"/>
                <a:cs typeface="Calibri"/>
              </a:endParaRPr>
            </a:p>
          </p:txBody>
        </p:sp>
        <p:sp>
          <p:nvSpPr>
            <p:cNvPr id="33" name="Retângulo 32">
              <a:extLst>
                <a:ext uri="{FF2B5EF4-FFF2-40B4-BE49-F238E27FC236}">
                  <a16:creationId xmlns:a16="http://schemas.microsoft.com/office/drawing/2014/main" id="{AFE4DC9C-9B16-4F64-AADF-8AFEE583498E}"/>
                </a:ext>
              </a:extLst>
            </p:cNvPr>
            <p:cNvSpPr/>
            <p:nvPr/>
          </p:nvSpPr>
          <p:spPr>
            <a:xfrm>
              <a:off x="11769608" y="5978046"/>
              <a:ext cx="2525512" cy="5632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lvl="0">
                <a:lnSpc>
                  <a:spcPct val="85000"/>
                </a:lnSpc>
                <a:spcBef>
                  <a:spcPts val="1000"/>
                </a:spcBef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(n=109) </a:t>
              </a:r>
              <a:r>
                <a:rPr lang="pt-BR" dirty="0">
                  <a:solidFill>
                    <a:srgbClr val="3B61AC"/>
                  </a:solidFill>
                  <a:latin typeface="Bahnschrift" panose="020B0502040204020203" pitchFamily="34" charset="0"/>
                  <a:cs typeface="Calibri"/>
                </a:rPr>
                <a:t>recidiva durante o tratamento</a:t>
              </a:r>
              <a:endParaRPr lang="pt-BR" dirty="0">
                <a:solidFill>
                  <a:srgbClr val="3B61AC"/>
                </a:solidFill>
                <a:latin typeface="Bahnschrift" panose="020B0502040204020203" pitchFamily="34" charset="0"/>
              </a:endParaRPr>
            </a:p>
          </p:txBody>
        </p:sp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9BF8760A-6B35-442B-94EF-CCDAB49120FF}"/>
                </a:ext>
              </a:extLst>
            </p:cNvPr>
            <p:cNvSpPr/>
            <p:nvPr/>
          </p:nvSpPr>
          <p:spPr>
            <a:xfrm>
              <a:off x="10495363" y="6979471"/>
              <a:ext cx="4358875" cy="87716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lvl="0">
                <a:lnSpc>
                  <a:spcPct val="85000"/>
                </a:lnSpc>
                <a:spcBef>
                  <a:spcPts val="1000"/>
                </a:spcBef>
                <a:defRPr/>
              </a:pPr>
              <a:r>
                <a:rPr kumimoji="0" lang="pt-BR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~79%</a:t>
              </a: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 </a:t>
              </a:r>
              <a:r>
                <a:rPr lang="pt-BR" sz="2000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dos pacientes que descontinuaram </a:t>
              </a:r>
              <a:r>
                <a:rPr lang="pt-BR" sz="2000" dirty="0" err="1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pembrolizumab</a:t>
              </a:r>
              <a:r>
                <a:rPr lang="pt-BR" sz="2000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 precocemente</a:t>
              </a:r>
              <a:r>
                <a:rPr lang="pt-BR" sz="2000" b="1" dirty="0">
                  <a:solidFill>
                    <a:srgbClr val="404040"/>
                  </a:solidFill>
                  <a:latin typeface="Bahnschrift" panose="020B0502040204020203" pitchFamily="34" charset="0"/>
                  <a:cs typeface="Calibri"/>
                </a:rPr>
                <a:t> não recidivaram</a:t>
              </a:r>
              <a:endParaRPr lang="pt-BR" sz="2000" b="1" u="sng" dirty="0">
                <a:solidFill>
                  <a:srgbClr val="404040"/>
                </a:solidFill>
                <a:latin typeface="Bahnschrift" panose="020B0502040204020203" pitchFamily="34" charset="0"/>
                <a:cs typeface="Calibri"/>
              </a:endParaRPr>
            </a:p>
          </p:txBody>
        </p:sp>
        <p:cxnSp>
          <p:nvCxnSpPr>
            <p:cNvPr id="66" name="Conector reto 65">
              <a:extLst>
                <a:ext uri="{FF2B5EF4-FFF2-40B4-BE49-F238E27FC236}">
                  <a16:creationId xmlns:a16="http://schemas.microsoft.com/office/drawing/2014/main" id="{C11FD711-6672-4CC8-B854-1F56FE0C05BC}"/>
                </a:ext>
              </a:extLst>
            </p:cNvPr>
            <p:cNvCxnSpPr>
              <a:cxnSpLocks/>
            </p:cNvCxnSpPr>
            <p:nvPr/>
          </p:nvCxnSpPr>
          <p:spPr>
            <a:xfrm>
              <a:off x="10869684" y="4760338"/>
              <a:ext cx="0" cy="1637731"/>
            </a:xfrm>
            <a:prstGeom prst="line">
              <a:avLst/>
            </a:prstGeom>
            <a:ln w="38100">
              <a:solidFill>
                <a:srgbClr val="56EFF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etângulo 70">
              <a:extLst>
                <a:ext uri="{FF2B5EF4-FFF2-40B4-BE49-F238E27FC236}">
                  <a16:creationId xmlns:a16="http://schemas.microsoft.com/office/drawing/2014/main" id="{6F4CD031-B17F-4DB7-BF1F-0444F89197AA}"/>
                </a:ext>
              </a:extLst>
            </p:cNvPr>
            <p:cNvSpPr/>
            <p:nvPr/>
          </p:nvSpPr>
          <p:spPr>
            <a:xfrm>
              <a:off x="10962320" y="5235171"/>
              <a:ext cx="903271" cy="4585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~4%</a:t>
              </a:r>
            </a:p>
          </p:txBody>
        </p:sp>
        <p:sp>
          <p:nvSpPr>
            <p:cNvPr id="72" name="Retângulo 71">
              <a:extLst>
                <a:ext uri="{FF2B5EF4-FFF2-40B4-BE49-F238E27FC236}">
                  <a16:creationId xmlns:a16="http://schemas.microsoft.com/office/drawing/2014/main" id="{D9DCDE92-A466-45BF-BB9F-48DE2923C966}"/>
                </a:ext>
              </a:extLst>
            </p:cNvPr>
            <p:cNvSpPr/>
            <p:nvPr/>
          </p:nvSpPr>
          <p:spPr>
            <a:xfrm>
              <a:off x="10962320" y="5985599"/>
              <a:ext cx="944896" cy="51090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rPr>
                <a:t>21%</a:t>
              </a:r>
            </a:p>
          </p:txBody>
        </p:sp>
      </p:grpSp>
      <p:sp>
        <p:nvSpPr>
          <p:cNvPr id="102" name="Title 1">
            <a:extLst>
              <a:ext uri="{FF2B5EF4-FFF2-40B4-BE49-F238E27FC236}">
                <a16:creationId xmlns:a16="http://schemas.microsoft.com/office/drawing/2014/main" id="{6306E5F6-3412-41F1-8BCB-1C3D61817107}"/>
              </a:ext>
            </a:extLst>
          </p:cNvPr>
          <p:cNvSpPr txBox="1">
            <a:spLocks/>
          </p:cNvSpPr>
          <p:nvPr/>
        </p:nvSpPr>
        <p:spPr>
          <a:xfrm>
            <a:off x="472440" y="697230"/>
            <a:ext cx="8209280" cy="16881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algn="l" defTabSz="131655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33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316553" rtl="0" eaLnBrk="1" fontAlgn="auto" latinLnBrk="0" hangingPunct="1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200" b="1" i="0" u="none" strike="noStrike" kern="1200" cap="none" spc="-300" normalizeH="0" baseline="0" noProof="0" dirty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Verdana" panose="020B0604030504040204" pitchFamily="34" charset="0"/>
                <a:cs typeface="+mj-cs"/>
              </a:rPr>
              <a:t>COMBI-AD</a:t>
            </a:r>
            <a:endParaRPr kumimoji="0" lang="en-US" sz="12200" b="0" i="0" u="none" strike="noStrike" kern="1200" cap="none" spc="-300" normalizeH="0" baseline="0" noProof="0" dirty="0">
              <a:ln>
                <a:noFill/>
              </a:ln>
              <a:solidFill>
                <a:srgbClr val="3B61AC"/>
              </a:solidFill>
              <a:effectLst/>
              <a:uLnTx/>
              <a:uFillTx/>
              <a:latin typeface="Bahnschrift" panose="020B0502040204020203" pitchFamily="34" charset="0"/>
              <a:ea typeface="Verdana" panose="020B0604030504040204" pitchFamily="34" charset="0"/>
              <a:cs typeface="+mj-cs"/>
            </a:endParaRPr>
          </a:p>
        </p:txBody>
      </p:sp>
      <p:grpSp>
        <p:nvGrpSpPr>
          <p:cNvPr id="128" name="Agrupar 127">
            <a:extLst>
              <a:ext uri="{FF2B5EF4-FFF2-40B4-BE49-F238E27FC236}">
                <a16:creationId xmlns:a16="http://schemas.microsoft.com/office/drawing/2014/main" id="{070069AD-1FBF-4C2C-9DBA-6852DA96223E}"/>
              </a:ext>
            </a:extLst>
          </p:cNvPr>
          <p:cNvGrpSpPr/>
          <p:nvPr/>
        </p:nvGrpSpPr>
        <p:grpSpPr>
          <a:xfrm>
            <a:off x="609601" y="2724820"/>
            <a:ext cx="4191000" cy="3845129"/>
            <a:chOff x="609601" y="2724820"/>
            <a:chExt cx="4191000" cy="3845129"/>
          </a:xfrm>
        </p:grpSpPr>
        <p:sp>
          <p:nvSpPr>
            <p:cNvPr id="101" name="Title 1">
              <a:extLst>
                <a:ext uri="{FF2B5EF4-FFF2-40B4-BE49-F238E27FC236}">
                  <a16:creationId xmlns:a16="http://schemas.microsoft.com/office/drawing/2014/main" id="{563C8E7B-9343-4B12-A88B-A2A6FBBA2B9F}"/>
                </a:ext>
              </a:extLst>
            </p:cNvPr>
            <p:cNvSpPr txBox="1">
              <a:spLocks/>
            </p:cNvSpPr>
            <p:nvPr/>
          </p:nvSpPr>
          <p:spPr>
            <a:xfrm>
              <a:off x="609601" y="2724820"/>
              <a:ext cx="4191000" cy="35394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 algn="l" defTabSz="131655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335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1316553" rtl="0" eaLnBrk="1" fontAlgn="auto" latinLnBrk="0" hangingPunct="1">
                <a:lnSpc>
                  <a:spcPct val="8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4000" b="1" i="0" u="none" strike="noStrike" kern="1200" cap="none" spc="-15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Verdana" panose="020B0604030504040204" pitchFamily="34" charset="0"/>
                  <a:cs typeface="+mj-cs"/>
                </a:rPr>
                <a:t>DEMONSTROU MENOR PROPORÇÃO </a:t>
              </a:r>
              <a:br>
                <a:rPr kumimoji="0" lang="pt-BR" sz="4000" b="1" i="0" u="none" strike="noStrike" kern="1200" cap="none" spc="-15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Verdana" panose="020B0604030504040204" pitchFamily="34" charset="0"/>
                  <a:cs typeface="+mj-cs"/>
                </a:rPr>
              </a:br>
              <a:r>
                <a:rPr kumimoji="0" lang="pt-BR" sz="4000" b="1" i="0" u="none" strike="noStrike" kern="1200" cap="none" spc="-15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Verdana" panose="020B0604030504040204" pitchFamily="34" charset="0"/>
                  <a:cs typeface="+mj-cs"/>
                </a:rPr>
                <a:t>DE RECIDIVA </a:t>
              </a:r>
              <a:r>
                <a:rPr kumimoji="0" lang="pt-BR" sz="4000" b="0" i="0" u="none" strike="noStrike" kern="1200" cap="none" spc="-15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Verdana" panose="020B0604030504040204" pitchFamily="34" charset="0"/>
                  <a:cs typeface="+mj-cs"/>
                </a:rPr>
                <a:t>DURANTE A VIGÊNCIA DO TRATAMENTO </a:t>
              </a:r>
              <a:endParaRPr kumimoji="0" lang="en-US" sz="4000" b="0" i="0" u="none" strike="noStrike" kern="1200" cap="none" spc="-15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Verdana" panose="020B0604030504040204" pitchFamily="34" charset="0"/>
                <a:cs typeface="+mj-cs"/>
              </a:endParaRPr>
            </a:p>
          </p:txBody>
        </p:sp>
        <p:sp>
          <p:nvSpPr>
            <p:cNvPr id="103" name="Title 1">
              <a:extLst>
                <a:ext uri="{FF2B5EF4-FFF2-40B4-BE49-F238E27FC236}">
                  <a16:creationId xmlns:a16="http://schemas.microsoft.com/office/drawing/2014/main" id="{43ABB813-5340-4574-83B3-1DCD3F7EBAC1}"/>
                </a:ext>
              </a:extLst>
            </p:cNvPr>
            <p:cNvSpPr txBox="1">
              <a:spLocks/>
            </p:cNvSpPr>
            <p:nvPr/>
          </p:nvSpPr>
          <p:spPr>
            <a:xfrm>
              <a:off x="609601" y="6163684"/>
              <a:ext cx="4191000" cy="4062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 algn="l" defTabSz="131655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335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1316553" rtl="0" eaLnBrk="1" fontAlgn="auto" latinLnBrk="0" hangingPunct="1">
                <a:lnSpc>
                  <a:spcPct val="85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0" i="0" u="none" strike="noStrike" kern="1200" cap="none" spc="-15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Verdana" panose="020B0604030504040204" pitchFamily="34" charset="0"/>
                  <a:cs typeface="+mj-cs"/>
                </a:rPr>
                <a:t>(em 12 meses)</a:t>
              </a:r>
              <a:endParaRPr kumimoji="0" lang="en-US" sz="2400" b="0" i="0" u="none" strike="noStrike" kern="1200" cap="none" spc="-15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Verdana" panose="020B0604030504040204" pitchFamily="34" charset="0"/>
                <a:cs typeface="+mj-cs"/>
              </a:endParaRPr>
            </a:p>
          </p:txBody>
        </p:sp>
      </p:grpSp>
      <p:grpSp>
        <p:nvGrpSpPr>
          <p:cNvPr id="126" name="Agrupar 125">
            <a:extLst>
              <a:ext uri="{FF2B5EF4-FFF2-40B4-BE49-F238E27FC236}">
                <a16:creationId xmlns:a16="http://schemas.microsoft.com/office/drawing/2014/main" id="{FDC16603-A457-4639-B7E1-37BD08AD712D}"/>
              </a:ext>
            </a:extLst>
          </p:cNvPr>
          <p:cNvGrpSpPr/>
          <p:nvPr/>
        </p:nvGrpSpPr>
        <p:grpSpPr>
          <a:xfrm>
            <a:off x="5152430" y="7472760"/>
            <a:ext cx="11671762" cy="1392325"/>
            <a:chOff x="5152430" y="7472760"/>
            <a:chExt cx="11671762" cy="1392325"/>
          </a:xfrm>
        </p:grpSpPr>
        <p:grpSp>
          <p:nvGrpSpPr>
            <p:cNvPr id="107" name="Agrupar 106">
              <a:extLst>
                <a:ext uri="{FF2B5EF4-FFF2-40B4-BE49-F238E27FC236}">
                  <a16:creationId xmlns:a16="http://schemas.microsoft.com/office/drawing/2014/main" id="{53649C01-A7B5-428A-B8AC-0969D9B6474D}"/>
                </a:ext>
              </a:extLst>
            </p:cNvPr>
            <p:cNvGrpSpPr/>
            <p:nvPr/>
          </p:nvGrpSpPr>
          <p:grpSpPr>
            <a:xfrm>
              <a:off x="5152430" y="7472760"/>
              <a:ext cx="11671762" cy="1392325"/>
              <a:chOff x="5289590" y="7625160"/>
              <a:chExt cx="11671762" cy="1392325"/>
            </a:xfrm>
          </p:grpSpPr>
          <p:sp>
            <p:nvSpPr>
              <p:cNvPr id="37" name="Retângulo 36">
                <a:extLst>
                  <a:ext uri="{FF2B5EF4-FFF2-40B4-BE49-F238E27FC236}">
                    <a16:creationId xmlns:a16="http://schemas.microsoft.com/office/drawing/2014/main" id="{F57E328E-5BF0-49CB-9848-D1DB4AE422FD}"/>
                  </a:ext>
                </a:extLst>
              </p:cNvPr>
              <p:cNvSpPr/>
              <p:nvPr/>
            </p:nvSpPr>
            <p:spPr>
              <a:xfrm>
                <a:off x="5289677" y="7625160"/>
                <a:ext cx="2254210" cy="38010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*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Of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32%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of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patients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who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discontinued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prematurely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(~22%)</a:t>
                </a:r>
              </a:p>
            </p:txBody>
          </p:sp>
          <p:sp>
            <p:nvSpPr>
              <p:cNvPr id="38" name="Retângulo 37">
                <a:extLst>
                  <a:ext uri="{FF2B5EF4-FFF2-40B4-BE49-F238E27FC236}">
                    <a16:creationId xmlns:a16="http://schemas.microsoft.com/office/drawing/2014/main" id="{FCEEBDDB-678E-47C2-BD21-A5D6BC0D840C}"/>
                  </a:ext>
                </a:extLst>
              </p:cNvPr>
              <p:cNvSpPr/>
              <p:nvPr/>
            </p:nvSpPr>
            <p:spPr>
              <a:xfrm>
                <a:off x="5323380" y="8123651"/>
                <a:ext cx="2254210" cy="38010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↑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Of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12%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of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patients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who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discontinued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prematurely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(~17%)</a:t>
                </a:r>
              </a:p>
            </p:txBody>
          </p:sp>
          <p:sp>
            <p:nvSpPr>
              <p:cNvPr id="39" name="Retângulo 38">
                <a:extLst>
                  <a:ext uri="{FF2B5EF4-FFF2-40B4-BE49-F238E27FC236}">
                    <a16:creationId xmlns:a16="http://schemas.microsoft.com/office/drawing/2014/main" id="{3CCDCF0A-8543-4D77-883C-1A47F4862DB2}"/>
                  </a:ext>
                </a:extLst>
              </p:cNvPr>
              <p:cNvSpPr/>
              <p:nvPr/>
            </p:nvSpPr>
            <p:spPr>
              <a:xfrm>
                <a:off x="5289590" y="8637381"/>
                <a:ext cx="2254210" cy="38010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↕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Of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19%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of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patients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who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discontinued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</a:t>
                </a:r>
                <a:r>
                  <a:rPr kumimoji="0" lang="pt-BR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prematurely</a:t>
                </a:r>
                <a:r>
                  <a:rPr kumimoji="0" lang="pt-B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(~21%)</a:t>
                </a:r>
              </a:p>
            </p:txBody>
          </p:sp>
          <p:grpSp>
            <p:nvGrpSpPr>
              <p:cNvPr id="98" name="Agrupar 97">
                <a:extLst>
                  <a:ext uri="{FF2B5EF4-FFF2-40B4-BE49-F238E27FC236}">
                    <a16:creationId xmlns:a16="http://schemas.microsoft.com/office/drawing/2014/main" id="{76830F0C-82A9-4344-80CB-93E82C1CDD87}"/>
                  </a:ext>
                </a:extLst>
              </p:cNvPr>
              <p:cNvGrpSpPr/>
              <p:nvPr/>
            </p:nvGrpSpPr>
            <p:grpSpPr>
              <a:xfrm>
                <a:off x="8939731" y="7625160"/>
                <a:ext cx="8021621" cy="878595"/>
                <a:chOff x="6303211" y="8554800"/>
                <a:chExt cx="8021621" cy="878595"/>
              </a:xfrm>
            </p:grpSpPr>
            <p:sp>
              <p:nvSpPr>
                <p:cNvPr id="40" name="Retângulo 39">
                  <a:extLst>
                    <a:ext uri="{FF2B5EF4-FFF2-40B4-BE49-F238E27FC236}">
                      <a16:creationId xmlns:a16="http://schemas.microsoft.com/office/drawing/2014/main" id="{FCBB748C-07E6-45D0-A908-38EEC0D3349A}"/>
                    </a:ext>
                  </a:extLst>
                </p:cNvPr>
                <p:cNvSpPr/>
                <p:nvPr/>
              </p:nvSpPr>
              <p:spPr>
                <a:xfrm>
                  <a:off x="6303211" y="8554800"/>
                  <a:ext cx="8021621" cy="23621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sp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85000"/>
                    </a:lnSpc>
                    <a:spcBef>
                      <a:spcPts val="1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1. Novartis Full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clinical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study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report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Study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BRF115532/DRB436F2301, NCT01682083</a:t>
                  </a:r>
                </a:p>
              </p:txBody>
            </p:sp>
            <p:sp>
              <p:nvSpPr>
                <p:cNvPr id="41" name="Retângulo 40">
                  <a:extLst>
                    <a:ext uri="{FF2B5EF4-FFF2-40B4-BE49-F238E27FC236}">
                      <a16:creationId xmlns:a16="http://schemas.microsoft.com/office/drawing/2014/main" id="{4BB6EF0C-04E6-4BAC-BDB6-45CDFACEAE47}"/>
                    </a:ext>
                  </a:extLst>
                </p:cNvPr>
                <p:cNvSpPr/>
                <p:nvPr/>
              </p:nvSpPr>
              <p:spPr>
                <a:xfrm>
                  <a:off x="7168017" y="8768925"/>
                  <a:ext cx="7156815" cy="23621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sp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85000"/>
                    </a:lnSpc>
                    <a:spcBef>
                      <a:spcPts val="1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2.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Long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GV, et al. N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Engl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J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Med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2017; 377:1813~1823 (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incl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.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Suppl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appendix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).</a:t>
                  </a:r>
                </a:p>
              </p:txBody>
            </p:sp>
            <p:sp>
              <p:nvSpPr>
                <p:cNvPr id="42" name="Retângulo 41">
                  <a:extLst>
                    <a:ext uri="{FF2B5EF4-FFF2-40B4-BE49-F238E27FC236}">
                      <a16:creationId xmlns:a16="http://schemas.microsoft.com/office/drawing/2014/main" id="{31035037-E19E-4B53-98E0-1788FA59FADB}"/>
                    </a:ext>
                  </a:extLst>
                </p:cNvPr>
                <p:cNvSpPr/>
                <p:nvPr/>
              </p:nvSpPr>
              <p:spPr>
                <a:xfrm>
                  <a:off x="7168017" y="8983050"/>
                  <a:ext cx="7156815" cy="23621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sp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85000"/>
                    </a:lnSpc>
                    <a:spcBef>
                      <a:spcPts val="1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3. Weber J, et al. N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Engl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J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Med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2017; 377:1824~1835 (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incl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.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suppl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appendix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).</a:t>
                  </a:r>
                </a:p>
              </p:txBody>
            </p:sp>
            <p:sp>
              <p:nvSpPr>
                <p:cNvPr id="43" name="Retângulo 42">
                  <a:extLst>
                    <a:ext uri="{FF2B5EF4-FFF2-40B4-BE49-F238E27FC236}">
                      <a16:creationId xmlns:a16="http://schemas.microsoft.com/office/drawing/2014/main" id="{0F74EC66-6F33-4732-AC1F-92F386D065BD}"/>
                    </a:ext>
                  </a:extLst>
                </p:cNvPr>
                <p:cNvSpPr/>
                <p:nvPr/>
              </p:nvSpPr>
              <p:spPr>
                <a:xfrm>
                  <a:off x="8437627" y="9197176"/>
                  <a:ext cx="5887205" cy="23621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sp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85000"/>
                    </a:lnSpc>
                    <a:spcBef>
                      <a:spcPts val="1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4.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Eggemont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A, et al. N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Engl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J </a:t>
                  </a:r>
                  <a:r>
                    <a:rPr kumimoji="0" lang="pt-BR" sz="11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Med</a:t>
                  </a:r>
                  <a:r>
                    <a:rPr kumimoji="0" lang="pt-B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Bahnschrift" panose="020B0502040204020203" pitchFamily="34" charset="0"/>
                      <a:ea typeface="+mn-ea"/>
                      <a:cs typeface="Calibri"/>
                    </a:rPr>
                    <a:t> 2018; 378:1789~1801</a:t>
                  </a:r>
                </a:p>
              </p:txBody>
            </p:sp>
          </p:grpSp>
        </p:grpSp>
        <p:cxnSp>
          <p:nvCxnSpPr>
            <p:cNvPr id="105" name="Conector reto 104">
              <a:extLst>
                <a:ext uri="{FF2B5EF4-FFF2-40B4-BE49-F238E27FC236}">
                  <a16:creationId xmlns:a16="http://schemas.microsoft.com/office/drawing/2014/main" id="{0ADEAB3A-9F94-438F-A9F8-58485E2E19FD}"/>
                </a:ext>
              </a:extLst>
            </p:cNvPr>
            <p:cNvCxnSpPr>
              <a:cxnSpLocks/>
            </p:cNvCxnSpPr>
            <p:nvPr/>
          </p:nvCxnSpPr>
          <p:spPr>
            <a:xfrm>
              <a:off x="7680960" y="8808720"/>
              <a:ext cx="90678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>
              <a:extLst>
                <a:ext uri="{FF2B5EF4-FFF2-40B4-BE49-F238E27FC236}">
                  <a16:creationId xmlns:a16="http://schemas.microsoft.com/office/drawing/2014/main" id="{A2AD9584-7AE5-4B61-B671-78C92BA51255}"/>
                </a:ext>
              </a:extLst>
            </p:cNvPr>
            <p:cNvCxnSpPr>
              <a:cxnSpLocks/>
            </p:cNvCxnSpPr>
            <p:nvPr/>
          </p:nvCxnSpPr>
          <p:spPr>
            <a:xfrm>
              <a:off x="6888480" y="7543800"/>
              <a:ext cx="460248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Agrupar 126">
            <a:extLst>
              <a:ext uri="{FF2B5EF4-FFF2-40B4-BE49-F238E27FC236}">
                <a16:creationId xmlns:a16="http://schemas.microsoft.com/office/drawing/2014/main" id="{E62707C1-AD86-48DE-B6B4-9C9A73FAD61A}"/>
              </a:ext>
            </a:extLst>
          </p:cNvPr>
          <p:cNvGrpSpPr/>
          <p:nvPr/>
        </p:nvGrpSpPr>
        <p:grpSpPr>
          <a:xfrm>
            <a:off x="706632" y="2075259"/>
            <a:ext cx="8258292" cy="6833015"/>
            <a:chOff x="706632" y="2075259"/>
            <a:chExt cx="8258292" cy="6833015"/>
          </a:xfrm>
        </p:grpSpPr>
        <p:grpSp>
          <p:nvGrpSpPr>
            <p:cNvPr id="100" name="Agrupar 99">
              <a:extLst>
                <a:ext uri="{FF2B5EF4-FFF2-40B4-BE49-F238E27FC236}">
                  <a16:creationId xmlns:a16="http://schemas.microsoft.com/office/drawing/2014/main" id="{71ECE294-9A5B-4DA4-B602-6AFD916AC00C}"/>
                </a:ext>
              </a:extLst>
            </p:cNvPr>
            <p:cNvGrpSpPr/>
            <p:nvPr/>
          </p:nvGrpSpPr>
          <p:grpSpPr>
            <a:xfrm>
              <a:off x="5085595" y="2075259"/>
              <a:ext cx="3879329" cy="4927935"/>
              <a:chOff x="1199395" y="2928699"/>
              <a:chExt cx="3879329" cy="4927935"/>
            </a:xfrm>
          </p:grpSpPr>
          <p:grpSp>
            <p:nvGrpSpPr>
              <p:cNvPr id="11" name="Agrupar 10">
                <a:extLst>
                  <a:ext uri="{FF2B5EF4-FFF2-40B4-BE49-F238E27FC236}">
                    <a16:creationId xmlns:a16="http://schemas.microsoft.com/office/drawing/2014/main" id="{FCA900AE-1990-4ACB-B0E3-7F81E736899C}"/>
                  </a:ext>
                </a:extLst>
              </p:cNvPr>
              <p:cNvGrpSpPr/>
              <p:nvPr/>
            </p:nvGrpSpPr>
            <p:grpSpPr>
              <a:xfrm>
                <a:off x="1371600" y="4130040"/>
                <a:ext cx="3520440" cy="533400"/>
                <a:chOff x="-12466320" y="4709160"/>
                <a:chExt cx="3520440" cy="533400"/>
              </a:xfrm>
            </p:grpSpPr>
            <p:sp>
              <p:nvSpPr>
                <p:cNvPr id="45" name="Retângulo 44">
                  <a:extLst>
                    <a:ext uri="{FF2B5EF4-FFF2-40B4-BE49-F238E27FC236}">
                      <a16:creationId xmlns:a16="http://schemas.microsoft.com/office/drawing/2014/main" id="{9EFF36B5-E321-4A90-B288-B57B0FFE5C32}"/>
                    </a:ext>
                  </a:extLst>
                </p:cNvPr>
                <p:cNvSpPr/>
                <p:nvPr/>
              </p:nvSpPr>
              <p:spPr>
                <a:xfrm>
                  <a:off x="-12466320" y="4709160"/>
                  <a:ext cx="3520440" cy="533400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" name="Retângulo 3">
                  <a:extLst>
                    <a:ext uri="{FF2B5EF4-FFF2-40B4-BE49-F238E27FC236}">
                      <a16:creationId xmlns:a16="http://schemas.microsoft.com/office/drawing/2014/main" id="{22D1F616-F958-498F-BFA2-A0A44301303C}"/>
                    </a:ext>
                  </a:extLst>
                </p:cNvPr>
                <p:cNvSpPr/>
                <p:nvPr/>
              </p:nvSpPr>
              <p:spPr>
                <a:xfrm>
                  <a:off x="-12466320" y="4709160"/>
                  <a:ext cx="396240" cy="533400"/>
                </a:xfrm>
                <a:prstGeom prst="rect">
                  <a:avLst/>
                </a:prstGeom>
                <a:solidFill>
                  <a:srgbClr val="56EFF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" name="Retângulo 7">
                <a:extLst>
                  <a:ext uri="{FF2B5EF4-FFF2-40B4-BE49-F238E27FC236}">
                    <a16:creationId xmlns:a16="http://schemas.microsoft.com/office/drawing/2014/main" id="{BE20E7C1-63FD-4BE2-B9FF-50735B81C817}"/>
                  </a:ext>
                </a:extLst>
              </p:cNvPr>
              <p:cNvSpPr/>
              <p:nvPr/>
            </p:nvSpPr>
            <p:spPr>
              <a:xfrm>
                <a:off x="1199395" y="2928699"/>
                <a:ext cx="3623989" cy="4062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(Braço </a:t>
                </a:r>
                <a:r>
                  <a:rPr kumimoji="0" lang="pt-BR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Dab</a:t>
                </a:r>
                <a:r>
                  <a:rPr kumimoji="0" lang="pt-B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+ </a:t>
                </a:r>
                <a:r>
                  <a:rPr kumimoji="0" lang="pt-BR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Tram</a:t>
                </a:r>
                <a:r>
                  <a:rPr kumimoji="0" lang="pt-B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) ¹ ²</a:t>
                </a:r>
                <a:endParaRPr kumimoji="0" lang="pt-B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742C6158-82FD-48EE-A27B-E7B4A02856ED}"/>
                  </a:ext>
                </a:extLst>
              </p:cNvPr>
              <p:cNvSpPr/>
              <p:nvPr/>
            </p:nvSpPr>
            <p:spPr>
              <a:xfrm>
                <a:off x="1260355" y="3578262"/>
                <a:ext cx="3605588" cy="32778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dirty="0">
                    <a:solidFill>
                      <a:srgbClr val="404040"/>
                    </a:solidFill>
                    <a:latin typeface="Bahnschrift" panose="020B0502040204020203" pitchFamily="34" charset="0"/>
                    <a:cs typeface="Calibri"/>
                  </a:rPr>
                  <a:t>Pacientes</a:t>
                </a:r>
                <a:r>
                  <a:rPr kumimoji="0" lang="pt-B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(N=438)</a:t>
                </a: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Retângulo 21">
                <a:extLst>
                  <a:ext uri="{FF2B5EF4-FFF2-40B4-BE49-F238E27FC236}">
                    <a16:creationId xmlns:a16="http://schemas.microsoft.com/office/drawing/2014/main" id="{7BCBA83C-B760-428A-8148-86A0FA6C7F71}"/>
                  </a:ext>
                </a:extLst>
              </p:cNvPr>
              <p:cNvSpPr/>
              <p:nvPr/>
            </p:nvSpPr>
            <p:spPr>
              <a:xfrm>
                <a:off x="1433475" y="4156649"/>
                <a:ext cx="1060924" cy="51090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B61AC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12%</a:t>
                </a:r>
              </a:p>
            </p:txBody>
          </p:sp>
          <p:sp>
            <p:nvSpPr>
              <p:cNvPr id="23" name="Retângulo 22">
                <a:extLst>
                  <a:ext uri="{FF2B5EF4-FFF2-40B4-BE49-F238E27FC236}">
                    <a16:creationId xmlns:a16="http://schemas.microsoft.com/office/drawing/2014/main" id="{1222686F-BDA9-4AD5-8AE4-6E8764221A4E}"/>
                  </a:ext>
                </a:extLst>
              </p:cNvPr>
              <p:cNvSpPr/>
              <p:nvPr/>
            </p:nvSpPr>
            <p:spPr>
              <a:xfrm>
                <a:off x="4155384" y="4195323"/>
                <a:ext cx="771967" cy="4062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88%</a:t>
                </a:r>
              </a:p>
            </p:txBody>
          </p:sp>
          <p:sp>
            <p:nvSpPr>
              <p:cNvPr id="28" name="Retângulo 27">
                <a:extLst>
                  <a:ext uri="{FF2B5EF4-FFF2-40B4-BE49-F238E27FC236}">
                    <a16:creationId xmlns:a16="http://schemas.microsoft.com/office/drawing/2014/main" id="{17D1C9BF-A0DE-4E84-A3BA-88D17D3EEA71}"/>
                  </a:ext>
                </a:extLst>
              </p:cNvPr>
              <p:cNvSpPr/>
              <p:nvPr/>
            </p:nvSpPr>
            <p:spPr>
              <a:xfrm>
                <a:off x="2395924" y="5190212"/>
                <a:ext cx="2465635" cy="5632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dirty="0">
                    <a:solidFill>
                      <a:srgbClr val="404040"/>
                    </a:solidFill>
                    <a:latin typeface="Bahnschrift" panose="020B0502040204020203" pitchFamily="34" charset="0"/>
                    <a:cs typeface="Calibri"/>
                  </a:rPr>
                  <a:t>Recidiva após descontinuação do </a:t>
                </a:r>
                <a:r>
                  <a:rPr lang="pt-BR" dirty="0" err="1">
                    <a:solidFill>
                      <a:srgbClr val="404040"/>
                    </a:solidFill>
                    <a:latin typeface="Bahnschrift" panose="020B0502040204020203" pitchFamily="34" charset="0"/>
                    <a:cs typeface="Calibri"/>
                  </a:rPr>
                  <a:t>tto</a:t>
                </a: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endParaRPr>
              </a:p>
            </p:txBody>
          </p:sp>
          <p:sp>
            <p:nvSpPr>
              <p:cNvPr id="31" name="Retângulo 30">
                <a:extLst>
                  <a:ext uri="{FF2B5EF4-FFF2-40B4-BE49-F238E27FC236}">
                    <a16:creationId xmlns:a16="http://schemas.microsoft.com/office/drawing/2014/main" id="{49E63975-804E-4149-9AA5-EE4E6C427704}"/>
                  </a:ext>
                </a:extLst>
              </p:cNvPr>
              <p:cNvSpPr/>
              <p:nvPr/>
            </p:nvSpPr>
            <p:spPr>
              <a:xfrm>
                <a:off x="2395924" y="5966801"/>
                <a:ext cx="2403311" cy="5632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B61AC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(n=23) </a:t>
                </a:r>
                <a:r>
                  <a:rPr lang="pt-BR" dirty="0">
                    <a:solidFill>
                      <a:srgbClr val="3B61AC"/>
                    </a:solidFill>
                    <a:latin typeface="Bahnschrift" panose="020B0502040204020203" pitchFamily="34" charset="0"/>
                    <a:cs typeface="Calibri"/>
                  </a:rPr>
                  <a:t>recidiva durante o tratamento</a:t>
                </a: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B61AC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Retângulo 33">
                <a:extLst>
                  <a:ext uri="{FF2B5EF4-FFF2-40B4-BE49-F238E27FC236}">
                    <a16:creationId xmlns:a16="http://schemas.microsoft.com/office/drawing/2014/main" id="{4B0B0028-C154-494D-9751-B0482BAB2CF7}"/>
                  </a:ext>
                </a:extLst>
              </p:cNvPr>
              <p:cNvSpPr/>
              <p:nvPr/>
            </p:nvSpPr>
            <p:spPr>
              <a:xfrm>
                <a:off x="1290835" y="6979471"/>
                <a:ext cx="3787889" cy="87716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~78%</a:t>
                </a:r>
                <a:r>
                  <a:rPr kumimoji="0" lang="pt-B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dos pacientes </a:t>
                </a:r>
                <a:br>
                  <a:rPr kumimoji="0" lang="pt-B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</a:br>
                <a:r>
                  <a:rPr kumimoji="0" lang="pt-BR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que descontinuaram</a:t>
                </a:r>
                <a:r>
                  <a:rPr kumimoji="0" lang="pt-BR" sz="2000" b="0" i="0" u="none" strike="noStrike" kern="1200" cap="none" spc="0" normalizeH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D+T precocemente</a:t>
                </a:r>
                <a:r>
                  <a:rPr kumimoji="0" lang="pt-BR" sz="2000" b="1" i="0" u="none" strike="noStrike" kern="1200" cap="none" spc="0" normalizeH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não recidivaram</a:t>
                </a:r>
                <a:endParaRPr kumimoji="0" lang="pt-BR" sz="2000" b="1" i="0" u="sng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Calibri"/>
                </a:endParaRPr>
              </a:p>
            </p:txBody>
          </p:sp>
          <p:sp>
            <p:nvSpPr>
              <p:cNvPr id="57" name="Retângulo 56">
                <a:extLst>
                  <a:ext uri="{FF2B5EF4-FFF2-40B4-BE49-F238E27FC236}">
                    <a16:creationId xmlns:a16="http://schemas.microsoft.com/office/drawing/2014/main" id="{7FC093D7-550D-4307-B6FC-47508835C71B}"/>
                  </a:ext>
                </a:extLst>
              </p:cNvPr>
              <p:cNvSpPr/>
              <p:nvPr/>
            </p:nvSpPr>
            <p:spPr>
              <a:xfrm>
                <a:off x="1699585" y="5235171"/>
                <a:ext cx="903271" cy="45858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7%*</a:t>
                </a:r>
              </a:p>
            </p:txBody>
          </p:sp>
          <p:sp>
            <p:nvSpPr>
              <p:cNvPr id="59" name="Retângulo 58">
                <a:extLst>
                  <a:ext uri="{FF2B5EF4-FFF2-40B4-BE49-F238E27FC236}">
                    <a16:creationId xmlns:a16="http://schemas.microsoft.com/office/drawing/2014/main" id="{9A7DC6FF-5508-4D85-8D3B-30A090200EF5}"/>
                  </a:ext>
                </a:extLst>
              </p:cNvPr>
              <p:cNvSpPr/>
              <p:nvPr/>
            </p:nvSpPr>
            <p:spPr>
              <a:xfrm>
                <a:off x="1699585" y="5985599"/>
                <a:ext cx="851718" cy="51090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3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B61AC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5%</a:t>
                </a:r>
              </a:p>
            </p:txBody>
          </p:sp>
          <p:cxnSp>
            <p:nvCxnSpPr>
              <p:cNvPr id="55" name="Conector reto 54">
                <a:extLst>
                  <a:ext uri="{FF2B5EF4-FFF2-40B4-BE49-F238E27FC236}">
                    <a16:creationId xmlns:a16="http://schemas.microsoft.com/office/drawing/2014/main" id="{B44F9A5C-9A8E-40CA-BA70-2A85C0959C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55541" y="4729858"/>
                <a:ext cx="0" cy="1637731"/>
              </a:xfrm>
              <a:prstGeom prst="line">
                <a:avLst/>
              </a:prstGeom>
              <a:ln w="38100">
                <a:solidFill>
                  <a:srgbClr val="56EFF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Agrupar 120">
              <a:extLst>
                <a:ext uri="{FF2B5EF4-FFF2-40B4-BE49-F238E27FC236}">
                  <a16:creationId xmlns:a16="http://schemas.microsoft.com/office/drawing/2014/main" id="{1A477637-A238-4185-8671-BD41432234A7}"/>
                </a:ext>
              </a:extLst>
            </p:cNvPr>
            <p:cNvGrpSpPr/>
            <p:nvPr/>
          </p:nvGrpSpPr>
          <p:grpSpPr>
            <a:xfrm>
              <a:off x="706632" y="8564246"/>
              <a:ext cx="3951092" cy="344028"/>
              <a:chOff x="11680891" y="3184526"/>
              <a:chExt cx="3951092" cy="344028"/>
            </a:xfrm>
          </p:grpSpPr>
          <p:sp>
            <p:nvSpPr>
              <p:cNvPr id="122" name="Retângulo 121">
                <a:extLst>
                  <a:ext uri="{FF2B5EF4-FFF2-40B4-BE49-F238E27FC236}">
                    <a16:creationId xmlns:a16="http://schemas.microsoft.com/office/drawing/2014/main" id="{E7B11EC7-2BCF-4882-A31B-71D3D1EF6FF4}"/>
                  </a:ext>
                </a:extLst>
              </p:cNvPr>
              <p:cNvSpPr/>
              <p:nvPr/>
            </p:nvSpPr>
            <p:spPr>
              <a:xfrm>
                <a:off x="11994341" y="3200772"/>
                <a:ext cx="1143998" cy="32778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Recidiva</a:t>
                </a: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3" name="Retângulo 122">
                <a:extLst>
                  <a:ext uri="{FF2B5EF4-FFF2-40B4-BE49-F238E27FC236}">
                    <a16:creationId xmlns:a16="http://schemas.microsoft.com/office/drawing/2014/main" id="{91CC633A-FB19-4FC5-B763-E0261849484D}"/>
                  </a:ext>
                </a:extLst>
              </p:cNvPr>
              <p:cNvSpPr/>
              <p:nvPr/>
            </p:nvSpPr>
            <p:spPr>
              <a:xfrm>
                <a:off x="13838380" y="3184526"/>
                <a:ext cx="1793603" cy="32778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85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Não</a:t>
                </a:r>
                <a:r>
                  <a:rPr kumimoji="0" lang="pt-BR" sz="1800" b="0" i="0" u="none" strike="noStrike" kern="120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Calibri"/>
                  </a:rPr>
                  <a:t> recidiva</a:t>
                </a: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4" name="Retângulo 123">
                <a:extLst>
                  <a:ext uri="{FF2B5EF4-FFF2-40B4-BE49-F238E27FC236}">
                    <a16:creationId xmlns:a16="http://schemas.microsoft.com/office/drawing/2014/main" id="{C52CC46A-07A1-4F37-A4A1-65BF9DF1E2F4}"/>
                  </a:ext>
                </a:extLst>
              </p:cNvPr>
              <p:cNvSpPr/>
              <p:nvPr/>
            </p:nvSpPr>
            <p:spPr>
              <a:xfrm>
                <a:off x="11680891" y="3212228"/>
                <a:ext cx="272955" cy="272955"/>
              </a:xfrm>
              <a:prstGeom prst="rect">
                <a:avLst/>
              </a:prstGeom>
              <a:solidFill>
                <a:srgbClr val="56EFF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Retângulo 124">
                <a:extLst>
                  <a:ext uri="{FF2B5EF4-FFF2-40B4-BE49-F238E27FC236}">
                    <a16:creationId xmlns:a16="http://schemas.microsoft.com/office/drawing/2014/main" id="{5F2A8480-EE70-4F45-85D7-7C6B337FDD7E}"/>
                  </a:ext>
                </a:extLst>
              </p:cNvPr>
              <p:cNvSpPr/>
              <p:nvPr/>
            </p:nvSpPr>
            <p:spPr>
              <a:xfrm>
                <a:off x="13524931" y="3207224"/>
                <a:ext cx="272955" cy="27295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29" name="Imagem 128">
            <a:extLst>
              <a:ext uri="{FF2B5EF4-FFF2-40B4-BE49-F238E27FC236}">
                <a16:creationId xmlns:a16="http://schemas.microsoft.com/office/drawing/2014/main" id="{F6A91B9D-3D54-474B-A345-3343CB4523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4" t="21401" r="32902" b="71258"/>
          <a:stretch/>
        </p:blipFill>
        <p:spPr>
          <a:xfrm flipH="1" flipV="1">
            <a:off x="7680960" y="924086"/>
            <a:ext cx="8998159" cy="333397"/>
          </a:xfrm>
          <a:prstGeom prst="rect">
            <a:avLst/>
          </a:prstGeom>
          <a:solidFill>
            <a:schemeClr val="accent1"/>
          </a:solidFill>
        </p:spPr>
      </p:pic>
    </p:spTree>
    <p:extLst>
      <p:ext uri="{BB962C8B-B14F-4D97-AF65-F5344CB8AC3E}">
        <p14:creationId xmlns:p14="http://schemas.microsoft.com/office/powerpoint/2010/main" val="4224239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102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1325374" y="423271"/>
            <a:ext cx="1504344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600" dirty="0"/>
              <a:t>Tratamento Atual – Doença Avançada</a:t>
            </a:r>
          </a:p>
        </p:txBody>
      </p:sp>
      <p:sp>
        <p:nvSpPr>
          <p:cNvPr id="3" name="Retângulo Arredondado 2">
            <a:extLst>
              <a:ext uri="{FF2B5EF4-FFF2-40B4-BE49-F238E27FC236}">
                <a16:creationId xmlns:a16="http://schemas.microsoft.com/office/drawing/2014/main" id="{415C9763-9ABF-4A9C-3A29-7A8996A48A96}"/>
              </a:ext>
            </a:extLst>
          </p:cNvPr>
          <p:cNvSpPr/>
          <p:nvPr/>
        </p:nvSpPr>
        <p:spPr>
          <a:xfrm>
            <a:off x="4600278" y="1828800"/>
            <a:ext cx="8357190" cy="1233377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Melanoma Avançado – Primeira Linha</a:t>
            </a:r>
          </a:p>
        </p:txBody>
      </p:sp>
      <p:sp>
        <p:nvSpPr>
          <p:cNvPr id="4" name="Retângulo Arredondado 3">
            <a:extLst>
              <a:ext uri="{FF2B5EF4-FFF2-40B4-BE49-F238E27FC236}">
                <a16:creationId xmlns:a16="http://schemas.microsoft.com/office/drawing/2014/main" id="{7FECB91C-0C55-4C59-75FB-20ABE31711E5}"/>
              </a:ext>
            </a:extLst>
          </p:cNvPr>
          <p:cNvSpPr/>
          <p:nvPr/>
        </p:nvSpPr>
        <p:spPr>
          <a:xfrm>
            <a:off x="4600278" y="3234329"/>
            <a:ext cx="8357190" cy="1233377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/>
              <a:t>Avaliação do status do BRAF</a:t>
            </a:r>
          </a:p>
        </p:txBody>
      </p:sp>
      <p:sp>
        <p:nvSpPr>
          <p:cNvPr id="5" name="Retângulo Arredondado 4">
            <a:extLst>
              <a:ext uri="{FF2B5EF4-FFF2-40B4-BE49-F238E27FC236}">
                <a16:creationId xmlns:a16="http://schemas.microsoft.com/office/drawing/2014/main" id="{9FB8D7D7-D013-41CB-7C8D-B3C88E054DC5}"/>
              </a:ext>
            </a:extLst>
          </p:cNvPr>
          <p:cNvSpPr/>
          <p:nvPr/>
        </p:nvSpPr>
        <p:spPr>
          <a:xfrm>
            <a:off x="733571" y="6127970"/>
            <a:ext cx="7453499" cy="3473230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Dabrafenibe</a:t>
            </a:r>
            <a:r>
              <a:rPr lang="pt-BR" sz="3200" b="1" dirty="0"/>
              <a:t>/</a:t>
            </a:r>
            <a:r>
              <a:rPr lang="pt-BR" sz="3200" b="1" dirty="0" err="1"/>
              <a:t>Trametinibe</a:t>
            </a:r>
            <a:r>
              <a:rPr lang="pt-BR" sz="3200" b="1" dirty="0"/>
              <a:t> ou</a:t>
            </a:r>
          </a:p>
          <a:p>
            <a:pPr algn="ctr"/>
            <a:r>
              <a:rPr lang="pt-BR" sz="3200" b="1" dirty="0" err="1"/>
              <a:t>Vemurafenibe</a:t>
            </a:r>
            <a:r>
              <a:rPr lang="pt-BR" sz="3200" b="1" dirty="0"/>
              <a:t>/</a:t>
            </a:r>
            <a:r>
              <a:rPr lang="pt-BR" sz="3200" b="1" dirty="0" err="1"/>
              <a:t>Cobimetinibe</a:t>
            </a:r>
            <a:r>
              <a:rPr lang="pt-BR" sz="3200" b="1" dirty="0"/>
              <a:t> ou</a:t>
            </a:r>
          </a:p>
          <a:p>
            <a:pPr algn="ctr"/>
            <a:r>
              <a:rPr lang="pt-BR" sz="3200" b="1" dirty="0" err="1"/>
              <a:t>Ipilimumabe</a:t>
            </a:r>
            <a:r>
              <a:rPr lang="pt-BR" sz="3200" b="1" dirty="0"/>
              <a:t> + </a:t>
            </a:r>
            <a:r>
              <a:rPr lang="pt-BR" sz="3200" b="1" dirty="0" err="1"/>
              <a:t>Nivolumabe</a:t>
            </a:r>
            <a:r>
              <a:rPr lang="pt-BR" sz="3200" b="1" dirty="0"/>
              <a:t> ou</a:t>
            </a:r>
          </a:p>
          <a:p>
            <a:pPr algn="ctr"/>
            <a:r>
              <a:rPr lang="pt-BR" sz="3200" b="1" dirty="0" err="1"/>
              <a:t>Nivolumabe</a:t>
            </a:r>
            <a:r>
              <a:rPr lang="pt-BR" sz="3200" b="1" dirty="0"/>
              <a:t> + </a:t>
            </a:r>
            <a:r>
              <a:rPr lang="pt-BR" sz="3200" b="1" dirty="0" err="1"/>
              <a:t>Relatlimabe</a:t>
            </a:r>
            <a:r>
              <a:rPr lang="pt-BR" sz="3200" b="1" dirty="0"/>
              <a:t> ou</a:t>
            </a:r>
          </a:p>
          <a:p>
            <a:pPr algn="ctr"/>
            <a:r>
              <a:rPr lang="pt-BR" sz="3200" b="1" dirty="0" err="1"/>
              <a:t>Pembrolizumabe</a:t>
            </a:r>
            <a:r>
              <a:rPr lang="pt-BR" sz="3200" b="1" dirty="0"/>
              <a:t> ou</a:t>
            </a:r>
          </a:p>
          <a:p>
            <a:pPr algn="ctr"/>
            <a:r>
              <a:rPr lang="pt-BR" sz="3200" b="1" dirty="0" err="1"/>
              <a:t>Nivolumabe</a:t>
            </a:r>
            <a:endParaRPr lang="pt-BR" sz="3200" b="1" dirty="0"/>
          </a:p>
        </p:txBody>
      </p:sp>
      <p:sp>
        <p:nvSpPr>
          <p:cNvPr id="6" name="Retângulo Arredondado 5">
            <a:extLst>
              <a:ext uri="{FF2B5EF4-FFF2-40B4-BE49-F238E27FC236}">
                <a16:creationId xmlns:a16="http://schemas.microsoft.com/office/drawing/2014/main" id="{F04F06D6-F371-A444-9EB9-3B0B1B524E9C}"/>
              </a:ext>
            </a:extLst>
          </p:cNvPr>
          <p:cNvSpPr/>
          <p:nvPr/>
        </p:nvSpPr>
        <p:spPr>
          <a:xfrm>
            <a:off x="9370682" y="6127969"/>
            <a:ext cx="7453499" cy="3473230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err="1"/>
              <a:t>Ipilimumabe</a:t>
            </a:r>
            <a:r>
              <a:rPr lang="pt-BR" sz="3200" b="1" dirty="0"/>
              <a:t> + </a:t>
            </a:r>
            <a:r>
              <a:rPr lang="pt-BR" sz="3200" b="1" dirty="0" err="1"/>
              <a:t>Nivolumabe</a:t>
            </a:r>
            <a:r>
              <a:rPr lang="pt-BR" sz="3200" b="1" dirty="0"/>
              <a:t> ou</a:t>
            </a:r>
          </a:p>
          <a:p>
            <a:pPr algn="ctr"/>
            <a:r>
              <a:rPr lang="pt-BR" sz="3200" b="1" dirty="0" err="1"/>
              <a:t>Nivolumabe</a:t>
            </a:r>
            <a:r>
              <a:rPr lang="pt-BR" sz="3200" b="1" dirty="0"/>
              <a:t> + </a:t>
            </a:r>
            <a:r>
              <a:rPr lang="pt-BR" sz="3200" b="1" dirty="0" err="1"/>
              <a:t>Relatlimabe</a:t>
            </a:r>
            <a:r>
              <a:rPr lang="pt-BR" sz="3200" b="1" dirty="0"/>
              <a:t> ou</a:t>
            </a:r>
          </a:p>
          <a:p>
            <a:pPr algn="ctr"/>
            <a:r>
              <a:rPr lang="pt-BR" sz="3200" b="1" dirty="0" err="1"/>
              <a:t>Pembrolizumabe</a:t>
            </a:r>
            <a:r>
              <a:rPr lang="pt-BR" sz="3200" b="1" dirty="0"/>
              <a:t> ou</a:t>
            </a:r>
          </a:p>
          <a:p>
            <a:pPr algn="ctr"/>
            <a:r>
              <a:rPr lang="pt-BR" sz="3200" b="1" dirty="0" err="1"/>
              <a:t>Nivolumabe</a:t>
            </a:r>
            <a:endParaRPr lang="pt-BR" sz="3200" b="1" dirty="0"/>
          </a:p>
        </p:txBody>
      </p:sp>
      <p:sp>
        <p:nvSpPr>
          <p:cNvPr id="7" name="Retângulo Arredondado 6">
            <a:extLst>
              <a:ext uri="{FF2B5EF4-FFF2-40B4-BE49-F238E27FC236}">
                <a16:creationId xmlns:a16="http://schemas.microsoft.com/office/drawing/2014/main" id="{3DAE0BF1-AA90-6347-DC18-BCC8F9F9B873}"/>
              </a:ext>
            </a:extLst>
          </p:cNvPr>
          <p:cNvSpPr/>
          <p:nvPr/>
        </p:nvSpPr>
        <p:spPr>
          <a:xfrm>
            <a:off x="733571" y="4639858"/>
            <a:ext cx="7453499" cy="12333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400" b="1" dirty="0">
                <a:solidFill>
                  <a:srgbClr val="002060"/>
                </a:solidFill>
              </a:rPr>
              <a:t>BRAF </a:t>
            </a:r>
            <a:r>
              <a:rPr lang="pt-BR" sz="4400" b="1" dirty="0" err="1">
                <a:solidFill>
                  <a:srgbClr val="002060"/>
                </a:solidFill>
              </a:rPr>
              <a:t>mut</a:t>
            </a:r>
            <a:r>
              <a:rPr lang="pt-BR" sz="4400" b="1" dirty="0">
                <a:solidFill>
                  <a:srgbClr val="002060"/>
                </a:solidFill>
              </a:rPr>
              <a:t> (V600E e V600K)</a:t>
            </a:r>
          </a:p>
        </p:txBody>
      </p:sp>
      <p:sp>
        <p:nvSpPr>
          <p:cNvPr id="8" name="Retângulo Arredondado 7">
            <a:extLst>
              <a:ext uri="{FF2B5EF4-FFF2-40B4-BE49-F238E27FC236}">
                <a16:creationId xmlns:a16="http://schemas.microsoft.com/office/drawing/2014/main" id="{88BABF29-6F1C-91CE-EE57-00513EC1EB84}"/>
              </a:ext>
            </a:extLst>
          </p:cNvPr>
          <p:cNvSpPr/>
          <p:nvPr/>
        </p:nvSpPr>
        <p:spPr>
          <a:xfrm>
            <a:off x="9342182" y="4639858"/>
            <a:ext cx="7453499" cy="123337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4400" b="1" dirty="0">
                <a:solidFill>
                  <a:srgbClr val="002060"/>
                </a:solidFill>
              </a:rPr>
              <a:t>BRAF </a:t>
            </a:r>
            <a:r>
              <a:rPr lang="pt-BR" sz="4400" b="1" dirty="0" err="1">
                <a:solidFill>
                  <a:srgbClr val="002060"/>
                </a:solidFill>
              </a:rPr>
              <a:t>wt</a:t>
            </a:r>
            <a:endParaRPr lang="pt-BR" sz="4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4458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944157" y="359813"/>
            <a:ext cx="157477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Fusões TRK: casos raro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DC728A8-FCEA-495E-70F9-162D6FF56C48}"/>
              </a:ext>
            </a:extLst>
          </p:cNvPr>
          <p:cNvSpPr txBox="1"/>
          <p:nvPr/>
        </p:nvSpPr>
        <p:spPr>
          <a:xfrm>
            <a:off x="6606073" y="9381355"/>
            <a:ext cx="112201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Amatu</a:t>
            </a:r>
            <a:r>
              <a:rPr lang="pt-BR" dirty="0"/>
              <a:t> A et al. ESMO Open 2016 / Turner J et al. </a:t>
            </a:r>
            <a:r>
              <a:rPr lang="pt-BR" dirty="0" err="1"/>
              <a:t>Pig</a:t>
            </a:r>
            <a:r>
              <a:rPr lang="pt-BR" dirty="0"/>
              <a:t> </a:t>
            </a:r>
            <a:r>
              <a:rPr lang="pt-BR" dirty="0" err="1"/>
              <a:t>Cell</a:t>
            </a:r>
            <a:r>
              <a:rPr lang="pt-BR" dirty="0"/>
              <a:t> Mel Res 2018 / </a:t>
            </a:r>
            <a:r>
              <a:rPr lang="pt-BR" dirty="0" err="1"/>
              <a:t>Drilon</a:t>
            </a:r>
            <a:r>
              <a:rPr lang="pt-BR" dirty="0"/>
              <a:t> A et al. ASCO 2020</a:t>
            </a:r>
          </a:p>
        </p:txBody>
      </p:sp>
      <p:pic>
        <p:nvPicPr>
          <p:cNvPr id="6" name="Imagem 5" descr="Uma imagem contendo Linha do tempo&#10;&#10;Descrição gerada automaticamente">
            <a:extLst>
              <a:ext uri="{FF2B5EF4-FFF2-40B4-BE49-F238E27FC236}">
                <a16:creationId xmlns:a16="http://schemas.microsoft.com/office/drawing/2014/main" id="{D451D1E1-FA14-8F90-F021-01001363AB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157" y="1652809"/>
            <a:ext cx="16336137" cy="7543546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2941964A-24C3-2EBF-FEC7-1A243DA244AB}"/>
              </a:ext>
            </a:extLst>
          </p:cNvPr>
          <p:cNvSpPr/>
          <p:nvPr/>
        </p:nvSpPr>
        <p:spPr>
          <a:xfrm>
            <a:off x="15488816" y="7595118"/>
            <a:ext cx="1884784" cy="1642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41202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1168714" y="535838"/>
            <a:ext cx="157477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BRAF: o principal biomarcador na doença avançada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DC728A8-FCEA-495E-70F9-162D6FF56C48}"/>
              </a:ext>
            </a:extLst>
          </p:cNvPr>
          <p:cNvSpPr txBox="1"/>
          <p:nvPr/>
        </p:nvSpPr>
        <p:spPr>
          <a:xfrm>
            <a:off x="3752040" y="8876747"/>
            <a:ext cx="13571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/>
              <a:t>1. </a:t>
            </a:r>
            <a:r>
              <a:rPr lang="pt-BR" dirty="0" err="1"/>
              <a:t>Ascierto</a:t>
            </a:r>
            <a:r>
              <a:rPr lang="pt-BR" dirty="0"/>
              <a:t> PA, et al. Lancet 2016 [</a:t>
            </a:r>
            <a:r>
              <a:rPr lang="pt-BR" dirty="0" err="1"/>
              <a:t>Epub</a:t>
            </a:r>
            <a:r>
              <a:rPr lang="pt-BR" dirty="0"/>
              <a:t> </a:t>
            </a:r>
            <a:r>
              <a:rPr lang="pt-BR" dirty="0" err="1"/>
              <a:t>ahead</a:t>
            </a:r>
            <a:r>
              <a:rPr lang="pt-BR" dirty="0"/>
              <a:t> </a:t>
            </a:r>
            <a:r>
              <a:rPr lang="pt-BR" dirty="0" err="1"/>
              <a:t>of</a:t>
            </a:r>
            <a:r>
              <a:rPr lang="pt-BR" dirty="0"/>
              <a:t> print]: 2. </a:t>
            </a:r>
            <a:r>
              <a:rPr lang="pt-BR" dirty="0" err="1"/>
              <a:t>Long</a:t>
            </a:r>
            <a:r>
              <a:rPr lang="pt-BR" dirty="0"/>
              <a:t> GV, et al. Lancet 2015;386:444-451; 3. </a:t>
            </a:r>
            <a:r>
              <a:rPr lang="pt-BR" dirty="0" err="1"/>
              <a:t>Flaherty</a:t>
            </a:r>
            <a:r>
              <a:rPr lang="pt-BR" dirty="0"/>
              <a:t> </a:t>
            </a:r>
            <a:r>
              <a:rPr lang="pt-BR" dirty="0" err="1"/>
              <a:t>K</a:t>
            </a:r>
            <a:r>
              <a:rPr lang="pt-BR" dirty="0"/>
              <a:t>, et al. </a:t>
            </a:r>
            <a:r>
              <a:rPr lang="pt-BR" dirty="0" err="1"/>
              <a:t>Presented</a:t>
            </a:r>
            <a:r>
              <a:rPr lang="pt-BR" dirty="0"/>
              <a:t> </a:t>
            </a:r>
            <a:r>
              <a:rPr lang="pt-BR" dirty="0" err="1"/>
              <a:t>at</a:t>
            </a:r>
            <a:r>
              <a:rPr lang="pt-BR" dirty="0"/>
              <a:t> ASCO, 2016; 4. Robert C, et al. </a:t>
            </a:r>
            <a:r>
              <a:rPr lang="pt-BR" dirty="0" err="1"/>
              <a:t>Presented</a:t>
            </a:r>
            <a:r>
              <a:rPr lang="pt-BR" dirty="0"/>
              <a:t> </a:t>
            </a:r>
            <a:r>
              <a:rPr lang="pt-BR" dirty="0" err="1"/>
              <a:t>at</a:t>
            </a:r>
            <a:r>
              <a:rPr lang="pt-BR" dirty="0"/>
              <a:t> ECC/EADO , 2015. 5. </a:t>
            </a:r>
            <a:r>
              <a:rPr lang="pt-BR" dirty="0" err="1"/>
              <a:t>McCarthur</a:t>
            </a:r>
            <a:r>
              <a:rPr lang="pt-BR" dirty="0"/>
              <a:t> GA et al. </a:t>
            </a:r>
            <a:r>
              <a:rPr lang="pt-BR" dirty="0" err="1"/>
              <a:t>Presented</a:t>
            </a:r>
            <a:r>
              <a:rPr lang="pt-BR" dirty="0"/>
              <a:t> </a:t>
            </a:r>
            <a:r>
              <a:rPr lang="pt-BR" dirty="0" err="1"/>
              <a:t>at</a:t>
            </a:r>
            <a:r>
              <a:rPr lang="pt-BR" dirty="0"/>
              <a:t> SMR, 2016; 6. Robert C et al. </a:t>
            </a:r>
            <a:r>
              <a:rPr lang="pt-BR" dirty="0" err="1"/>
              <a:t>Presented</a:t>
            </a:r>
            <a:r>
              <a:rPr lang="pt-BR" dirty="0"/>
              <a:t> </a:t>
            </a:r>
            <a:r>
              <a:rPr lang="pt-BR" dirty="0" err="1"/>
              <a:t>at</a:t>
            </a:r>
            <a:r>
              <a:rPr lang="pt-BR" dirty="0"/>
              <a:t> ESMO, 2016 7. </a:t>
            </a:r>
            <a:r>
              <a:rPr lang="pt-BR" dirty="0" err="1"/>
              <a:t>Dummer</a:t>
            </a:r>
            <a:r>
              <a:rPr lang="pt-BR" dirty="0"/>
              <a:t> </a:t>
            </a:r>
            <a:r>
              <a:rPr lang="pt-BR" dirty="0" err="1"/>
              <a:t>Ret</a:t>
            </a:r>
            <a:r>
              <a:rPr lang="pt-BR" dirty="0"/>
              <a:t> al. Lancet </a:t>
            </a:r>
            <a:r>
              <a:rPr lang="pt-BR" dirty="0" err="1"/>
              <a:t>Oncol</a:t>
            </a:r>
            <a:r>
              <a:rPr lang="pt-BR" dirty="0"/>
              <a:t> 2018 (</a:t>
            </a:r>
            <a:r>
              <a:rPr lang="pt-BR" dirty="0" err="1"/>
              <a:t>updated</a:t>
            </a:r>
            <a:r>
              <a:rPr lang="pt-BR" dirty="0"/>
              <a:t> </a:t>
            </a:r>
            <a:r>
              <a:rPr lang="pt-BR" dirty="0" err="1"/>
              <a:t>at</a:t>
            </a:r>
            <a:r>
              <a:rPr lang="pt-BR" dirty="0"/>
              <a:t> ASCO 2018).</a:t>
            </a:r>
          </a:p>
        </p:txBody>
      </p:sp>
      <p:pic>
        <p:nvPicPr>
          <p:cNvPr id="4" name="Imagem 3" descr="Tabela&#10;&#10;Descrição gerada automaticamente">
            <a:extLst>
              <a:ext uri="{FF2B5EF4-FFF2-40B4-BE49-F238E27FC236}">
                <a16:creationId xmlns:a16="http://schemas.microsoft.com/office/drawing/2014/main" id="{5F3C02E8-EFFA-509C-5325-ECC7C4F5EB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225" y="1701617"/>
            <a:ext cx="17089299" cy="6994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3465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ângulo 22">
            <a:extLst>
              <a:ext uri="{FF2B5EF4-FFF2-40B4-BE49-F238E27FC236}">
                <a16:creationId xmlns:a16="http://schemas.microsoft.com/office/drawing/2014/main" id="{6E5CDA18-CBD6-435A-88F9-597884B26699}"/>
              </a:ext>
            </a:extLst>
          </p:cNvPr>
          <p:cNvSpPr/>
          <p:nvPr/>
        </p:nvSpPr>
        <p:spPr>
          <a:xfrm rot="5400000">
            <a:off x="-1844165" y="1842875"/>
            <a:ext cx="9875540" cy="61872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5303BC93-E7DF-4BAF-B251-8FF3E9E9FF16}"/>
              </a:ext>
            </a:extLst>
          </p:cNvPr>
          <p:cNvGrpSpPr/>
          <p:nvPr/>
        </p:nvGrpSpPr>
        <p:grpSpPr>
          <a:xfrm>
            <a:off x="1764" y="9110949"/>
            <a:ext cx="17554222" cy="763301"/>
            <a:chOff x="1764" y="9110949"/>
            <a:chExt cx="17554222" cy="763301"/>
          </a:xfrm>
        </p:grpSpPr>
        <p:grpSp>
          <p:nvGrpSpPr>
            <p:cNvPr id="25" name="Agrupar 24">
              <a:extLst>
                <a:ext uri="{FF2B5EF4-FFF2-40B4-BE49-F238E27FC236}">
                  <a16:creationId xmlns:a16="http://schemas.microsoft.com/office/drawing/2014/main" id="{24924132-BEC6-4D19-959B-4E467797E12A}"/>
                </a:ext>
              </a:extLst>
            </p:cNvPr>
            <p:cNvGrpSpPr/>
            <p:nvPr/>
          </p:nvGrpSpPr>
          <p:grpSpPr>
            <a:xfrm>
              <a:off x="15379700" y="9110949"/>
              <a:ext cx="1962408" cy="763301"/>
              <a:chOff x="-1258228" y="5021756"/>
              <a:chExt cx="19489525" cy="7580669"/>
            </a:xfrm>
          </p:grpSpPr>
          <p:sp>
            <p:nvSpPr>
              <p:cNvPr id="27" name="Retângulo: Cantos Arredondados 26">
                <a:extLst>
                  <a:ext uri="{FF2B5EF4-FFF2-40B4-BE49-F238E27FC236}">
                    <a16:creationId xmlns:a16="http://schemas.microsoft.com/office/drawing/2014/main" id="{A57EE803-A171-4DDF-B2E5-4D53B0FBDA47}"/>
                  </a:ext>
                </a:extLst>
              </p:cNvPr>
              <p:cNvSpPr/>
              <p:nvPr/>
            </p:nvSpPr>
            <p:spPr>
              <a:xfrm>
                <a:off x="-1258228" y="5021756"/>
                <a:ext cx="19489525" cy="7580669"/>
              </a:xfrm>
              <a:prstGeom prst="roundRect">
                <a:avLst>
                  <a:gd name="adj" fmla="val 1473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pt-BR"/>
                </a:defPPr>
                <a:lvl1pPr marL="0" algn="l" defTabSz="1567464" rtl="0" eaLnBrk="1" latinLnBrk="0" hangingPunct="1">
                  <a:defRPr sz="3086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783732" algn="l" defTabSz="1567464" rtl="0" eaLnBrk="1" latinLnBrk="0" hangingPunct="1">
                  <a:defRPr sz="3086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567464" algn="l" defTabSz="1567464" rtl="0" eaLnBrk="1" latinLnBrk="0" hangingPunct="1">
                  <a:defRPr sz="3086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2351197" algn="l" defTabSz="1567464" rtl="0" eaLnBrk="1" latinLnBrk="0" hangingPunct="1">
                  <a:defRPr sz="3086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3134929" algn="l" defTabSz="1567464" rtl="0" eaLnBrk="1" latinLnBrk="0" hangingPunct="1">
                  <a:defRPr sz="3086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3918661" algn="l" defTabSz="1567464" rtl="0" eaLnBrk="1" latinLnBrk="0" hangingPunct="1">
                  <a:defRPr sz="3086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4702393" algn="l" defTabSz="1567464" rtl="0" eaLnBrk="1" latinLnBrk="0" hangingPunct="1">
                  <a:defRPr sz="3086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5486126" algn="l" defTabSz="1567464" rtl="0" eaLnBrk="1" latinLnBrk="0" hangingPunct="1">
                  <a:defRPr sz="3086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6269858" algn="l" defTabSz="1567464" rtl="0" eaLnBrk="1" latinLnBrk="0" hangingPunct="1">
                  <a:defRPr sz="3086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5674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3086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8" name="Imagem 27" descr="Uma imagem contendo desenho, placar&#10;&#10;Descrição gerada automaticamente">
                <a:extLst>
                  <a:ext uri="{FF2B5EF4-FFF2-40B4-BE49-F238E27FC236}">
                    <a16:creationId xmlns:a16="http://schemas.microsoft.com/office/drawing/2014/main" id="{403A32E8-CBD4-4224-A88F-B8AEB34803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303" y="6622404"/>
                <a:ext cx="16488564" cy="3010534"/>
              </a:xfrm>
              <a:prstGeom prst="rect">
                <a:avLst/>
              </a:prstGeom>
            </p:spPr>
          </p:pic>
        </p:grpSp>
        <p:pic>
          <p:nvPicPr>
            <p:cNvPr id="26" name="Imagem 25" descr="Uma imagem contendo Forma&#10;&#10;Descrição gerada automaticamente">
              <a:extLst>
                <a:ext uri="{FF2B5EF4-FFF2-40B4-BE49-F238E27FC236}">
                  <a16:creationId xmlns:a16="http://schemas.microsoft.com/office/drawing/2014/main" id="{433A0E85-6A27-49EC-A572-44C1311873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98043"/>
            <a:stretch/>
          </p:blipFill>
          <p:spPr>
            <a:xfrm>
              <a:off x="1764" y="9681028"/>
              <a:ext cx="17554222" cy="193221"/>
            </a:xfrm>
            <a:prstGeom prst="rect">
              <a:avLst/>
            </a:prstGeom>
          </p:spPr>
        </p:pic>
      </p:grpSp>
      <p:sp>
        <p:nvSpPr>
          <p:cNvPr id="29" name="Retângulo 28">
            <a:extLst>
              <a:ext uri="{FF2B5EF4-FFF2-40B4-BE49-F238E27FC236}">
                <a16:creationId xmlns:a16="http://schemas.microsoft.com/office/drawing/2014/main" id="{30B73912-D372-4074-891A-A3A0B9F0B18F}"/>
              </a:ext>
            </a:extLst>
          </p:cNvPr>
          <p:cNvSpPr/>
          <p:nvPr/>
        </p:nvSpPr>
        <p:spPr>
          <a:xfrm>
            <a:off x="775717" y="9073603"/>
            <a:ext cx="5188356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rPr>
              <a:t>of print]; 2. Nathan P, et al. J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rPr>
              <a:t>Cl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rPr>
              <a:t>Onco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rPr>
              <a:t>. 2019;37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rPr>
              <a:t>supp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rPr>
              <a:t>) [abstract 9507</a:t>
            </a: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Bahnschrift" panose="020B0502040204020203" pitchFamily="34" charset="0"/>
              </a:rPr>
              <a:t>]. 1. . </a:t>
            </a:r>
            <a:r>
              <a:rPr lang="en-US" sz="12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Bahnschrift" panose="020B0502040204020203" pitchFamily="34" charset="0"/>
              </a:rPr>
              <a:t>Adaptado</a:t>
            </a: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Bahnschrift" panose="020B0502040204020203" pitchFamily="34" charset="0"/>
              </a:rPr>
              <a:t> de Robert C, et al. N </a:t>
            </a:r>
            <a:r>
              <a:rPr lang="en-US" sz="12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Bahnschrift" panose="020B0502040204020203" pitchFamily="34" charset="0"/>
              </a:rPr>
              <a:t>Engl</a:t>
            </a: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Bahnschrift" panose="020B0502040204020203" pitchFamily="34" charset="0"/>
              </a:rPr>
              <a:t> J Med. 2019 June 4. [</a:t>
            </a:r>
            <a:r>
              <a:rPr lang="en-US" sz="12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Bahnschrift" panose="020B0502040204020203" pitchFamily="34" charset="0"/>
              </a:rPr>
              <a:t>Epub</a:t>
            </a: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Bahnschrift" panose="020B0502040204020203" pitchFamily="34" charset="0"/>
              </a:rPr>
              <a:t> ahead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Bahnschrift" panose="020B0502040204020203" pitchFamily="34" charset="0"/>
            </a:endParaRP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82AAF7A5-6B4B-42AB-8FE7-605BC9F5633B}"/>
              </a:ext>
            </a:extLst>
          </p:cNvPr>
          <p:cNvGrpSpPr/>
          <p:nvPr/>
        </p:nvGrpSpPr>
        <p:grpSpPr>
          <a:xfrm>
            <a:off x="-526304" y="3545699"/>
            <a:ext cx="4725859" cy="2782853"/>
            <a:chOff x="-526304" y="3794839"/>
            <a:chExt cx="4725859" cy="2782853"/>
          </a:xfrm>
        </p:grpSpPr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91074190-D219-44FA-9211-D1D545185B80}"/>
                </a:ext>
              </a:extLst>
            </p:cNvPr>
            <p:cNvSpPr txBox="1"/>
            <p:nvPr/>
          </p:nvSpPr>
          <p:spPr>
            <a:xfrm>
              <a:off x="-526304" y="3794839"/>
              <a:ext cx="4725859" cy="15881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defTabSz="1316553">
                <a:lnSpc>
                  <a:spcPct val="80000"/>
                </a:lnSpc>
                <a:defRPr sz="3600" b="1">
                  <a:solidFill>
                    <a:schemeClr val="bg1"/>
                  </a:solidFill>
                  <a:latin typeface="Bahnschrift" panose="020B0502040204020203" pitchFamily="34" charset="0"/>
                  <a:ea typeface="Verdana" panose="020B0604030504040204" pitchFamily="34" charset="0"/>
                </a:defRPr>
              </a:lvl1pPr>
            </a:lstStyle>
            <a:p>
              <a:pPr marL="0" marR="0" lvl="0" indent="0" algn="r" defTabSz="131655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  <a:ea typeface="Verdana" panose="020B0604030504040204" pitchFamily="34" charset="0"/>
                  <a:cs typeface="+mn-cs"/>
                </a:rPr>
                <a:t>SOBREVIDA GLOBAL</a:t>
              </a:r>
            </a:p>
          </p:txBody>
        </p:sp>
        <p:sp>
          <p:nvSpPr>
            <p:cNvPr id="38" name="CaixaDeTexto 37">
              <a:extLst>
                <a:ext uri="{FF2B5EF4-FFF2-40B4-BE49-F238E27FC236}">
                  <a16:creationId xmlns:a16="http://schemas.microsoft.com/office/drawing/2014/main" id="{3DF8D40F-7B33-46A3-8F0F-0612C6BE7366}"/>
                </a:ext>
              </a:extLst>
            </p:cNvPr>
            <p:cNvSpPr txBox="1"/>
            <p:nvPr/>
          </p:nvSpPr>
          <p:spPr>
            <a:xfrm>
              <a:off x="1022703" y="5488163"/>
              <a:ext cx="3176852" cy="10895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defTabSz="1316553">
                <a:lnSpc>
                  <a:spcPct val="80000"/>
                </a:lnSpc>
                <a:defRPr sz="3600" b="1">
                  <a:solidFill>
                    <a:schemeClr val="bg1"/>
                  </a:solidFill>
                  <a:latin typeface="Bahnschrift" panose="020B0502040204020203" pitchFamily="34" charset="0"/>
                  <a:ea typeface="Verdana" panose="020B0604030504040204" pitchFamily="34" charset="0"/>
                </a:defRPr>
              </a:lvl1pPr>
            </a:lstStyle>
            <a:p>
              <a:pPr marL="0" marR="0" lvl="0" indent="0" algn="r" defTabSz="131655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AD7FB2"/>
                  </a:solidFill>
                  <a:effectLst/>
                  <a:uLnTx/>
                  <a:uFillTx/>
                  <a:latin typeface="Bahnschrift" panose="020B0502040204020203" pitchFamily="34" charset="0"/>
                  <a:ea typeface="Verdana" panose="020B0604030504040204" pitchFamily="34" charset="0"/>
                  <a:cs typeface="+mn-cs"/>
                </a:rPr>
                <a:t>POPULAÇÃO GERAL</a:t>
              </a:r>
            </a:p>
          </p:txBody>
        </p:sp>
      </p:grpSp>
      <p:grpSp>
        <p:nvGrpSpPr>
          <p:cNvPr id="5" name="Agrupar 4">
            <a:extLst>
              <a:ext uri="{FF2B5EF4-FFF2-40B4-BE49-F238E27FC236}">
                <a16:creationId xmlns:a16="http://schemas.microsoft.com/office/drawing/2014/main" id="{47129B13-BE66-4BF7-8CE6-2C429B8120D7}"/>
              </a:ext>
            </a:extLst>
          </p:cNvPr>
          <p:cNvGrpSpPr/>
          <p:nvPr/>
        </p:nvGrpSpPr>
        <p:grpSpPr>
          <a:xfrm>
            <a:off x="4800600" y="1896824"/>
            <a:ext cx="12224657" cy="5658307"/>
            <a:chOff x="4800600" y="1896824"/>
            <a:chExt cx="12757150" cy="5904777"/>
          </a:xfrm>
        </p:grpSpPr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6A7343C6-404F-4FAB-BA22-BCBB75965F1B}"/>
                </a:ext>
              </a:extLst>
            </p:cNvPr>
            <p:cNvSpPr/>
            <p:nvPr/>
          </p:nvSpPr>
          <p:spPr>
            <a:xfrm>
              <a:off x="4800600" y="1896824"/>
              <a:ext cx="12757150" cy="59047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406400" dist="241300" dir="3240000" algn="tl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tângulo 36">
              <a:extLst>
                <a:ext uri="{FF2B5EF4-FFF2-40B4-BE49-F238E27FC236}">
                  <a16:creationId xmlns:a16="http://schemas.microsoft.com/office/drawing/2014/main" id="{AA79B51A-0750-4C53-869A-3C9FC95736ED}"/>
                </a:ext>
              </a:extLst>
            </p:cNvPr>
            <p:cNvSpPr/>
            <p:nvPr/>
          </p:nvSpPr>
          <p:spPr>
            <a:xfrm>
              <a:off x="4914899" y="2037812"/>
              <a:ext cx="12530867" cy="575424"/>
            </a:xfrm>
            <a:prstGeom prst="rect">
              <a:avLst/>
            </a:prstGeom>
            <a:gradFill flip="none" rotWithShape="1">
              <a:gsLst>
                <a:gs pos="0">
                  <a:srgbClr val="1496D3"/>
                </a:gs>
                <a:gs pos="93000">
                  <a:srgbClr val="9851A0"/>
                </a:gs>
              </a:gsLst>
              <a:lin ang="19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D5CE2197-EB44-4CB3-AC89-A669F30AA1A9}"/>
                </a:ext>
              </a:extLst>
            </p:cNvPr>
            <p:cNvSpPr/>
            <p:nvPr/>
          </p:nvSpPr>
          <p:spPr>
            <a:xfrm>
              <a:off x="17024776" y="2230274"/>
              <a:ext cx="190500" cy="1905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Elipse 33">
              <a:extLst>
                <a:ext uri="{FF2B5EF4-FFF2-40B4-BE49-F238E27FC236}">
                  <a16:creationId xmlns:a16="http://schemas.microsoft.com/office/drawing/2014/main" id="{E8742C6B-6CB5-4ACD-BA90-25986596D7EA}"/>
                </a:ext>
              </a:extLst>
            </p:cNvPr>
            <p:cNvSpPr/>
            <p:nvPr/>
          </p:nvSpPr>
          <p:spPr>
            <a:xfrm>
              <a:off x="16685686" y="2230274"/>
              <a:ext cx="190500" cy="190500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AEA7B0A9-AA24-4E76-9392-EB9FB12C1FEE}"/>
                </a:ext>
              </a:extLst>
            </p:cNvPr>
            <p:cNvSpPr/>
            <p:nvPr/>
          </p:nvSpPr>
          <p:spPr>
            <a:xfrm>
              <a:off x="16346596" y="2230274"/>
              <a:ext cx="190500" cy="190500"/>
            </a:xfrm>
            <a:prstGeom prst="ellipse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83" name="Picture 2">
              <a:extLst>
                <a:ext uri="{FF2B5EF4-FFF2-40B4-BE49-F238E27FC236}">
                  <a16:creationId xmlns:a16="http://schemas.microsoft.com/office/drawing/2014/main" id="{F3511D52-1DE5-4C61-A6BD-CD81CDA31C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5400" y="2868938"/>
              <a:ext cx="12100700" cy="45659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60579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tângulo 26">
            <a:extLst>
              <a:ext uri="{FF2B5EF4-FFF2-40B4-BE49-F238E27FC236}">
                <a16:creationId xmlns:a16="http://schemas.microsoft.com/office/drawing/2014/main" id="{F902E8BC-EC25-4871-8613-DF719B8344F0}"/>
              </a:ext>
            </a:extLst>
          </p:cNvPr>
          <p:cNvSpPr/>
          <p:nvPr/>
        </p:nvSpPr>
        <p:spPr>
          <a:xfrm>
            <a:off x="11094720" y="0"/>
            <a:ext cx="6463030" cy="9875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074" y="2651580"/>
            <a:ext cx="9379400" cy="4610660"/>
          </a:xfrm>
          <a:prstGeom prst="rect">
            <a:avLst/>
          </a:prstGeom>
          <a:ln>
            <a:noFill/>
          </a:ln>
          <a:effectLst/>
        </p:spPr>
      </p:pic>
      <p:sp>
        <p:nvSpPr>
          <p:cNvPr id="8" name="TextBox 7"/>
          <p:cNvSpPr txBox="1"/>
          <p:nvPr/>
        </p:nvSpPr>
        <p:spPr>
          <a:xfrm>
            <a:off x="2278073" y="1256660"/>
            <a:ext cx="6972607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1316736" fontAlgn="auto">
              <a:lnSpc>
                <a:spcPct val="85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defRPr>
            </a:lvl1pPr>
          </a:lstStyle>
          <a:p>
            <a:r>
              <a:rPr lang="pt-BR" sz="3000" dirty="0">
                <a:solidFill>
                  <a:srgbClr val="1496D4"/>
                </a:solidFill>
              </a:rPr>
              <a:t>Taxas de incidência de melanoma atual projetadas por sexo a partir de 2010</a:t>
            </a:r>
            <a:endParaRPr lang="en-US" sz="3000" dirty="0">
              <a:solidFill>
                <a:srgbClr val="1496D4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28790" y="8734747"/>
            <a:ext cx="7025649" cy="7679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1316736" fontAlgn="auto">
              <a:lnSpc>
                <a:spcPct val="85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rgbClr val="1496D4"/>
                </a:solidFill>
                <a:effectLst/>
                <a:uLnTx/>
                <a:uFillTx/>
                <a:latin typeface="Bahnschrift" panose="020B0502040204020203" pitchFamily="34" charset="0"/>
              </a:defRPr>
            </a:lvl1pPr>
          </a:lstStyle>
          <a:p>
            <a:r>
              <a:rPr lang="en-US" sz="1200" dirty="0">
                <a:solidFill>
                  <a:srgbClr val="404040"/>
                </a:solidFill>
              </a:rPr>
              <a:t>Data after dotted line are projected rates. Source: Surveillance, epidemiology and end results (SEER) program NCI. (Disponível em: http://www.seer.cancer.gov. Acesso em 10 </a:t>
            </a:r>
            <a:r>
              <a:rPr lang="en-US" sz="1200" dirty="0" err="1">
                <a:solidFill>
                  <a:srgbClr val="404040"/>
                </a:solidFill>
              </a:rPr>
              <a:t>junho</a:t>
            </a:r>
            <a:r>
              <a:rPr lang="en-US" sz="1200" dirty="0">
                <a:solidFill>
                  <a:srgbClr val="404040"/>
                </a:solidFill>
              </a:rPr>
              <a:t> 2019).</a:t>
            </a:r>
          </a:p>
          <a:p>
            <a:endParaRPr lang="en-US" sz="1000" dirty="0">
              <a:solidFill>
                <a:srgbClr val="404040"/>
              </a:solidFill>
            </a:endParaRPr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5C1591F4-4B00-439F-A242-CB05E0F034C8}"/>
              </a:ext>
            </a:extLst>
          </p:cNvPr>
          <p:cNvSpPr/>
          <p:nvPr/>
        </p:nvSpPr>
        <p:spPr>
          <a:xfrm>
            <a:off x="11710219" y="0"/>
            <a:ext cx="5847530" cy="9874250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93000">
                <a:srgbClr val="9851A0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3953" t="5751" r="29174" b="12070"/>
          <a:stretch/>
        </p:blipFill>
        <p:spPr>
          <a:xfrm>
            <a:off x="9958855" y="3212273"/>
            <a:ext cx="1577086" cy="3256483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sp>
        <p:nvSpPr>
          <p:cNvPr id="12" name="Title 6">
            <a:extLst>
              <a:ext uri="{FF2B5EF4-FFF2-40B4-BE49-F238E27FC236}">
                <a16:creationId xmlns:a16="http://schemas.microsoft.com/office/drawing/2014/main" id="{8F2FD312-CF68-4838-99A8-C6E7946F1EA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652848" y="3384257"/>
            <a:ext cx="4478337" cy="286226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algn="r" defTabSz="1316736">
              <a:lnSpc>
                <a:spcPct val="100000"/>
              </a:lnSpc>
              <a:spcBef>
                <a:spcPts val="0"/>
              </a:spcBef>
            </a:pPr>
            <a:r>
              <a:rPr lang="pt-BR" sz="6000" b="1" spc="-500" dirty="0">
                <a:ln w="5000" cmpd="sng">
                  <a:noFill/>
                  <a:prstDash val="solid"/>
                </a:ln>
                <a:solidFill>
                  <a:schemeClr val="bg1"/>
                </a:solidFill>
                <a:latin typeface="Bahnschrift" panose="020B0502040204020203" pitchFamily="34" charset="0"/>
                <a:ea typeface="+mn-ea"/>
                <a:cs typeface="+mn-cs"/>
              </a:rPr>
              <a:t>AUMENTO CONTÍNUO DA INCIDÊNCIA</a:t>
            </a:r>
          </a:p>
        </p:txBody>
      </p: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6650B60B-E7A2-4103-A774-459E9690E325}"/>
              </a:ext>
            </a:extLst>
          </p:cNvPr>
          <p:cNvGrpSpPr/>
          <p:nvPr/>
        </p:nvGrpSpPr>
        <p:grpSpPr>
          <a:xfrm>
            <a:off x="5901659" y="2241104"/>
            <a:ext cx="7512667" cy="0"/>
            <a:chOff x="5901659" y="2241104"/>
            <a:chExt cx="7512667" cy="0"/>
          </a:xfrm>
        </p:grpSpPr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686C3FDD-4944-4A98-860C-6D52C535DF36}"/>
                </a:ext>
              </a:extLst>
            </p:cNvPr>
            <p:cNvCxnSpPr>
              <a:cxnSpLocks/>
            </p:cNvCxnSpPr>
            <p:nvPr/>
          </p:nvCxnSpPr>
          <p:spPr>
            <a:xfrm>
              <a:off x="5901659" y="2241104"/>
              <a:ext cx="5812821" cy="0"/>
            </a:xfrm>
            <a:prstGeom prst="lin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24A45433-FE34-46F3-B210-86908316F41F}"/>
                </a:ext>
              </a:extLst>
            </p:cNvPr>
            <p:cNvCxnSpPr>
              <a:cxnSpLocks/>
            </p:cNvCxnSpPr>
            <p:nvPr/>
          </p:nvCxnSpPr>
          <p:spPr>
            <a:xfrm>
              <a:off x="11719432" y="2241104"/>
              <a:ext cx="1694894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Agrupar 40">
            <a:extLst>
              <a:ext uri="{FF2B5EF4-FFF2-40B4-BE49-F238E27FC236}">
                <a16:creationId xmlns:a16="http://schemas.microsoft.com/office/drawing/2014/main" id="{44DA4197-1EB9-43B0-ACE0-DCAE20AA0B36}"/>
              </a:ext>
            </a:extLst>
          </p:cNvPr>
          <p:cNvGrpSpPr/>
          <p:nvPr/>
        </p:nvGrpSpPr>
        <p:grpSpPr>
          <a:xfrm>
            <a:off x="5901659" y="7797843"/>
            <a:ext cx="7512667" cy="0"/>
            <a:chOff x="5901659" y="7797843"/>
            <a:chExt cx="7512667" cy="0"/>
          </a:xfrm>
        </p:grpSpPr>
        <p:cxnSp>
          <p:nvCxnSpPr>
            <p:cNvPr id="32" name="Conector reto 31">
              <a:extLst>
                <a:ext uri="{FF2B5EF4-FFF2-40B4-BE49-F238E27FC236}">
                  <a16:creationId xmlns:a16="http://schemas.microsoft.com/office/drawing/2014/main" id="{248A76ED-1D9F-4386-ABD6-0172A6055825}"/>
                </a:ext>
              </a:extLst>
            </p:cNvPr>
            <p:cNvCxnSpPr>
              <a:cxnSpLocks/>
            </p:cNvCxnSpPr>
            <p:nvPr/>
          </p:nvCxnSpPr>
          <p:spPr>
            <a:xfrm>
              <a:off x="5901659" y="7797843"/>
              <a:ext cx="5812821" cy="0"/>
            </a:xfrm>
            <a:prstGeom prst="line">
              <a:avLst/>
            </a:prstGeom>
            <a:ln w="12700">
              <a:solidFill>
                <a:srgbClr val="1496D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to 32">
              <a:extLst>
                <a:ext uri="{FF2B5EF4-FFF2-40B4-BE49-F238E27FC236}">
                  <a16:creationId xmlns:a16="http://schemas.microsoft.com/office/drawing/2014/main" id="{9F5514A3-4F5B-4C4E-A10C-A187B054C956}"/>
                </a:ext>
              </a:extLst>
            </p:cNvPr>
            <p:cNvCxnSpPr>
              <a:cxnSpLocks/>
            </p:cNvCxnSpPr>
            <p:nvPr/>
          </p:nvCxnSpPr>
          <p:spPr>
            <a:xfrm>
              <a:off x="11719432" y="7797843"/>
              <a:ext cx="1694894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riângulo isósceles 38">
            <a:extLst>
              <a:ext uri="{FF2B5EF4-FFF2-40B4-BE49-F238E27FC236}">
                <a16:creationId xmlns:a16="http://schemas.microsoft.com/office/drawing/2014/main" id="{185F532E-DFC3-4C34-B8B9-42AD90049AAC}"/>
              </a:ext>
            </a:extLst>
          </p:cNvPr>
          <p:cNvSpPr/>
          <p:nvPr/>
        </p:nvSpPr>
        <p:spPr>
          <a:xfrm flipH="1">
            <a:off x="1822789" y="1588206"/>
            <a:ext cx="593725" cy="677424"/>
          </a:xfrm>
          <a:prstGeom prst="triangle">
            <a:avLst>
              <a:gd name="adj" fmla="val 100000"/>
            </a:avLst>
          </a:prstGeom>
          <a:solidFill>
            <a:srgbClr val="56EF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6932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5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75588E-6 3.92283E-6 L -0.04594 3.92283E-6 " pathEditMode="relative" rAng="0" ptsTypes="AA">
                                      <p:cBhvr>
                                        <p:cTn id="21" dur="75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97" y="0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8" grpId="0"/>
      <p:bldP spid="9" grpId="0"/>
      <p:bldP spid="26" grpId="0" animBg="1"/>
      <p:bldP spid="12" grpId="0"/>
      <p:bldP spid="39" grpId="0" animBg="1"/>
      <p:bldP spid="39" grpId="1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552894" y="179320"/>
            <a:ext cx="157477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Mutações em NRAS – Nemo </a:t>
            </a:r>
            <a:r>
              <a:rPr lang="pt-BR" sz="5400" dirty="0" err="1"/>
              <a:t>trial</a:t>
            </a:r>
            <a:endParaRPr lang="pt-BR" sz="5400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DC728A8-FCEA-495E-70F9-162D6FF56C48}"/>
              </a:ext>
            </a:extLst>
          </p:cNvPr>
          <p:cNvSpPr txBox="1"/>
          <p:nvPr/>
        </p:nvSpPr>
        <p:spPr>
          <a:xfrm>
            <a:off x="12121549" y="9376566"/>
            <a:ext cx="4678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Dummer</a:t>
            </a:r>
            <a:r>
              <a:rPr lang="pt-BR" dirty="0"/>
              <a:t> </a:t>
            </a:r>
            <a:r>
              <a:rPr lang="pt-BR" dirty="0" err="1"/>
              <a:t>R</a:t>
            </a:r>
            <a:r>
              <a:rPr lang="pt-BR" dirty="0"/>
              <a:t> et al. Lancet </a:t>
            </a:r>
            <a:r>
              <a:rPr lang="pt-BR" dirty="0" err="1"/>
              <a:t>Oncol</a:t>
            </a:r>
            <a:r>
              <a:rPr lang="pt-BR" dirty="0"/>
              <a:t> 2017</a:t>
            </a:r>
          </a:p>
        </p:txBody>
      </p:sp>
      <p:pic>
        <p:nvPicPr>
          <p:cNvPr id="4" name="Imagem 3" descr="Interface gráfica do usuário, Gráfico&#10;&#10;Descrição gerada automaticamente">
            <a:extLst>
              <a:ext uri="{FF2B5EF4-FFF2-40B4-BE49-F238E27FC236}">
                <a16:creationId xmlns:a16="http://schemas.microsoft.com/office/drawing/2014/main" id="{B42BBAF2-E342-9B6D-A38D-84A50AC106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0431" y="1370699"/>
            <a:ext cx="13876888" cy="7686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9074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552894" y="362039"/>
            <a:ext cx="157477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Mutações em KIT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DC728A8-FCEA-495E-70F9-162D6FF56C48}"/>
              </a:ext>
            </a:extLst>
          </p:cNvPr>
          <p:cNvSpPr txBox="1"/>
          <p:nvPr/>
        </p:nvSpPr>
        <p:spPr>
          <a:xfrm>
            <a:off x="12147716" y="9327545"/>
            <a:ext cx="4678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Lyle M </a:t>
            </a:r>
            <a:r>
              <a:rPr lang="pt-BR" dirty="0" err="1"/>
              <a:t>and</a:t>
            </a:r>
            <a:r>
              <a:rPr lang="pt-BR" dirty="0"/>
              <a:t> Long. GV et al. J Clin </a:t>
            </a:r>
            <a:r>
              <a:rPr lang="pt-BR" dirty="0" err="1"/>
              <a:t>Oncol</a:t>
            </a:r>
            <a:r>
              <a:rPr lang="pt-BR" dirty="0"/>
              <a:t> 2013</a:t>
            </a:r>
          </a:p>
        </p:txBody>
      </p:sp>
      <p:pic>
        <p:nvPicPr>
          <p:cNvPr id="4" name="Imagem 3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28F06FA1-51FC-A5E7-E261-635F7040BA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07" y="1509304"/>
            <a:ext cx="16094335" cy="7271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6939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552894" y="179320"/>
            <a:ext cx="157477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E o PD-L1 na doença avançada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DC728A8-FCEA-495E-70F9-162D6FF56C48}"/>
              </a:ext>
            </a:extLst>
          </p:cNvPr>
          <p:cNvSpPr txBox="1"/>
          <p:nvPr/>
        </p:nvSpPr>
        <p:spPr>
          <a:xfrm>
            <a:off x="11972260" y="9325598"/>
            <a:ext cx="4678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Robert C et al. N </a:t>
            </a:r>
            <a:r>
              <a:rPr lang="pt-BR" dirty="0" err="1"/>
              <a:t>Engl</a:t>
            </a:r>
            <a:r>
              <a:rPr lang="pt-BR" dirty="0"/>
              <a:t> J Med 2015</a:t>
            </a:r>
          </a:p>
        </p:txBody>
      </p:sp>
      <p:pic>
        <p:nvPicPr>
          <p:cNvPr id="4" name="Imagem 3" descr="Interface gráfica do usuário, Gráfico&#10;&#10;Descrição gerada automaticamente">
            <a:extLst>
              <a:ext uri="{FF2B5EF4-FFF2-40B4-BE49-F238E27FC236}">
                <a16:creationId xmlns:a16="http://schemas.microsoft.com/office/drawing/2014/main" id="{CFE9D74E-61C4-F080-C779-D162DAFD44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426" y="1468465"/>
            <a:ext cx="13874637" cy="693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937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552894" y="179320"/>
            <a:ext cx="157477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E o PD-L1 na doença avançada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4DC728A8-FCEA-495E-70F9-162D6FF56C48}"/>
              </a:ext>
            </a:extLst>
          </p:cNvPr>
          <p:cNvSpPr txBox="1"/>
          <p:nvPr/>
        </p:nvSpPr>
        <p:spPr>
          <a:xfrm>
            <a:off x="11972260" y="9325598"/>
            <a:ext cx="4678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 err="1"/>
              <a:t>Larkin</a:t>
            </a:r>
            <a:r>
              <a:rPr lang="pt-BR" dirty="0"/>
              <a:t> J et al, ESMO 2019</a:t>
            </a:r>
          </a:p>
        </p:txBody>
      </p:sp>
      <p:pic>
        <p:nvPicPr>
          <p:cNvPr id="3" name="Imagem 2" descr="Uma imagem contendo Gráfico&#10;&#10;Descrição gerada automaticamente">
            <a:extLst>
              <a:ext uri="{FF2B5EF4-FFF2-40B4-BE49-F238E27FC236}">
                <a16:creationId xmlns:a16="http://schemas.microsoft.com/office/drawing/2014/main" id="{894C98CC-BEE6-464C-AFEE-D00A65CEAD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434" y="1487001"/>
            <a:ext cx="14808882" cy="7454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4515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756175" y="751370"/>
            <a:ext cx="157477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800" dirty="0"/>
              <a:t>Como definir os melhores respondedores à Imunoterapia?</a:t>
            </a:r>
          </a:p>
        </p:txBody>
      </p:sp>
      <p:pic>
        <p:nvPicPr>
          <p:cNvPr id="6" name="Imagem 5" descr="Diagrama, Forma, Seta&#10;&#10;Descrição gerada automaticamente">
            <a:extLst>
              <a:ext uri="{FF2B5EF4-FFF2-40B4-BE49-F238E27FC236}">
                <a16:creationId xmlns:a16="http://schemas.microsoft.com/office/drawing/2014/main" id="{EC3B54D8-95A4-DCBD-F2D6-C9F1492E9B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387" y="1823422"/>
            <a:ext cx="14404975" cy="6682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8627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D2BCFF05-F760-CB80-2301-80FA51C1F6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003" y="1354525"/>
            <a:ext cx="15825744" cy="7165199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40E1BAD4-B1C5-CD07-7836-8F608E33E5DF}"/>
              </a:ext>
            </a:extLst>
          </p:cNvPr>
          <p:cNvSpPr/>
          <p:nvPr/>
        </p:nvSpPr>
        <p:spPr>
          <a:xfrm>
            <a:off x="706664" y="8360229"/>
            <a:ext cx="16144422" cy="9415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EE35AA12-F2FB-425C-AC74-A009DF26A01C}"/>
              </a:ext>
            </a:extLst>
          </p:cNvPr>
          <p:cNvSpPr/>
          <p:nvPr/>
        </p:nvSpPr>
        <p:spPr>
          <a:xfrm>
            <a:off x="15059608" y="6736702"/>
            <a:ext cx="1791478" cy="1783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A3A14A3-0C6E-B2AD-959E-A6FCA6FD0082}"/>
              </a:ext>
            </a:extLst>
          </p:cNvPr>
          <p:cNvSpPr txBox="1"/>
          <p:nvPr/>
        </p:nvSpPr>
        <p:spPr>
          <a:xfrm>
            <a:off x="11420670" y="9301746"/>
            <a:ext cx="56543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Adaptado de </a:t>
            </a:r>
            <a:r>
              <a:rPr lang="pt-BR" dirty="0" err="1"/>
              <a:t>Topallan</a:t>
            </a:r>
            <a:r>
              <a:rPr lang="pt-BR" dirty="0"/>
              <a:t> SL e al. Nat </a:t>
            </a:r>
            <a:r>
              <a:rPr lang="pt-BR" dirty="0" err="1"/>
              <a:t>Rev</a:t>
            </a:r>
            <a:r>
              <a:rPr lang="pt-BR" dirty="0"/>
              <a:t> </a:t>
            </a:r>
            <a:r>
              <a:rPr lang="pt-BR" dirty="0" err="1"/>
              <a:t>Cancer</a:t>
            </a:r>
            <a:r>
              <a:rPr lang="pt-BR" dirty="0"/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val="27141875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DB2FD60-FB8F-2BE7-3020-21AF63F53F62}"/>
              </a:ext>
            </a:extLst>
          </p:cNvPr>
          <p:cNvSpPr txBox="1"/>
          <p:nvPr/>
        </p:nvSpPr>
        <p:spPr>
          <a:xfrm>
            <a:off x="2266951" y="111903"/>
            <a:ext cx="132969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800" dirty="0"/>
              <a:t>A mutação em BRAF é um marcador de resposta em imunoterapia na doença avançada?</a:t>
            </a:r>
          </a:p>
        </p:txBody>
      </p:sp>
      <p:pic>
        <p:nvPicPr>
          <p:cNvPr id="4" name="Imagem 3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C8227401-59C9-E447-FE1A-29AF4A0D87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73" y="1952209"/>
            <a:ext cx="16059806" cy="7170671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399D52D7-272F-5860-EFA8-D931BF0908D3}"/>
              </a:ext>
            </a:extLst>
          </p:cNvPr>
          <p:cNvSpPr/>
          <p:nvPr/>
        </p:nvSpPr>
        <p:spPr>
          <a:xfrm>
            <a:off x="14992350" y="7448550"/>
            <a:ext cx="1733550" cy="1674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00E25B05-81EA-11E8-15C6-BF284D9321E2}"/>
              </a:ext>
            </a:extLst>
          </p:cNvPr>
          <p:cNvSpPr txBox="1"/>
          <p:nvPr/>
        </p:nvSpPr>
        <p:spPr>
          <a:xfrm>
            <a:off x="12725400" y="9305488"/>
            <a:ext cx="4229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Puzanov</a:t>
            </a:r>
            <a:r>
              <a:rPr lang="pt-BR" dirty="0"/>
              <a:t> | et al. JAMA </a:t>
            </a:r>
            <a:r>
              <a:rPr lang="pt-BR" dirty="0" err="1"/>
              <a:t>Oncol</a:t>
            </a:r>
            <a:r>
              <a:rPr lang="pt-BR" dirty="0"/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2158017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ixaDeTexto 6">
            <a:extLst>
              <a:ext uri="{FF2B5EF4-FFF2-40B4-BE49-F238E27FC236}">
                <a16:creationId xmlns:a16="http://schemas.microsoft.com/office/drawing/2014/main" id="{00E25B05-81EA-11E8-15C6-BF284D9321E2}"/>
              </a:ext>
            </a:extLst>
          </p:cNvPr>
          <p:cNvSpPr txBox="1"/>
          <p:nvPr/>
        </p:nvSpPr>
        <p:spPr>
          <a:xfrm>
            <a:off x="13125450" y="9393015"/>
            <a:ext cx="4229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Daud Al et al. J Clin </a:t>
            </a:r>
            <a:r>
              <a:rPr lang="pt-BR" dirty="0" err="1"/>
              <a:t>Oncol</a:t>
            </a:r>
            <a:r>
              <a:rPr lang="pt-BR" dirty="0"/>
              <a:t> 2016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30FD4632-A43D-4C92-490E-D05339FD2DE9}"/>
              </a:ext>
            </a:extLst>
          </p:cNvPr>
          <p:cNvSpPr txBox="1"/>
          <p:nvPr/>
        </p:nvSpPr>
        <p:spPr>
          <a:xfrm>
            <a:off x="3482545" y="156010"/>
            <a:ext cx="115098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800" dirty="0"/>
              <a:t>O PD-L1 é um marcador de resposta em imunoterapia na doença avançada?</a:t>
            </a:r>
          </a:p>
        </p:txBody>
      </p:sp>
      <p:pic>
        <p:nvPicPr>
          <p:cNvPr id="8" name="Imagem 7" descr="Gráfico&#10;&#10;Descrição gerada automaticamente">
            <a:extLst>
              <a:ext uri="{FF2B5EF4-FFF2-40B4-BE49-F238E27FC236}">
                <a16:creationId xmlns:a16="http://schemas.microsoft.com/office/drawing/2014/main" id="{9C180869-8BB4-B5EF-8BA2-67BACE619B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851" y="1725670"/>
            <a:ext cx="15894050" cy="6966196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14200A34-6A0A-5B5F-5FD1-5680D29D87E5}"/>
              </a:ext>
            </a:extLst>
          </p:cNvPr>
          <p:cNvSpPr/>
          <p:nvPr/>
        </p:nvSpPr>
        <p:spPr>
          <a:xfrm>
            <a:off x="14992350" y="7448550"/>
            <a:ext cx="1733550" cy="1674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E3AADA4E-8AD0-0EB5-8CDE-A75170A1DC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5875" y="4911725"/>
            <a:ext cx="2286000" cy="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43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14200A34-6A0A-5B5F-5FD1-5680D29D87E5}"/>
              </a:ext>
            </a:extLst>
          </p:cNvPr>
          <p:cNvSpPr/>
          <p:nvPr/>
        </p:nvSpPr>
        <p:spPr>
          <a:xfrm>
            <a:off x="14992350" y="7448550"/>
            <a:ext cx="1733550" cy="1674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1" name="Imagem 10" descr="Interface gráfica do usuário, Texto, Aplicativo, Email&#10;&#10;Descrição gerada automaticamente">
            <a:extLst>
              <a:ext uri="{FF2B5EF4-FFF2-40B4-BE49-F238E27FC236}">
                <a16:creationId xmlns:a16="http://schemas.microsoft.com/office/drawing/2014/main" id="{62620361-EF97-DD53-6C08-8C3456F32F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6324" y="625967"/>
            <a:ext cx="13160375" cy="8622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904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14200A34-6A0A-5B5F-5FD1-5680D29D87E5}"/>
              </a:ext>
            </a:extLst>
          </p:cNvPr>
          <p:cNvSpPr/>
          <p:nvPr/>
        </p:nvSpPr>
        <p:spPr>
          <a:xfrm>
            <a:off x="14992350" y="7448550"/>
            <a:ext cx="1733550" cy="1674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 descr="Texto&#10;&#10;Descrição gerada automaticamente com confiança média">
            <a:extLst>
              <a:ext uri="{FF2B5EF4-FFF2-40B4-BE49-F238E27FC236}">
                <a16:creationId xmlns:a16="http://schemas.microsoft.com/office/drawing/2014/main" id="{6A4EF585-4D61-2951-5407-866B286EA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677" y="419100"/>
            <a:ext cx="15831536" cy="8746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7395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tângulo 55">
            <a:extLst>
              <a:ext uri="{FF2B5EF4-FFF2-40B4-BE49-F238E27FC236}">
                <a16:creationId xmlns:a16="http://schemas.microsoft.com/office/drawing/2014/main" id="{C334284C-13AC-4F0E-8897-0A8866FB3671}"/>
              </a:ext>
            </a:extLst>
          </p:cNvPr>
          <p:cNvSpPr/>
          <p:nvPr/>
        </p:nvSpPr>
        <p:spPr>
          <a:xfrm>
            <a:off x="0" y="-22388"/>
            <a:ext cx="446567" cy="9875540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93000">
                <a:srgbClr val="9851A0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4" name="Agrupar 93">
            <a:extLst>
              <a:ext uri="{FF2B5EF4-FFF2-40B4-BE49-F238E27FC236}">
                <a16:creationId xmlns:a16="http://schemas.microsoft.com/office/drawing/2014/main" id="{8E4E1B43-EFFB-49FC-83AA-436E2EB06004}"/>
              </a:ext>
            </a:extLst>
          </p:cNvPr>
          <p:cNvGrpSpPr/>
          <p:nvPr/>
        </p:nvGrpSpPr>
        <p:grpSpPr>
          <a:xfrm>
            <a:off x="1154924" y="2647450"/>
            <a:ext cx="5609625" cy="5707064"/>
            <a:chOff x="-6985000" y="150813"/>
            <a:chExt cx="6397625" cy="6508751"/>
          </a:xfrm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ECD3B2B3-5C5B-4027-A6E2-4B4DE3645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90788" y="2620963"/>
              <a:ext cx="1439863" cy="1657350"/>
            </a:xfrm>
            <a:custGeom>
              <a:avLst/>
              <a:gdLst>
                <a:gd name="T0" fmla="*/ 3492 w 3630"/>
                <a:gd name="T1" fmla="*/ 1584 h 4173"/>
                <a:gd name="T2" fmla="*/ 3323 w 3630"/>
                <a:gd name="T3" fmla="*/ 1735 h 4173"/>
                <a:gd name="T4" fmla="*/ 3071 w 3630"/>
                <a:gd name="T5" fmla="*/ 1917 h 4173"/>
                <a:gd name="T6" fmla="*/ 3081 w 3630"/>
                <a:gd name="T7" fmla="*/ 1773 h 4173"/>
                <a:gd name="T8" fmla="*/ 3004 w 3630"/>
                <a:gd name="T9" fmla="*/ 1864 h 4173"/>
                <a:gd name="T10" fmla="*/ 2917 w 3630"/>
                <a:gd name="T11" fmla="*/ 1982 h 4173"/>
                <a:gd name="T12" fmla="*/ 2877 w 3630"/>
                <a:gd name="T13" fmla="*/ 2185 h 4173"/>
                <a:gd name="T14" fmla="*/ 2813 w 3630"/>
                <a:gd name="T15" fmla="*/ 2388 h 4173"/>
                <a:gd name="T16" fmla="*/ 2839 w 3630"/>
                <a:gd name="T17" fmla="*/ 2615 h 4173"/>
                <a:gd name="T18" fmla="*/ 2784 w 3630"/>
                <a:gd name="T19" fmla="*/ 3169 h 4173"/>
                <a:gd name="T20" fmla="*/ 2684 w 3630"/>
                <a:gd name="T21" fmla="*/ 3506 h 4173"/>
                <a:gd name="T22" fmla="*/ 2626 w 3630"/>
                <a:gd name="T23" fmla="*/ 3778 h 4173"/>
                <a:gd name="T24" fmla="*/ 2576 w 3630"/>
                <a:gd name="T25" fmla="*/ 3991 h 4173"/>
                <a:gd name="T26" fmla="*/ 2390 w 3630"/>
                <a:gd name="T27" fmla="*/ 4160 h 4173"/>
                <a:gd name="T28" fmla="*/ 2194 w 3630"/>
                <a:gd name="T29" fmla="*/ 4083 h 4173"/>
                <a:gd name="T30" fmla="*/ 2211 w 3630"/>
                <a:gd name="T31" fmla="*/ 3892 h 4173"/>
                <a:gd name="T32" fmla="*/ 2254 w 3630"/>
                <a:gd name="T33" fmla="*/ 3713 h 4173"/>
                <a:gd name="T34" fmla="*/ 2390 w 3630"/>
                <a:gd name="T35" fmla="*/ 3357 h 4173"/>
                <a:gd name="T36" fmla="*/ 2289 w 3630"/>
                <a:gd name="T37" fmla="*/ 3128 h 4173"/>
                <a:gd name="T38" fmla="*/ 2104 w 3630"/>
                <a:gd name="T39" fmla="*/ 3050 h 4173"/>
                <a:gd name="T40" fmla="*/ 1919 w 3630"/>
                <a:gd name="T41" fmla="*/ 3038 h 4173"/>
                <a:gd name="T42" fmla="*/ 1788 w 3630"/>
                <a:gd name="T43" fmla="*/ 2824 h 4173"/>
                <a:gd name="T44" fmla="*/ 1543 w 3630"/>
                <a:gd name="T45" fmla="*/ 2733 h 4173"/>
                <a:gd name="T46" fmla="*/ 1407 w 3630"/>
                <a:gd name="T47" fmla="*/ 2603 h 4173"/>
                <a:gd name="T48" fmla="*/ 1163 w 3630"/>
                <a:gd name="T49" fmla="*/ 2458 h 4173"/>
                <a:gd name="T50" fmla="*/ 1020 w 3630"/>
                <a:gd name="T51" fmla="*/ 2484 h 4173"/>
                <a:gd name="T52" fmla="*/ 931 w 3630"/>
                <a:gd name="T53" fmla="*/ 2332 h 4173"/>
                <a:gd name="T54" fmla="*/ 878 w 3630"/>
                <a:gd name="T55" fmla="*/ 2241 h 4173"/>
                <a:gd name="T56" fmla="*/ 706 w 3630"/>
                <a:gd name="T57" fmla="*/ 2251 h 4173"/>
                <a:gd name="T58" fmla="*/ 435 w 3630"/>
                <a:gd name="T59" fmla="*/ 2409 h 4173"/>
                <a:gd name="T60" fmla="*/ 124 w 3630"/>
                <a:gd name="T61" fmla="*/ 2556 h 4173"/>
                <a:gd name="T62" fmla="*/ 0 w 3630"/>
                <a:gd name="T63" fmla="*/ 2448 h 4173"/>
                <a:gd name="T64" fmla="*/ 23 w 3630"/>
                <a:gd name="T65" fmla="*/ 2097 h 4173"/>
                <a:gd name="T66" fmla="*/ 50 w 3630"/>
                <a:gd name="T67" fmla="*/ 1787 h 4173"/>
                <a:gd name="T68" fmla="*/ 86 w 3630"/>
                <a:gd name="T69" fmla="*/ 1612 h 4173"/>
                <a:gd name="T70" fmla="*/ 92 w 3630"/>
                <a:gd name="T71" fmla="*/ 1392 h 4173"/>
                <a:gd name="T72" fmla="*/ 102 w 3630"/>
                <a:gd name="T73" fmla="*/ 1214 h 4173"/>
                <a:gd name="T74" fmla="*/ 76 w 3630"/>
                <a:gd name="T75" fmla="*/ 1114 h 4173"/>
                <a:gd name="T76" fmla="*/ 94 w 3630"/>
                <a:gd name="T77" fmla="*/ 1007 h 4173"/>
                <a:gd name="T78" fmla="*/ 112 w 3630"/>
                <a:gd name="T79" fmla="*/ 858 h 4173"/>
                <a:gd name="T80" fmla="*/ 222 w 3630"/>
                <a:gd name="T81" fmla="*/ 555 h 4173"/>
                <a:gd name="T82" fmla="*/ 299 w 3630"/>
                <a:gd name="T83" fmla="*/ 458 h 4173"/>
                <a:gd name="T84" fmla="*/ 535 w 3630"/>
                <a:gd name="T85" fmla="*/ 565 h 4173"/>
                <a:gd name="T86" fmla="*/ 748 w 3630"/>
                <a:gd name="T87" fmla="*/ 698 h 4173"/>
                <a:gd name="T88" fmla="*/ 1031 w 3630"/>
                <a:gd name="T89" fmla="*/ 550 h 4173"/>
                <a:gd name="T90" fmla="*/ 1120 w 3630"/>
                <a:gd name="T91" fmla="*/ 337 h 4173"/>
                <a:gd name="T92" fmla="*/ 1092 w 3630"/>
                <a:gd name="T93" fmla="*/ 162 h 4173"/>
                <a:gd name="T94" fmla="*/ 1297 w 3630"/>
                <a:gd name="T95" fmla="*/ 166 h 4173"/>
                <a:gd name="T96" fmla="*/ 1542 w 3630"/>
                <a:gd name="T97" fmla="*/ 247 h 4173"/>
                <a:gd name="T98" fmla="*/ 1773 w 3630"/>
                <a:gd name="T99" fmla="*/ 214 h 4173"/>
                <a:gd name="T100" fmla="*/ 2019 w 3630"/>
                <a:gd name="T101" fmla="*/ 127 h 4173"/>
                <a:gd name="T102" fmla="*/ 2185 w 3630"/>
                <a:gd name="T103" fmla="*/ 12 h 4173"/>
                <a:gd name="T104" fmla="*/ 2310 w 3630"/>
                <a:gd name="T105" fmla="*/ 178 h 4173"/>
                <a:gd name="T106" fmla="*/ 2414 w 3630"/>
                <a:gd name="T107" fmla="*/ 351 h 4173"/>
                <a:gd name="T108" fmla="*/ 2502 w 3630"/>
                <a:gd name="T109" fmla="*/ 234 h 4173"/>
                <a:gd name="T110" fmla="*/ 2655 w 3630"/>
                <a:gd name="T111" fmla="*/ 221 h 4173"/>
                <a:gd name="T112" fmla="*/ 2902 w 3630"/>
                <a:gd name="T113" fmla="*/ 37 h 4173"/>
                <a:gd name="T114" fmla="*/ 3365 w 3630"/>
                <a:gd name="T115" fmla="*/ 342 h 4173"/>
                <a:gd name="T116" fmla="*/ 3438 w 3630"/>
                <a:gd name="T117" fmla="*/ 499 h 4173"/>
                <a:gd name="T118" fmla="*/ 3451 w 3630"/>
                <a:gd name="T119" fmla="*/ 954 h 4173"/>
                <a:gd name="T120" fmla="*/ 3329 w 3630"/>
                <a:gd name="T121" fmla="*/ 1086 h 4173"/>
                <a:gd name="T122" fmla="*/ 3403 w 3630"/>
                <a:gd name="T123" fmla="*/ 1310 h 4173"/>
                <a:gd name="T124" fmla="*/ 3630 w 3630"/>
                <a:gd name="T125" fmla="*/ 1319 h 4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30" h="4173">
                  <a:moveTo>
                    <a:pt x="3630" y="1319"/>
                  </a:moveTo>
                  <a:lnTo>
                    <a:pt x="3613" y="1336"/>
                  </a:lnTo>
                  <a:lnTo>
                    <a:pt x="3595" y="1356"/>
                  </a:lnTo>
                  <a:lnTo>
                    <a:pt x="3578" y="1376"/>
                  </a:lnTo>
                  <a:lnTo>
                    <a:pt x="3560" y="1399"/>
                  </a:lnTo>
                  <a:lnTo>
                    <a:pt x="3551" y="1411"/>
                  </a:lnTo>
                  <a:lnTo>
                    <a:pt x="3545" y="1422"/>
                  </a:lnTo>
                  <a:lnTo>
                    <a:pt x="3539" y="1432"/>
                  </a:lnTo>
                  <a:lnTo>
                    <a:pt x="3534" y="1444"/>
                  </a:lnTo>
                  <a:lnTo>
                    <a:pt x="3527" y="1466"/>
                  </a:lnTo>
                  <a:lnTo>
                    <a:pt x="3521" y="1489"/>
                  </a:lnTo>
                  <a:lnTo>
                    <a:pt x="3516" y="1511"/>
                  </a:lnTo>
                  <a:lnTo>
                    <a:pt x="3511" y="1535"/>
                  </a:lnTo>
                  <a:lnTo>
                    <a:pt x="3507" y="1547"/>
                  </a:lnTo>
                  <a:lnTo>
                    <a:pt x="3503" y="1559"/>
                  </a:lnTo>
                  <a:lnTo>
                    <a:pt x="3498" y="1572"/>
                  </a:lnTo>
                  <a:lnTo>
                    <a:pt x="3492" y="1584"/>
                  </a:lnTo>
                  <a:lnTo>
                    <a:pt x="3488" y="1591"/>
                  </a:lnTo>
                  <a:lnTo>
                    <a:pt x="3484" y="1597"/>
                  </a:lnTo>
                  <a:lnTo>
                    <a:pt x="3480" y="1602"/>
                  </a:lnTo>
                  <a:lnTo>
                    <a:pt x="3474" y="1606"/>
                  </a:lnTo>
                  <a:lnTo>
                    <a:pt x="3464" y="1615"/>
                  </a:lnTo>
                  <a:lnTo>
                    <a:pt x="3452" y="1621"/>
                  </a:lnTo>
                  <a:lnTo>
                    <a:pt x="3440" y="1628"/>
                  </a:lnTo>
                  <a:lnTo>
                    <a:pt x="3428" y="1635"/>
                  </a:lnTo>
                  <a:lnTo>
                    <a:pt x="3416" y="1644"/>
                  </a:lnTo>
                  <a:lnTo>
                    <a:pt x="3405" y="1654"/>
                  </a:lnTo>
                  <a:lnTo>
                    <a:pt x="3400" y="1663"/>
                  </a:lnTo>
                  <a:lnTo>
                    <a:pt x="3393" y="1672"/>
                  </a:lnTo>
                  <a:lnTo>
                    <a:pt x="3387" y="1679"/>
                  </a:lnTo>
                  <a:lnTo>
                    <a:pt x="3380" y="1685"/>
                  </a:lnTo>
                  <a:lnTo>
                    <a:pt x="3365" y="1696"/>
                  </a:lnTo>
                  <a:lnTo>
                    <a:pt x="3349" y="1710"/>
                  </a:lnTo>
                  <a:lnTo>
                    <a:pt x="3323" y="1735"/>
                  </a:lnTo>
                  <a:lnTo>
                    <a:pt x="3298" y="1755"/>
                  </a:lnTo>
                  <a:lnTo>
                    <a:pt x="3272" y="1776"/>
                  </a:lnTo>
                  <a:lnTo>
                    <a:pt x="3245" y="1800"/>
                  </a:lnTo>
                  <a:lnTo>
                    <a:pt x="3222" y="1821"/>
                  </a:lnTo>
                  <a:lnTo>
                    <a:pt x="3200" y="1838"/>
                  </a:lnTo>
                  <a:lnTo>
                    <a:pt x="3177" y="1856"/>
                  </a:lnTo>
                  <a:lnTo>
                    <a:pt x="3154" y="1875"/>
                  </a:lnTo>
                  <a:lnTo>
                    <a:pt x="3138" y="1890"/>
                  </a:lnTo>
                  <a:lnTo>
                    <a:pt x="3125" y="1903"/>
                  </a:lnTo>
                  <a:lnTo>
                    <a:pt x="3119" y="1909"/>
                  </a:lnTo>
                  <a:lnTo>
                    <a:pt x="3111" y="1914"/>
                  </a:lnTo>
                  <a:lnTo>
                    <a:pt x="3108" y="1915"/>
                  </a:lnTo>
                  <a:lnTo>
                    <a:pt x="3104" y="1916"/>
                  </a:lnTo>
                  <a:lnTo>
                    <a:pt x="3098" y="1917"/>
                  </a:lnTo>
                  <a:lnTo>
                    <a:pt x="3093" y="1917"/>
                  </a:lnTo>
                  <a:lnTo>
                    <a:pt x="3082" y="1917"/>
                  </a:lnTo>
                  <a:lnTo>
                    <a:pt x="3071" y="1917"/>
                  </a:lnTo>
                  <a:lnTo>
                    <a:pt x="3075" y="1908"/>
                  </a:lnTo>
                  <a:lnTo>
                    <a:pt x="3079" y="1899"/>
                  </a:lnTo>
                  <a:lnTo>
                    <a:pt x="3082" y="1890"/>
                  </a:lnTo>
                  <a:lnTo>
                    <a:pt x="3087" y="1883"/>
                  </a:lnTo>
                  <a:lnTo>
                    <a:pt x="3091" y="1874"/>
                  </a:lnTo>
                  <a:lnTo>
                    <a:pt x="3094" y="1867"/>
                  </a:lnTo>
                  <a:lnTo>
                    <a:pt x="3096" y="1857"/>
                  </a:lnTo>
                  <a:lnTo>
                    <a:pt x="3097" y="1847"/>
                  </a:lnTo>
                  <a:lnTo>
                    <a:pt x="3097" y="1832"/>
                  </a:lnTo>
                  <a:lnTo>
                    <a:pt x="3097" y="1819"/>
                  </a:lnTo>
                  <a:lnTo>
                    <a:pt x="3097" y="1806"/>
                  </a:lnTo>
                  <a:lnTo>
                    <a:pt x="3097" y="1792"/>
                  </a:lnTo>
                  <a:lnTo>
                    <a:pt x="3092" y="1786"/>
                  </a:lnTo>
                  <a:lnTo>
                    <a:pt x="3089" y="1779"/>
                  </a:lnTo>
                  <a:lnTo>
                    <a:pt x="3087" y="1776"/>
                  </a:lnTo>
                  <a:lnTo>
                    <a:pt x="3083" y="1774"/>
                  </a:lnTo>
                  <a:lnTo>
                    <a:pt x="3081" y="1773"/>
                  </a:lnTo>
                  <a:lnTo>
                    <a:pt x="3077" y="1771"/>
                  </a:lnTo>
                  <a:lnTo>
                    <a:pt x="3071" y="1775"/>
                  </a:lnTo>
                  <a:lnTo>
                    <a:pt x="3066" y="1778"/>
                  </a:lnTo>
                  <a:lnTo>
                    <a:pt x="3044" y="1778"/>
                  </a:lnTo>
                  <a:lnTo>
                    <a:pt x="3026" y="1778"/>
                  </a:lnTo>
                  <a:lnTo>
                    <a:pt x="3007" y="1778"/>
                  </a:lnTo>
                  <a:lnTo>
                    <a:pt x="2985" y="1778"/>
                  </a:lnTo>
                  <a:lnTo>
                    <a:pt x="2981" y="1778"/>
                  </a:lnTo>
                  <a:lnTo>
                    <a:pt x="2975" y="1779"/>
                  </a:lnTo>
                  <a:lnTo>
                    <a:pt x="2971" y="1780"/>
                  </a:lnTo>
                  <a:lnTo>
                    <a:pt x="2967" y="1782"/>
                  </a:lnTo>
                  <a:lnTo>
                    <a:pt x="2958" y="1786"/>
                  </a:lnTo>
                  <a:lnTo>
                    <a:pt x="2948" y="1789"/>
                  </a:lnTo>
                  <a:lnTo>
                    <a:pt x="2969" y="1816"/>
                  </a:lnTo>
                  <a:lnTo>
                    <a:pt x="2989" y="1840"/>
                  </a:lnTo>
                  <a:lnTo>
                    <a:pt x="2998" y="1851"/>
                  </a:lnTo>
                  <a:lnTo>
                    <a:pt x="3004" y="1864"/>
                  </a:lnTo>
                  <a:lnTo>
                    <a:pt x="3007" y="1871"/>
                  </a:lnTo>
                  <a:lnTo>
                    <a:pt x="3009" y="1878"/>
                  </a:lnTo>
                  <a:lnTo>
                    <a:pt x="3010" y="1887"/>
                  </a:lnTo>
                  <a:lnTo>
                    <a:pt x="3010" y="1896"/>
                  </a:lnTo>
                  <a:lnTo>
                    <a:pt x="3009" y="1904"/>
                  </a:lnTo>
                  <a:lnTo>
                    <a:pt x="3007" y="1913"/>
                  </a:lnTo>
                  <a:lnTo>
                    <a:pt x="3002" y="1919"/>
                  </a:lnTo>
                  <a:lnTo>
                    <a:pt x="2998" y="1926"/>
                  </a:lnTo>
                  <a:lnTo>
                    <a:pt x="2992" y="1931"/>
                  </a:lnTo>
                  <a:lnTo>
                    <a:pt x="2985" y="1936"/>
                  </a:lnTo>
                  <a:lnTo>
                    <a:pt x="2976" y="1940"/>
                  </a:lnTo>
                  <a:lnTo>
                    <a:pt x="2969" y="1944"/>
                  </a:lnTo>
                  <a:lnTo>
                    <a:pt x="2953" y="1953"/>
                  </a:lnTo>
                  <a:lnTo>
                    <a:pt x="2936" y="1963"/>
                  </a:lnTo>
                  <a:lnTo>
                    <a:pt x="2929" y="1968"/>
                  </a:lnTo>
                  <a:lnTo>
                    <a:pt x="2922" y="1975"/>
                  </a:lnTo>
                  <a:lnTo>
                    <a:pt x="2917" y="1982"/>
                  </a:lnTo>
                  <a:lnTo>
                    <a:pt x="2912" y="1991"/>
                  </a:lnTo>
                  <a:lnTo>
                    <a:pt x="2905" y="2007"/>
                  </a:lnTo>
                  <a:lnTo>
                    <a:pt x="2900" y="2022"/>
                  </a:lnTo>
                  <a:lnTo>
                    <a:pt x="2894" y="2036"/>
                  </a:lnTo>
                  <a:lnTo>
                    <a:pt x="2891" y="2050"/>
                  </a:lnTo>
                  <a:lnTo>
                    <a:pt x="2888" y="2064"/>
                  </a:lnTo>
                  <a:lnTo>
                    <a:pt x="2886" y="2079"/>
                  </a:lnTo>
                  <a:lnTo>
                    <a:pt x="2885" y="2095"/>
                  </a:lnTo>
                  <a:lnTo>
                    <a:pt x="2884" y="2113"/>
                  </a:lnTo>
                  <a:lnTo>
                    <a:pt x="2885" y="2124"/>
                  </a:lnTo>
                  <a:lnTo>
                    <a:pt x="2886" y="2133"/>
                  </a:lnTo>
                  <a:lnTo>
                    <a:pt x="2887" y="2143"/>
                  </a:lnTo>
                  <a:lnTo>
                    <a:pt x="2887" y="2154"/>
                  </a:lnTo>
                  <a:lnTo>
                    <a:pt x="2886" y="2162"/>
                  </a:lnTo>
                  <a:lnTo>
                    <a:pt x="2885" y="2171"/>
                  </a:lnTo>
                  <a:lnTo>
                    <a:pt x="2881" y="2179"/>
                  </a:lnTo>
                  <a:lnTo>
                    <a:pt x="2877" y="2185"/>
                  </a:lnTo>
                  <a:lnTo>
                    <a:pt x="2873" y="2192"/>
                  </a:lnTo>
                  <a:lnTo>
                    <a:pt x="2867" y="2197"/>
                  </a:lnTo>
                  <a:lnTo>
                    <a:pt x="2862" y="2202"/>
                  </a:lnTo>
                  <a:lnTo>
                    <a:pt x="2855" y="2208"/>
                  </a:lnTo>
                  <a:lnTo>
                    <a:pt x="2842" y="2219"/>
                  </a:lnTo>
                  <a:lnTo>
                    <a:pt x="2831" y="2230"/>
                  </a:lnTo>
                  <a:lnTo>
                    <a:pt x="2824" y="2237"/>
                  </a:lnTo>
                  <a:lnTo>
                    <a:pt x="2820" y="2243"/>
                  </a:lnTo>
                  <a:lnTo>
                    <a:pt x="2814" y="2251"/>
                  </a:lnTo>
                  <a:lnTo>
                    <a:pt x="2811" y="2260"/>
                  </a:lnTo>
                  <a:lnTo>
                    <a:pt x="2806" y="2276"/>
                  </a:lnTo>
                  <a:lnTo>
                    <a:pt x="2803" y="2291"/>
                  </a:lnTo>
                  <a:lnTo>
                    <a:pt x="2800" y="2305"/>
                  </a:lnTo>
                  <a:lnTo>
                    <a:pt x="2798" y="2320"/>
                  </a:lnTo>
                  <a:lnTo>
                    <a:pt x="2797" y="2349"/>
                  </a:lnTo>
                  <a:lnTo>
                    <a:pt x="2794" y="2383"/>
                  </a:lnTo>
                  <a:lnTo>
                    <a:pt x="2813" y="2388"/>
                  </a:lnTo>
                  <a:lnTo>
                    <a:pt x="2832" y="2381"/>
                  </a:lnTo>
                  <a:lnTo>
                    <a:pt x="2847" y="2372"/>
                  </a:lnTo>
                  <a:lnTo>
                    <a:pt x="2854" y="2368"/>
                  </a:lnTo>
                  <a:lnTo>
                    <a:pt x="2862" y="2363"/>
                  </a:lnTo>
                  <a:lnTo>
                    <a:pt x="2872" y="2360"/>
                  </a:lnTo>
                  <a:lnTo>
                    <a:pt x="2881" y="2358"/>
                  </a:lnTo>
                  <a:lnTo>
                    <a:pt x="2869" y="2378"/>
                  </a:lnTo>
                  <a:lnTo>
                    <a:pt x="2861" y="2398"/>
                  </a:lnTo>
                  <a:lnTo>
                    <a:pt x="2853" y="2417"/>
                  </a:lnTo>
                  <a:lnTo>
                    <a:pt x="2848" y="2437"/>
                  </a:lnTo>
                  <a:lnTo>
                    <a:pt x="2844" y="2456"/>
                  </a:lnTo>
                  <a:lnTo>
                    <a:pt x="2841" y="2477"/>
                  </a:lnTo>
                  <a:lnTo>
                    <a:pt x="2839" y="2498"/>
                  </a:lnTo>
                  <a:lnTo>
                    <a:pt x="2839" y="2522"/>
                  </a:lnTo>
                  <a:lnTo>
                    <a:pt x="2839" y="2556"/>
                  </a:lnTo>
                  <a:lnTo>
                    <a:pt x="2839" y="2586"/>
                  </a:lnTo>
                  <a:lnTo>
                    <a:pt x="2839" y="2615"/>
                  </a:lnTo>
                  <a:lnTo>
                    <a:pt x="2839" y="2650"/>
                  </a:lnTo>
                  <a:lnTo>
                    <a:pt x="2839" y="2650"/>
                  </a:lnTo>
                  <a:lnTo>
                    <a:pt x="2800" y="2952"/>
                  </a:lnTo>
                  <a:lnTo>
                    <a:pt x="2800" y="2952"/>
                  </a:lnTo>
                  <a:lnTo>
                    <a:pt x="2800" y="2977"/>
                  </a:lnTo>
                  <a:lnTo>
                    <a:pt x="2800" y="3001"/>
                  </a:lnTo>
                  <a:lnTo>
                    <a:pt x="2800" y="3022"/>
                  </a:lnTo>
                  <a:lnTo>
                    <a:pt x="2800" y="3043"/>
                  </a:lnTo>
                  <a:lnTo>
                    <a:pt x="2800" y="3064"/>
                  </a:lnTo>
                  <a:lnTo>
                    <a:pt x="2800" y="3086"/>
                  </a:lnTo>
                  <a:lnTo>
                    <a:pt x="2800" y="3110"/>
                  </a:lnTo>
                  <a:lnTo>
                    <a:pt x="2800" y="3134"/>
                  </a:lnTo>
                  <a:lnTo>
                    <a:pt x="2799" y="3142"/>
                  </a:lnTo>
                  <a:lnTo>
                    <a:pt x="2797" y="3147"/>
                  </a:lnTo>
                  <a:lnTo>
                    <a:pt x="2795" y="3153"/>
                  </a:lnTo>
                  <a:lnTo>
                    <a:pt x="2792" y="3158"/>
                  </a:lnTo>
                  <a:lnTo>
                    <a:pt x="2784" y="3169"/>
                  </a:lnTo>
                  <a:lnTo>
                    <a:pt x="2778" y="3182"/>
                  </a:lnTo>
                  <a:lnTo>
                    <a:pt x="2770" y="3200"/>
                  </a:lnTo>
                  <a:lnTo>
                    <a:pt x="2766" y="3218"/>
                  </a:lnTo>
                  <a:lnTo>
                    <a:pt x="2760" y="3235"/>
                  </a:lnTo>
                  <a:lnTo>
                    <a:pt x="2755" y="3254"/>
                  </a:lnTo>
                  <a:lnTo>
                    <a:pt x="2747" y="3282"/>
                  </a:lnTo>
                  <a:lnTo>
                    <a:pt x="2741" y="3307"/>
                  </a:lnTo>
                  <a:lnTo>
                    <a:pt x="2737" y="3332"/>
                  </a:lnTo>
                  <a:lnTo>
                    <a:pt x="2732" y="3356"/>
                  </a:lnTo>
                  <a:lnTo>
                    <a:pt x="2728" y="3380"/>
                  </a:lnTo>
                  <a:lnTo>
                    <a:pt x="2723" y="3404"/>
                  </a:lnTo>
                  <a:lnTo>
                    <a:pt x="2719" y="3416"/>
                  </a:lnTo>
                  <a:lnTo>
                    <a:pt x="2715" y="3429"/>
                  </a:lnTo>
                  <a:lnTo>
                    <a:pt x="2710" y="3442"/>
                  </a:lnTo>
                  <a:lnTo>
                    <a:pt x="2704" y="3456"/>
                  </a:lnTo>
                  <a:lnTo>
                    <a:pt x="2693" y="3482"/>
                  </a:lnTo>
                  <a:lnTo>
                    <a:pt x="2684" y="3506"/>
                  </a:lnTo>
                  <a:lnTo>
                    <a:pt x="2676" y="3529"/>
                  </a:lnTo>
                  <a:lnTo>
                    <a:pt x="2669" y="3551"/>
                  </a:lnTo>
                  <a:lnTo>
                    <a:pt x="2662" y="3574"/>
                  </a:lnTo>
                  <a:lnTo>
                    <a:pt x="2656" y="3597"/>
                  </a:lnTo>
                  <a:lnTo>
                    <a:pt x="2649" y="3622"/>
                  </a:lnTo>
                  <a:lnTo>
                    <a:pt x="2643" y="3650"/>
                  </a:lnTo>
                  <a:lnTo>
                    <a:pt x="2638" y="3665"/>
                  </a:lnTo>
                  <a:lnTo>
                    <a:pt x="2634" y="3679"/>
                  </a:lnTo>
                  <a:lnTo>
                    <a:pt x="2632" y="3685"/>
                  </a:lnTo>
                  <a:lnTo>
                    <a:pt x="2631" y="3692"/>
                  </a:lnTo>
                  <a:lnTo>
                    <a:pt x="2630" y="3699"/>
                  </a:lnTo>
                  <a:lnTo>
                    <a:pt x="2629" y="3708"/>
                  </a:lnTo>
                  <a:lnTo>
                    <a:pt x="2628" y="3722"/>
                  </a:lnTo>
                  <a:lnTo>
                    <a:pt x="2626" y="3736"/>
                  </a:lnTo>
                  <a:lnTo>
                    <a:pt x="2626" y="3751"/>
                  </a:lnTo>
                  <a:lnTo>
                    <a:pt x="2626" y="3765"/>
                  </a:lnTo>
                  <a:lnTo>
                    <a:pt x="2626" y="3778"/>
                  </a:lnTo>
                  <a:lnTo>
                    <a:pt x="2626" y="3793"/>
                  </a:lnTo>
                  <a:lnTo>
                    <a:pt x="2624" y="3822"/>
                  </a:lnTo>
                  <a:lnTo>
                    <a:pt x="2621" y="3847"/>
                  </a:lnTo>
                  <a:lnTo>
                    <a:pt x="2618" y="3873"/>
                  </a:lnTo>
                  <a:lnTo>
                    <a:pt x="2615" y="3901"/>
                  </a:lnTo>
                  <a:lnTo>
                    <a:pt x="2615" y="3924"/>
                  </a:lnTo>
                  <a:lnTo>
                    <a:pt x="2614" y="3943"/>
                  </a:lnTo>
                  <a:lnTo>
                    <a:pt x="2612" y="3952"/>
                  </a:lnTo>
                  <a:lnTo>
                    <a:pt x="2610" y="3962"/>
                  </a:lnTo>
                  <a:lnTo>
                    <a:pt x="2606" y="3970"/>
                  </a:lnTo>
                  <a:lnTo>
                    <a:pt x="2601" y="3980"/>
                  </a:lnTo>
                  <a:lnTo>
                    <a:pt x="2598" y="3983"/>
                  </a:lnTo>
                  <a:lnTo>
                    <a:pt x="2596" y="3984"/>
                  </a:lnTo>
                  <a:lnTo>
                    <a:pt x="2593" y="3987"/>
                  </a:lnTo>
                  <a:lnTo>
                    <a:pt x="2590" y="3987"/>
                  </a:lnTo>
                  <a:lnTo>
                    <a:pt x="2582" y="3989"/>
                  </a:lnTo>
                  <a:lnTo>
                    <a:pt x="2576" y="3991"/>
                  </a:lnTo>
                  <a:lnTo>
                    <a:pt x="2566" y="3998"/>
                  </a:lnTo>
                  <a:lnTo>
                    <a:pt x="2557" y="4006"/>
                  </a:lnTo>
                  <a:lnTo>
                    <a:pt x="2550" y="4014"/>
                  </a:lnTo>
                  <a:lnTo>
                    <a:pt x="2539" y="4019"/>
                  </a:lnTo>
                  <a:lnTo>
                    <a:pt x="2512" y="4034"/>
                  </a:lnTo>
                  <a:lnTo>
                    <a:pt x="2486" y="4049"/>
                  </a:lnTo>
                  <a:lnTo>
                    <a:pt x="2474" y="4058"/>
                  </a:lnTo>
                  <a:lnTo>
                    <a:pt x="2462" y="4066"/>
                  </a:lnTo>
                  <a:lnTo>
                    <a:pt x="2451" y="4075"/>
                  </a:lnTo>
                  <a:lnTo>
                    <a:pt x="2442" y="4085"/>
                  </a:lnTo>
                  <a:lnTo>
                    <a:pt x="2432" y="4093"/>
                  </a:lnTo>
                  <a:lnTo>
                    <a:pt x="2423" y="4104"/>
                  </a:lnTo>
                  <a:lnTo>
                    <a:pt x="2415" y="4114"/>
                  </a:lnTo>
                  <a:lnTo>
                    <a:pt x="2407" y="4125"/>
                  </a:lnTo>
                  <a:lnTo>
                    <a:pt x="2401" y="4137"/>
                  </a:lnTo>
                  <a:lnTo>
                    <a:pt x="2394" y="4149"/>
                  </a:lnTo>
                  <a:lnTo>
                    <a:pt x="2390" y="4160"/>
                  </a:lnTo>
                  <a:lnTo>
                    <a:pt x="2386" y="4173"/>
                  </a:lnTo>
                  <a:lnTo>
                    <a:pt x="2386" y="4173"/>
                  </a:lnTo>
                  <a:lnTo>
                    <a:pt x="2364" y="4164"/>
                  </a:lnTo>
                  <a:lnTo>
                    <a:pt x="2345" y="4155"/>
                  </a:lnTo>
                  <a:lnTo>
                    <a:pt x="2327" y="4145"/>
                  </a:lnTo>
                  <a:lnTo>
                    <a:pt x="2309" y="4135"/>
                  </a:lnTo>
                  <a:lnTo>
                    <a:pt x="2292" y="4125"/>
                  </a:lnTo>
                  <a:lnTo>
                    <a:pt x="2274" y="4115"/>
                  </a:lnTo>
                  <a:lnTo>
                    <a:pt x="2255" y="4105"/>
                  </a:lnTo>
                  <a:lnTo>
                    <a:pt x="2233" y="4095"/>
                  </a:lnTo>
                  <a:lnTo>
                    <a:pt x="2225" y="4092"/>
                  </a:lnTo>
                  <a:lnTo>
                    <a:pt x="2216" y="4091"/>
                  </a:lnTo>
                  <a:lnTo>
                    <a:pt x="2212" y="4091"/>
                  </a:lnTo>
                  <a:lnTo>
                    <a:pt x="2208" y="4090"/>
                  </a:lnTo>
                  <a:lnTo>
                    <a:pt x="2204" y="4089"/>
                  </a:lnTo>
                  <a:lnTo>
                    <a:pt x="2200" y="4086"/>
                  </a:lnTo>
                  <a:lnTo>
                    <a:pt x="2194" y="4083"/>
                  </a:lnTo>
                  <a:lnTo>
                    <a:pt x="2190" y="4078"/>
                  </a:lnTo>
                  <a:lnTo>
                    <a:pt x="2187" y="4073"/>
                  </a:lnTo>
                  <a:lnTo>
                    <a:pt x="2184" y="4069"/>
                  </a:lnTo>
                  <a:lnTo>
                    <a:pt x="2180" y="4059"/>
                  </a:lnTo>
                  <a:lnTo>
                    <a:pt x="2177" y="4048"/>
                  </a:lnTo>
                  <a:lnTo>
                    <a:pt x="2177" y="4024"/>
                  </a:lnTo>
                  <a:lnTo>
                    <a:pt x="2177" y="3997"/>
                  </a:lnTo>
                  <a:lnTo>
                    <a:pt x="2177" y="3997"/>
                  </a:lnTo>
                  <a:lnTo>
                    <a:pt x="2174" y="3992"/>
                  </a:lnTo>
                  <a:lnTo>
                    <a:pt x="2172" y="3985"/>
                  </a:lnTo>
                  <a:lnTo>
                    <a:pt x="2173" y="3975"/>
                  </a:lnTo>
                  <a:lnTo>
                    <a:pt x="2174" y="3964"/>
                  </a:lnTo>
                  <a:lnTo>
                    <a:pt x="2177" y="3953"/>
                  </a:lnTo>
                  <a:lnTo>
                    <a:pt x="2180" y="3943"/>
                  </a:lnTo>
                  <a:lnTo>
                    <a:pt x="2190" y="3926"/>
                  </a:lnTo>
                  <a:lnTo>
                    <a:pt x="2200" y="3909"/>
                  </a:lnTo>
                  <a:lnTo>
                    <a:pt x="2211" y="3892"/>
                  </a:lnTo>
                  <a:lnTo>
                    <a:pt x="2219" y="3873"/>
                  </a:lnTo>
                  <a:lnTo>
                    <a:pt x="2223" y="3865"/>
                  </a:lnTo>
                  <a:lnTo>
                    <a:pt x="2226" y="3854"/>
                  </a:lnTo>
                  <a:lnTo>
                    <a:pt x="2228" y="3843"/>
                  </a:lnTo>
                  <a:lnTo>
                    <a:pt x="2228" y="3832"/>
                  </a:lnTo>
                  <a:lnTo>
                    <a:pt x="2227" y="3818"/>
                  </a:lnTo>
                  <a:lnTo>
                    <a:pt x="2224" y="3806"/>
                  </a:lnTo>
                  <a:lnTo>
                    <a:pt x="2221" y="3793"/>
                  </a:lnTo>
                  <a:lnTo>
                    <a:pt x="2219" y="3780"/>
                  </a:lnTo>
                  <a:lnTo>
                    <a:pt x="2220" y="3773"/>
                  </a:lnTo>
                  <a:lnTo>
                    <a:pt x="2221" y="3766"/>
                  </a:lnTo>
                  <a:lnTo>
                    <a:pt x="2223" y="3760"/>
                  </a:lnTo>
                  <a:lnTo>
                    <a:pt x="2226" y="3754"/>
                  </a:lnTo>
                  <a:lnTo>
                    <a:pt x="2231" y="3744"/>
                  </a:lnTo>
                  <a:lnTo>
                    <a:pt x="2239" y="3733"/>
                  </a:lnTo>
                  <a:lnTo>
                    <a:pt x="2246" y="3723"/>
                  </a:lnTo>
                  <a:lnTo>
                    <a:pt x="2254" y="3713"/>
                  </a:lnTo>
                  <a:lnTo>
                    <a:pt x="2261" y="3701"/>
                  </a:lnTo>
                  <a:lnTo>
                    <a:pt x="2267" y="3688"/>
                  </a:lnTo>
                  <a:lnTo>
                    <a:pt x="2277" y="3660"/>
                  </a:lnTo>
                  <a:lnTo>
                    <a:pt x="2283" y="3634"/>
                  </a:lnTo>
                  <a:lnTo>
                    <a:pt x="2288" y="3610"/>
                  </a:lnTo>
                  <a:lnTo>
                    <a:pt x="2294" y="3586"/>
                  </a:lnTo>
                  <a:lnTo>
                    <a:pt x="2298" y="3562"/>
                  </a:lnTo>
                  <a:lnTo>
                    <a:pt x="2305" y="3537"/>
                  </a:lnTo>
                  <a:lnTo>
                    <a:pt x="2312" y="3511"/>
                  </a:lnTo>
                  <a:lnTo>
                    <a:pt x="2323" y="3484"/>
                  </a:lnTo>
                  <a:lnTo>
                    <a:pt x="2336" y="3457"/>
                  </a:lnTo>
                  <a:lnTo>
                    <a:pt x="2350" y="3434"/>
                  </a:lnTo>
                  <a:lnTo>
                    <a:pt x="2363" y="3411"/>
                  </a:lnTo>
                  <a:lnTo>
                    <a:pt x="2375" y="3389"/>
                  </a:lnTo>
                  <a:lnTo>
                    <a:pt x="2380" y="3379"/>
                  </a:lnTo>
                  <a:lnTo>
                    <a:pt x="2386" y="3368"/>
                  </a:lnTo>
                  <a:lnTo>
                    <a:pt x="2390" y="3357"/>
                  </a:lnTo>
                  <a:lnTo>
                    <a:pt x="2394" y="3345"/>
                  </a:lnTo>
                  <a:lnTo>
                    <a:pt x="2397" y="3332"/>
                  </a:lnTo>
                  <a:lnTo>
                    <a:pt x="2400" y="3319"/>
                  </a:lnTo>
                  <a:lnTo>
                    <a:pt x="2402" y="3305"/>
                  </a:lnTo>
                  <a:lnTo>
                    <a:pt x="2402" y="3291"/>
                  </a:lnTo>
                  <a:lnTo>
                    <a:pt x="2401" y="3277"/>
                  </a:lnTo>
                  <a:lnTo>
                    <a:pt x="2399" y="3264"/>
                  </a:lnTo>
                  <a:lnTo>
                    <a:pt x="2395" y="3252"/>
                  </a:lnTo>
                  <a:lnTo>
                    <a:pt x="2391" y="3241"/>
                  </a:lnTo>
                  <a:lnTo>
                    <a:pt x="2386" y="3231"/>
                  </a:lnTo>
                  <a:lnTo>
                    <a:pt x="2379" y="3221"/>
                  </a:lnTo>
                  <a:lnTo>
                    <a:pt x="2373" y="3211"/>
                  </a:lnTo>
                  <a:lnTo>
                    <a:pt x="2365" y="3202"/>
                  </a:lnTo>
                  <a:lnTo>
                    <a:pt x="2348" y="3185"/>
                  </a:lnTo>
                  <a:lnTo>
                    <a:pt x="2328" y="3167"/>
                  </a:lnTo>
                  <a:lnTo>
                    <a:pt x="2309" y="3148"/>
                  </a:lnTo>
                  <a:lnTo>
                    <a:pt x="2289" y="3128"/>
                  </a:lnTo>
                  <a:lnTo>
                    <a:pt x="2271" y="3105"/>
                  </a:lnTo>
                  <a:lnTo>
                    <a:pt x="2254" y="3085"/>
                  </a:lnTo>
                  <a:lnTo>
                    <a:pt x="2245" y="3075"/>
                  </a:lnTo>
                  <a:lnTo>
                    <a:pt x="2234" y="3067"/>
                  </a:lnTo>
                  <a:lnTo>
                    <a:pt x="2229" y="3065"/>
                  </a:lnTo>
                  <a:lnTo>
                    <a:pt x="2223" y="3062"/>
                  </a:lnTo>
                  <a:lnTo>
                    <a:pt x="2216" y="3060"/>
                  </a:lnTo>
                  <a:lnTo>
                    <a:pt x="2208" y="3058"/>
                  </a:lnTo>
                  <a:lnTo>
                    <a:pt x="2193" y="3057"/>
                  </a:lnTo>
                  <a:lnTo>
                    <a:pt x="2178" y="3056"/>
                  </a:lnTo>
                  <a:lnTo>
                    <a:pt x="2164" y="3056"/>
                  </a:lnTo>
                  <a:lnTo>
                    <a:pt x="2151" y="3057"/>
                  </a:lnTo>
                  <a:lnTo>
                    <a:pt x="2138" y="3057"/>
                  </a:lnTo>
                  <a:lnTo>
                    <a:pt x="2124" y="3056"/>
                  </a:lnTo>
                  <a:lnTo>
                    <a:pt x="2118" y="3055"/>
                  </a:lnTo>
                  <a:lnTo>
                    <a:pt x="2110" y="3052"/>
                  </a:lnTo>
                  <a:lnTo>
                    <a:pt x="2104" y="3050"/>
                  </a:lnTo>
                  <a:lnTo>
                    <a:pt x="2096" y="3047"/>
                  </a:lnTo>
                  <a:lnTo>
                    <a:pt x="2076" y="3036"/>
                  </a:lnTo>
                  <a:lnTo>
                    <a:pt x="2057" y="3026"/>
                  </a:lnTo>
                  <a:lnTo>
                    <a:pt x="2049" y="3022"/>
                  </a:lnTo>
                  <a:lnTo>
                    <a:pt x="2039" y="3019"/>
                  </a:lnTo>
                  <a:lnTo>
                    <a:pt x="2028" y="3017"/>
                  </a:lnTo>
                  <a:lnTo>
                    <a:pt x="2016" y="3016"/>
                  </a:lnTo>
                  <a:lnTo>
                    <a:pt x="2004" y="3017"/>
                  </a:lnTo>
                  <a:lnTo>
                    <a:pt x="1992" y="3020"/>
                  </a:lnTo>
                  <a:lnTo>
                    <a:pt x="1983" y="3024"/>
                  </a:lnTo>
                  <a:lnTo>
                    <a:pt x="1972" y="3029"/>
                  </a:lnTo>
                  <a:lnTo>
                    <a:pt x="1962" y="3033"/>
                  </a:lnTo>
                  <a:lnTo>
                    <a:pt x="1952" y="3037"/>
                  </a:lnTo>
                  <a:lnTo>
                    <a:pt x="1941" y="3040"/>
                  </a:lnTo>
                  <a:lnTo>
                    <a:pt x="1928" y="3042"/>
                  </a:lnTo>
                  <a:lnTo>
                    <a:pt x="1923" y="3040"/>
                  </a:lnTo>
                  <a:lnTo>
                    <a:pt x="1919" y="3038"/>
                  </a:lnTo>
                  <a:lnTo>
                    <a:pt x="1916" y="3034"/>
                  </a:lnTo>
                  <a:lnTo>
                    <a:pt x="1914" y="3029"/>
                  </a:lnTo>
                  <a:lnTo>
                    <a:pt x="1910" y="3017"/>
                  </a:lnTo>
                  <a:lnTo>
                    <a:pt x="1908" y="3005"/>
                  </a:lnTo>
                  <a:lnTo>
                    <a:pt x="1906" y="2996"/>
                  </a:lnTo>
                  <a:lnTo>
                    <a:pt x="1903" y="2988"/>
                  </a:lnTo>
                  <a:lnTo>
                    <a:pt x="1900" y="2981"/>
                  </a:lnTo>
                  <a:lnTo>
                    <a:pt x="1896" y="2974"/>
                  </a:lnTo>
                  <a:lnTo>
                    <a:pt x="1888" y="2961"/>
                  </a:lnTo>
                  <a:lnTo>
                    <a:pt x="1878" y="2947"/>
                  </a:lnTo>
                  <a:lnTo>
                    <a:pt x="1857" y="2914"/>
                  </a:lnTo>
                  <a:lnTo>
                    <a:pt x="1840" y="2886"/>
                  </a:lnTo>
                  <a:lnTo>
                    <a:pt x="1830" y="2873"/>
                  </a:lnTo>
                  <a:lnTo>
                    <a:pt x="1821" y="2859"/>
                  </a:lnTo>
                  <a:lnTo>
                    <a:pt x="1810" y="2845"/>
                  </a:lnTo>
                  <a:lnTo>
                    <a:pt x="1796" y="2831"/>
                  </a:lnTo>
                  <a:lnTo>
                    <a:pt x="1788" y="2824"/>
                  </a:lnTo>
                  <a:lnTo>
                    <a:pt x="1781" y="2818"/>
                  </a:lnTo>
                  <a:lnTo>
                    <a:pt x="1772" y="2814"/>
                  </a:lnTo>
                  <a:lnTo>
                    <a:pt x="1765" y="2809"/>
                  </a:lnTo>
                  <a:lnTo>
                    <a:pt x="1747" y="2804"/>
                  </a:lnTo>
                  <a:lnTo>
                    <a:pt x="1730" y="2801"/>
                  </a:lnTo>
                  <a:lnTo>
                    <a:pt x="1712" y="2797"/>
                  </a:lnTo>
                  <a:lnTo>
                    <a:pt x="1693" y="2794"/>
                  </a:lnTo>
                  <a:lnTo>
                    <a:pt x="1684" y="2793"/>
                  </a:lnTo>
                  <a:lnTo>
                    <a:pt x="1674" y="2790"/>
                  </a:lnTo>
                  <a:lnTo>
                    <a:pt x="1663" y="2788"/>
                  </a:lnTo>
                  <a:lnTo>
                    <a:pt x="1653" y="2783"/>
                  </a:lnTo>
                  <a:lnTo>
                    <a:pt x="1632" y="2775"/>
                  </a:lnTo>
                  <a:lnTo>
                    <a:pt x="1612" y="2767"/>
                  </a:lnTo>
                  <a:lnTo>
                    <a:pt x="1594" y="2760"/>
                  </a:lnTo>
                  <a:lnTo>
                    <a:pt x="1572" y="2750"/>
                  </a:lnTo>
                  <a:lnTo>
                    <a:pt x="1556" y="2741"/>
                  </a:lnTo>
                  <a:lnTo>
                    <a:pt x="1543" y="2733"/>
                  </a:lnTo>
                  <a:lnTo>
                    <a:pt x="1529" y="2724"/>
                  </a:lnTo>
                  <a:lnTo>
                    <a:pt x="1513" y="2716"/>
                  </a:lnTo>
                  <a:lnTo>
                    <a:pt x="1501" y="2712"/>
                  </a:lnTo>
                  <a:lnTo>
                    <a:pt x="1488" y="2708"/>
                  </a:lnTo>
                  <a:lnTo>
                    <a:pt x="1483" y="2706"/>
                  </a:lnTo>
                  <a:lnTo>
                    <a:pt x="1477" y="2702"/>
                  </a:lnTo>
                  <a:lnTo>
                    <a:pt x="1473" y="2699"/>
                  </a:lnTo>
                  <a:lnTo>
                    <a:pt x="1469" y="2694"/>
                  </a:lnTo>
                  <a:lnTo>
                    <a:pt x="1462" y="2685"/>
                  </a:lnTo>
                  <a:lnTo>
                    <a:pt x="1458" y="2675"/>
                  </a:lnTo>
                  <a:lnTo>
                    <a:pt x="1455" y="2667"/>
                  </a:lnTo>
                  <a:lnTo>
                    <a:pt x="1450" y="2658"/>
                  </a:lnTo>
                  <a:lnTo>
                    <a:pt x="1447" y="2650"/>
                  </a:lnTo>
                  <a:lnTo>
                    <a:pt x="1442" y="2641"/>
                  </a:lnTo>
                  <a:lnTo>
                    <a:pt x="1436" y="2632"/>
                  </a:lnTo>
                  <a:lnTo>
                    <a:pt x="1430" y="2624"/>
                  </a:lnTo>
                  <a:lnTo>
                    <a:pt x="1407" y="2603"/>
                  </a:lnTo>
                  <a:lnTo>
                    <a:pt x="1385" y="2585"/>
                  </a:lnTo>
                  <a:lnTo>
                    <a:pt x="1364" y="2570"/>
                  </a:lnTo>
                  <a:lnTo>
                    <a:pt x="1341" y="2556"/>
                  </a:lnTo>
                  <a:lnTo>
                    <a:pt x="1318" y="2543"/>
                  </a:lnTo>
                  <a:lnTo>
                    <a:pt x="1295" y="2531"/>
                  </a:lnTo>
                  <a:lnTo>
                    <a:pt x="1270" y="2519"/>
                  </a:lnTo>
                  <a:lnTo>
                    <a:pt x="1242" y="2506"/>
                  </a:lnTo>
                  <a:lnTo>
                    <a:pt x="1230" y="2499"/>
                  </a:lnTo>
                  <a:lnTo>
                    <a:pt x="1220" y="2493"/>
                  </a:lnTo>
                  <a:lnTo>
                    <a:pt x="1212" y="2484"/>
                  </a:lnTo>
                  <a:lnTo>
                    <a:pt x="1204" y="2477"/>
                  </a:lnTo>
                  <a:lnTo>
                    <a:pt x="1195" y="2469"/>
                  </a:lnTo>
                  <a:lnTo>
                    <a:pt x="1186" y="2464"/>
                  </a:lnTo>
                  <a:lnTo>
                    <a:pt x="1180" y="2462"/>
                  </a:lnTo>
                  <a:lnTo>
                    <a:pt x="1175" y="2459"/>
                  </a:lnTo>
                  <a:lnTo>
                    <a:pt x="1169" y="2458"/>
                  </a:lnTo>
                  <a:lnTo>
                    <a:pt x="1163" y="2458"/>
                  </a:lnTo>
                  <a:lnTo>
                    <a:pt x="1154" y="2458"/>
                  </a:lnTo>
                  <a:lnTo>
                    <a:pt x="1147" y="2461"/>
                  </a:lnTo>
                  <a:lnTo>
                    <a:pt x="1139" y="2462"/>
                  </a:lnTo>
                  <a:lnTo>
                    <a:pt x="1133" y="2464"/>
                  </a:lnTo>
                  <a:lnTo>
                    <a:pt x="1120" y="2470"/>
                  </a:lnTo>
                  <a:lnTo>
                    <a:pt x="1107" y="2477"/>
                  </a:lnTo>
                  <a:lnTo>
                    <a:pt x="1095" y="2483"/>
                  </a:lnTo>
                  <a:lnTo>
                    <a:pt x="1081" y="2490"/>
                  </a:lnTo>
                  <a:lnTo>
                    <a:pt x="1074" y="2492"/>
                  </a:lnTo>
                  <a:lnTo>
                    <a:pt x="1067" y="2493"/>
                  </a:lnTo>
                  <a:lnTo>
                    <a:pt x="1059" y="2494"/>
                  </a:lnTo>
                  <a:lnTo>
                    <a:pt x="1051" y="2495"/>
                  </a:lnTo>
                  <a:lnTo>
                    <a:pt x="1045" y="2494"/>
                  </a:lnTo>
                  <a:lnTo>
                    <a:pt x="1040" y="2494"/>
                  </a:lnTo>
                  <a:lnTo>
                    <a:pt x="1034" y="2492"/>
                  </a:lnTo>
                  <a:lnTo>
                    <a:pt x="1029" y="2490"/>
                  </a:lnTo>
                  <a:lnTo>
                    <a:pt x="1020" y="2484"/>
                  </a:lnTo>
                  <a:lnTo>
                    <a:pt x="1013" y="2477"/>
                  </a:lnTo>
                  <a:lnTo>
                    <a:pt x="1005" y="2469"/>
                  </a:lnTo>
                  <a:lnTo>
                    <a:pt x="997" y="2462"/>
                  </a:lnTo>
                  <a:lnTo>
                    <a:pt x="988" y="2454"/>
                  </a:lnTo>
                  <a:lnTo>
                    <a:pt x="978" y="2448"/>
                  </a:lnTo>
                  <a:lnTo>
                    <a:pt x="958" y="2439"/>
                  </a:lnTo>
                  <a:lnTo>
                    <a:pt x="937" y="2430"/>
                  </a:lnTo>
                  <a:lnTo>
                    <a:pt x="930" y="2426"/>
                  </a:lnTo>
                  <a:lnTo>
                    <a:pt x="922" y="2419"/>
                  </a:lnTo>
                  <a:lnTo>
                    <a:pt x="920" y="2416"/>
                  </a:lnTo>
                  <a:lnTo>
                    <a:pt x="918" y="2412"/>
                  </a:lnTo>
                  <a:lnTo>
                    <a:pt x="917" y="2408"/>
                  </a:lnTo>
                  <a:lnTo>
                    <a:pt x="917" y="2402"/>
                  </a:lnTo>
                  <a:lnTo>
                    <a:pt x="917" y="2384"/>
                  </a:lnTo>
                  <a:lnTo>
                    <a:pt x="919" y="2367"/>
                  </a:lnTo>
                  <a:lnTo>
                    <a:pt x="923" y="2350"/>
                  </a:lnTo>
                  <a:lnTo>
                    <a:pt x="931" y="2332"/>
                  </a:lnTo>
                  <a:lnTo>
                    <a:pt x="938" y="2320"/>
                  </a:lnTo>
                  <a:lnTo>
                    <a:pt x="946" y="2309"/>
                  </a:lnTo>
                  <a:lnTo>
                    <a:pt x="950" y="2304"/>
                  </a:lnTo>
                  <a:lnTo>
                    <a:pt x="952" y="2299"/>
                  </a:lnTo>
                  <a:lnTo>
                    <a:pt x="955" y="2292"/>
                  </a:lnTo>
                  <a:lnTo>
                    <a:pt x="956" y="2284"/>
                  </a:lnTo>
                  <a:lnTo>
                    <a:pt x="956" y="2281"/>
                  </a:lnTo>
                  <a:lnTo>
                    <a:pt x="955" y="2277"/>
                  </a:lnTo>
                  <a:lnTo>
                    <a:pt x="952" y="2275"/>
                  </a:lnTo>
                  <a:lnTo>
                    <a:pt x="950" y="2272"/>
                  </a:lnTo>
                  <a:lnTo>
                    <a:pt x="945" y="2268"/>
                  </a:lnTo>
                  <a:lnTo>
                    <a:pt x="938" y="2265"/>
                  </a:lnTo>
                  <a:lnTo>
                    <a:pt x="922" y="2261"/>
                  </a:lnTo>
                  <a:lnTo>
                    <a:pt x="905" y="2256"/>
                  </a:lnTo>
                  <a:lnTo>
                    <a:pt x="893" y="2251"/>
                  </a:lnTo>
                  <a:lnTo>
                    <a:pt x="883" y="2245"/>
                  </a:lnTo>
                  <a:lnTo>
                    <a:pt x="878" y="2241"/>
                  </a:lnTo>
                  <a:lnTo>
                    <a:pt x="872" y="2239"/>
                  </a:lnTo>
                  <a:lnTo>
                    <a:pt x="866" y="2238"/>
                  </a:lnTo>
                  <a:lnTo>
                    <a:pt x="859" y="2237"/>
                  </a:lnTo>
                  <a:lnTo>
                    <a:pt x="842" y="2237"/>
                  </a:lnTo>
                  <a:lnTo>
                    <a:pt x="827" y="2237"/>
                  </a:lnTo>
                  <a:lnTo>
                    <a:pt x="811" y="2237"/>
                  </a:lnTo>
                  <a:lnTo>
                    <a:pt x="794" y="2237"/>
                  </a:lnTo>
                  <a:lnTo>
                    <a:pt x="785" y="2238"/>
                  </a:lnTo>
                  <a:lnTo>
                    <a:pt x="777" y="2239"/>
                  </a:lnTo>
                  <a:lnTo>
                    <a:pt x="771" y="2241"/>
                  </a:lnTo>
                  <a:lnTo>
                    <a:pt x="763" y="2245"/>
                  </a:lnTo>
                  <a:lnTo>
                    <a:pt x="757" y="2247"/>
                  </a:lnTo>
                  <a:lnTo>
                    <a:pt x="749" y="2249"/>
                  </a:lnTo>
                  <a:lnTo>
                    <a:pt x="742" y="2251"/>
                  </a:lnTo>
                  <a:lnTo>
                    <a:pt x="733" y="2251"/>
                  </a:lnTo>
                  <a:lnTo>
                    <a:pt x="719" y="2251"/>
                  </a:lnTo>
                  <a:lnTo>
                    <a:pt x="706" y="2251"/>
                  </a:lnTo>
                  <a:lnTo>
                    <a:pt x="693" y="2251"/>
                  </a:lnTo>
                  <a:lnTo>
                    <a:pt x="679" y="2251"/>
                  </a:lnTo>
                  <a:lnTo>
                    <a:pt x="669" y="2252"/>
                  </a:lnTo>
                  <a:lnTo>
                    <a:pt x="662" y="2254"/>
                  </a:lnTo>
                  <a:lnTo>
                    <a:pt x="655" y="2257"/>
                  </a:lnTo>
                  <a:lnTo>
                    <a:pt x="649" y="2262"/>
                  </a:lnTo>
                  <a:lnTo>
                    <a:pt x="636" y="2273"/>
                  </a:lnTo>
                  <a:lnTo>
                    <a:pt x="622" y="2284"/>
                  </a:lnTo>
                  <a:lnTo>
                    <a:pt x="601" y="2300"/>
                  </a:lnTo>
                  <a:lnTo>
                    <a:pt x="584" y="2315"/>
                  </a:lnTo>
                  <a:lnTo>
                    <a:pt x="566" y="2330"/>
                  </a:lnTo>
                  <a:lnTo>
                    <a:pt x="546" y="2346"/>
                  </a:lnTo>
                  <a:lnTo>
                    <a:pt x="528" y="2361"/>
                  </a:lnTo>
                  <a:lnTo>
                    <a:pt x="510" y="2374"/>
                  </a:lnTo>
                  <a:lnTo>
                    <a:pt x="491" y="2384"/>
                  </a:lnTo>
                  <a:lnTo>
                    <a:pt x="474" y="2394"/>
                  </a:lnTo>
                  <a:lnTo>
                    <a:pt x="435" y="2409"/>
                  </a:lnTo>
                  <a:lnTo>
                    <a:pt x="392" y="2425"/>
                  </a:lnTo>
                  <a:lnTo>
                    <a:pt x="375" y="2431"/>
                  </a:lnTo>
                  <a:lnTo>
                    <a:pt x="358" y="2439"/>
                  </a:lnTo>
                  <a:lnTo>
                    <a:pt x="343" y="2448"/>
                  </a:lnTo>
                  <a:lnTo>
                    <a:pt x="329" y="2455"/>
                  </a:lnTo>
                  <a:lnTo>
                    <a:pt x="301" y="2471"/>
                  </a:lnTo>
                  <a:lnTo>
                    <a:pt x="275" y="2488"/>
                  </a:lnTo>
                  <a:lnTo>
                    <a:pt x="248" y="2503"/>
                  </a:lnTo>
                  <a:lnTo>
                    <a:pt x="220" y="2518"/>
                  </a:lnTo>
                  <a:lnTo>
                    <a:pt x="205" y="2524"/>
                  </a:lnTo>
                  <a:lnTo>
                    <a:pt x="189" y="2530"/>
                  </a:lnTo>
                  <a:lnTo>
                    <a:pt x="173" y="2535"/>
                  </a:lnTo>
                  <a:lnTo>
                    <a:pt x="154" y="2539"/>
                  </a:lnTo>
                  <a:lnTo>
                    <a:pt x="146" y="2543"/>
                  </a:lnTo>
                  <a:lnTo>
                    <a:pt x="137" y="2547"/>
                  </a:lnTo>
                  <a:lnTo>
                    <a:pt x="130" y="2551"/>
                  </a:lnTo>
                  <a:lnTo>
                    <a:pt x="124" y="2556"/>
                  </a:lnTo>
                  <a:lnTo>
                    <a:pt x="116" y="2560"/>
                  </a:lnTo>
                  <a:lnTo>
                    <a:pt x="110" y="2564"/>
                  </a:lnTo>
                  <a:lnTo>
                    <a:pt x="101" y="2566"/>
                  </a:lnTo>
                  <a:lnTo>
                    <a:pt x="93" y="2567"/>
                  </a:lnTo>
                  <a:lnTo>
                    <a:pt x="82" y="2567"/>
                  </a:lnTo>
                  <a:lnTo>
                    <a:pt x="72" y="2565"/>
                  </a:lnTo>
                  <a:lnTo>
                    <a:pt x="63" y="2562"/>
                  </a:lnTo>
                  <a:lnTo>
                    <a:pt x="55" y="2557"/>
                  </a:lnTo>
                  <a:lnTo>
                    <a:pt x="48" y="2551"/>
                  </a:lnTo>
                  <a:lnTo>
                    <a:pt x="42" y="2545"/>
                  </a:lnTo>
                  <a:lnTo>
                    <a:pt x="35" y="2537"/>
                  </a:lnTo>
                  <a:lnTo>
                    <a:pt x="31" y="2529"/>
                  </a:lnTo>
                  <a:lnTo>
                    <a:pt x="21" y="2510"/>
                  </a:lnTo>
                  <a:lnTo>
                    <a:pt x="14" y="2491"/>
                  </a:lnTo>
                  <a:lnTo>
                    <a:pt x="7" y="2469"/>
                  </a:lnTo>
                  <a:lnTo>
                    <a:pt x="0" y="2448"/>
                  </a:lnTo>
                  <a:lnTo>
                    <a:pt x="0" y="2448"/>
                  </a:lnTo>
                  <a:lnTo>
                    <a:pt x="11" y="2415"/>
                  </a:lnTo>
                  <a:lnTo>
                    <a:pt x="21" y="2387"/>
                  </a:lnTo>
                  <a:lnTo>
                    <a:pt x="31" y="2360"/>
                  </a:lnTo>
                  <a:lnTo>
                    <a:pt x="41" y="2334"/>
                  </a:lnTo>
                  <a:lnTo>
                    <a:pt x="48" y="2307"/>
                  </a:lnTo>
                  <a:lnTo>
                    <a:pt x="54" y="2280"/>
                  </a:lnTo>
                  <a:lnTo>
                    <a:pt x="56" y="2266"/>
                  </a:lnTo>
                  <a:lnTo>
                    <a:pt x="57" y="2250"/>
                  </a:lnTo>
                  <a:lnTo>
                    <a:pt x="58" y="2235"/>
                  </a:lnTo>
                  <a:lnTo>
                    <a:pt x="59" y="2218"/>
                  </a:lnTo>
                  <a:lnTo>
                    <a:pt x="58" y="2203"/>
                  </a:lnTo>
                  <a:lnTo>
                    <a:pt x="57" y="2189"/>
                  </a:lnTo>
                  <a:lnTo>
                    <a:pt x="54" y="2176"/>
                  </a:lnTo>
                  <a:lnTo>
                    <a:pt x="50" y="2165"/>
                  </a:lnTo>
                  <a:lnTo>
                    <a:pt x="42" y="2141"/>
                  </a:lnTo>
                  <a:lnTo>
                    <a:pt x="33" y="2119"/>
                  </a:lnTo>
                  <a:lnTo>
                    <a:pt x="23" y="2097"/>
                  </a:lnTo>
                  <a:lnTo>
                    <a:pt x="15" y="2074"/>
                  </a:lnTo>
                  <a:lnTo>
                    <a:pt x="12" y="2061"/>
                  </a:lnTo>
                  <a:lnTo>
                    <a:pt x="9" y="2049"/>
                  </a:lnTo>
                  <a:lnTo>
                    <a:pt x="7" y="2035"/>
                  </a:lnTo>
                  <a:lnTo>
                    <a:pt x="7" y="2021"/>
                  </a:lnTo>
                  <a:lnTo>
                    <a:pt x="7" y="1986"/>
                  </a:lnTo>
                  <a:lnTo>
                    <a:pt x="7" y="1956"/>
                  </a:lnTo>
                  <a:lnTo>
                    <a:pt x="7" y="1926"/>
                  </a:lnTo>
                  <a:lnTo>
                    <a:pt x="7" y="1891"/>
                  </a:lnTo>
                  <a:lnTo>
                    <a:pt x="7" y="1881"/>
                  </a:lnTo>
                  <a:lnTo>
                    <a:pt x="9" y="1871"/>
                  </a:lnTo>
                  <a:lnTo>
                    <a:pt x="12" y="1861"/>
                  </a:lnTo>
                  <a:lnTo>
                    <a:pt x="15" y="1852"/>
                  </a:lnTo>
                  <a:lnTo>
                    <a:pt x="23" y="1835"/>
                  </a:lnTo>
                  <a:lnTo>
                    <a:pt x="33" y="1819"/>
                  </a:lnTo>
                  <a:lnTo>
                    <a:pt x="42" y="1804"/>
                  </a:lnTo>
                  <a:lnTo>
                    <a:pt x="50" y="1787"/>
                  </a:lnTo>
                  <a:lnTo>
                    <a:pt x="54" y="1778"/>
                  </a:lnTo>
                  <a:lnTo>
                    <a:pt x="57" y="1768"/>
                  </a:lnTo>
                  <a:lnTo>
                    <a:pt x="58" y="1759"/>
                  </a:lnTo>
                  <a:lnTo>
                    <a:pt x="59" y="1748"/>
                  </a:lnTo>
                  <a:lnTo>
                    <a:pt x="59" y="1728"/>
                  </a:lnTo>
                  <a:lnTo>
                    <a:pt x="59" y="1712"/>
                  </a:lnTo>
                  <a:lnTo>
                    <a:pt x="59" y="1695"/>
                  </a:lnTo>
                  <a:lnTo>
                    <a:pt x="59" y="1675"/>
                  </a:lnTo>
                  <a:lnTo>
                    <a:pt x="59" y="1670"/>
                  </a:lnTo>
                  <a:lnTo>
                    <a:pt x="60" y="1665"/>
                  </a:lnTo>
                  <a:lnTo>
                    <a:pt x="61" y="1659"/>
                  </a:lnTo>
                  <a:lnTo>
                    <a:pt x="63" y="1654"/>
                  </a:lnTo>
                  <a:lnTo>
                    <a:pt x="69" y="1645"/>
                  </a:lnTo>
                  <a:lnTo>
                    <a:pt x="74" y="1635"/>
                  </a:lnTo>
                  <a:lnTo>
                    <a:pt x="80" y="1627"/>
                  </a:lnTo>
                  <a:lnTo>
                    <a:pt x="85" y="1617"/>
                  </a:lnTo>
                  <a:lnTo>
                    <a:pt x="86" y="1612"/>
                  </a:lnTo>
                  <a:lnTo>
                    <a:pt x="88" y="1606"/>
                  </a:lnTo>
                  <a:lnTo>
                    <a:pt x="89" y="1601"/>
                  </a:lnTo>
                  <a:lnTo>
                    <a:pt x="89" y="1595"/>
                  </a:lnTo>
                  <a:lnTo>
                    <a:pt x="89" y="1595"/>
                  </a:lnTo>
                  <a:lnTo>
                    <a:pt x="86" y="1585"/>
                  </a:lnTo>
                  <a:lnTo>
                    <a:pt x="83" y="1575"/>
                  </a:lnTo>
                  <a:lnTo>
                    <a:pt x="81" y="1565"/>
                  </a:lnTo>
                  <a:lnTo>
                    <a:pt x="80" y="1555"/>
                  </a:lnTo>
                  <a:lnTo>
                    <a:pt x="79" y="1536"/>
                  </a:lnTo>
                  <a:lnTo>
                    <a:pt x="79" y="1514"/>
                  </a:lnTo>
                  <a:lnTo>
                    <a:pt x="79" y="1494"/>
                  </a:lnTo>
                  <a:lnTo>
                    <a:pt x="81" y="1477"/>
                  </a:lnTo>
                  <a:lnTo>
                    <a:pt x="83" y="1459"/>
                  </a:lnTo>
                  <a:lnTo>
                    <a:pt x="85" y="1443"/>
                  </a:lnTo>
                  <a:lnTo>
                    <a:pt x="88" y="1427"/>
                  </a:lnTo>
                  <a:lnTo>
                    <a:pt x="90" y="1410"/>
                  </a:lnTo>
                  <a:lnTo>
                    <a:pt x="92" y="1392"/>
                  </a:lnTo>
                  <a:lnTo>
                    <a:pt x="93" y="1373"/>
                  </a:lnTo>
                  <a:lnTo>
                    <a:pt x="92" y="1358"/>
                  </a:lnTo>
                  <a:lnTo>
                    <a:pt x="88" y="1345"/>
                  </a:lnTo>
                  <a:lnTo>
                    <a:pt x="84" y="1333"/>
                  </a:lnTo>
                  <a:lnTo>
                    <a:pt x="80" y="1321"/>
                  </a:lnTo>
                  <a:lnTo>
                    <a:pt x="75" y="1310"/>
                  </a:lnTo>
                  <a:lnTo>
                    <a:pt x="71" y="1297"/>
                  </a:lnTo>
                  <a:lnTo>
                    <a:pt x="68" y="1284"/>
                  </a:lnTo>
                  <a:lnTo>
                    <a:pt x="67" y="1270"/>
                  </a:lnTo>
                  <a:lnTo>
                    <a:pt x="68" y="1264"/>
                  </a:lnTo>
                  <a:lnTo>
                    <a:pt x="69" y="1258"/>
                  </a:lnTo>
                  <a:lnTo>
                    <a:pt x="71" y="1253"/>
                  </a:lnTo>
                  <a:lnTo>
                    <a:pt x="73" y="1248"/>
                  </a:lnTo>
                  <a:lnTo>
                    <a:pt x="81" y="1239"/>
                  </a:lnTo>
                  <a:lnTo>
                    <a:pt x="88" y="1231"/>
                  </a:lnTo>
                  <a:lnTo>
                    <a:pt x="96" y="1223"/>
                  </a:lnTo>
                  <a:lnTo>
                    <a:pt x="102" y="1214"/>
                  </a:lnTo>
                  <a:lnTo>
                    <a:pt x="106" y="1209"/>
                  </a:lnTo>
                  <a:lnTo>
                    <a:pt x="108" y="1203"/>
                  </a:lnTo>
                  <a:lnTo>
                    <a:pt x="109" y="1198"/>
                  </a:lnTo>
                  <a:lnTo>
                    <a:pt x="109" y="1192"/>
                  </a:lnTo>
                  <a:lnTo>
                    <a:pt x="109" y="1186"/>
                  </a:lnTo>
                  <a:lnTo>
                    <a:pt x="108" y="1181"/>
                  </a:lnTo>
                  <a:lnTo>
                    <a:pt x="106" y="1176"/>
                  </a:lnTo>
                  <a:lnTo>
                    <a:pt x="103" y="1172"/>
                  </a:lnTo>
                  <a:lnTo>
                    <a:pt x="98" y="1163"/>
                  </a:lnTo>
                  <a:lnTo>
                    <a:pt x="93" y="1156"/>
                  </a:lnTo>
                  <a:lnTo>
                    <a:pt x="86" y="1148"/>
                  </a:lnTo>
                  <a:lnTo>
                    <a:pt x="81" y="1140"/>
                  </a:lnTo>
                  <a:lnTo>
                    <a:pt x="79" y="1135"/>
                  </a:lnTo>
                  <a:lnTo>
                    <a:pt x="77" y="1131"/>
                  </a:lnTo>
                  <a:lnTo>
                    <a:pt x="76" y="1126"/>
                  </a:lnTo>
                  <a:lnTo>
                    <a:pt x="75" y="1120"/>
                  </a:lnTo>
                  <a:lnTo>
                    <a:pt x="76" y="1114"/>
                  </a:lnTo>
                  <a:lnTo>
                    <a:pt x="77" y="1107"/>
                  </a:lnTo>
                  <a:lnTo>
                    <a:pt x="80" y="1101"/>
                  </a:lnTo>
                  <a:lnTo>
                    <a:pt x="82" y="1095"/>
                  </a:lnTo>
                  <a:lnTo>
                    <a:pt x="88" y="1086"/>
                  </a:lnTo>
                  <a:lnTo>
                    <a:pt x="97" y="1076"/>
                  </a:lnTo>
                  <a:lnTo>
                    <a:pt x="104" y="1066"/>
                  </a:lnTo>
                  <a:lnTo>
                    <a:pt x="111" y="1057"/>
                  </a:lnTo>
                  <a:lnTo>
                    <a:pt x="114" y="1051"/>
                  </a:lnTo>
                  <a:lnTo>
                    <a:pt x="115" y="1045"/>
                  </a:lnTo>
                  <a:lnTo>
                    <a:pt x="117" y="1039"/>
                  </a:lnTo>
                  <a:lnTo>
                    <a:pt x="117" y="1032"/>
                  </a:lnTo>
                  <a:lnTo>
                    <a:pt x="117" y="1027"/>
                  </a:lnTo>
                  <a:lnTo>
                    <a:pt x="115" y="1023"/>
                  </a:lnTo>
                  <a:lnTo>
                    <a:pt x="113" y="1020"/>
                  </a:lnTo>
                  <a:lnTo>
                    <a:pt x="110" y="1017"/>
                  </a:lnTo>
                  <a:lnTo>
                    <a:pt x="102" y="1011"/>
                  </a:lnTo>
                  <a:lnTo>
                    <a:pt x="94" y="1007"/>
                  </a:lnTo>
                  <a:lnTo>
                    <a:pt x="85" y="1003"/>
                  </a:lnTo>
                  <a:lnTo>
                    <a:pt x="77" y="997"/>
                  </a:lnTo>
                  <a:lnTo>
                    <a:pt x="74" y="994"/>
                  </a:lnTo>
                  <a:lnTo>
                    <a:pt x="72" y="991"/>
                  </a:lnTo>
                  <a:lnTo>
                    <a:pt x="70" y="986"/>
                  </a:lnTo>
                  <a:lnTo>
                    <a:pt x="70" y="982"/>
                  </a:lnTo>
                  <a:lnTo>
                    <a:pt x="71" y="969"/>
                  </a:lnTo>
                  <a:lnTo>
                    <a:pt x="73" y="957"/>
                  </a:lnTo>
                  <a:lnTo>
                    <a:pt x="77" y="947"/>
                  </a:lnTo>
                  <a:lnTo>
                    <a:pt x="83" y="938"/>
                  </a:lnTo>
                  <a:lnTo>
                    <a:pt x="88" y="928"/>
                  </a:lnTo>
                  <a:lnTo>
                    <a:pt x="94" y="917"/>
                  </a:lnTo>
                  <a:lnTo>
                    <a:pt x="99" y="906"/>
                  </a:lnTo>
                  <a:lnTo>
                    <a:pt x="103" y="895"/>
                  </a:lnTo>
                  <a:lnTo>
                    <a:pt x="108" y="882"/>
                  </a:lnTo>
                  <a:lnTo>
                    <a:pt x="110" y="870"/>
                  </a:lnTo>
                  <a:lnTo>
                    <a:pt x="112" y="858"/>
                  </a:lnTo>
                  <a:lnTo>
                    <a:pt x="113" y="847"/>
                  </a:lnTo>
                  <a:lnTo>
                    <a:pt x="114" y="835"/>
                  </a:lnTo>
                  <a:lnTo>
                    <a:pt x="116" y="824"/>
                  </a:lnTo>
                  <a:lnTo>
                    <a:pt x="120" y="812"/>
                  </a:lnTo>
                  <a:lnTo>
                    <a:pt x="123" y="799"/>
                  </a:lnTo>
                  <a:lnTo>
                    <a:pt x="131" y="778"/>
                  </a:lnTo>
                  <a:lnTo>
                    <a:pt x="141" y="761"/>
                  </a:lnTo>
                  <a:lnTo>
                    <a:pt x="151" y="742"/>
                  </a:lnTo>
                  <a:lnTo>
                    <a:pt x="160" y="721"/>
                  </a:lnTo>
                  <a:lnTo>
                    <a:pt x="170" y="688"/>
                  </a:lnTo>
                  <a:lnTo>
                    <a:pt x="179" y="659"/>
                  </a:lnTo>
                  <a:lnTo>
                    <a:pt x="188" y="630"/>
                  </a:lnTo>
                  <a:lnTo>
                    <a:pt x="198" y="598"/>
                  </a:lnTo>
                  <a:lnTo>
                    <a:pt x="204" y="586"/>
                  </a:lnTo>
                  <a:lnTo>
                    <a:pt x="209" y="575"/>
                  </a:lnTo>
                  <a:lnTo>
                    <a:pt x="216" y="565"/>
                  </a:lnTo>
                  <a:lnTo>
                    <a:pt x="222" y="555"/>
                  </a:lnTo>
                  <a:lnTo>
                    <a:pt x="229" y="547"/>
                  </a:lnTo>
                  <a:lnTo>
                    <a:pt x="237" y="539"/>
                  </a:lnTo>
                  <a:lnTo>
                    <a:pt x="247" y="532"/>
                  </a:lnTo>
                  <a:lnTo>
                    <a:pt x="258" y="525"/>
                  </a:lnTo>
                  <a:lnTo>
                    <a:pt x="275" y="518"/>
                  </a:lnTo>
                  <a:lnTo>
                    <a:pt x="292" y="511"/>
                  </a:lnTo>
                  <a:lnTo>
                    <a:pt x="300" y="508"/>
                  </a:lnTo>
                  <a:lnTo>
                    <a:pt x="305" y="502"/>
                  </a:lnTo>
                  <a:lnTo>
                    <a:pt x="308" y="500"/>
                  </a:lnTo>
                  <a:lnTo>
                    <a:pt x="310" y="497"/>
                  </a:lnTo>
                  <a:lnTo>
                    <a:pt x="311" y="493"/>
                  </a:lnTo>
                  <a:lnTo>
                    <a:pt x="311" y="488"/>
                  </a:lnTo>
                  <a:lnTo>
                    <a:pt x="310" y="481"/>
                  </a:lnTo>
                  <a:lnTo>
                    <a:pt x="309" y="475"/>
                  </a:lnTo>
                  <a:lnTo>
                    <a:pt x="305" y="469"/>
                  </a:lnTo>
                  <a:lnTo>
                    <a:pt x="302" y="464"/>
                  </a:lnTo>
                  <a:lnTo>
                    <a:pt x="299" y="458"/>
                  </a:lnTo>
                  <a:lnTo>
                    <a:pt x="296" y="453"/>
                  </a:lnTo>
                  <a:lnTo>
                    <a:pt x="294" y="446"/>
                  </a:lnTo>
                  <a:lnTo>
                    <a:pt x="292" y="440"/>
                  </a:lnTo>
                  <a:lnTo>
                    <a:pt x="292" y="440"/>
                  </a:lnTo>
                  <a:lnTo>
                    <a:pt x="314" y="457"/>
                  </a:lnTo>
                  <a:lnTo>
                    <a:pt x="333" y="477"/>
                  </a:lnTo>
                  <a:lnTo>
                    <a:pt x="343" y="485"/>
                  </a:lnTo>
                  <a:lnTo>
                    <a:pt x="353" y="494"/>
                  </a:lnTo>
                  <a:lnTo>
                    <a:pt x="364" y="502"/>
                  </a:lnTo>
                  <a:lnTo>
                    <a:pt x="376" y="511"/>
                  </a:lnTo>
                  <a:lnTo>
                    <a:pt x="394" y="521"/>
                  </a:lnTo>
                  <a:lnTo>
                    <a:pt x="411" y="529"/>
                  </a:lnTo>
                  <a:lnTo>
                    <a:pt x="429" y="535"/>
                  </a:lnTo>
                  <a:lnTo>
                    <a:pt x="445" y="539"/>
                  </a:lnTo>
                  <a:lnTo>
                    <a:pt x="479" y="548"/>
                  </a:lnTo>
                  <a:lnTo>
                    <a:pt x="518" y="559"/>
                  </a:lnTo>
                  <a:lnTo>
                    <a:pt x="535" y="565"/>
                  </a:lnTo>
                  <a:lnTo>
                    <a:pt x="549" y="574"/>
                  </a:lnTo>
                  <a:lnTo>
                    <a:pt x="564" y="583"/>
                  </a:lnTo>
                  <a:lnTo>
                    <a:pt x="576" y="594"/>
                  </a:lnTo>
                  <a:lnTo>
                    <a:pt x="599" y="617"/>
                  </a:lnTo>
                  <a:lnTo>
                    <a:pt x="621" y="642"/>
                  </a:lnTo>
                  <a:lnTo>
                    <a:pt x="630" y="654"/>
                  </a:lnTo>
                  <a:lnTo>
                    <a:pt x="641" y="664"/>
                  </a:lnTo>
                  <a:lnTo>
                    <a:pt x="653" y="674"/>
                  </a:lnTo>
                  <a:lnTo>
                    <a:pt x="665" y="683"/>
                  </a:lnTo>
                  <a:lnTo>
                    <a:pt x="678" y="690"/>
                  </a:lnTo>
                  <a:lnTo>
                    <a:pt x="692" y="697"/>
                  </a:lnTo>
                  <a:lnTo>
                    <a:pt x="701" y="699"/>
                  </a:lnTo>
                  <a:lnTo>
                    <a:pt x="708" y="700"/>
                  </a:lnTo>
                  <a:lnTo>
                    <a:pt x="717" y="701"/>
                  </a:lnTo>
                  <a:lnTo>
                    <a:pt x="726" y="701"/>
                  </a:lnTo>
                  <a:lnTo>
                    <a:pt x="737" y="700"/>
                  </a:lnTo>
                  <a:lnTo>
                    <a:pt x="748" y="698"/>
                  </a:lnTo>
                  <a:lnTo>
                    <a:pt x="758" y="695"/>
                  </a:lnTo>
                  <a:lnTo>
                    <a:pt x="768" y="689"/>
                  </a:lnTo>
                  <a:lnTo>
                    <a:pt x="786" y="680"/>
                  </a:lnTo>
                  <a:lnTo>
                    <a:pt x="807" y="671"/>
                  </a:lnTo>
                  <a:lnTo>
                    <a:pt x="843" y="659"/>
                  </a:lnTo>
                  <a:lnTo>
                    <a:pt x="875" y="648"/>
                  </a:lnTo>
                  <a:lnTo>
                    <a:pt x="890" y="643"/>
                  </a:lnTo>
                  <a:lnTo>
                    <a:pt x="906" y="636"/>
                  </a:lnTo>
                  <a:lnTo>
                    <a:pt x="923" y="629"/>
                  </a:lnTo>
                  <a:lnTo>
                    <a:pt x="942" y="620"/>
                  </a:lnTo>
                  <a:lnTo>
                    <a:pt x="952" y="616"/>
                  </a:lnTo>
                  <a:lnTo>
                    <a:pt x="961" y="610"/>
                  </a:lnTo>
                  <a:lnTo>
                    <a:pt x="969" y="604"/>
                  </a:lnTo>
                  <a:lnTo>
                    <a:pt x="976" y="598"/>
                  </a:lnTo>
                  <a:lnTo>
                    <a:pt x="989" y="583"/>
                  </a:lnTo>
                  <a:lnTo>
                    <a:pt x="1006" y="569"/>
                  </a:lnTo>
                  <a:lnTo>
                    <a:pt x="1031" y="550"/>
                  </a:lnTo>
                  <a:lnTo>
                    <a:pt x="1055" y="529"/>
                  </a:lnTo>
                  <a:lnTo>
                    <a:pt x="1066" y="520"/>
                  </a:lnTo>
                  <a:lnTo>
                    <a:pt x="1077" y="509"/>
                  </a:lnTo>
                  <a:lnTo>
                    <a:pt x="1085" y="498"/>
                  </a:lnTo>
                  <a:lnTo>
                    <a:pt x="1094" y="487"/>
                  </a:lnTo>
                  <a:lnTo>
                    <a:pt x="1102" y="475"/>
                  </a:lnTo>
                  <a:lnTo>
                    <a:pt x="1109" y="464"/>
                  </a:lnTo>
                  <a:lnTo>
                    <a:pt x="1115" y="451"/>
                  </a:lnTo>
                  <a:lnTo>
                    <a:pt x="1120" y="438"/>
                  </a:lnTo>
                  <a:lnTo>
                    <a:pt x="1124" y="424"/>
                  </a:lnTo>
                  <a:lnTo>
                    <a:pt x="1127" y="410"/>
                  </a:lnTo>
                  <a:lnTo>
                    <a:pt x="1128" y="393"/>
                  </a:lnTo>
                  <a:lnTo>
                    <a:pt x="1129" y="377"/>
                  </a:lnTo>
                  <a:lnTo>
                    <a:pt x="1128" y="366"/>
                  </a:lnTo>
                  <a:lnTo>
                    <a:pt x="1126" y="356"/>
                  </a:lnTo>
                  <a:lnTo>
                    <a:pt x="1123" y="346"/>
                  </a:lnTo>
                  <a:lnTo>
                    <a:pt x="1120" y="337"/>
                  </a:lnTo>
                  <a:lnTo>
                    <a:pt x="1109" y="320"/>
                  </a:lnTo>
                  <a:lnTo>
                    <a:pt x="1097" y="304"/>
                  </a:lnTo>
                  <a:lnTo>
                    <a:pt x="1085" y="288"/>
                  </a:lnTo>
                  <a:lnTo>
                    <a:pt x="1075" y="270"/>
                  </a:lnTo>
                  <a:lnTo>
                    <a:pt x="1071" y="261"/>
                  </a:lnTo>
                  <a:lnTo>
                    <a:pt x="1068" y="251"/>
                  </a:lnTo>
                  <a:lnTo>
                    <a:pt x="1066" y="240"/>
                  </a:lnTo>
                  <a:lnTo>
                    <a:pt x="1065" y="229"/>
                  </a:lnTo>
                  <a:lnTo>
                    <a:pt x="1065" y="212"/>
                  </a:lnTo>
                  <a:lnTo>
                    <a:pt x="1064" y="196"/>
                  </a:lnTo>
                  <a:lnTo>
                    <a:pt x="1065" y="188"/>
                  </a:lnTo>
                  <a:lnTo>
                    <a:pt x="1067" y="182"/>
                  </a:lnTo>
                  <a:lnTo>
                    <a:pt x="1070" y="175"/>
                  </a:lnTo>
                  <a:lnTo>
                    <a:pt x="1077" y="169"/>
                  </a:lnTo>
                  <a:lnTo>
                    <a:pt x="1081" y="166"/>
                  </a:lnTo>
                  <a:lnTo>
                    <a:pt x="1086" y="163"/>
                  </a:lnTo>
                  <a:lnTo>
                    <a:pt x="1092" y="162"/>
                  </a:lnTo>
                  <a:lnTo>
                    <a:pt x="1097" y="162"/>
                  </a:lnTo>
                  <a:lnTo>
                    <a:pt x="1109" y="162"/>
                  </a:lnTo>
                  <a:lnTo>
                    <a:pt x="1121" y="160"/>
                  </a:lnTo>
                  <a:lnTo>
                    <a:pt x="1155" y="150"/>
                  </a:lnTo>
                  <a:lnTo>
                    <a:pt x="1187" y="142"/>
                  </a:lnTo>
                  <a:lnTo>
                    <a:pt x="1202" y="137"/>
                  </a:lnTo>
                  <a:lnTo>
                    <a:pt x="1217" y="135"/>
                  </a:lnTo>
                  <a:lnTo>
                    <a:pt x="1234" y="133"/>
                  </a:lnTo>
                  <a:lnTo>
                    <a:pt x="1253" y="132"/>
                  </a:lnTo>
                  <a:lnTo>
                    <a:pt x="1258" y="133"/>
                  </a:lnTo>
                  <a:lnTo>
                    <a:pt x="1262" y="134"/>
                  </a:lnTo>
                  <a:lnTo>
                    <a:pt x="1267" y="135"/>
                  </a:lnTo>
                  <a:lnTo>
                    <a:pt x="1271" y="137"/>
                  </a:lnTo>
                  <a:lnTo>
                    <a:pt x="1279" y="143"/>
                  </a:lnTo>
                  <a:lnTo>
                    <a:pt x="1285" y="150"/>
                  </a:lnTo>
                  <a:lnTo>
                    <a:pt x="1290" y="158"/>
                  </a:lnTo>
                  <a:lnTo>
                    <a:pt x="1297" y="166"/>
                  </a:lnTo>
                  <a:lnTo>
                    <a:pt x="1303" y="173"/>
                  </a:lnTo>
                  <a:lnTo>
                    <a:pt x="1312" y="180"/>
                  </a:lnTo>
                  <a:lnTo>
                    <a:pt x="1322" y="187"/>
                  </a:lnTo>
                  <a:lnTo>
                    <a:pt x="1331" y="193"/>
                  </a:lnTo>
                  <a:lnTo>
                    <a:pt x="1342" y="197"/>
                  </a:lnTo>
                  <a:lnTo>
                    <a:pt x="1352" y="201"/>
                  </a:lnTo>
                  <a:lnTo>
                    <a:pt x="1372" y="208"/>
                  </a:lnTo>
                  <a:lnTo>
                    <a:pt x="1395" y="216"/>
                  </a:lnTo>
                  <a:lnTo>
                    <a:pt x="1414" y="224"/>
                  </a:lnTo>
                  <a:lnTo>
                    <a:pt x="1431" y="230"/>
                  </a:lnTo>
                  <a:lnTo>
                    <a:pt x="1448" y="236"/>
                  </a:lnTo>
                  <a:lnTo>
                    <a:pt x="1464" y="240"/>
                  </a:lnTo>
                  <a:lnTo>
                    <a:pt x="1481" y="243"/>
                  </a:lnTo>
                  <a:lnTo>
                    <a:pt x="1498" y="245"/>
                  </a:lnTo>
                  <a:lnTo>
                    <a:pt x="1516" y="247"/>
                  </a:lnTo>
                  <a:lnTo>
                    <a:pt x="1536" y="248"/>
                  </a:lnTo>
                  <a:lnTo>
                    <a:pt x="1542" y="247"/>
                  </a:lnTo>
                  <a:lnTo>
                    <a:pt x="1549" y="247"/>
                  </a:lnTo>
                  <a:lnTo>
                    <a:pt x="1554" y="244"/>
                  </a:lnTo>
                  <a:lnTo>
                    <a:pt x="1559" y="242"/>
                  </a:lnTo>
                  <a:lnTo>
                    <a:pt x="1569" y="238"/>
                  </a:lnTo>
                  <a:lnTo>
                    <a:pt x="1578" y="231"/>
                  </a:lnTo>
                  <a:lnTo>
                    <a:pt x="1587" y="226"/>
                  </a:lnTo>
                  <a:lnTo>
                    <a:pt x="1597" y="222"/>
                  </a:lnTo>
                  <a:lnTo>
                    <a:pt x="1603" y="220"/>
                  </a:lnTo>
                  <a:lnTo>
                    <a:pt x="1608" y="217"/>
                  </a:lnTo>
                  <a:lnTo>
                    <a:pt x="1614" y="217"/>
                  </a:lnTo>
                  <a:lnTo>
                    <a:pt x="1621" y="216"/>
                  </a:lnTo>
                  <a:lnTo>
                    <a:pt x="1657" y="216"/>
                  </a:lnTo>
                  <a:lnTo>
                    <a:pt x="1689" y="216"/>
                  </a:lnTo>
                  <a:lnTo>
                    <a:pt x="1720" y="216"/>
                  </a:lnTo>
                  <a:lnTo>
                    <a:pt x="1757" y="216"/>
                  </a:lnTo>
                  <a:lnTo>
                    <a:pt x="1766" y="216"/>
                  </a:lnTo>
                  <a:lnTo>
                    <a:pt x="1773" y="214"/>
                  </a:lnTo>
                  <a:lnTo>
                    <a:pt x="1781" y="212"/>
                  </a:lnTo>
                  <a:lnTo>
                    <a:pt x="1787" y="209"/>
                  </a:lnTo>
                  <a:lnTo>
                    <a:pt x="1794" y="205"/>
                  </a:lnTo>
                  <a:lnTo>
                    <a:pt x="1799" y="201"/>
                  </a:lnTo>
                  <a:lnTo>
                    <a:pt x="1806" y="196"/>
                  </a:lnTo>
                  <a:lnTo>
                    <a:pt x="1810" y="190"/>
                  </a:lnTo>
                  <a:lnTo>
                    <a:pt x="1829" y="164"/>
                  </a:lnTo>
                  <a:lnTo>
                    <a:pt x="1850" y="135"/>
                  </a:lnTo>
                  <a:lnTo>
                    <a:pt x="1876" y="135"/>
                  </a:lnTo>
                  <a:lnTo>
                    <a:pt x="1898" y="135"/>
                  </a:lnTo>
                  <a:lnTo>
                    <a:pt x="1921" y="135"/>
                  </a:lnTo>
                  <a:lnTo>
                    <a:pt x="1947" y="135"/>
                  </a:lnTo>
                  <a:lnTo>
                    <a:pt x="1970" y="135"/>
                  </a:lnTo>
                  <a:lnTo>
                    <a:pt x="1990" y="135"/>
                  </a:lnTo>
                  <a:lnTo>
                    <a:pt x="2000" y="133"/>
                  </a:lnTo>
                  <a:lnTo>
                    <a:pt x="2010" y="131"/>
                  </a:lnTo>
                  <a:lnTo>
                    <a:pt x="2019" y="127"/>
                  </a:lnTo>
                  <a:lnTo>
                    <a:pt x="2029" y="121"/>
                  </a:lnTo>
                  <a:lnTo>
                    <a:pt x="2038" y="114"/>
                  </a:lnTo>
                  <a:lnTo>
                    <a:pt x="2045" y="105"/>
                  </a:lnTo>
                  <a:lnTo>
                    <a:pt x="2051" y="96"/>
                  </a:lnTo>
                  <a:lnTo>
                    <a:pt x="2056" y="87"/>
                  </a:lnTo>
                  <a:lnTo>
                    <a:pt x="2061" y="77"/>
                  </a:lnTo>
                  <a:lnTo>
                    <a:pt x="2066" y="67"/>
                  </a:lnTo>
                  <a:lnTo>
                    <a:pt x="2072" y="58"/>
                  </a:lnTo>
                  <a:lnTo>
                    <a:pt x="2080" y="49"/>
                  </a:lnTo>
                  <a:lnTo>
                    <a:pt x="2090" y="38"/>
                  </a:lnTo>
                  <a:lnTo>
                    <a:pt x="2100" y="31"/>
                  </a:lnTo>
                  <a:lnTo>
                    <a:pt x="2110" y="24"/>
                  </a:lnTo>
                  <a:lnTo>
                    <a:pt x="2122" y="19"/>
                  </a:lnTo>
                  <a:lnTo>
                    <a:pt x="2145" y="9"/>
                  </a:lnTo>
                  <a:lnTo>
                    <a:pt x="2172" y="0"/>
                  </a:lnTo>
                  <a:lnTo>
                    <a:pt x="2172" y="0"/>
                  </a:lnTo>
                  <a:lnTo>
                    <a:pt x="2185" y="12"/>
                  </a:lnTo>
                  <a:lnTo>
                    <a:pt x="2198" y="23"/>
                  </a:lnTo>
                  <a:lnTo>
                    <a:pt x="2211" y="32"/>
                  </a:lnTo>
                  <a:lnTo>
                    <a:pt x="2223" y="39"/>
                  </a:lnTo>
                  <a:lnTo>
                    <a:pt x="2235" y="47"/>
                  </a:lnTo>
                  <a:lnTo>
                    <a:pt x="2248" y="54"/>
                  </a:lnTo>
                  <a:lnTo>
                    <a:pt x="2261" y="63"/>
                  </a:lnTo>
                  <a:lnTo>
                    <a:pt x="2275" y="74"/>
                  </a:lnTo>
                  <a:lnTo>
                    <a:pt x="2286" y="83"/>
                  </a:lnTo>
                  <a:lnTo>
                    <a:pt x="2295" y="93"/>
                  </a:lnTo>
                  <a:lnTo>
                    <a:pt x="2301" y="104"/>
                  </a:lnTo>
                  <a:lnTo>
                    <a:pt x="2306" y="116"/>
                  </a:lnTo>
                  <a:lnTo>
                    <a:pt x="2309" y="128"/>
                  </a:lnTo>
                  <a:lnTo>
                    <a:pt x="2311" y="141"/>
                  </a:lnTo>
                  <a:lnTo>
                    <a:pt x="2312" y="155"/>
                  </a:lnTo>
                  <a:lnTo>
                    <a:pt x="2312" y="169"/>
                  </a:lnTo>
                  <a:lnTo>
                    <a:pt x="2312" y="174"/>
                  </a:lnTo>
                  <a:lnTo>
                    <a:pt x="2310" y="178"/>
                  </a:lnTo>
                  <a:lnTo>
                    <a:pt x="2308" y="183"/>
                  </a:lnTo>
                  <a:lnTo>
                    <a:pt x="2306" y="186"/>
                  </a:lnTo>
                  <a:lnTo>
                    <a:pt x="2300" y="194"/>
                  </a:lnTo>
                  <a:lnTo>
                    <a:pt x="2295" y="202"/>
                  </a:lnTo>
                  <a:lnTo>
                    <a:pt x="2306" y="212"/>
                  </a:lnTo>
                  <a:lnTo>
                    <a:pt x="2315" y="222"/>
                  </a:lnTo>
                  <a:lnTo>
                    <a:pt x="2323" y="232"/>
                  </a:lnTo>
                  <a:lnTo>
                    <a:pt x="2329" y="244"/>
                  </a:lnTo>
                  <a:lnTo>
                    <a:pt x="2340" y="269"/>
                  </a:lnTo>
                  <a:lnTo>
                    <a:pt x="2351" y="295"/>
                  </a:lnTo>
                  <a:lnTo>
                    <a:pt x="2356" y="306"/>
                  </a:lnTo>
                  <a:lnTo>
                    <a:pt x="2364" y="317"/>
                  </a:lnTo>
                  <a:lnTo>
                    <a:pt x="2370" y="328"/>
                  </a:lnTo>
                  <a:lnTo>
                    <a:pt x="2377" y="337"/>
                  </a:lnTo>
                  <a:lnTo>
                    <a:pt x="2392" y="344"/>
                  </a:lnTo>
                  <a:lnTo>
                    <a:pt x="2406" y="349"/>
                  </a:lnTo>
                  <a:lnTo>
                    <a:pt x="2414" y="351"/>
                  </a:lnTo>
                  <a:lnTo>
                    <a:pt x="2421" y="352"/>
                  </a:lnTo>
                  <a:lnTo>
                    <a:pt x="2430" y="353"/>
                  </a:lnTo>
                  <a:lnTo>
                    <a:pt x="2439" y="353"/>
                  </a:lnTo>
                  <a:lnTo>
                    <a:pt x="2448" y="353"/>
                  </a:lnTo>
                  <a:lnTo>
                    <a:pt x="2456" y="351"/>
                  </a:lnTo>
                  <a:lnTo>
                    <a:pt x="2464" y="347"/>
                  </a:lnTo>
                  <a:lnTo>
                    <a:pt x="2471" y="343"/>
                  </a:lnTo>
                  <a:lnTo>
                    <a:pt x="2476" y="336"/>
                  </a:lnTo>
                  <a:lnTo>
                    <a:pt x="2482" y="330"/>
                  </a:lnTo>
                  <a:lnTo>
                    <a:pt x="2487" y="322"/>
                  </a:lnTo>
                  <a:lnTo>
                    <a:pt x="2490" y="313"/>
                  </a:lnTo>
                  <a:lnTo>
                    <a:pt x="2494" y="305"/>
                  </a:lnTo>
                  <a:lnTo>
                    <a:pt x="2497" y="295"/>
                  </a:lnTo>
                  <a:lnTo>
                    <a:pt x="2499" y="284"/>
                  </a:lnTo>
                  <a:lnTo>
                    <a:pt x="2500" y="275"/>
                  </a:lnTo>
                  <a:lnTo>
                    <a:pt x="2502" y="254"/>
                  </a:lnTo>
                  <a:lnTo>
                    <a:pt x="2502" y="234"/>
                  </a:lnTo>
                  <a:lnTo>
                    <a:pt x="2511" y="229"/>
                  </a:lnTo>
                  <a:lnTo>
                    <a:pt x="2520" y="225"/>
                  </a:lnTo>
                  <a:lnTo>
                    <a:pt x="2528" y="232"/>
                  </a:lnTo>
                  <a:lnTo>
                    <a:pt x="2536" y="239"/>
                  </a:lnTo>
                  <a:lnTo>
                    <a:pt x="2544" y="243"/>
                  </a:lnTo>
                  <a:lnTo>
                    <a:pt x="2553" y="248"/>
                  </a:lnTo>
                  <a:lnTo>
                    <a:pt x="2562" y="250"/>
                  </a:lnTo>
                  <a:lnTo>
                    <a:pt x="2571" y="252"/>
                  </a:lnTo>
                  <a:lnTo>
                    <a:pt x="2581" y="253"/>
                  </a:lnTo>
                  <a:lnTo>
                    <a:pt x="2592" y="253"/>
                  </a:lnTo>
                  <a:lnTo>
                    <a:pt x="2599" y="253"/>
                  </a:lnTo>
                  <a:lnTo>
                    <a:pt x="2606" y="252"/>
                  </a:lnTo>
                  <a:lnTo>
                    <a:pt x="2611" y="251"/>
                  </a:lnTo>
                  <a:lnTo>
                    <a:pt x="2617" y="249"/>
                  </a:lnTo>
                  <a:lnTo>
                    <a:pt x="2628" y="243"/>
                  </a:lnTo>
                  <a:lnTo>
                    <a:pt x="2637" y="237"/>
                  </a:lnTo>
                  <a:lnTo>
                    <a:pt x="2655" y="221"/>
                  </a:lnTo>
                  <a:lnTo>
                    <a:pt x="2674" y="202"/>
                  </a:lnTo>
                  <a:lnTo>
                    <a:pt x="2701" y="180"/>
                  </a:lnTo>
                  <a:lnTo>
                    <a:pt x="2725" y="160"/>
                  </a:lnTo>
                  <a:lnTo>
                    <a:pt x="2749" y="140"/>
                  </a:lnTo>
                  <a:lnTo>
                    <a:pt x="2774" y="116"/>
                  </a:lnTo>
                  <a:lnTo>
                    <a:pt x="2790" y="101"/>
                  </a:lnTo>
                  <a:lnTo>
                    <a:pt x="2804" y="87"/>
                  </a:lnTo>
                  <a:lnTo>
                    <a:pt x="2818" y="73"/>
                  </a:lnTo>
                  <a:lnTo>
                    <a:pt x="2832" y="61"/>
                  </a:lnTo>
                  <a:lnTo>
                    <a:pt x="2839" y="56"/>
                  </a:lnTo>
                  <a:lnTo>
                    <a:pt x="2847" y="51"/>
                  </a:lnTo>
                  <a:lnTo>
                    <a:pt x="2855" y="47"/>
                  </a:lnTo>
                  <a:lnTo>
                    <a:pt x="2863" y="43"/>
                  </a:lnTo>
                  <a:lnTo>
                    <a:pt x="2873" y="41"/>
                  </a:lnTo>
                  <a:lnTo>
                    <a:pt x="2881" y="39"/>
                  </a:lnTo>
                  <a:lnTo>
                    <a:pt x="2891" y="38"/>
                  </a:lnTo>
                  <a:lnTo>
                    <a:pt x="2902" y="37"/>
                  </a:lnTo>
                  <a:lnTo>
                    <a:pt x="2913" y="38"/>
                  </a:lnTo>
                  <a:lnTo>
                    <a:pt x="2923" y="39"/>
                  </a:lnTo>
                  <a:lnTo>
                    <a:pt x="2932" y="42"/>
                  </a:lnTo>
                  <a:lnTo>
                    <a:pt x="2941" y="46"/>
                  </a:lnTo>
                  <a:lnTo>
                    <a:pt x="2958" y="55"/>
                  </a:lnTo>
                  <a:lnTo>
                    <a:pt x="2976" y="65"/>
                  </a:lnTo>
                  <a:lnTo>
                    <a:pt x="2997" y="75"/>
                  </a:lnTo>
                  <a:lnTo>
                    <a:pt x="3016" y="83"/>
                  </a:lnTo>
                  <a:lnTo>
                    <a:pt x="3035" y="89"/>
                  </a:lnTo>
                  <a:lnTo>
                    <a:pt x="3053" y="94"/>
                  </a:lnTo>
                  <a:lnTo>
                    <a:pt x="3091" y="103"/>
                  </a:lnTo>
                  <a:lnTo>
                    <a:pt x="3133" y="116"/>
                  </a:lnTo>
                  <a:lnTo>
                    <a:pt x="3368" y="304"/>
                  </a:lnTo>
                  <a:lnTo>
                    <a:pt x="3368" y="304"/>
                  </a:lnTo>
                  <a:lnTo>
                    <a:pt x="3367" y="317"/>
                  </a:lnTo>
                  <a:lnTo>
                    <a:pt x="3366" y="329"/>
                  </a:lnTo>
                  <a:lnTo>
                    <a:pt x="3365" y="342"/>
                  </a:lnTo>
                  <a:lnTo>
                    <a:pt x="3364" y="355"/>
                  </a:lnTo>
                  <a:lnTo>
                    <a:pt x="3365" y="365"/>
                  </a:lnTo>
                  <a:lnTo>
                    <a:pt x="3366" y="375"/>
                  </a:lnTo>
                  <a:lnTo>
                    <a:pt x="3367" y="384"/>
                  </a:lnTo>
                  <a:lnTo>
                    <a:pt x="3370" y="393"/>
                  </a:lnTo>
                  <a:lnTo>
                    <a:pt x="3373" y="402"/>
                  </a:lnTo>
                  <a:lnTo>
                    <a:pt x="3376" y="410"/>
                  </a:lnTo>
                  <a:lnTo>
                    <a:pt x="3379" y="418"/>
                  </a:lnTo>
                  <a:lnTo>
                    <a:pt x="3385" y="426"/>
                  </a:lnTo>
                  <a:lnTo>
                    <a:pt x="3389" y="433"/>
                  </a:lnTo>
                  <a:lnTo>
                    <a:pt x="3394" y="440"/>
                  </a:lnTo>
                  <a:lnTo>
                    <a:pt x="3401" y="446"/>
                  </a:lnTo>
                  <a:lnTo>
                    <a:pt x="3407" y="453"/>
                  </a:lnTo>
                  <a:lnTo>
                    <a:pt x="3421" y="465"/>
                  </a:lnTo>
                  <a:lnTo>
                    <a:pt x="3438" y="475"/>
                  </a:lnTo>
                  <a:lnTo>
                    <a:pt x="3438" y="475"/>
                  </a:lnTo>
                  <a:lnTo>
                    <a:pt x="3438" y="499"/>
                  </a:lnTo>
                  <a:lnTo>
                    <a:pt x="3439" y="521"/>
                  </a:lnTo>
                  <a:lnTo>
                    <a:pt x="3442" y="541"/>
                  </a:lnTo>
                  <a:lnTo>
                    <a:pt x="3444" y="561"/>
                  </a:lnTo>
                  <a:lnTo>
                    <a:pt x="3448" y="580"/>
                  </a:lnTo>
                  <a:lnTo>
                    <a:pt x="3452" y="601"/>
                  </a:lnTo>
                  <a:lnTo>
                    <a:pt x="3456" y="622"/>
                  </a:lnTo>
                  <a:lnTo>
                    <a:pt x="3461" y="645"/>
                  </a:lnTo>
                  <a:lnTo>
                    <a:pt x="3466" y="662"/>
                  </a:lnTo>
                  <a:lnTo>
                    <a:pt x="3472" y="677"/>
                  </a:lnTo>
                  <a:lnTo>
                    <a:pt x="3479" y="691"/>
                  </a:lnTo>
                  <a:lnTo>
                    <a:pt x="3485" y="706"/>
                  </a:lnTo>
                  <a:lnTo>
                    <a:pt x="3492" y="718"/>
                  </a:lnTo>
                  <a:lnTo>
                    <a:pt x="3498" y="733"/>
                  </a:lnTo>
                  <a:lnTo>
                    <a:pt x="3503" y="749"/>
                  </a:lnTo>
                  <a:lnTo>
                    <a:pt x="3506" y="766"/>
                  </a:lnTo>
                  <a:lnTo>
                    <a:pt x="3479" y="951"/>
                  </a:lnTo>
                  <a:lnTo>
                    <a:pt x="3451" y="954"/>
                  </a:lnTo>
                  <a:lnTo>
                    <a:pt x="3424" y="959"/>
                  </a:lnTo>
                  <a:lnTo>
                    <a:pt x="3410" y="961"/>
                  </a:lnTo>
                  <a:lnTo>
                    <a:pt x="3397" y="966"/>
                  </a:lnTo>
                  <a:lnTo>
                    <a:pt x="3385" y="969"/>
                  </a:lnTo>
                  <a:lnTo>
                    <a:pt x="3373" y="974"/>
                  </a:lnTo>
                  <a:lnTo>
                    <a:pt x="3362" y="980"/>
                  </a:lnTo>
                  <a:lnTo>
                    <a:pt x="3352" y="985"/>
                  </a:lnTo>
                  <a:lnTo>
                    <a:pt x="3344" y="993"/>
                  </a:lnTo>
                  <a:lnTo>
                    <a:pt x="3336" y="1001"/>
                  </a:lnTo>
                  <a:lnTo>
                    <a:pt x="3330" y="1010"/>
                  </a:lnTo>
                  <a:lnTo>
                    <a:pt x="3325" y="1021"/>
                  </a:lnTo>
                  <a:lnTo>
                    <a:pt x="3322" y="1032"/>
                  </a:lnTo>
                  <a:lnTo>
                    <a:pt x="3321" y="1045"/>
                  </a:lnTo>
                  <a:lnTo>
                    <a:pt x="3322" y="1055"/>
                  </a:lnTo>
                  <a:lnTo>
                    <a:pt x="3323" y="1066"/>
                  </a:lnTo>
                  <a:lnTo>
                    <a:pt x="3325" y="1076"/>
                  </a:lnTo>
                  <a:lnTo>
                    <a:pt x="3329" y="1086"/>
                  </a:lnTo>
                  <a:lnTo>
                    <a:pt x="3336" y="1103"/>
                  </a:lnTo>
                  <a:lnTo>
                    <a:pt x="3346" y="1119"/>
                  </a:lnTo>
                  <a:lnTo>
                    <a:pt x="3354" y="1136"/>
                  </a:lnTo>
                  <a:lnTo>
                    <a:pt x="3363" y="1154"/>
                  </a:lnTo>
                  <a:lnTo>
                    <a:pt x="3366" y="1163"/>
                  </a:lnTo>
                  <a:lnTo>
                    <a:pt x="3368" y="1173"/>
                  </a:lnTo>
                  <a:lnTo>
                    <a:pt x="3371" y="1183"/>
                  </a:lnTo>
                  <a:lnTo>
                    <a:pt x="3372" y="1195"/>
                  </a:lnTo>
                  <a:lnTo>
                    <a:pt x="3373" y="1210"/>
                  </a:lnTo>
                  <a:lnTo>
                    <a:pt x="3374" y="1223"/>
                  </a:lnTo>
                  <a:lnTo>
                    <a:pt x="3375" y="1236"/>
                  </a:lnTo>
                  <a:lnTo>
                    <a:pt x="3378" y="1248"/>
                  </a:lnTo>
                  <a:lnTo>
                    <a:pt x="3381" y="1260"/>
                  </a:lnTo>
                  <a:lnTo>
                    <a:pt x="3386" y="1273"/>
                  </a:lnTo>
                  <a:lnTo>
                    <a:pt x="3390" y="1284"/>
                  </a:lnTo>
                  <a:lnTo>
                    <a:pt x="3397" y="1298"/>
                  </a:lnTo>
                  <a:lnTo>
                    <a:pt x="3403" y="1310"/>
                  </a:lnTo>
                  <a:lnTo>
                    <a:pt x="3411" y="1320"/>
                  </a:lnTo>
                  <a:lnTo>
                    <a:pt x="3416" y="1323"/>
                  </a:lnTo>
                  <a:lnTo>
                    <a:pt x="3420" y="1327"/>
                  </a:lnTo>
                  <a:lnTo>
                    <a:pt x="3427" y="1329"/>
                  </a:lnTo>
                  <a:lnTo>
                    <a:pt x="3433" y="1329"/>
                  </a:lnTo>
                  <a:lnTo>
                    <a:pt x="3444" y="1329"/>
                  </a:lnTo>
                  <a:lnTo>
                    <a:pt x="3453" y="1327"/>
                  </a:lnTo>
                  <a:lnTo>
                    <a:pt x="3461" y="1323"/>
                  </a:lnTo>
                  <a:lnTo>
                    <a:pt x="3470" y="1321"/>
                  </a:lnTo>
                  <a:lnTo>
                    <a:pt x="3479" y="1318"/>
                  </a:lnTo>
                  <a:lnTo>
                    <a:pt x="3487" y="1315"/>
                  </a:lnTo>
                  <a:lnTo>
                    <a:pt x="3496" y="1312"/>
                  </a:lnTo>
                  <a:lnTo>
                    <a:pt x="3507" y="1312"/>
                  </a:lnTo>
                  <a:lnTo>
                    <a:pt x="3540" y="1314"/>
                  </a:lnTo>
                  <a:lnTo>
                    <a:pt x="3568" y="1315"/>
                  </a:lnTo>
                  <a:lnTo>
                    <a:pt x="3596" y="1317"/>
                  </a:lnTo>
                  <a:lnTo>
                    <a:pt x="3630" y="1319"/>
                  </a:lnTo>
                  <a:lnTo>
                    <a:pt x="3630" y="1319"/>
                  </a:lnTo>
                  <a:close/>
                </a:path>
              </a:pathLst>
            </a:custGeom>
            <a:solidFill>
              <a:srgbClr val="9DC87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7">
              <a:extLst>
                <a:ext uri="{FF2B5EF4-FFF2-40B4-BE49-F238E27FC236}">
                  <a16:creationId xmlns:a16="http://schemas.microsoft.com/office/drawing/2014/main" id="{3852D029-D64E-44BE-A78D-D14136C2C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3163" y="2809876"/>
              <a:ext cx="292100" cy="338138"/>
            </a:xfrm>
            <a:custGeom>
              <a:avLst/>
              <a:gdLst>
                <a:gd name="T0" fmla="*/ 247 w 738"/>
                <a:gd name="T1" fmla="*/ 840 h 854"/>
                <a:gd name="T2" fmla="*/ 175 w 738"/>
                <a:gd name="T3" fmla="*/ 837 h 854"/>
                <a:gd name="T4" fmla="*/ 149 w 738"/>
                <a:gd name="T5" fmla="*/ 846 h 854"/>
                <a:gd name="T6" fmla="*/ 123 w 738"/>
                <a:gd name="T7" fmla="*/ 854 h 854"/>
                <a:gd name="T8" fmla="*/ 99 w 738"/>
                <a:gd name="T9" fmla="*/ 852 h 854"/>
                <a:gd name="T10" fmla="*/ 82 w 738"/>
                <a:gd name="T11" fmla="*/ 835 h 854"/>
                <a:gd name="T12" fmla="*/ 65 w 738"/>
                <a:gd name="T13" fmla="*/ 798 h 854"/>
                <a:gd name="T14" fmla="*/ 54 w 738"/>
                <a:gd name="T15" fmla="*/ 761 h 854"/>
                <a:gd name="T16" fmla="*/ 51 w 738"/>
                <a:gd name="T17" fmla="*/ 720 h 854"/>
                <a:gd name="T18" fmla="*/ 45 w 738"/>
                <a:gd name="T19" fmla="*/ 688 h 854"/>
                <a:gd name="T20" fmla="*/ 25 w 738"/>
                <a:gd name="T21" fmla="*/ 644 h 854"/>
                <a:gd name="T22" fmla="*/ 4 w 738"/>
                <a:gd name="T23" fmla="*/ 601 h 854"/>
                <a:gd name="T24" fmla="*/ 0 w 738"/>
                <a:gd name="T25" fmla="*/ 570 h 854"/>
                <a:gd name="T26" fmla="*/ 9 w 738"/>
                <a:gd name="T27" fmla="*/ 535 h 854"/>
                <a:gd name="T28" fmla="*/ 31 w 738"/>
                <a:gd name="T29" fmla="*/ 510 h 854"/>
                <a:gd name="T30" fmla="*/ 64 w 738"/>
                <a:gd name="T31" fmla="*/ 494 h 854"/>
                <a:gd name="T32" fmla="*/ 103 w 738"/>
                <a:gd name="T33" fmla="*/ 484 h 854"/>
                <a:gd name="T34" fmla="*/ 185 w 738"/>
                <a:gd name="T35" fmla="*/ 291 h 854"/>
                <a:gd name="T36" fmla="*/ 171 w 738"/>
                <a:gd name="T37" fmla="*/ 243 h 854"/>
                <a:gd name="T38" fmla="*/ 151 w 738"/>
                <a:gd name="T39" fmla="*/ 202 h 854"/>
                <a:gd name="T40" fmla="*/ 135 w 738"/>
                <a:gd name="T41" fmla="*/ 147 h 854"/>
                <a:gd name="T42" fmla="*/ 123 w 738"/>
                <a:gd name="T43" fmla="*/ 86 h 854"/>
                <a:gd name="T44" fmla="*/ 117 w 738"/>
                <a:gd name="T45" fmla="*/ 24 h 854"/>
                <a:gd name="T46" fmla="*/ 124 w 738"/>
                <a:gd name="T47" fmla="*/ 6 h 854"/>
                <a:gd name="T48" fmla="*/ 149 w 738"/>
                <a:gd name="T49" fmla="*/ 19 h 854"/>
                <a:gd name="T50" fmla="*/ 208 w 738"/>
                <a:gd name="T51" fmla="*/ 35 h 854"/>
                <a:gd name="T52" fmla="*/ 241 w 738"/>
                <a:gd name="T53" fmla="*/ 52 h 854"/>
                <a:gd name="T54" fmla="*/ 303 w 738"/>
                <a:gd name="T55" fmla="*/ 110 h 854"/>
                <a:gd name="T56" fmla="*/ 348 w 738"/>
                <a:gd name="T57" fmla="*/ 140 h 854"/>
                <a:gd name="T58" fmla="*/ 386 w 738"/>
                <a:gd name="T59" fmla="*/ 154 h 854"/>
                <a:gd name="T60" fmla="*/ 419 w 738"/>
                <a:gd name="T61" fmla="*/ 168 h 854"/>
                <a:gd name="T62" fmla="*/ 449 w 738"/>
                <a:gd name="T63" fmla="*/ 195 h 854"/>
                <a:gd name="T64" fmla="*/ 471 w 738"/>
                <a:gd name="T65" fmla="*/ 224 h 854"/>
                <a:gd name="T66" fmla="*/ 505 w 738"/>
                <a:gd name="T67" fmla="*/ 282 h 854"/>
                <a:gd name="T68" fmla="*/ 531 w 738"/>
                <a:gd name="T69" fmla="*/ 321 h 854"/>
                <a:gd name="T70" fmla="*/ 575 w 738"/>
                <a:gd name="T71" fmla="*/ 364 h 854"/>
                <a:gd name="T72" fmla="*/ 646 w 738"/>
                <a:gd name="T73" fmla="*/ 418 h 854"/>
                <a:gd name="T74" fmla="*/ 702 w 738"/>
                <a:gd name="T75" fmla="*/ 462 h 854"/>
                <a:gd name="T76" fmla="*/ 738 w 738"/>
                <a:gd name="T77" fmla="*/ 497 h 854"/>
                <a:gd name="T78" fmla="*/ 697 w 738"/>
                <a:gd name="T79" fmla="*/ 526 h 854"/>
                <a:gd name="T80" fmla="*/ 629 w 738"/>
                <a:gd name="T81" fmla="*/ 560 h 854"/>
                <a:gd name="T82" fmla="*/ 550 w 738"/>
                <a:gd name="T83" fmla="*/ 593 h 854"/>
                <a:gd name="T84" fmla="*/ 523 w 738"/>
                <a:gd name="T85" fmla="*/ 607 h 854"/>
                <a:gd name="T86" fmla="*/ 490 w 738"/>
                <a:gd name="T87" fmla="*/ 637 h 854"/>
                <a:gd name="T88" fmla="*/ 423 w 738"/>
                <a:gd name="T89" fmla="*/ 710 h 854"/>
                <a:gd name="T90" fmla="*/ 394 w 738"/>
                <a:gd name="T91" fmla="*/ 736 h 854"/>
                <a:gd name="T92" fmla="*/ 363 w 738"/>
                <a:gd name="T93" fmla="*/ 779 h 854"/>
                <a:gd name="T94" fmla="*/ 309 w 738"/>
                <a:gd name="T95" fmla="*/ 844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38" h="854">
                  <a:moveTo>
                    <a:pt x="309" y="844"/>
                  </a:moveTo>
                  <a:lnTo>
                    <a:pt x="275" y="842"/>
                  </a:lnTo>
                  <a:lnTo>
                    <a:pt x="247" y="840"/>
                  </a:lnTo>
                  <a:lnTo>
                    <a:pt x="219" y="839"/>
                  </a:lnTo>
                  <a:lnTo>
                    <a:pt x="186" y="837"/>
                  </a:lnTo>
                  <a:lnTo>
                    <a:pt x="175" y="837"/>
                  </a:lnTo>
                  <a:lnTo>
                    <a:pt x="166" y="840"/>
                  </a:lnTo>
                  <a:lnTo>
                    <a:pt x="158" y="843"/>
                  </a:lnTo>
                  <a:lnTo>
                    <a:pt x="149" y="846"/>
                  </a:lnTo>
                  <a:lnTo>
                    <a:pt x="140" y="848"/>
                  </a:lnTo>
                  <a:lnTo>
                    <a:pt x="132" y="852"/>
                  </a:lnTo>
                  <a:lnTo>
                    <a:pt x="123" y="854"/>
                  </a:lnTo>
                  <a:lnTo>
                    <a:pt x="112" y="854"/>
                  </a:lnTo>
                  <a:lnTo>
                    <a:pt x="106" y="854"/>
                  </a:lnTo>
                  <a:lnTo>
                    <a:pt x="99" y="852"/>
                  </a:lnTo>
                  <a:lnTo>
                    <a:pt x="95" y="848"/>
                  </a:lnTo>
                  <a:lnTo>
                    <a:pt x="90" y="845"/>
                  </a:lnTo>
                  <a:lnTo>
                    <a:pt x="82" y="835"/>
                  </a:lnTo>
                  <a:lnTo>
                    <a:pt x="76" y="823"/>
                  </a:lnTo>
                  <a:lnTo>
                    <a:pt x="69" y="809"/>
                  </a:lnTo>
                  <a:lnTo>
                    <a:pt x="65" y="798"/>
                  </a:lnTo>
                  <a:lnTo>
                    <a:pt x="60" y="785"/>
                  </a:lnTo>
                  <a:lnTo>
                    <a:pt x="57" y="773"/>
                  </a:lnTo>
                  <a:lnTo>
                    <a:pt x="54" y="761"/>
                  </a:lnTo>
                  <a:lnTo>
                    <a:pt x="53" y="748"/>
                  </a:lnTo>
                  <a:lnTo>
                    <a:pt x="52" y="735"/>
                  </a:lnTo>
                  <a:lnTo>
                    <a:pt x="51" y="720"/>
                  </a:lnTo>
                  <a:lnTo>
                    <a:pt x="50" y="708"/>
                  </a:lnTo>
                  <a:lnTo>
                    <a:pt x="47" y="698"/>
                  </a:lnTo>
                  <a:lnTo>
                    <a:pt x="45" y="688"/>
                  </a:lnTo>
                  <a:lnTo>
                    <a:pt x="42" y="679"/>
                  </a:lnTo>
                  <a:lnTo>
                    <a:pt x="33" y="661"/>
                  </a:lnTo>
                  <a:lnTo>
                    <a:pt x="25" y="644"/>
                  </a:lnTo>
                  <a:lnTo>
                    <a:pt x="15" y="628"/>
                  </a:lnTo>
                  <a:lnTo>
                    <a:pt x="8" y="611"/>
                  </a:lnTo>
                  <a:lnTo>
                    <a:pt x="4" y="601"/>
                  </a:lnTo>
                  <a:lnTo>
                    <a:pt x="2" y="591"/>
                  </a:lnTo>
                  <a:lnTo>
                    <a:pt x="1" y="580"/>
                  </a:lnTo>
                  <a:lnTo>
                    <a:pt x="0" y="570"/>
                  </a:lnTo>
                  <a:lnTo>
                    <a:pt x="1" y="557"/>
                  </a:lnTo>
                  <a:lnTo>
                    <a:pt x="4" y="546"/>
                  </a:lnTo>
                  <a:lnTo>
                    <a:pt x="9" y="535"/>
                  </a:lnTo>
                  <a:lnTo>
                    <a:pt x="15" y="526"/>
                  </a:lnTo>
                  <a:lnTo>
                    <a:pt x="23" y="518"/>
                  </a:lnTo>
                  <a:lnTo>
                    <a:pt x="31" y="510"/>
                  </a:lnTo>
                  <a:lnTo>
                    <a:pt x="41" y="505"/>
                  </a:lnTo>
                  <a:lnTo>
                    <a:pt x="52" y="499"/>
                  </a:lnTo>
                  <a:lnTo>
                    <a:pt x="64" y="494"/>
                  </a:lnTo>
                  <a:lnTo>
                    <a:pt x="76" y="491"/>
                  </a:lnTo>
                  <a:lnTo>
                    <a:pt x="89" y="486"/>
                  </a:lnTo>
                  <a:lnTo>
                    <a:pt x="103" y="484"/>
                  </a:lnTo>
                  <a:lnTo>
                    <a:pt x="130" y="479"/>
                  </a:lnTo>
                  <a:lnTo>
                    <a:pt x="158" y="476"/>
                  </a:lnTo>
                  <a:lnTo>
                    <a:pt x="185" y="291"/>
                  </a:lnTo>
                  <a:lnTo>
                    <a:pt x="182" y="274"/>
                  </a:lnTo>
                  <a:lnTo>
                    <a:pt x="177" y="258"/>
                  </a:lnTo>
                  <a:lnTo>
                    <a:pt x="171" y="243"/>
                  </a:lnTo>
                  <a:lnTo>
                    <a:pt x="164" y="231"/>
                  </a:lnTo>
                  <a:lnTo>
                    <a:pt x="158" y="216"/>
                  </a:lnTo>
                  <a:lnTo>
                    <a:pt x="151" y="202"/>
                  </a:lnTo>
                  <a:lnTo>
                    <a:pt x="145" y="187"/>
                  </a:lnTo>
                  <a:lnTo>
                    <a:pt x="140" y="170"/>
                  </a:lnTo>
                  <a:lnTo>
                    <a:pt x="135" y="147"/>
                  </a:lnTo>
                  <a:lnTo>
                    <a:pt x="131" y="126"/>
                  </a:lnTo>
                  <a:lnTo>
                    <a:pt x="127" y="105"/>
                  </a:lnTo>
                  <a:lnTo>
                    <a:pt x="123" y="86"/>
                  </a:lnTo>
                  <a:lnTo>
                    <a:pt x="121" y="66"/>
                  </a:lnTo>
                  <a:lnTo>
                    <a:pt x="118" y="46"/>
                  </a:lnTo>
                  <a:lnTo>
                    <a:pt x="117" y="24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24" y="6"/>
                  </a:lnTo>
                  <a:lnTo>
                    <a:pt x="132" y="10"/>
                  </a:lnTo>
                  <a:lnTo>
                    <a:pt x="140" y="15"/>
                  </a:lnTo>
                  <a:lnTo>
                    <a:pt x="149" y="19"/>
                  </a:lnTo>
                  <a:lnTo>
                    <a:pt x="174" y="26"/>
                  </a:lnTo>
                  <a:lnTo>
                    <a:pt x="198" y="32"/>
                  </a:lnTo>
                  <a:lnTo>
                    <a:pt x="208" y="35"/>
                  </a:lnTo>
                  <a:lnTo>
                    <a:pt x="219" y="39"/>
                  </a:lnTo>
                  <a:lnTo>
                    <a:pt x="230" y="45"/>
                  </a:lnTo>
                  <a:lnTo>
                    <a:pt x="241" y="52"/>
                  </a:lnTo>
                  <a:lnTo>
                    <a:pt x="268" y="77"/>
                  </a:lnTo>
                  <a:lnTo>
                    <a:pt x="292" y="100"/>
                  </a:lnTo>
                  <a:lnTo>
                    <a:pt x="303" y="110"/>
                  </a:lnTo>
                  <a:lnTo>
                    <a:pt x="316" y="120"/>
                  </a:lnTo>
                  <a:lnTo>
                    <a:pt x="332" y="130"/>
                  </a:lnTo>
                  <a:lnTo>
                    <a:pt x="348" y="140"/>
                  </a:lnTo>
                  <a:lnTo>
                    <a:pt x="361" y="145"/>
                  </a:lnTo>
                  <a:lnTo>
                    <a:pt x="374" y="151"/>
                  </a:lnTo>
                  <a:lnTo>
                    <a:pt x="386" y="154"/>
                  </a:lnTo>
                  <a:lnTo>
                    <a:pt x="397" y="158"/>
                  </a:lnTo>
                  <a:lnTo>
                    <a:pt x="408" y="162"/>
                  </a:lnTo>
                  <a:lnTo>
                    <a:pt x="419" y="168"/>
                  </a:lnTo>
                  <a:lnTo>
                    <a:pt x="430" y="175"/>
                  </a:lnTo>
                  <a:lnTo>
                    <a:pt x="441" y="184"/>
                  </a:lnTo>
                  <a:lnTo>
                    <a:pt x="449" y="195"/>
                  </a:lnTo>
                  <a:lnTo>
                    <a:pt x="458" y="205"/>
                  </a:lnTo>
                  <a:lnTo>
                    <a:pt x="464" y="214"/>
                  </a:lnTo>
                  <a:lnTo>
                    <a:pt x="471" y="224"/>
                  </a:lnTo>
                  <a:lnTo>
                    <a:pt x="483" y="243"/>
                  </a:lnTo>
                  <a:lnTo>
                    <a:pt x="494" y="263"/>
                  </a:lnTo>
                  <a:lnTo>
                    <a:pt x="505" y="282"/>
                  </a:lnTo>
                  <a:lnTo>
                    <a:pt x="517" y="302"/>
                  </a:lnTo>
                  <a:lnTo>
                    <a:pt x="524" y="312"/>
                  </a:lnTo>
                  <a:lnTo>
                    <a:pt x="531" y="321"/>
                  </a:lnTo>
                  <a:lnTo>
                    <a:pt x="540" y="331"/>
                  </a:lnTo>
                  <a:lnTo>
                    <a:pt x="550" y="342"/>
                  </a:lnTo>
                  <a:lnTo>
                    <a:pt x="575" y="364"/>
                  </a:lnTo>
                  <a:lnTo>
                    <a:pt x="599" y="385"/>
                  </a:lnTo>
                  <a:lnTo>
                    <a:pt x="622" y="402"/>
                  </a:lnTo>
                  <a:lnTo>
                    <a:pt x="646" y="418"/>
                  </a:lnTo>
                  <a:lnTo>
                    <a:pt x="669" y="435"/>
                  </a:lnTo>
                  <a:lnTo>
                    <a:pt x="691" y="452"/>
                  </a:lnTo>
                  <a:lnTo>
                    <a:pt x="702" y="462"/>
                  </a:lnTo>
                  <a:lnTo>
                    <a:pt x="714" y="472"/>
                  </a:lnTo>
                  <a:lnTo>
                    <a:pt x="726" y="484"/>
                  </a:lnTo>
                  <a:lnTo>
                    <a:pt x="738" y="497"/>
                  </a:lnTo>
                  <a:lnTo>
                    <a:pt x="738" y="497"/>
                  </a:lnTo>
                  <a:lnTo>
                    <a:pt x="718" y="512"/>
                  </a:lnTo>
                  <a:lnTo>
                    <a:pt x="697" y="526"/>
                  </a:lnTo>
                  <a:lnTo>
                    <a:pt x="675" y="538"/>
                  </a:lnTo>
                  <a:lnTo>
                    <a:pt x="652" y="549"/>
                  </a:lnTo>
                  <a:lnTo>
                    <a:pt x="629" y="560"/>
                  </a:lnTo>
                  <a:lnTo>
                    <a:pt x="604" y="571"/>
                  </a:lnTo>
                  <a:lnTo>
                    <a:pt x="578" y="582"/>
                  </a:lnTo>
                  <a:lnTo>
                    <a:pt x="550" y="593"/>
                  </a:lnTo>
                  <a:lnTo>
                    <a:pt x="540" y="598"/>
                  </a:lnTo>
                  <a:lnTo>
                    <a:pt x="531" y="603"/>
                  </a:lnTo>
                  <a:lnTo>
                    <a:pt x="523" y="607"/>
                  </a:lnTo>
                  <a:lnTo>
                    <a:pt x="516" y="613"/>
                  </a:lnTo>
                  <a:lnTo>
                    <a:pt x="502" y="625"/>
                  </a:lnTo>
                  <a:lnTo>
                    <a:pt x="490" y="637"/>
                  </a:lnTo>
                  <a:lnTo>
                    <a:pt x="468" y="665"/>
                  </a:lnTo>
                  <a:lnTo>
                    <a:pt x="441" y="694"/>
                  </a:lnTo>
                  <a:lnTo>
                    <a:pt x="423" y="710"/>
                  </a:lnTo>
                  <a:lnTo>
                    <a:pt x="408" y="722"/>
                  </a:lnTo>
                  <a:lnTo>
                    <a:pt x="402" y="729"/>
                  </a:lnTo>
                  <a:lnTo>
                    <a:pt x="394" y="736"/>
                  </a:lnTo>
                  <a:lnTo>
                    <a:pt x="388" y="744"/>
                  </a:lnTo>
                  <a:lnTo>
                    <a:pt x="381" y="753"/>
                  </a:lnTo>
                  <a:lnTo>
                    <a:pt x="363" y="779"/>
                  </a:lnTo>
                  <a:lnTo>
                    <a:pt x="344" y="803"/>
                  </a:lnTo>
                  <a:lnTo>
                    <a:pt x="326" y="823"/>
                  </a:lnTo>
                  <a:lnTo>
                    <a:pt x="309" y="844"/>
                  </a:lnTo>
                  <a:lnTo>
                    <a:pt x="309" y="844"/>
                  </a:lnTo>
                  <a:close/>
                </a:path>
              </a:pathLst>
            </a:custGeom>
            <a:solidFill>
              <a:srgbClr val="9DC87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9">
              <a:extLst>
                <a:ext uri="{FF2B5EF4-FFF2-40B4-BE49-F238E27FC236}">
                  <a16:creationId xmlns:a16="http://schemas.microsoft.com/office/drawing/2014/main" id="{0F16F01F-535E-4FC4-BB17-18A6733AD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5700" y="2722563"/>
              <a:ext cx="492125" cy="284163"/>
            </a:xfrm>
            <a:custGeom>
              <a:avLst/>
              <a:gdLst>
                <a:gd name="T0" fmla="*/ 1 w 1240"/>
                <a:gd name="T1" fmla="*/ 86 h 716"/>
                <a:gd name="T2" fmla="*/ 3 w 1240"/>
                <a:gd name="T3" fmla="*/ 128 h 716"/>
                <a:gd name="T4" fmla="*/ 15 w 1240"/>
                <a:gd name="T5" fmla="*/ 162 h 716"/>
                <a:gd name="T6" fmla="*/ 37 w 1240"/>
                <a:gd name="T7" fmla="*/ 190 h 716"/>
                <a:gd name="T8" fmla="*/ 74 w 1240"/>
                <a:gd name="T9" fmla="*/ 219 h 716"/>
                <a:gd name="T10" fmla="*/ 106 w 1240"/>
                <a:gd name="T11" fmla="*/ 238 h 716"/>
                <a:gd name="T12" fmla="*/ 176 w 1240"/>
                <a:gd name="T13" fmla="*/ 258 h 716"/>
                <a:gd name="T14" fmla="*/ 249 w 1240"/>
                <a:gd name="T15" fmla="*/ 319 h 716"/>
                <a:gd name="T16" fmla="*/ 305 w 1240"/>
                <a:gd name="T17" fmla="*/ 359 h 716"/>
                <a:gd name="T18" fmla="*/ 354 w 1240"/>
                <a:gd name="T19" fmla="*/ 377 h 716"/>
                <a:gd name="T20" fmla="*/ 398 w 1240"/>
                <a:gd name="T21" fmla="*/ 403 h 716"/>
                <a:gd name="T22" fmla="*/ 428 w 1240"/>
                <a:gd name="T23" fmla="*/ 443 h 716"/>
                <a:gd name="T24" fmla="*/ 474 w 1240"/>
                <a:gd name="T25" fmla="*/ 521 h 716"/>
                <a:gd name="T26" fmla="*/ 507 w 1240"/>
                <a:gd name="T27" fmla="*/ 561 h 716"/>
                <a:gd name="T28" fmla="*/ 603 w 1240"/>
                <a:gd name="T29" fmla="*/ 637 h 716"/>
                <a:gd name="T30" fmla="*/ 671 w 1240"/>
                <a:gd name="T31" fmla="*/ 691 h 716"/>
                <a:gd name="T32" fmla="*/ 709 w 1240"/>
                <a:gd name="T33" fmla="*/ 704 h 716"/>
                <a:gd name="T34" fmla="*/ 761 w 1240"/>
                <a:gd name="T35" fmla="*/ 645 h 716"/>
                <a:gd name="T36" fmla="*/ 816 w 1240"/>
                <a:gd name="T37" fmla="*/ 597 h 716"/>
                <a:gd name="T38" fmla="*/ 874 w 1240"/>
                <a:gd name="T39" fmla="*/ 542 h 716"/>
                <a:gd name="T40" fmla="*/ 950 w 1240"/>
                <a:gd name="T41" fmla="*/ 465 h 716"/>
                <a:gd name="T42" fmla="*/ 1002 w 1240"/>
                <a:gd name="T43" fmla="*/ 420 h 716"/>
                <a:gd name="T44" fmla="*/ 1065 w 1240"/>
                <a:gd name="T45" fmla="*/ 342 h 716"/>
                <a:gd name="T46" fmla="*/ 1121 w 1240"/>
                <a:gd name="T47" fmla="*/ 272 h 716"/>
                <a:gd name="T48" fmla="*/ 1169 w 1240"/>
                <a:gd name="T49" fmla="*/ 231 h 716"/>
                <a:gd name="T50" fmla="*/ 1223 w 1240"/>
                <a:gd name="T51" fmla="*/ 165 h 716"/>
                <a:gd name="T52" fmla="*/ 1189 w 1240"/>
                <a:gd name="T53" fmla="*/ 111 h 716"/>
                <a:gd name="T54" fmla="*/ 1134 w 1240"/>
                <a:gd name="T55" fmla="*/ 101 h 716"/>
                <a:gd name="T56" fmla="*/ 1098 w 1240"/>
                <a:gd name="T57" fmla="*/ 110 h 716"/>
                <a:gd name="T58" fmla="*/ 1062 w 1240"/>
                <a:gd name="T59" fmla="*/ 120 h 716"/>
                <a:gd name="T60" fmla="*/ 1014 w 1240"/>
                <a:gd name="T61" fmla="*/ 116 h 716"/>
                <a:gd name="T62" fmla="*/ 960 w 1240"/>
                <a:gd name="T63" fmla="*/ 92 h 716"/>
                <a:gd name="T64" fmla="*/ 944 w 1240"/>
                <a:gd name="T65" fmla="*/ 97 h 716"/>
                <a:gd name="T66" fmla="*/ 921 w 1240"/>
                <a:gd name="T67" fmla="*/ 124 h 716"/>
                <a:gd name="T68" fmla="*/ 869 w 1240"/>
                <a:gd name="T69" fmla="*/ 159 h 716"/>
                <a:gd name="T70" fmla="*/ 792 w 1240"/>
                <a:gd name="T71" fmla="*/ 182 h 716"/>
                <a:gd name="T72" fmla="*/ 718 w 1240"/>
                <a:gd name="T73" fmla="*/ 185 h 716"/>
                <a:gd name="T74" fmla="*/ 677 w 1240"/>
                <a:gd name="T75" fmla="*/ 188 h 716"/>
                <a:gd name="T76" fmla="*/ 658 w 1240"/>
                <a:gd name="T77" fmla="*/ 201 h 716"/>
                <a:gd name="T78" fmla="*/ 628 w 1240"/>
                <a:gd name="T79" fmla="*/ 202 h 716"/>
                <a:gd name="T80" fmla="*/ 579 w 1240"/>
                <a:gd name="T81" fmla="*/ 190 h 716"/>
                <a:gd name="T82" fmla="*/ 497 w 1240"/>
                <a:gd name="T83" fmla="*/ 173 h 716"/>
                <a:gd name="T84" fmla="*/ 426 w 1240"/>
                <a:gd name="T85" fmla="*/ 134 h 716"/>
                <a:gd name="T86" fmla="*/ 376 w 1240"/>
                <a:gd name="T87" fmla="*/ 89 h 716"/>
                <a:gd name="T88" fmla="*/ 309 w 1240"/>
                <a:gd name="T89" fmla="*/ 27 h 716"/>
                <a:gd name="T90" fmla="*/ 256 w 1240"/>
                <a:gd name="T91" fmla="*/ 3 h 716"/>
                <a:gd name="T92" fmla="*/ 197 w 1240"/>
                <a:gd name="T93" fmla="*/ 3 h 716"/>
                <a:gd name="T94" fmla="*/ 154 w 1240"/>
                <a:gd name="T95" fmla="*/ 28 h 716"/>
                <a:gd name="T96" fmla="*/ 117 w 1240"/>
                <a:gd name="T97" fmla="*/ 61 h 716"/>
                <a:gd name="T98" fmla="*/ 74 w 1240"/>
                <a:gd name="T99" fmla="*/ 86 h 716"/>
                <a:gd name="T100" fmla="*/ 31 w 1240"/>
                <a:gd name="T101" fmla="*/ 87 h 716"/>
                <a:gd name="T102" fmla="*/ 10 w 1240"/>
                <a:gd name="T103" fmla="*/ 64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40" h="716">
                  <a:moveTo>
                    <a:pt x="4" y="48"/>
                  </a:moveTo>
                  <a:lnTo>
                    <a:pt x="3" y="61"/>
                  </a:lnTo>
                  <a:lnTo>
                    <a:pt x="2" y="73"/>
                  </a:lnTo>
                  <a:lnTo>
                    <a:pt x="1" y="86"/>
                  </a:lnTo>
                  <a:lnTo>
                    <a:pt x="0" y="99"/>
                  </a:lnTo>
                  <a:lnTo>
                    <a:pt x="1" y="109"/>
                  </a:lnTo>
                  <a:lnTo>
                    <a:pt x="2" y="119"/>
                  </a:lnTo>
                  <a:lnTo>
                    <a:pt x="3" y="128"/>
                  </a:lnTo>
                  <a:lnTo>
                    <a:pt x="6" y="137"/>
                  </a:lnTo>
                  <a:lnTo>
                    <a:pt x="9" y="146"/>
                  </a:lnTo>
                  <a:lnTo>
                    <a:pt x="12" y="154"/>
                  </a:lnTo>
                  <a:lnTo>
                    <a:pt x="15" y="162"/>
                  </a:lnTo>
                  <a:lnTo>
                    <a:pt x="21" y="170"/>
                  </a:lnTo>
                  <a:lnTo>
                    <a:pt x="25" y="177"/>
                  </a:lnTo>
                  <a:lnTo>
                    <a:pt x="30" y="184"/>
                  </a:lnTo>
                  <a:lnTo>
                    <a:pt x="37" y="190"/>
                  </a:lnTo>
                  <a:lnTo>
                    <a:pt x="43" y="197"/>
                  </a:lnTo>
                  <a:lnTo>
                    <a:pt x="57" y="20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81" y="225"/>
                  </a:lnTo>
                  <a:lnTo>
                    <a:pt x="89" y="229"/>
                  </a:lnTo>
                  <a:lnTo>
                    <a:pt x="97" y="234"/>
                  </a:lnTo>
                  <a:lnTo>
                    <a:pt x="106" y="238"/>
                  </a:lnTo>
                  <a:lnTo>
                    <a:pt x="131" y="245"/>
                  </a:lnTo>
                  <a:lnTo>
                    <a:pt x="155" y="251"/>
                  </a:lnTo>
                  <a:lnTo>
                    <a:pt x="165" y="254"/>
                  </a:lnTo>
                  <a:lnTo>
                    <a:pt x="176" y="258"/>
                  </a:lnTo>
                  <a:lnTo>
                    <a:pt x="187" y="264"/>
                  </a:lnTo>
                  <a:lnTo>
                    <a:pt x="198" y="271"/>
                  </a:lnTo>
                  <a:lnTo>
                    <a:pt x="225" y="296"/>
                  </a:lnTo>
                  <a:lnTo>
                    <a:pt x="249" y="319"/>
                  </a:lnTo>
                  <a:lnTo>
                    <a:pt x="260" y="329"/>
                  </a:lnTo>
                  <a:lnTo>
                    <a:pt x="273" y="339"/>
                  </a:lnTo>
                  <a:lnTo>
                    <a:pt x="289" y="349"/>
                  </a:lnTo>
                  <a:lnTo>
                    <a:pt x="305" y="359"/>
                  </a:lnTo>
                  <a:lnTo>
                    <a:pt x="318" y="364"/>
                  </a:lnTo>
                  <a:lnTo>
                    <a:pt x="331" y="370"/>
                  </a:lnTo>
                  <a:lnTo>
                    <a:pt x="343" y="373"/>
                  </a:lnTo>
                  <a:lnTo>
                    <a:pt x="354" y="377"/>
                  </a:lnTo>
                  <a:lnTo>
                    <a:pt x="365" y="381"/>
                  </a:lnTo>
                  <a:lnTo>
                    <a:pt x="376" y="387"/>
                  </a:lnTo>
                  <a:lnTo>
                    <a:pt x="387" y="394"/>
                  </a:lnTo>
                  <a:lnTo>
                    <a:pt x="398" y="403"/>
                  </a:lnTo>
                  <a:lnTo>
                    <a:pt x="406" y="414"/>
                  </a:lnTo>
                  <a:lnTo>
                    <a:pt x="415" y="424"/>
                  </a:lnTo>
                  <a:lnTo>
                    <a:pt x="421" y="433"/>
                  </a:lnTo>
                  <a:lnTo>
                    <a:pt x="428" y="443"/>
                  </a:lnTo>
                  <a:lnTo>
                    <a:pt x="440" y="462"/>
                  </a:lnTo>
                  <a:lnTo>
                    <a:pt x="451" y="482"/>
                  </a:lnTo>
                  <a:lnTo>
                    <a:pt x="462" y="501"/>
                  </a:lnTo>
                  <a:lnTo>
                    <a:pt x="474" y="521"/>
                  </a:lnTo>
                  <a:lnTo>
                    <a:pt x="481" y="531"/>
                  </a:lnTo>
                  <a:lnTo>
                    <a:pt x="488" y="540"/>
                  </a:lnTo>
                  <a:lnTo>
                    <a:pt x="497" y="550"/>
                  </a:lnTo>
                  <a:lnTo>
                    <a:pt x="507" y="561"/>
                  </a:lnTo>
                  <a:lnTo>
                    <a:pt x="532" y="583"/>
                  </a:lnTo>
                  <a:lnTo>
                    <a:pt x="556" y="604"/>
                  </a:lnTo>
                  <a:lnTo>
                    <a:pt x="579" y="621"/>
                  </a:lnTo>
                  <a:lnTo>
                    <a:pt x="603" y="637"/>
                  </a:lnTo>
                  <a:lnTo>
                    <a:pt x="626" y="654"/>
                  </a:lnTo>
                  <a:lnTo>
                    <a:pt x="648" y="671"/>
                  </a:lnTo>
                  <a:lnTo>
                    <a:pt x="659" y="681"/>
                  </a:lnTo>
                  <a:lnTo>
                    <a:pt x="671" y="691"/>
                  </a:lnTo>
                  <a:lnTo>
                    <a:pt x="683" y="703"/>
                  </a:lnTo>
                  <a:lnTo>
                    <a:pt x="695" y="716"/>
                  </a:lnTo>
                  <a:lnTo>
                    <a:pt x="695" y="716"/>
                  </a:lnTo>
                  <a:lnTo>
                    <a:pt x="709" y="704"/>
                  </a:lnTo>
                  <a:lnTo>
                    <a:pt x="723" y="690"/>
                  </a:lnTo>
                  <a:lnTo>
                    <a:pt x="737" y="675"/>
                  </a:lnTo>
                  <a:lnTo>
                    <a:pt x="751" y="658"/>
                  </a:lnTo>
                  <a:lnTo>
                    <a:pt x="761" y="645"/>
                  </a:lnTo>
                  <a:lnTo>
                    <a:pt x="771" y="634"/>
                  </a:lnTo>
                  <a:lnTo>
                    <a:pt x="782" y="624"/>
                  </a:lnTo>
                  <a:lnTo>
                    <a:pt x="793" y="615"/>
                  </a:lnTo>
                  <a:lnTo>
                    <a:pt x="816" y="597"/>
                  </a:lnTo>
                  <a:lnTo>
                    <a:pt x="840" y="577"/>
                  </a:lnTo>
                  <a:lnTo>
                    <a:pt x="853" y="565"/>
                  </a:lnTo>
                  <a:lnTo>
                    <a:pt x="864" y="553"/>
                  </a:lnTo>
                  <a:lnTo>
                    <a:pt x="874" y="542"/>
                  </a:lnTo>
                  <a:lnTo>
                    <a:pt x="884" y="532"/>
                  </a:lnTo>
                  <a:lnTo>
                    <a:pt x="903" y="509"/>
                  </a:lnTo>
                  <a:lnTo>
                    <a:pt x="927" y="484"/>
                  </a:lnTo>
                  <a:lnTo>
                    <a:pt x="950" y="465"/>
                  </a:lnTo>
                  <a:lnTo>
                    <a:pt x="971" y="448"/>
                  </a:lnTo>
                  <a:lnTo>
                    <a:pt x="982" y="440"/>
                  </a:lnTo>
                  <a:lnTo>
                    <a:pt x="993" y="431"/>
                  </a:lnTo>
                  <a:lnTo>
                    <a:pt x="1002" y="420"/>
                  </a:lnTo>
                  <a:lnTo>
                    <a:pt x="1014" y="408"/>
                  </a:lnTo>
                  <a:lnTo>
                    <a:pt x="1033" y="386"/>
                  </a:lnTo>
                  <a:lnTo>
                    <a:pt x="1050" y="363"/>
                  </a:lnTo>
                  <a:lnTo>
                    <a:pt x="1065" y="342"/>
                  </a:lnTo>
                  <a:lnTo>
                    <a:pt x="1080" y="321"/>
                  </a:lnTo>
                  <a:lnTo>
                    <a:pt x="1095" y="302"/>
                  </a:lnTo>
                  <a:lnTo>
                    <a:pt x="1112" y="282"/>
                  </a:lnTo>
                  <a:lnTo>
                    <a:pt x="1121" y="272"/>
                  </a:lnTo>
                  <a:lnTo>
                    <a:pt x="1131" y="263"/>
                  </a:lnTo>
                  <a:lnTo>
                    <a:pt x="1142" y="253"/>
                  </a:lnTo>
                  <a:lnTo>
                    <a:pt x="1154" y="243"/>
                  </a:lnTo>
                  <a:lnTo>
                    <a:pt x="1169" y="231"/>
                  </a:lnTo>
                  <a:lnTo>
                    <a:pt x="1182" y="218"/>
                  </a:lnTo>
                  <a:lnTo>
                    <a:pt x="1194" y="205"/>
                  </a:lnTo>
                  <a:lnTo>
                    <a:pt x="1204" y="192"/>
                  </a:lnTo>
                  <a:lnTo>
                    <a:pt x="1223" y="165"/>
                  </a:lnTo>
                  <a:lnTo>
                    <a:pt x="1240" y="136"/>
                  </a:lnTo>
                  <a:lnTo>
                    <a:pt x="1240" y="136"/>
                  </a:lnTo>
                  <a:lnTo>
                    <a:pt x="1214" y="123"/>
                  </a:lnTo>
                  <a:lnTo>
                    <a:pt x="1189" y="111"/>
                  </a:lnTo>
                  <a:lnTo>
                    <a:pt x="1176" y="107"/>
                  </a:lnTo>
                  <a:lnTo>
                    <a:pt x="1163" y="104"/>
                  </a:lnTo>
                  <a:lnTo>
                    <a:pt x="1149" y="102"/>
                  </a:lnTo>
                  <a:lnTo>
                    <a:pt x="1134" y="101"/>
                  </a:lnTo>
                  <a:lnTo>
                    <a:pt x="1123" y="102"/>
                  </a:lnTo>
                  <a:lnTo>
                    <a:pt x="1115" y="104"/>
                  </a:lnTo>
                  <a:lnTo>
                    <a:pt x="1106" y="107"/>
                  </a:lnTo>
                  <a:lnTo>
                    <a:pt x="1098" y="110"/>
                  </a:lnTo>
                  <a:lnTo>
                    <a:pt x="1090" y="114"/>
                  </a:lnTo>
                  <a:lnTo>
                    <a:pt x="1081" y="117"/>
                  </a:lnTo>
                  <a:lnTo>
                    <a:pt x="1072" y="119"/>
                  </a:lnTo>
                  <a:lnTo>
                    <a:pt x="1062" y="120"/>
                  </a:lnTo>
                  <a:lnTo>
                    <a:pt x="1049" y="120"/>
                  </a:lnTo>
                  <a:lnTo>
                    <a:pt x="1036" y="119"/>
                  </a:lnTo>
                  <a:lnTo>
                    <a:pt x="1025" y="118"/>
                  </a:lnTo>
                  <a:lnTo>
                    <a:pt x="1014" y="116"/>
                  </a:lnTo>
                  <a:lnTo>
                    <a:pt x="993" y="111"/>
                  </a:lnTo>
                  <a:lnTo>
                    <a:pt x="969" y="104"/>
                  </a:lnTo>
                  <a:lnTo>
                    <a:pt x="965" y="97"/>
                  </a:lnTo>
                  <a:lnTo>
                    <a:pt x="960" y="92"/>
                  </a:lnTo>
                  <a:lnTo>
                    <a:pt x="956" y="92"/>
                  </a:lnTo>
                  <a:lnTo>
                    <a:pt x="952" y="93"/>
                  </a:lnTo>
                  <a:lnTo>
                    <a:pt x="947" y="95"/>
                  </a:lnTo>
                  <a:lnTo>
                    <a:pt x="944" y="97"/>
                  </a:lnTo>
                  <a:lnTo>
                    <a:pt x="938" y="103"/>
                  </a:lnTo>
                  <a:lnTo>
                    <a:pt x="932" y="109"/>
                  </a:lnTo>
                  <a:lnTo>
                    <a:pt x="927" y="117"/>
                  </a:lnTo>
                  <a:lnTo>
                    <a:pt x="921" y="124"/>
                  </a:lnTo>
                  <a:lnTo>
                    <a:pt x="915" y="131"/>
                  </a:lnTo>
                  <a:lnTo>
                    <a:pt x="907" y="137"/>
                  </a:lnTo>
                  <a:lnTo>
                    <a:pt x="887" y="149"/>
                  </a:lnTo>
                  <a:lnTo>
                    <a:pt x="869" y="159"/>
                  </a:lnTo>
                  <a:lnTo>
                    <a:pt x="849" y="168"/>
                  </a:lnTo>
                  <a:lnTo>
                    <a:pt x="831" y="174"/>
                  </a:lnTo>
                  <a:lnTo>
                    <a:pt x="811" y="178"/>
                  </a:lnTo>
                  <a:lnTo>
                    <a:pt x="792" y="182"/>
                  </a:lnTo>
                  <a:lnTo>
                    <a:pt x="770" y="184"/>
                  </a:lnTo>
                  <a:lnTo>
                    <a:pt x="746" y="185"/>
                  </a:lnTo>
                  <a:lnTo>
                    <a:pt x="731" y="185"/>
                  </a:lnTo>
                  <a:lnTo>
                    <a:pt x="718" y="185"/>
                  </a:lnTo>
                  <a:lnTo>
                    <a:pt x="704" y="185"/>
                  </a:lnTo>
                  <a:lnTo>
                    <a:pt x="689" y="185"/>
                  </a:lnTo>
                  <a:lnTo>
                    <a:pt x="683" y="186"/>
                  </a:lnTo>
                  <a:lnTo>
                    <a:pt x="677" y="188"/>
                  </a:lnTo>
                  <a:lnTo>
                    <a:pt x="672" y="191"/>
                  </a:lnTo>
                  <a:lnTo>
                    <a:pt x="668" y="195"/>
                  </a:lnTo>
                  <a:lnTo>
                    <a:pt x="662" y="198"/>
                  </a:lnTo>
                  <a:lnTo>
                    <a:pt x="658" y="201"/>
                  </a:lnTo>
                  <a:lnTo>
                    <a:pt x="651" y="203"/>
                  </a:lnTo>
                  <a:lnTo>
                    <a:pt x="645" y="204"/>
                  </a:lnTo>
                  <a:lnTo>
                    <a:pt x="636" y="204"/>
                  </a:lnTo>
                  <a:lnTo>
                    <a:pt x="628" y="202"/>
                  </a:lnTo>
                  <a:lnTo>
                    <a:pt x="620" y="201"/>
                  </a:lnTo>
                  <a:lnTo>
                    <a:pt x="613" y="199"/>
                  </a:lnTo>
                  <a:lnTo>
                    <a:pt x="596" y="194"/>
                  </a:lnTo>
                  <a:lnTo>
                    <a:pt x="579" y="190"/>
                  </a:lnTo>
                  <a:lnTo>
                    <a:pt x="556" y="187"/>
                  </a:lnTo>
                  <a:lnTo>
                    <a:pt x="536" y="183"/>
                  </a:lnTo>
                  <a:lnTo>
                    <a:pt x="516" y="178"/>
                  </a:lnTo>
                  <a:lnTo>
                    <a:pt x="497" y="173"/>
                  </a:lnTo>
                  <a:lnTo>
                    <a:pt x="480" y="167"/>
                  </a:lnTo>
                  <a:lnTo>
                    <a:pt x="461" y="158"/>
                  </a:lnTo>
                  <a:lnTo>
                    <a:pt x="444" y="147"/>
                  </a:lnTo>
                  <a:lnTo>
                    <a:pt x="426" y="134"/>
                  </a:lnTo>
                  <a:lnTo>
                    <a:pt x="412" y="123"/>
                  </a:lnTo>
                  <a:lnTo>
                    <a:pt x="399" y="111"/>
                  </a:lnTo>
                  <a:lnTo>
                    <a:pt x="387" y="100"/>
                  </a:lnTo>
                  <a:lnTo>
                    <a:pt x="376" y="89"/>
                  </a:lnTo>
                  <a:lnTo>
                    <a:pt x="353" y="66"/>
                  </a:lnTo>
                  <a:lnTo>
                    <a:pt x="332" y="45"/>
                  </a:lnTo>
                  <a:lnTo>
                    <a:pt x="321" y="36"/>
                  </a:lnTo>
                  <a:lnTo>
                    <a:pt x="309" y="27"/>
                  </a:lnTo>
                  <a:lnTo>
                    <a:pt x="297" y="19"/>
                  </a:lnTo>
                  <a:lnTo>
                    <a:pt x="284" y="12"/>
                  </a:lnTo>
                  <a:lnTo>
                    <a:pt x="271" y="7"/>
                  </a:lnTo>
                  <a:lnTo>
                    <a:pt x="256" y="3"/>
                  </a:lnTo>
                  <a:lnTo>
                    <a:pt x="240" y="0"/>
                  </a:lnTo>
                  <a:lnTo>
                    <a:pt x="224" y="0"/>
                  </a:lnTo>
                  <a:lnTo>
                    <a:pt x="210" y="0"/>
                  </a:lnTo>
                  <a:lnTo>
                    <a:pt x="197" y="3"/>
                  </a:lnTo>
                  <a:lnTo>
                    <a:pt x="185" y="8"/>
                  </a:lnTo>
                  <a:lnTo>
                    <a:pt x="174" y="14"/>
                  </a:lnTo>
                  <a:lnTo>
                    <a:pt x="164" y="21"/>
                  </a:lnTo>
                  <a:lnTo>
                    <a:pt x="154" y="28"/>
                  </a:lnTo>
                  <a:lnTo>
                    <a:pt x="145" y="36"/>
                  </a:lnTo>
                  <a:lnTo>
                    <a:pt x="135" y="45"/>
                  </a:lnTo>
                  <a:lnTo>
                    <a:pt x="125" y="53"/>
                  </a:lnTo>
                  <a:lnTo>
                    <a:pt x="117" y="61"/>
                  </a:lnTo>
                  <a:lnTo>
                    <a:pt x="106" y="68"/>
                  </a:lnTo>
                  <a:lnTo>
                    <a:pt x="96" y="76"/>
                  </a:lnTo>
                  <a:lnTo>
                    <a:pt x="85" y="81"/>
                  </a:lnTo>
                  <a:lnTo>
                    <a:pt x="74" y="86"/>
                  </a:lnTo>
                  <a:lnTo>
                    <a:pt x="61" y="89"/>
                  </a:lnTo>
                  <a:lnTo>
                    <a:pt x="47" y="90"/>
                  </a:lnTo>
                  <a:lnTo>
                    <a:pt x="39" y="89"/>
                  </a:lnTo>
                  <a:lnTo>
                    <a:pt x="31" y="87"/>
                  </a:lnTo>
                  <a:lnTo>
                    <a:pt x="24" y="82"/>
                  </a:lnTo>
                  <a:lnTo>
                    <a:pt x="19" y="77"/>
                  </a:lnTo>
                  <a:lnTo>
                    <a:pt x="13" y="70"/>
                  </a:lnTo>
                  <a:lnTo>
                    <a:pt x="10" y="64"/>
                  </a:lnTo>
                  <a:lnTo>
                    <a:pt x="7" y="55"/>
                  </a:lnTo>
                  <a:lnTo>
                    <a:pt x="4" y="48"/>
                  </a:lnTo>
                  <a:lnTo>
                    <a:pt x="4" y="48"/>
                  </a:lnTo>
                  <a:close/>
                </a:path>
              </a:pathLst>
            </a:custGeom>
            <a:solidFill>
              <a:srgbClr val="C1EFA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10">
              <a:extLst>
                <a:ext uri="{FF2B5EF4-FFF2-40B4-BE49-F238E27FC236}">
                  <a16:creationId xmlns:a16="http://schemas.microsoft.com/office/drawing/2014/main" id="{69385850-6ECC-4012-8601-EE6B69908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5700" y="2722563"/>
              <a:ext cx="492125" cy="284163"/>
            </a:xfrm>
            <a:custGeom>
              <a:avLst/>
              <a:gdLst>
                <a:gd name="T0" fmla="*/ 1 w 1240"/>
                <a:gd name="T1" fmla="*/ 86 h 716"/>
                <a:gd name="T2" fmla="*/ 3 w 1240"/>
                <a:gd name="T3" fmla="*/ 128 h 716"/>
                <a:gd name="T4" fmla="*/ 15 w 1240"/>
                <a:gd name="T5" fmla="*/ 162 h 716"/>
                <a:gd name="T6" fmla="*/ 37 w 1240"/>
                <a:gd name="T7" fmla="*/ 190 h 716"/>
                <a:gd name="T8" fmla="*/ 74 w 1240"/>
                <a:gd name="T9" fmla="*/ 219 h 716"/>
                <a:gd name="T10" fmla="*/ 106 w 1240"/>
                <a:gd name="T11" fmla="*/ 238 h 716"/>
                <a:gd name="T12" fmla="*/ 176 w 1240"/>
                <a:gd name="T13" fmla="*/ 258 h 716"/>
                <a:gd name="T14" fmla="*/ 249 w 1240"/>
                <a:gd name="T15" fmla="*/ 319 h 716"/>
                <a:gd name="T16" fmla="*/ 305 w 1240"/>
                <a:gd name="T17" fmla="*/ 359 h 716"/>
                <a:gd name="T18" fmla="*/ 354 w 1240"/>
                <a:gd name="T19" fmla="*/ 377 h 716"/>
                <a:gd name="T20" fmla="*/ 398 w 1240"/>
                <a:gd name="T21" fmla="*/ 403 h 716"/>
                <a:gd name="T22" fmla="*/ 428 w 1240"/>
                <a:gd name="T23" fmla="*/ 443 h 716"/>
                <a:gd name="T24" fmla="*/ 474 w 1240"/>
                <a:gd name="T25" fmla="*/ 521 h 716"/>
                <a:gd name="T26" fmla="*/ 507 w 1240"/>
                <a:gd name="T27" fmla="*/ 561 h 716"/>
                <a:gd name="T28" fmla="*/ 603 w 1240"/>
                <a:gd name="T29" fmla="*/ 637 h 716"/>
                <a:gd name="T30" fmla="*/ 671 w 1240"/>
                <a:gd name="T31" fmla="*/ 691 h 716"/>
                <a:gd name="T32" fmla="*/ 709 w 1240"/>
                <a:gd name="T33" fmla="*/ 704 h 716"/>
                <a:gd name="T34" fmla="*/ 761 w 1240"/>
                <a:gd name="T35" fmla="*/ 645 h 716"/>
                <a:gd name="T36" fmla="*/ 816 w 1240"/>
                <a:gd name="T37" fmla="*/ 597 h 716"/>
                <a:gd name="T38" fmla="*/ 874 w 1240"/>
                <a:gd name="T39" fmla="*/ 542 h 716"/>
                <a:gd name="T40" fmla="*/ 950 w 1240"/>
                <a:gd name="T41" fmla="*/ 465 h 716"/>
                <a:gd name="T42" fmla="*/ 1002 w 1240"/>
                <a:gd name="T43" fmla="*/ 420 h 716"/>
                <a:gd name="T44" fmla="*/ 1065 w 1240"/>
                <a:gd name="T45" fmla="*/ 342 h 716"/>
                <a:gd name="T46" fmla="*/ 1121 w 1240"/>
                <a:gd name="T47" fmla="*/ 272 h 716"/>
                <a:gd name="T48" fmla="*/ 1169 w 1240"/>
                <a:gd name="T49" fmla="*/ 231 h 716"/>
                <a:gd name="T50" fmla="*/ 1223 w 1240"/>
                <a:gd name="T51" fmla="*/ 165 h 716"/>
                <a:gd name="T52" fmla="*/ 1189 w 1240"/>
                <a:gd name="T53" fmla="*/ 111 h 716"/>
                <a:gd name="T54" fmla="*/ 1134 w 1240"/>
                <a:gd name="T55" fmla="*/ 101 h 716"/>
                <a:gd name="T56" fmla="*/ 1098 w 1240"/>
                <a:gd name="T57" fmla="*/ 110 h 716"/>
                <a:gd name="T58" fmla="*/ 1062 w 1240"/>
                <a:gd name="T59" fmla="*/ 120 h 716"/>
                <a:gd name="T60" fmla="*/ 1014 w 1240"/>
                <a:gd name="T61" fmla="*/ 116 h 716"/>
                <a:gd name="T62" fmla="*/ 960 w 1240"/>
                <a:gd name="T63" fmla="*/ 92 h 716"/>
                <a:gd name="T64" fmla="*/ 944 w 1240"/>
                <a:gd name="T65" fmla="*/ 97 h 716"/>
                <a:gd name="T66" fmla="*/ 921 w 1240"/>
                <a:gd name="T67" fmla="*/ 124 h 716"/>
                <a:gd name="T68" fmla="*/ 869 w 1240"/>
                <a:gd name="T69" fmla="*/ 159 h 716"/>
                <a:gd name="T70" fmla="*/ 792 w 1240"/>
                <a:gd name="T71" fmla="*/ 182 h 716"/>
                <a:gd name="T72" fmla="*/ 718 w 1240"/>
                <a:gd name="T73" fmla="*/ 185 h 716"/>
                <a:gd name="T74" fmla="*/ 677 w 1240"/>
                <a:gd name="T75" fmla="*/ 188 h 716"/>
                <a:gd name="T76" fmla="*/ 658 w 1240"/>
                <a:gd name="T77" fmla="*/ 201 h 716"/>
                <a:gd name="T78" fmla="*/ 628 w 1240"/>
                <a:gd name="T79" fmla="*/ 202 h 716"/>
                <a:gd name="T80" fmla="*/ 579 w 1240"/>
                <a:gd name="T81" fmla="*/ 190 h 716"/>
                <a:gd name="T82" fmla="*/ 497 w 1240"/>
                <a:gd name="T83" fmla="*/ 173 h 716"/>
                <a:gd name="T84" fmla="*/ 426 w 1240"/>
                <a:gd name="T85" fmla="*/ 134 h 716"/>
                <a:gd name="T86" fmla="*/ 376 w 1240"/>
                <a:gd name="T87" fmla="*/ 89 h 716"/>
                <a:gd name="T88" fmla="*/ 309 w 1240"/>
                <a:gd name="T89" fmla="*/ 27 h 716"/>
                <a:gd name="T90" fmla="*/ 256 w 1240"/>
                <a:gd name="T91" fmla="*/ 3 h 716"/>
                <a:gd name="T92" fmla="*/ 197 w 1240"/>
                <a:gd name="T93" fmla="*/ 3 h 716"/>
                <a:gd name="T94" fmla="*/ 154 w 1240"/>
                <a:gd name="T95" fmla="*/ 28 h 716"/>
                <a:gd name="T96" fmla="*/ 117 w 1240"/>
                <a:gd name="T97" fmla="*/ 61 h 716"/>
                <a:gd name="T98" fmla="*/ 74 w 1240"/>
                <a:gd name="T99" fmla="*/ 86 h 716"/>
                <a:gd name="T100" fmla="*/ 31 w 1240"/>
                <a:gd name="T101" fmla="*/ 87 h 716"/>
                <a:gd name="T102" fmla="*/ 10 w 1240"/>
                <a:gd name="T103" fmla="*/ 64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40" h="716">
                  <a:moveTo>
                    <a:pt x="4" y="48"/>
                  </a:moveTo>
                  <a:lnTo>
                    <a:pt x="3" y="61"/>
                  </a:lnTo>
                  <a:lnTo>
                    <a:pt x="2" y="73"/>
                  </a:lnTo>
                  <a:lnTo>
                    <a:pt x="1" y="86"/>
                  </a:lnTo>
                  <a:lnTo>
                    <a:pt x="0" y="99"/>
                  </a:lnTo>
                  <a:lnTo>
                    <a:pt x="1" y="109"/>
                  </a:lnTo>
                  <a:lnTo>
                    <a:pt x="2" y="119"/>
                  </a:lnTo>
                  <a:lnTo>
                    <a:pt x="3" y="128"/>
                  </a:lnTo>
                  <a:lnTo>
                    <a:pt x="6" y="137"/>
                  </a:lnTo>
                  <a:lnTo>
                    <a:pt x="9" y="146"/>
                  </a:lnTo>
                  <a:lnTo>
                    <a:pt x="12" y="154"/>
                  </a:lnTo>
                  <a:lnTo>
                    <a:pt x="15" y="162"/>
                  </a:lnTo>
                  <a:lnTo>
                    <a:pt x="21" y="170"/>
                  </a:lnTo>
                  <a:lnTo>
                    <a:pt x="25" y="177"/>
                  </a:lnTo>
                  <a:lnTo>
                    <a:pt x="30" y="184"/>
                  </a:lnTo>
                  <a:lnTo>
                    <a:pt x="37" y="190"/>
                  </a:lnTo>
                  <a:lnTo>
                    <a:pt x="43" y="197"/>
                  </a:lnTo>
                  <a:lnTo>
                    <a:pt x="57" y="20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81" y="225"/>
                  </a:lnTo>
                  <a:lnTo>
                    <a:pt x="89" y="229"/>
                  </a:lnTo>
                  <a:lnTo>
                    <a:pt x="97" y="234"/>
                  </a:lnTo>
                  <a:lnTo>
                    <a:pt x="106" y="238"/>
                  </a:lnTo>
                  <a:lnTo>
                    <a:pt x="131" y="245"/>
                  </a:lnTo>
                  <a:lnTo>
                    <a:pt x="155" y="251"/>
                  </a:lnTo>
                  <a:lnTo>
                    <a:pt x="165" y="254"/>
                  </a:lnTo>
                  <a:lnTo>
                    <a:pt x="176" y="258"/>
                  </a:lnTo>
                  <a:lnTo>
                    <a:pt x="187" y="264"/>
                  </a:lnTo>
                  <a:lnTo>
                    <a:pt x="198" y="271"/>
                  </a:lnTo>
                  <a:lnTo>
                    <a:pt x="225" y="296"/>
                  </a:lnTo>
                  <a:lnTo>
                    <a:pt x="249" y="319"/>
                  </a:lnTo>
                  <a:lnTo>
                    <a:pt x="260" y="329"/>
                  </a:lnTo>
                  <a:lnTo>
                    <a:pt x="273" y="339"/>
                  </a:lnTo>
                  <a:lnTo>
                    <a:pt x="289" y="349"/>
                  </a:lnTo>
                  <a:lnTo>
                    <a:pt x="305" y="359"/>
                  </a:lnTo>
                  <a:lnTo>
                    <a:pt x="318" y="364"/>
                  </a:lnTo>
                  <a:lnTo>
                    <a:pt x="331" y="370"/>
                  </a:lnTo>
                  <a:lnTo>
                    <a:pt x="343" y="373"/>
                  </a:lnTo>
                  <a:lnTo>
                    <a:pt x="354" y="377"/>
                  </a:lnTo>
                  <a:lnTo>
                    <a:pt x="365" y="381"/>
                  </a:lnTo>
                  <a:lnTo>
                    <a:pt x="376" y="387"/>
                  </a:lnTo>
                  <a:lnTo>
                    <a:pt x="387" y="394"/>
                  </a:lnTo>
                  <a:lnTo>
                    <a:pt x="398" y="403"/>
                  </a:lnTo>
                  <a:lnTo>
                    <a:pt x="406" y="414"/>
                  </a:lnTo>
                  <a:lnTo>
                    <a:pt x="415" y="424"/>
                  </a:lnTo>
                  <a:lnTo>
                    <a:pt x="421" y="433"/>
                  </a:lnTo>
                  <a:lnTo>
                    <a:pt x="428" y="443"/>
                  </a:lnTo>
                  <a:lnTo>
                    <a:pt x="440" y="462"/>
                  </a:lnTo>
                  <a:lnTo>
                    <a:pt x="451" y="482"/>
                  </a:lnTo>
                  <a:lnTo>
                    <a:pt x="462" y="501"/>
                  </a:lnTo>
                  <a:lnTo>
                    <a:pt x="474" y="521"/>
                  </a:lnTo>
                  <a:lnTo>
                    <a:pt x="481" y="531"/>
                  </a:lnTo>
                  <a:lnTo>
                    <a:pt x="488" y="540"/>
                  </a:lnTo>
                  <a:lnTo>
                    <a:pt x="497" y="550"/>
                  </a:lnTo>
                  <a:lnTo>
                    <a:pt x="507" y="561"/>
                  </a:lnTo>
                  <a:lnTo>
                    <a:pt x="532" y="583"/>
                  </a:lnTo>
                  <a:lnTo>
                    <a:pt x="556" y="604"/>
                  </a:lnTo>
                  <a:lnTo>
                    <a:pt x="579" y="621"/>
                  </a:lnTo>
                  <a:lnTo>
                    <a:pt x="603" y="637"/>
                  </a:lnTo>
                  <a:lnTo>
                    <a:pt x="626" y="654"/>
                  </a:lnTo>
                  <a:lnTo>
                    <a:pt x="648" y="671"/>
                  </a:lnTo>
                  <a:lnTo>
                    <a:pt x="659" y="681"/>
                  </a:lnTo>
                  <a:lnTo>
                    <a:pt x="671" y="691"/>
                  </a:lnTo>
                  <a:lnTo>
                    <a:pt x="683" y="703"/>
                  </a:lnTo>
                  <a:lnTo>
                    <a:pt x="695" y="716"/>
                  </a:lnTo>
                  <a:lnTo>
                    <a:pt x="695" y="716"/>
                  </a:lnTo>
                  <a:lnTo>
                    <a:pt x="709" y="704"/>
                  </a:lnTo>
                  <a:lnTo>
                    <a:pt x="723" y="690"/>
                  </a:lnTo>
                  <a:lnTo>
                    <a:pt x="737" y="675"/>
                  </a:lnTo>
                  <a:lnTo>
                    <a:pt x="751" y="658"/>
                  </a:lnTo>
                  <a:lnTo>
                    <a:pt x="761" y="645"/>
                  </a:lnTo>
                  <a:lnTo>
                    <a:pt x="771" y="634"/>
                  </a:lnTo>
                  <a:lnTo>
                    <a:pt x="782" y="624"/>
                  </a:lnTo>
                  <a:lnTo>
                    <a:pt x="793" y="615"/>
                  </a:lnTo>
                  <a:lnTo>
                    <a:pt x="816" y="597"/>
                  </a:lnTo>
                  <a:lnTo>
                    <a:pt x="840" y="577"/>
                  </a:lnTo>
                  <a:lnTo>
                    <a:pt x="853" y="565"/>
                  </a:lnTo>
                  <a:lnTo>
                    <a:pt x="864" y="553"/>
                  </a:lnTo>
                  <a:lnTo>
                    <a:pt x="874" y="542"/>
                  </a:lnTo>
                  <a:lnTo>
                    <a:pt x="884" y="532"/>
                  </a:lnTo>
                  <a:lnTo>
                    <a:pt x="903" y="509"/>
                  </a:lnTo>
                  <a:lnTo>
                    <a:pt x="927" y="484"/>
                  </a:lnTo>
                  <a:lnTo>
                    <a:pt x="950" y="465"/>
                  </a:lnTo>
                  <a:lnTo>
                    <a:pt x="971" y="448"/>
                  </a:lnTo>
                  <a:lnTo>
                    <a:pt x="982" y="440"/>
                  </a:lnTo>
                  <a:lnTo>
                    <a:pt x="993" y="431"/>
                  </a:lnTo>
                  <a:lnTo>
                    <a:pt x="1002" y="420"/>
                  </a:lnTo>
                  <a:lnTo>
                    <a:pt x="1014" y="408"/>
                  </a:lnTo>
                  <a:lnTo>
                    <a:pt x="1033" y="386"/>
                  </a:lnTo>
                  <a:lnTo>
                    <a:pt x="1050" y="363"/>
                  </a:lnTo>
                  <a:lnTo>
                    <a:pt x="1065" y="342"/>
                  </a:lnTo>
                  <a:lnTo>
                    <a:pt x="1080" y="321"/>
                  </a:lnTo>
                  <a:lnTo>
                    <a:pt x="1095" y="302"/>
                  </a:lnTo>
                  <a:lnTo>
                    <a:pt x="1112" y="282"/>
                  </a:lnTo>
                  <a:lnTo>
                    <a:pt x="1121" y="272"/>
                  </a:lnTo>
                  <a:lnTo>
                    <a:pt x="1131" y="263"/>
                  </a:lnTo>
                  <a:lnTo>
                    <a:pt x="1142" y="253"/>
                  </a:lnTo>
                  <a:lnTo>
                    <a:pt x="1154" y="243"/>
                  </a:lnTo>
                  <a:lnTo>
                    <a:pt x="1169" y="231"/>
                  </a:lnTo>
                  <a:lnTo>
                    <a:pt x="1182" y="218"/>
                  </a:lnTo>
                  <a:lnTo>
                    <a:pt x="1194" y="205"/>
                  </a:lnTo>
                  <a:lnTo>
                    <a:pt x="1204" y="192"/>
                  </a:lnTo>
                  <a:lnTo>
                    <a:pt x="1223" y="165"/>
                  </a:lnTo>
                  <a:lnTo>
                    <a:pt x="1240" y="136"/>
                  </a:lnTo>
                  <a:lnTo>
                    <a:pt x="1240" y="136"/>
                  </a:lnTo>
                  <a:lnTo>
                    <a:pt x="1214" y="123"/>
                  </a:lnTo>
                  <a:lnTo>
                    <a:pt x="1189" y="111"/>
                  </a:lnTo>
                  <a:lnTo>
                    <a:pt x="1176" y="107"/>
                  </a:lnTo>
                  <a:lnTo>
                    <a:pt x="1163" y="104"/>
                  </a:lnTo>
                  <a:lnTo>
                    <a:pt x="1149" y="102"/>
                  </a:lnTo>
                  <a:lnTo>
                    <a:pt x="1134" y="101"/>
                  </a:lnTo>
                  <a:lnTo>
                    <a:pt x="1123" y="102"/>
                  </a:lnTo>
                  <a:lnTo>
                    <a:pt x="1115" y="104"/>
                  </a:lnTo>
                  <a:lnTo>
                    <a:pt x="1106" y="107"/>
                  </a:lnTo>
                  <a:lnTo>
                    <a:pt x="1098" y="110"/>
                  </a:lnTo>
                  <a:lnTo>
                    <a:pt x="1090" y="114"/>
                  </a:lnTo>
                  <a:lnTo>
                    <a:pt x="1081" y="117"/>
                  </a:lnTo>
                  <a:lnTo>
                    <a:pt x="1072" y="119"/>
                  </a:lnTo>
                  <a:lnTo>
                    <a:pt x="1062" y="120"/>
                  </a:lnTo>
                  <a:lnTo>
                    <a:pt x="1049" y="120"/>
                  </a:lnTo>
                  <a:lnTo>
                    <a:pt x="1036" y="119"/>
                  </a:lnTo>
                  <a:lnTo>
                    <a:pt x="1025" y="118"/>
                  </a:lnTo>
                  <a:lnTo>
                    <a:pt x="1014" y="116"/>
                  </a:lnTo>
                  <a:lnTo>
                    <a:pt x="993" y="111"/>
                  </a:lnTo>
                  <a:lnTo>
                    <a:pt x="969" y="104"/>
                  </a:lnTo>
                  <a:lnTo>
                    <a:pt x="965" y="97"/>
                  </a:lnTo>
                  <a:lnTo>
                    <a:pt x="960" y="92"/>
                  </a:lnTo>
                  <a:lnTo>
                    <a:pt x="956" y="92"/>
                  </a:lnTo>
                  <a:lnTo>
                    <a:pt x="952" y="93"/>
                  </a:lnTo>
                  <a:lnTo>
                    <a:pt x="947" y="95"/>
                  </a:lnTo>
                  <a:lnTo>
                    <a:pt x="944" y="97"/>
                  </a:lnTo>
                  <a:lnTo>
                    <a:pt x="938" y="103"/>
                  </a:lnTo>
                  <a:lnTo>
                    <a:pt x="932" y="109"/>
                  </a:lnTo>
                  <a:lnTo>
                    <a:pt x="927" y="117"/>
                  </a:lnTo>
                  <a:lnTo>
                    <a:pt x="921" y="124"/>
                  </a:lnTo>
                  <a:lnTo>
                    <a:pt x="915" y="131"/>
                  </a:lnTo>
                  <a:lnTo>
                    <a:pt x="907" y="137"/>
                  </a:lnTo>
                  <a:lnTo>
                    <a:pt x="887" y="149"/>
                  </a:lnTo>
                  <a:lnTo>
                    <a:pt x="869" y="159"/>
                  </a:lnTo>
                  <a:lnTo>
                    <a:pt x="849" y="168"/>
                  </a:lnTo>
                  <a:lnTo>
                    <a:pt x="831" y="174"/>
                  </a:lnTo>
                  <a:lnTo>
                    <a:pt x="811" y="178"/>
                  </a:lnTo>
                  <a:lnTo>
                    <a:pt x="792" y="182"/>
                  </a:lnTo>
                  <a:lnTo>
                    <a:pt x="770" y="184"/>
                  </a:lnTo>
                  <a:lnTo>
                    <a:pt x="746" y="185"/>
                  </a:lnTo>
                  <a:lnTo>
                    <a:pt x="731" y="185"/>
                  </a:lnTo>
                  <a:lnTo>
                    <a:pt x="718" y="185"/>
                  </a:lnTo>
                  <a:lnTo>
                    <a:pt x="704" y="185"/>
                  </a:lnTo>
                  <a:lnTo>
                    <a:pt x="689" y="185"/>
                  </a:lnTo>
                  <a:lnTo>
                    <a:pt x="683" y="186"/>
                  </a:lnTo>
                  <a:lnTo>
                    <a:pt x="677" y="188"/>
                  </a:lnTo>
                  <a:lnTo>
                    <a:pt x="672" y="191"/>
                  </a:lnTo>
                  <a:lnTo>
                    <a:pt x="668" y="195"/>
                  </a:lnTo>
                  <a:lnTo>
                    <a:pt x="662" y="198"/>
                  </a:lnTo>
                  <a:lnTo>
                    <a:pt x="658" y="201"/>
                  </a:lnTo>
                  <a:lnTo>
                    <a:pt x="651" y="203"/>
                  </a:lnTo>
                  <a:lnTo>
                    <a:pt x="645" y="204"/>
                  </a:lnTo>
                  <a:lnTo>
                    <a:pt x="636" y="204"/>
                  </a:lnTo>
                  <a:lnTo>
                    <a:pt x="628" y="202"/>
                  </a:lnTo>
                  <a:lnTo>
                    <a:pt x="620" y="201"/>
                  </a:lnTo>
                  <a:lnTo>
                    <a:pt x="613" y="199"/>
                  </a:lnTo>
                  <a:lnTo>
                    <a:pt x="596" y="194"/>
                  </a:lnTo>
                  <a:lnTo>
                    <a:pt x="579" y="190"/>
                  </a:lnTo>
                  <a:lnTo>
                    <a:pt x="556" y="187"/>
                  </a:lnTo>
                  <a:lnTo>
                    <a:pt x="536" y="183"/>
                  </a:lnTo>
                  <a:lnTo>
                    <a:pt x="516" y="178"/>
                  </a:lnTo>
                  <a:lnTo>
                    <a:pt x="497" y="173"/>
                  </a:lnTo>
                  <a:lnTo>
                    <a:pt x="480" y="167"/>
                  </a:lnTo>
                  <a:lnTo>
                    <a:pt x="461" y="158"/>
                  </a:lnTo>
                  <a:lnTo>
                    <a:pt x="444" y="147"/>
                  </a:lnTo>
                  <a:lnTo>
                    <a:pt x="426" y="134"/>
                  </a:lnTo>
                  <a:lnTo>
                    <a:pt x="412" y="123"/>
                  </a:lnTo>
                  <a:lnTo>
                    <a:pt x="399" y="111"/>
                  </a:lnTo>
                  <a:lnTo>
                    <a:pt x="387" y="100"/>
                  </a:lnTo>
                  <a:lnTo>
                    <a:pt x="376" y="89"/>
                  </a:lnTo>
                  <a:lnTo>
                    <a:pt x="353" y="66"/>
                  </a:lnTo>
                  <a:lnTo>
                    <a:pt x="332" y="45"/>
                  </a:lnTo>
                  <a:lnTo>
                    <a:pt x="321" y="36"/>
                  </a:lnTo>
                  <a:lnTo>
                    <a:pt x="309" y="27"/>
                  </a:lnTo>
                  <a:lnTo>
                    <a:pt x="297" y="19"/>
                  </a:lnTo>
                  <a:lnTo>
                    <a:pt x="284" y="12"/>
                  </a:lnTo>
                  <a:lnTo>
                    <a:pt x="271" y="7"/>
                  </a:lnTo>
                  <a:lnTo>
                    <a:pt x="256" y="3"/>
                  </a:lnTo>
                  <a:lnTo>
                    <a:pt x="240" y="0"/>
                  </a:lnTo>
                  <a:lnTo>
                    <a:pt x="224" y="0"/>
                  </a:lnTo>
                  <a:lnTo>
                    <a:pt x="210" y="0"/>
                  </a:lnTo>
                  <a:lnTo>
                    <a:pt x="197" y="3"/>
                  </a:lnTo>
                  <a:lnTo>
                    <a:pt x="185" y="8"/>
                  </a:lnTo>
                  <a:lnTo>
                    <a:pt x="174" y="14"/>
                  </a:lnTo>
                  <a:lnTo>
                    <a:pt x="164" y="21"/>
                  </a:lnTo>
                  <a:lnTo>
                    <a:pt x="154" y="28"/>
                  </a:lnTo>
                  <a:lnTo>
                    <a:pt x="145" y="36"/>
                  </a:lnTo>
                  <a:lnTo>
                    <a:pt x="135" y="45"/>
                  </a:lnTo>
                  <a:lnTo>
                    <a:pt x="125" y="53"/>
                  </a:lnTo>
                  <a:lnTo>
                    <a:pt x="117" y="61"/>
                  </a:lnTo>
                  <a:lnTo>
                    <a:pt x="106" y="68"/>
                  </a:lnTo>
                  <a:lnTo>
                    <a:pt x="96" y="76"/>
                  </a:lnTo>
                  <a:lnTo>
                    <a:pt x="85" y="81"/>
                  </a:lnTo>
                  <a:lnTo>
                    <a:pt x="74" y="86"/>
                  </a:lnTo>
                  <a:lnTo>
                    <a:pt x="61" y="89"/>
                  </a:lnTo>
                  <a:lnTo>
                    <a:pt x="47" y="90"/>
                  </a:lnTo>
                  <a:lnTo>
                    <a:pt x="39" y="89"/>
                  </a:lnTo>
                  <a:lnTo>
                    <a:pt x="31" y="87"/>
                  </a:lnTo>
                  <a:lnTo>
                    <a:pt x="24" y="82"/>
                  </a:lnTo>
                  <a:lnTo>
                    <a:pt x="19" y="77"/>
                  </a:lnTo>
                  <a:lnTo>
                    <a:pt x="13" y="70"/>
                  </a:lnTo>
                  <a:lnTo>
                    <a:pt x="10" y="64"/>
                  </a:lnTo>
                  <a:lnTo>
                    <a:pt x="7" y="55"/>
                  </a:lnTo>
                  <a:lnTo>
                    <a:pt x="4" y="48"/>
                  </a:lnTo>
                  <a:lnTo>
                    <a:pt x="4" y="48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11">
              <a:extLst>
                <a:ext uri="{FF2B5EF4-FFF2-40B4-BE49-F238E27FC236}">
                  <a16:creationId xmlns:a16="http://schemas.microsoft.com/office/drawing/2014/main" id="{53F212E6-937D-4398-877A-281AEDEB1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28775" y="2403476"/>
              <a:ext cx="1035050" cy="400050"/>
            </a:xfrm>
            <a:custGeom>
              <a:avLst/>
              <a:gdLst>
                <a:gd name="T0" fmla="*/ 804 w 2607"/>
                <a:gd name="T1" fmla="*/ 613 h 1008"/>
                <a:gd name="T2" fmla="*/ 709 w 2607"/>
                <a:gd name="T3" fmla="*/ 587 h 1008"/>
                <a:gd name="T4" fmla="*/ 632 w 2607"/>
                <a:gd name="T5" fmla="*/ 635 h 1008"/>
                <a:gd name="T6" fmla="*/ 465 w 2607"/>
                <a:gd name="T7" fmla="*/ 785 h 1008"/>
                <a:gd name="T8" fmla="*/ 399 w 2607"/>
                <a:gd name="T9" fmla="*/ 800 h 1008"/>
                <a:gd name="T10" fmla="*/ 330 w 2607"/>
                <a:gd name="T11" fmla="*/ 782 h 1008"/>
                <a:gd name="T12" fmla="*/ 310 w 2607"/>
                <a:gd name="T13" fmla="*/ 878 h 1008"/>
                <a:gd name="T14" fmla="*/ 249 w 2607"/>
                <a:gd name="T15" fmla="*/ 900 h 1008"/>
                <a:gd name="T16" fmla="*/ 179 w 2607"/>
                <a:gd name="T17" fmla="*/ 843 h 1008"/>
                <a:gd name="T18" fmla="*/ 134 w 2607"/>
                <a:gd name="T19" fmla="*/ 734 h 1008"/>
                <a:gd name="T20" fmla="*/ 134 w 2607"/>
                <a:gd name="T21" fmla="*/ 664 h 1008"/>
                <a:gd name="T22" fmla="*/ 51 w 2607"/>
                <a:gd name="T23" fmla="*/ 587 h 1008"/>
                <a:gd name="T24" fmla="*/ 16 w 2607"/>
                <a:gd name="T25" fmla="*/ 528 h 1008"/>
                <a:gd name="T26" fmla="*/ 137 w 2607"/>
                <a:gd name="T27" fmla="*/ 463 h 1008"/>
                <a:gd name="T28" fmla="*/ 247 w 2607"/>
                <a:gd name="T29" fmla="*/ 333 h 1008"/>
                <a:gd name="T30" fmla="*/ 286 w 2607"/>
                <a:gd name="T31" fmla="*/ 262 h 1008"/>
                <a:gd name="T32" fmla="*/ 275 w 2607"/>
                <a:gd name="T33" fmla="*/ 205 h 1008"/>
                <a:gd name="T34" fmla="*/ 247 w 2607"/>
                <a:gd name="T35" fmla="*/ 85 h 1008"/>
                <a:gd name="T36" fmla="*/ 344 w 2607"/>
                <a:gd name="T37" fmla="*/ 29 h 1008"/>
                <a:gd name="T38" fmla="*/ 628 w 2607"/>
                <a:gd name="T39" fmla="*/ 2 h 1008"/>
                <a:gd name="T40" fmla="*/ 728 w 2607"/>
                <a:gd name="T41" fmla="*/ 30 h 1008"/>
                <a:gd name="T42" fmla="*/ 822 w 2607"/>
                <a:gd name="T43" fmla="*/ 103 h 1008"/>
                <a:gd name="T44" fmla="*/ 889 w 2607"/>
                <a:gd name="T45" fmla="*/ 239 h 1008"/>
                <a:gd name="T46" fmla="*/ 924 w 2607"/>
                <a:gd name="T47" fmla="*/ 271 h 1008"/>
                <a:gd name="T48" fmla="*/ 991 w 2607"/>
                <a:gd name="T49" fmla="*/ 217 h 1008"/>
                <a:gd name="T50" fmla="*/ 1115 w 2607"/>
                <a:gd name="T51" fmla="*/ 162 h 1008"/>
                <a:gd name="T52" fmla="*/ 1250 w 2607"/>
                <a:gd name="T53" fmla="*/ 235 h 1008"/>
                <a:gd name="T54" fmla="*/ 1289 w 2607"/>
                <a:gd name="T55" fmla="*/ 273 h 1008"/>
                <a:gd name="T56" fmla="*/ 1333 w 2607"/>
                <a:gd name="T57" fmla="*/ 259 h 1008"/>
                <a:gd name="T58" fmla="*/ 1458 w 2607"/>
                <a:gd name="T59" fmla="*/ 195 h 1008"/>
                <a:gd name="T60" fmla="*/ 1562 w 2607"/>
                <a:gd name="T61" fmla="*/ 157 h 1008"/>
                <a:gd name="T62" fmla="*/ 1681 w 2607"/>
                <a:gd name="T63" fmla="*/ 159 h 1008"/>
                <a:gd name="T64" fmla="*/ 1734 w 2607"/>
                <a:gd name="T65" fmla="*/ 189 h 1008"/>
                <a:gd name="T66" fmla="*/ 1739 w 2607"/>
                <a:gd name="T67" fmla="*/ 261 h 1008"/>
                <a:gd name="T68" fmla="*/ 1652 w 2607"/>
                <a:gd name="T69" fmla="*/ 431 h 1008"/>
                <a:gd name="T70" fmla="*/ 1671 w 2607"/>
                <a:gd name="T71" fmla="*/ 523 h 1008"/>
                <a:gd name="T72" fmla="*/ 1751 w 2607"/>
                <a:gd name="T73" fmla="*/ 577 h 1008"/>
                <a:gd name="T74" fmla="*/ 1820 w 2607"/>
                <a:gd name="T75" fmla="*/ 559 h 1008"/>
                <a:gd name="T76" fmla="*/ 1916 w 2607"/>
                <a:gd name="T77" fmla="*/ 425 h 1008"/>
                <a:gd name="T78" fmla="*/ 2043 w 2607"/>
                <a:gd name="T79" fmla="*/ 381 h 1008"/>
                <a:gd name="T80" fmla="*/ 2190 w 2607"/>
                <a:gd name="T81" fmla="*/ 382 h 1008"/>
                <a:gd name="T82" fmla="*/ 2263 w 2607"/>
                <a:gd name="T83" fmla="*/ 388 h 1008"/>
                <a:gd name="T84" fmla="*/ 2366 w 2607"/>
                <a:gd name="T85" fmla="*/ 313 h 1008"/>
                <a:gd name="T86" fmla="*/ 2604 w 2607"/>
                <a:gd name="T87" fmla="*/ 318 h 1008"/>
                <a:gd name="T88" fmla="*/ 2590 w 2607"/>
                <a:gd name="T89" fmla="*/ 395 h 1008"/>
                <a:gd name="T90" fmla="*/ 2562 w 2607"/>
                <a:gd name="T91" fmla="*/ 442 h 1008"/>
                <a:gd name="T92" fmla="*/ 2590 w 2607"/>
                <a:gd name="T93" fmla="*/ 548 h 1008"/>
                <a:gd name="T94" fmla="*/ 2591 w 2607"/>
                <a:gd name="T95" fmla="*/ 628 h 1008"/>
                <a:gd name="T96" fmla="*/ 2525 w 2607"/>
                <a:gd name="T97" fmla="*/ 812 h 1008"/>
                <a:gd name="T98" fmla="*/ 2458 w 2607"/>
                <a:gd name="T99" fmla="*/ 896 h 1008"/>
                <a:gd name="T100" fmla="*/ 2368 w 2607"/>
                <a:gd name="T101" fmla="*/ 911 h 1008"/>
                <a:gd name="T102" fmla="*/ 2282 w 2607"/>
                <a:gd name="T103" fmla="*/ 918 h 1008"/>
                <a:gd name="T104" fmla="*/ 2185 w 2607"/>
                <a:gd name="T105" fmla="*/ 915 h 1008"/>
                <a:gd name="T106" fmla="*/ 2130 w 2607"/>
                <a:gd name="T107" fmla="*/ 907 h 1008"/>
                <a:gd name="T108" fmla="*/ 2041 w 2607"/>
                <a:gd name="T109" fmla="*/ 972 h 1008"/>
                <a:gd name="T110" fmla="*/ 1896 w 2607"/>
                <a:gd name="T111" fmla="*/ 989 h 1008"/>
                <a:gd name="T112" fmla="*/ 1843 w 2607"/>
                <a:gd name="T113" fmla="*/ 1007 h 1008"/>
                <a:gd name="T114" fmla="*/ 1748 w 2607"/>
                <a:gd name="T115" fmla="*/ 991 h 1008"/>
                <a:gd name="T116" fmla="*/ 1604 w 2607"/>
                <a:gd name="T117" fmla="*/ 927 h 1008"/>
                <a:gd name="T118" fmla="*/ 1489 w 2607"/>
                <a:gd name="T119" fmla="*/ 823 h 1008"/>
                <a:gd name="T120" fmla="*/ 1377 w 2607"/>
                <a:gd name="T121" fmla="*/ 812 h 1008"/>
                <a:gd name="T122" fmla="*/ 1298 w 2607"/>
                <a:gd name="T123" fmla="*/ 872 h 1008"/>
                <a:gd name="T124" fmla="*/ 1216 w 2607"/>
                <a:gd name="T125" fmla="*/ 886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07" h="1008">
                  <a:moveTo>
                    <a:pt x="1196" y="852"/>
                  </a:moveTo>
                  <a:lnTo>
                    <a:pt x="961" y="664"/>
                  </a:lnTo>
                  <a:lnTo>
                    <a:pt x="919" y="651"/>
                  </a:lnTo>
                  <a:lnTo>
                    <a:pt x="881" y="642"/>
                  </a:lnTo>
                  <a:lnTo>
                    <a:pt x="863" y="637"/>
                  </a:lnTo>
                  <a:lnTo>
                    <a:pt x="844" y="631"/>
                  </a:lnTo>
                  <a:lnTo>
                    <a:pt x="825" y="623"/>
                  </a:lnTo>
                  <a:lnTo>
                    <a:pt x="804" y="613"/>
                  </a:lnTo>
                  <a:lnTo>
                    <a:pt x="786" y="603"/>
                  </a:lnTo>
                  <a:lnTo>
                    <a:pt x="769" y="594"/>
                  </a:lnTo>
                  <a:lnTo>
                    <a:pt x="760" y="590"/>
                  </a:lnTo>
                  <a:lnTo>
                    <a:pt x="751" y="587"/>
                  </a:lnTo>
                  <a:lnTo>
                    <a:pt x="741" y="586"/>
                  </a:lnTo>
                  <a:lnTo>
                    <a:pt x="730" y="585"/>
                  </a:lnTo>
                  <a:lnTo>
                    <a:pt x="719" y="586"/>
                  </a:lnTo>
                  <a:lnTo>
                    <a:pt x="709" y="587"/>
                  </a:lnTo>
                  <a:lnTo>
                    <a:pt x="701" y="589"/>
                  </a:lnTo>
                  <a:lnTo>
                    <a:pt x="691" y="591"/>
                  </a:lnTo>
                  <a:lnTo>
                    <a:pt x="683" y="595"/>
                  </a:lnTo>
                  <a:lnTo>
                    <a:pt x="675" y="599"/>
                  </a:lnTo>
                  <a:lnTo>
                    <a:pt x="667" y="604"/>
                  </a:lnTo>
                  <a:lnTo>
                    <a:pt x="660" y="609"/>
                  </a:lnTo>
                  <a:lnTo>
                    <a:pt x="646" y="621"/>
                  </a:lnTo>
                  <a:lnTo>
                    <a:pt x="632" y="635"/>
                  </a:lnTo>
                  <a:lnTo>
                    <a:pt x="618" y="649"/>
                  </a:lnTo>
                  <a:lnTo>
                    <a:pt x="602" y="664"/>
                  </a:lnTo>
                  <a:lnTo>
                    <a:pt x="577" y="688"/>
                  </a:lnTo>
                  <a:lnTo>
                    <a:pt x="553" y="708"/>
                  </a:lnTo>
                  <a:lnTo>
                    <a:pt x="529" y="728"/>
                  </a:lnTo>
                  <a:lnTo>
                    <a:pt x="502" y="750"/>
                  </a:lnTo>
                  <a:lnTo>
                    <a:pt x="483" y="769"/>
                  </a:lnTo>
                  <a:lnTo>
                    <a:pt x="465" y="785"/>
                  </a:lnTo>
                  <a:lnTo>
                    <a:pt x="456" y="791"/>
                  </a:lnTo>
                  <a:lnTo>
                    <a:pt x="445" y="797"/>
                  </a:lnTo>
                  <a:lnTo>
                    <a:pt x="439" y="799"/>
                  </a:lnTo>
                  <a:lnTo>
                    <a:pt x="434" y="800"/>
                  </a:lnTo>
                  <a:lnTo>
                    <a:pt x="427" y="801"/>
                  </a:lnTo>
                  <a:lnTo>
                    <a:pt x="420" y="801"/>
                  </a:lnTo>
                  <a:lnTo>
                    <a:pt x="409" y="801"/>
                  </a:lnTo>
                  <a:lnTo>
                    <a:pt x="399" y="800"/>
                  </a:lnTo>
                  <a:lnTo>
                    <a:pt x="390" y="798"/>
                  </a:lnTo>
                  <a:lnTo>
                    <a:pt x="381" y="796"/>
                  </a:lnTo>
                  <a:lnTo>
                    <a:pt x="372" y="791"/>
                  </a:lnTo>
                  <a:lnTo>
                    <a:pt x="364" y="787"/>
                  </a:lnTo>
                  <a:lnTo>
                    <a:pt x="356" y="780"/>
                  </a:lnTo>
                  <a:lnTo>
                    <a:pt x="348" y="773"/>
                  </a:lnTo>
                  <a:lnTo>
                    <a:pt x="339" y="777"/>
                  </a:lnTo>
                  <a:lnTo>
                    <a:pt x="330" y="782"/>
                  </a:lnTo>
                  <a:lnTo>
                    <a:pt x="330" y="802"/>
                  </a:lnTo>
                  <a:lnTo>
                    <a:pt x="328" y="823"/>
                  </a:lnTo>
                  <a:lnTo>
                    <a:pt x="327" y="832"/>
                  </a:lnTo>
                  <a:lnTo>
                    <a:pt x="325" y="843"/>
                  </a:lnTo>
                  <a:lnTo>
                    <a:pt x="322" y="853"/>
                  </a:lnTo>
                  <a:lnTo>
                    <a:pt x="318" y="861"/>
                  </a:lnTo>
                  <a:lnTo>
                    <a:pt x="315" y="870"/>
                  </a:lnTo>
                  <a:lnTo>
                    <a:pt x="310" y="878"/>
                  </a:lnTo>
                  <a:lnTo>
                    <a:pt x="304" y="884"/>
                  </a:lnTo>
                  <a:lnTo>
                    <a:pt x="299" y="891"/>
                  </a:lnTo>
                  <a:lnTo>
                    <a:pt x="292" y="895"/>
                  </a:lnTo>
                  <a:lnTo>
                    <a:pt x="284" y="899"/>
                  </a:lnTo>
                  <a:lnTo>
                    <a:pt x="276" y="901"/>
                  </a:lnTo>
                  <a:lnTo>
                    <a:pt x="267" y="901"/>
                  </a:lnTo>
                  <a:lnTo>
                    <a:pt x="258" y="901"/>
                  </a:lnTo>
                  <a:lnTo>
                    <a:pt x="249" y="900"/>
                  </a:lnTo>
                  <a:lnTo>
                    <a:pt x="242" y="899"/>
                  </a:lnTo>
                  <a:lnTo>
                    <a:pt x="234" y="897"/>
                  </a:lnTo>
                  <a:lnTo>
                    <a:pt x="220" y="892"/>
                  </a:lnTo>
                  <a:lnTo>
                    <a:pt x="205" y="885"/>
                  </a:lnTo>
                  <a:lnTo>
                    <a:pt x="198" y="876"/>
                  </a:lnTo>
                  <a:lnTo>
                    <a:pt x="192" y="865"/>
                  </a:lnTo>
                  <a:lnTo>
                    <a:pt x="184" y="854"/>
                  </a:lnTo>
                  <a:lnTo>
                    <a:pt x="179" y="843"/>
                  </a:lnTo>
                  <a:lnTo>
                    <a:pt x="168" y="817"/>
                  </a:lnTo>
                  <a:lnTo>
                    <a:pt x="157" y="792"/>
                  </a:lnTo>
                  <a:lnTo>
                    <a:pt x="151" y="780"/>
                  </a:lnTo>
                  <a:lnTo>
                    <a:pt x="143" y="770"/>
                  </a:lnTo>
                  <a:lnTo>
                    <a:pt x="134" y="760"/>
                  </a:lnTo>
                  <a:lnTo>
                    <a:pt x="123" y="750"/>
                  </a:lnTo>
                  <a:lnTo>
                    <a:pt x="128" y="742"/>
                  </a:lnTo>
                  <a:lnTo>
                    <a:pt x="134" y="734"/>
                  </a:lnTo>
                  <a:lnTo>
                    <a:pt x="136" y="731"/>
                  </a:lnTo>
                  <a:lnTo>
                    <a:pt x="138" y="726"/>
                  </a:lnTo>
                  <a:lnTo>
                    <a:pt x="140" y="722"/>
                  </a:lnTo>
                  <a:lnTo>
                    <a:pt x="140" y="717"/>
                  </a:lnTo>
                  <a:lnTo>
                    <a:pt x="140" y="703"/>
                  </a:lnTo>
                  <a:lnTo>
                    <a:pt x="139" y="689"/>
                  </a:lnTo>
                  <a:lnTo>
                    <a:pt x="137" y="676"/>
                  </a:lnTo>
                  <a:lnTo>
                    <a:pt x="134" y="664"/>
                  </a:lnTo>
                  <a:lnTo>
                    <a:pt x="129" y="652"/>
                  </a:lnTo>
                  <a:lnTo>
                    <a:pt x="123" y="641"/>
                  </a:lnTo>
                  <a:lnTo>
                    <a:pt x="114" y="631"/>
                  </a:lnTo>
                  <a:lnTo>
                    <a:pt x="103" y="622"/>
                  </a:lnTo>
                  <a:lnTo>
                    <a:pt x="89" y="611"/>
                  </a:lnTo>
                  <a:lnTo>
                    <a:pt x="76" y="602"/>
                  </a:lnTo>
                  <a:lnTo>
                    <a:pt x="63" y="595"/>
                  </a:lnTo>
                  <a:lnTo>
                    <a:pt x="51" y="587"/>
                  </a:lnTo>
                  <a:lnTo>
                    <a:pt x="39" y="580"/>
                  </a:lnTo>
                  <a:lnTo>
                    <a:pt x="26" y="571"/>
                  </a:lnTo>
                  <a:lnTo>
                    <a:pt x="13" y="560"/>
                  </a:lnTo>
                  <a:lnTo>
                    <a:pt x="0" y="548"/>
                  </a:lnTo>
                  <a:lnTo>
                    <a:pt x="0" y="548"/>
                  </a:lnTo>
                  <a:lnTo>
                    <a:pt x="5" y="541"/>
                  </a:lnTo>
                  <a:lnTo>
                    <a:pt x="11" y="533"/>
                  </a:lnTo>
                  <a:lnTo>
                    <a:pt x="16" y="528"/>
                  </a:lnTo>
                  <a:lnTo>
                    <a:pt x="21" y="521"/>
                  </a:lnTo>
                  <a:lnTo>
                    <a:pt x="34" y="513"/>
                  </a:lnTo>
                  <a:lnTo>
                    <a:pt x="48" y="505"/>
                  </a:lnTo>
                  <a:lnTo>
                    <a:pt x="79" y="493"/>
                  </a:lnTo>
                  <a:lnTo>
                    <a:pt x="112" y="479"/>
                  </a:lnTo>
                  <a:lnTo>
                    <a:pt x="121" y="474"/>
                  </a:lnTo>
                  <a:lnTo>
                    <a:pt x="129" y="468"/>
                  </a:lnTo>
                  <a:lnTo>
                    <a:pt x="137" y="463"/>
                  </a:lnTo>
                  <a:lnTo>
                    <a:pt x="144" y="458"/>
                  </a:lnTo>
                  <a:lnTo>
                    <a:pt x="156" y="445"/>
                  </a:lnTo>
                  <a:lnTo>
                    <a:pt x="167" y="432"/>
                  </a:lnTo>
                  <a:lnTo>
                    <a:pt x="188" y="402"/>
                  </a:lnTo>
                  <a:lnTo>
                    <a:pt x="213" y="372"/>
                  </a:lnTo>
                  <a:lnTo>
                    <a:pt x="225" y="358"/>
                  </a:lnTo>
                  <a:lnTo>
                    <a:pt x="236" y="346"/>
                  </a:lnTo>
                  <a:lnTo>
                    <a:pt x="247" y="333"/>
                  </a:lnTo>
                  <a:lnTo>
                    <a:pt x="258" y="319"/>
                  </a:lnTo>
                  <a:lnTo>
                    <a:pt x="267" y="309"/>
                  </a:lnTo>
                  <a:lnTo>
                    <a:pt x="276" y="299"/>
                  </a:lnTo>
                  <a:lnTo>
                    <a:pt x="279" y="294"/>
                  </a:lnTo>
                  <a:lnTo>
                    <a:pt x="283" y="289"/>
                  </a:lnTo>
                  <a:lnTo>
                    <a:pt x="285" y="283"/>
                  </a:lnTo>
                  <a:lnTo>
                    <a:pt x="286" y="276"/>
                  </a:lnTo>
                  <a:lnTo>
                    <a:pt x="286" y="262"/>
                  </a:lnTo>
                  <a:lnTo>
                    <a:pt x="286" y="249"/>
                  </a:lnTo>
                  <a:lnTo>
                    <a:pt x="286" y="236"/>
                  </a:lnTo>
                  <a:lnTo>
                    <a:pt x="286" y="221"/>
                  </a:lnTo>
                  <a:lnTo>
                    <a:pt x="286" y="218"/>
                  </a:lnTo>
                  <a:lnTo>
                    <a:pt x="284" y="215"/>
                  </a:lnTo>
                  <a:lnTo>
                    <a:pt x="283" y="212"/>
                  </a:lnTo>
                  <a:lnTo>
                    <a:pt x="281" y="210"/>
                  </a:lnTo>
                  <a:lnTo>
                    <a:pt x="275" y="205"/>
                  </a:lnTo>
                  <a:lnTo>
                    <a:pt x="272" y="198"/>
                  </a:lnTo>
                  <a:lnTo>
                    <a:pt x="262" y="174"/>
                  </a:lnTo>
                  <a:lnTo>
                    <a:pt x="255" y="152"/>
                  </a:lnTo>
                  <a:lnTo>
                    <a:pt x="251" y="140"/>
                  </a:lnTo>
                  <a:lnTo>
                    <a:pt x="249" y="128"/>
                  </a:lnTo>
                  <a:lnTo>
                    <a:pt x="247" y="116"/>
                  </a:lnTo>
                  <a:lnTo>
                    <a:pt x="247" y="102"/>
                  </a:lnTo>
                  <a:lnTo>
                    <a:pt x="247" y="85"/>
                  </a:lnTo>
                  <a:lnTo>
                    <a:pt x="247" y="69"/>
                  </a:lnTo>
                  <a:lnTo>
                    <a:pt x="247" y="54"/>
                  </a:lnTo>
                  <a:lnTo>
                    <a:pt x="247" y="36"/>
                  </a:lnTo>
                  <a:lnTo>
                    <a:pt x="276" y="36"/>
                  </a:lnTo>
                  <a:lnTo>
                    <a:pt x="303" y="35"/>
                  </a:lnTo>
                  <a:lnTo>
                    <a:pt x="316" y="34"/>
                  </a:lnTo>
                  <a:lnTo>
                    <a:pt x="330" y="32"/>
                  </a:lnTo>
                  <a:lnTo>
                    <a:pt x="344" y="29"/>
                  </a:lnTo>
                  <a:lnTo>
                    <a:pt x="358" y="24"/>
                  </a:lnTo>
                  <a:lnTo>
                    <a:pt x="358" y="24"/>
                  </a:lnTo>
                  <a:lnTo>
                    <a:pt x="560" y="5"/>
                  </a:lnTo>
                  <a:lnTo>
                    <a:pt x="575" y="5"/>
                  </a:lnTo>
                  <a:lnTo>
                    <a:pt x="588" y="5"/>
                  </a:lnTo>
                  <a:lnTo>
                    <a:pt x="601" y="5"/>
                  </a:lnTo>
                  <a:lnTo>
                    <a:pt x="615" y="5"/>
                  </a:lnTo>
                  <a:lnTo>
                    <a:pt x="628" y="2"/>
                  </a:lnTo>
                  <a:lnTo>
                    <a:pt x="641" y="0"/>
                  </a:lnTo>
                  <a:lnTo>
                    <a:pt x="651" y="0"/>
                  </a:lnTo>
                  <a:lnTo>
                    <a:pt x="659" y="1"/>
                  </a:lnTo>
                  <a:lnTo>
                    <a:pt x="667" y="2"/>
                  </a:lnTo>
                  <a:lnTo>
                    <a:pt x="675" y="4"/>
                  </a:lnTo>
                  <a:lnTo>
                    <a:pt x="689" y="8"/>
                  </a:lnTo>
                  <a:lnTo>
                    <a:pt x="702" y="15"/>
                  </a:lnTo>
                  <a:lnTo>
                    <a:pt x="728" y="30"/>
                  </a:lnTo>
                  <a:lnTo>
                    <a:pt x="757" y="47"/>
                  </a:lnTo>
                  <a:lnTo>
                    <a:pt x="769" y="54"/>
                  </a:lnTo>
                  <a:lnTo>
                    <a:pt x="780" y="61"/>
                  </a:lnTo>
                  <a:lnTo>
                    <a:pt x="789" y="68"/>
                  </a:lnTo>
                  <a:lnTo>
                    <a:pt x="798" y="75"/>
                  </a:lnTo>
                  <a:lnTo>
                    <a:pt x="807" y="84"/>
                  </a:lnTo>
                  <a:lnTo>
                    <a:pt x="814" y="93"/>
                  </a:lnTo>
                  <a:lnTo>
                    <a:pt x="822" y="103"/>
                  </a:lnTo>
                  <a:lnTo>
                    <a:pt x="829" y="114"/>
                  </a:lnTo>
                  <a:lnTo>
                    <a:pt x="843" y="137"/>
                  </a:lnTo>
                  <a:lnTo>
                    <a:pt x="855" y="158"/>
                  </a:lnTo>
                  <a:lnTo>
                    <a:pt x="865" y="179"/>
                  </a:lnTo>
                  <a:lnTo>
                    <a:pt x="875" y="204"/>
                  </a:lnTo>
                  <a:lnTo>
                    <a:pt x="879" y="216"/>
                  </a:lnTo>
                  <a:lnTo>
                    <a:pt x="883" y="228"/>
                  </a:lnTo>
                  <a:lnTo>
                    <a:pt x="889" y="239"/>
                  </a:lnTo>
                  <a:lnTo>
                    <a:pt x="894" y="249"/>
                  </a:lnTo>
                  <a:lnTo>
                    <a:pt x="897" y="255"/>
                  </a:lnTo>
                  <a:lnTo>
                    <a:pt x="901" y="259"/>
                  </a:lnTo>
                  <a:lnTo>
                    <a:pt x="905" y="262"/>
                  </a:lnTo>
                  <a:lnTo>
                    <a:pt x="909" y="265"/>
                  </a:lnTo>
                  <a:lnTo>
                    <a:pt x="913" y="267"/>
                  </a:lnTo>
                  <a:lnTo>
                    <a:pt x="919" y="270"/>
                  </a:lnTo>
                  <a:lnTo>
                    <a:pt x="924" y="271"/>
                  </a:lnTo>
                  <a:lnTo>
                    <a:pt x="931" y="272"/>
                  </a:lnTo>
                  <a:lnTo>
                    <a:pt x="938" y="271"/>
                  </a:lnTo>
                  <a:lnTo>
                    <a:pt x="945" y="267"/>
                  </a:lnTo>
                  <a:lnTo>
                    <a:pt x="950" y="263"/>
                  </a:lnTo>
                  <a:lnTo>
                    <a:pt x="956" y="258"/>
                  </a:lnTo>
                  <a:lnTo>
                    <a:pt x="965" y="245"/>
                  </a:lnTo>
                  <a:lnTo>
                    <a:pt x="975" y="232"/>
                  </a:lnTo>
                  <a:lnTo>
                    <a:pt x="991" y="217"/>
                  </a:lnTo>
                  <a:lnTo>
                    <a:pt x="1007" y="205"/>
                  </a:lnTo>
                  <a:lnTo>
                    <a:pt x="1023" y="194"/>
                  </a:lnTo>
                  <a:lnTo>
                    <a:pt x="1039" y="184"/>
                  </a:lnTo>
                  <a:lnTo>
                    <a:pt x="1056" y="177"/>
                  </a:lnTo>
                  <a:lnTo>
                    <a:pt x="1074" y="171"/>
                  </a:lnTo>
                  <a:lnTo>
                    <a:pt x="1094" y="166"/>
                  </a:lnTo>
                  <a:lnTo>
                    <a:pt x="1115" y="162"/>
                  </a:lnTo>
                  <a:lnTo>
                    <a:pt x="1115" y="162"/>
                  </a:lnTo>
                  <a:lnTo>
                    <a:pt x="1133" y="174"/>
                  </a:lnTo>
                  <a:lnTo>
                    <a:pt x="1150" y="183"/>
                  </a:lnTo>
                  <a:lnTo>
                    <a:pt x="1166" y="191"/>
                  </a:lnTo>
                  <a:lnTo>
                    <a:pt x="1182" y="198"/>
                  </a:lnTo>
                  <a:lnTo>
                    <a:pt x="1200" y="206"/>
                  </a:lnTo>
                  <a:lnTo>
                    <a:pt x="1216" y="215"/>
                  </a:lnTo>
                  <a:lnTo>
                    <a:pt x="1233" y="223"/>
                  </a:lnTo>
                  <a:lnTo>
                    <a:pt x="1250" y="235"/>
                  </a:lnTo>
                  <a:lnTo>
                    <a:pt x="1257" y="240"/>
                  </a:lnTo>
                  <a:lnTo>
                    <a:pt x="1262" y="247"/>
                  </a:lnTo>
                  <a:lnTo>
                    <a:pt x="1267" y="253"/>
                  </a:lnTo>
                  <a:lnTo>
                    <a:pt x="1272" y="260"/>
                  </a:lnTo>
                  <a:lnTo>
                    <a:pt x="1277" y="265"/>
                  </a:lnTo>
                  <a:lnTo>
                    <a:pt x="1283" y="270"/>
                  </a:lnTo>
                  <a:lnTo>
                    <a:pt x="1286" y="272"/>
                  </a:lnTo>
                  <a:lnTo>
                    <a:pt x="1289" y="273"/>
                  </a:lnTo>
                  <a:lnTo>
                    <a:pt x="1294" y="274"/>
                  </a:lnTo>
                  <a:lnTo>
                    <a:pt x="1298" y="274"/>
                  </a:lnTo>
                  <a:lnTo>
                    <a:pt x="1303" y="274"/>
                  </a:lnTo>
                  <a:lnTo>
                    <a:pt x="1309" y="273"/>
                  </a:lnTo>
                  <a:lnTo>
                    <a:pt x="1313" y="272"/>
                  </a:lnTo>
                  <a:lnTo>
                    <a:pt x="1317" y="270"/>
                  </a:lnTo>
                  <a:lnTo>
                    <a:pt x="1325" y="265"/>
                  </a:lnTo>
                  <a:lnTo>
                    <a:pt x="1333" y="259"/>
                  </a:lnTo>
                  <a:lnTo>
                    <a:pt x="1340" y="252"/>
                  </a:lnTo>
                  <a:lnTo>
                    <a:pt x="1348" y="245"/>
                  </a:lnTo>
                  <a:lnTo>
                    <a:pt x="1355" y="238"/>
                  </a:lnTo>
                  <a:lnTo>
                    <a:pt x="1365" y="232"/>
                  </a:lnTo>
                  <a:lnTo>
                    <a:pt x="1388" y="219"/>
                  </a:lnTo>
                  <a:lnTo>
                    <a:pt x="1409" y="209"/>
                  </a:lnTo>
                  <a:lnTo>
                    <a:pt x="1432" y="202"/>
                  </a:lnTo>
                  <a:lnTo>
                    <a:pt x="1458" y="195"/>
                  </a:lnTo>
                  <a:lnTo>
                    <a:pt x="1474" y="191"/>
                  </a:lnTo>
                  <a:lnTo>
                    <a:pt x="1490" y="184"/>
                  </a:lnTo>
                  <a:lnTo>
                    <a:pt x="1504" y="178"/>
                  </a:lnTo>
                  <a:lnTo>
                    <a:pt x="1517" y="171"/>
                  </a:lnTo>
                  <a:lnTo>
                    <a:pt x="1531" y="166"/>
                  </a:lnTo>
                  <a:lnTo>
                    <a:pt x="1545" y="161"/>
                  </a:lnTo>
                  <a:lnTo>
                    <a:pt x="1553" y="159"/>
                  </a:lnTo>
                  <a:lnTo>
                    <a:pt x="1562" y="157"/>
                  </a:lnTo>
                  <a:lnTo>
                    <a:pt x="1570" y="156"/>
                  </a:lnTo>
                  <a:lnTo>
                    <a:pt x="1579" y="156"/>
                  </a:lnTo>
                  <a:lnTo>
                    <a:pt x="1597" y="156"/>
                  </a:lnTo>
                  <a:lnTo>
                    <a:pt x="1613" y="156"/>
                  </a:lnTo>
                  <a:lnTo>
                    <a:pt x="1630" y="156"/>
                  </a:lnTo>
                  <a:lnTo>
                    <a:pt x="1647" y="156"/>
                  </a:lnTo>
                  <a:lnTo>
                    <a:pt x="1664" y="157"/>
                  </a:lnTo>
                  <a:lnTo>
                    <a:pt x="1681" y="159"/>
                  </a:lnTo>
                  <a:lnTo>
                    <a:pt x="1689" y="162"/>
                  </a:lnTo>
                  <a:lnTo>
                    <a:pt x="1698" y="164"/>
                  </a:lnTo>
                  <a:lnTo>
                    <a:pt x="1705" y="167"/>
                  </a:lnTo>
                  <a:lnTo>
                    <a:pt x="1712" y="170"/>
                  </a:lnTo>
                  <a:lnTo>
                    <a:pt x="1718" y="174"/>
                  </a:lnTo>
                  <a:lnTo>
                    <a:pt x="1725" y="178"/>
                  </a:lnTo>
                  <a:lnTo>
                    <a:pt x="1730" y="183"/>
                  </a:lnTo>
                  <a:lnTo>
                    <a:pt x="1734" y="189"/>
                  </a:lnTo>
                  <a:lnTo>
                    <a:pt x="1739" y="195"/>
                  </a:lnTo>
                  <a:lnTo>
                    <a:pt x="1741" y="202"/>
                  </a:lnTo>
                  <a:lnTo>
                    <a:pt x="1743" y="209"/>
                  </a:lnTo>
                  <a:lnTo>
                    <a:pt x="1743" y="217"/>
                  </a:lnTo>
                  <a:lnTo>
                    <a:pt x="1743" y="229"/>
                  </a:lnTo>
                  <a:lnTo>
                    <a:pt x="1742" y="239"/>
                  </a:lnTo>
                  <a:lnTo>
                    <a:pt x="1741" y="250"/>
                  </a:lnTo>
                  <a:lnTo>
                    <a:pt x="1739" y="261"/>
                  </a:lnTo>
                  <a:lnTo>
                    <a:pt x="1733" y="280"/>
                  </a:lnTo>
                  <a:lnTo>
                    <a:pt x="1726" y="299"/>
                  </a:lnTo>
                  <a:lnTo>
                    <a:pt x="1708" y="334"/>
                  </a:lnTo>
                  <a:lnTo>
                    <a:pt x="1687" y="375"/>
                  </a:lnTo>
                  <a:lnTo>
                    <a:pt x="1675" y="395"/>
                  </a:lnTo>
                  <a:lnTo>
                    <a:pt x="1662" y="413"/>
                  </a:lnTo>
                  <a:lnTo>
                    <a:pt x="1657" y="422"/>
                  </a:lnTo>
                  <a:lnTo>
                    <a:pt x="1652" y="431"/>
                  </a:lnTo>
                  <a:lnTo>
                    <a:pt x="1649" y="441"/>
                  </a:lnTo>
                  <a:lnTo>
                    <a:pt x="1648" y="453"/>
                  </a:lnTo>
                  <a:lnTo>
                    <a:pt x="1649" y="466"/>
                  </a:lnTo>
                  <a:lnTo>
                    <a:pt x="1651" y="479"/>
                  </a:lnTo>
                  <a:lnTo>
                    <a:pt x="1653" y="491"/>
                  </a:lnTo>
                  <a:lnTo>
                    <a:pt x="1659" y="503"/>
                  </a:lnTo>
                  <a:lnTo>
                    <a:pt x="1664" y="514"/>
                  </a:lnTo>
                  <a:lnTo>
                    <a:pt x="1671" y="523"/>
                  </a:lnTo>
                  <a:lnTo>
                    <a:pt x="1677" y="533"/>
                  </a:lnTo>
                  <a:lnTo>
                    <a:pt x="1686" y="543"/>
                  </a:lnTo>
                  <a:lnTo>
                    <a:pt x="1694" y="550"/>
                  </a:lnTo>
                  <a:lnTo>
                    <a:pt x="1705" y="558"/>
                  </a:lnTo>
                  <a:lnTo>
                    <a:pt x="1715" y="564"/>
                  </a:lnTo>
                  <a:lnTo>
                    <a:pt x="1727" y="570"/>
                  </a:lnTo>
                  <a:lnTo>
                    <a:pt x="1738" y="574"/>
                  </a:lnTo>
                  <a:lnTo>
                    <a:pt x="1751" y="577"/>
                  </a:lnTo>
                  <a:lnTo>
                    <a:pt x="1762" y="579"/>
                  </a:lnTo>
                  <a:lnTo>
                    <a:pt x="1775" y="580"/>
                  </a:lnTo>
                  <a:lnTo>
                    <a:pt x="1783" y="580"/>
                  </a:lnTo>
                  <a:lnTo>
                    <a:pt x="1789" y="579"/>
                  </a:lnTo>
                  <a:lnTo>
                    <a:pt x="1795" y="576"/>
                  </a:lnTo>
                  <a:lnTo>
                    <a:pt x="1800" y="574"/>
                  </a:lnTo>
                  <a:lnTo>
                    <a:pt x="1810" y="568"/>
                  </a:lnTo>
                  <a:lnTo>
                    <a:pt x="1820" y="559"/>
                  </a:lnTo>
                  <a:lnTo>
                    <a:pt x="1836" y="540"/>
                  </a:lnTo>
                  <a:lnTo>
                    <a:pt x="1853" y="518"/>
                  </a:lnTo>
                  <a:lnTo>
                    <a:pt x="1866" y="503"/>
                  </a:lnTo>
                  <a:lnTo>
                    <a:pt x="1879" y="489"/>
                  </a:lnTo>
                  <a:lnTo>
                    <a:pt x="1890" y="474"/>
                  </a:lnTo>
                  <a:lnTo>
                    <a:pt x="1901" y="456"/>
                  </a:lnTo>
                  <a:lnTo>
                    <a:pt x="1908" y="439"/>
                  </a:lnTo>
                  <a:lnTo>
                    <a:pt x="1916" y="425"/>
                  </a:lnTo>
                  <a:lnTo>
                    <a:pt x="1921" y="419"/>
                  </a:lnTo>
                  <a:lnTo>
                    <a:pt x="1927" y="413"/>
                  </a:lnTo>
                  <a:lnTo>
                    <a:pt x="1934" y="409"/>
                  </a:lnTo>
                  <a:lnTo>
                    <a:pt x="1943" y="406"/>
                  </a:lnTo>
                  <a:lnTo>
                    <a:pt x="1971" y="399"/>
                  </a:lnTo>
                  <a:lnTo>
                    <a:pt x="1996" y="393"/>
                  </a:lnTo>
                  <a:lnTo>
                    <a:pt x="2021" y="386"/>
                  </a:lnTo>
                  <a:lnTo>
                    <a:pt x="2043" y="381"/>
                  </a:lnTo>
                  <a:lnTo>
                    <a:pt x="2067" y="377"/>
                  </a:lnTo>
                  <a:lnTo>
                    <a:pt x="2091" y="372"/>
                  </a:lnTo>
                  <a:lnTo>
                    <a:pt x="2117" y="370"/>
                  </a:lnTo>
                  <a:lnTo>
                    <a:pt x="2146" y="369"/>
                  </a:lnTo>
                  <a:lnTo>
                    <a:pt x="2158" y="370"/>
                  </a:lnTo>
                  <a:lnTo>
                    <a:pt x="2170" y="373"/>
                  </a:lnTo>
                  <a:lnTo>
                    <a:pt x="2180" y="378"/>
                  </a:lnTo>
                  <a:lnTo>
                    <a:pt x="2190" y="382"/>
                  </a:lnTo>
                  <a:lnTo>
                    <a:pt x="2201" y="386"/>
                  </a:lnTo>
                  <a:lnTo>
                    <a:pt x="2211" y="391"/>
                  </a:lnTo>
                  <a:lnTo>
                    <a:pt x="2223" y="394"/>
                  </a:lnTo>
                  <a:lnTo>
                    <a:pt x="2236" y="395"/>
                  </a:lnTo>
                  <a:lnTo>
                    <a:pt x="2243" y="394"/>
                  </a:lnTo>
                  <a:lnTo>
                    <a:pt x="2251" y="393"/>
                  </a:lnTo>
                  <a:lnTo>
                    <a:pt x="2257" y="391"/>
                  </a:lnTo>
                  <a:lnTo>
                    <a:pt x="2263" y="388"/>
                  </a:lnTo>
                  <a:lnTo>
                    <a:pt x="2274" y="381"/>
                  </a:lnTo>
                  <a:lnTo>
                    <a:pt x="2284" y="372"/>
                  </a:lnTo>
                  <a:lnTo>
                    <a:pt x="2295" y="361"/>
                  </a:lnTo>
                  <a:lnTo>
                    <a:pt x="2305" y="352"/>
                  </a:lnTo>
                  <a:lnTo>
                    <a:pt x="2317" y="342"/>
                  </a:lnTo>
                  <a:lnTo>
                    <a:pt x="2329" y="333"/>
                  </a:lnTo>
                  <a:lnTo>
                    <a:pt x="2348" y="321"/>
                  </a:lnTo>
                  <a:lnTo>
                    <a:pt x="2366" y="313"/>
                  </a:lnTo>
                  <a:lnTo>
                    <a:pt x="2383" y="304"/>
                  </a:lnTo>
                  <a:lnTo>
                    <a:pt x="2401" y="298"/>
                  </a:lnTo>
                  <a:lnTo>
                    <a:pt x="2418" y="291"/>
                  </a:lnTo>
                  <a:lnTo>
                    <a:pt x="2436" y="287"/>
                  </a:lnTo>
                  <a:lnTo>
                    <a:pt x="2456" y="283"/>
                  </a:lnTo>
                  <a:lnTo>
                    <a:pt x="2477" y="279"/>
                  </a:lnTo>
                  <a:lnTo>
                    <a:pt x="2604" y="318"/>
                  </a:lnTo>
                  <a:lnTo>
                    <a:pt x="2604" y="318"/>
                  </a:lnTo>
                  <a:lnTo>
                    <a:pt x="2606" y="333"/>
                  </a:lnTo>
                  <a:lnTo>
                    <a:pt x="2607" y="348"/>
                  </a:lnTo>
                  <a:lnTo>
                    <a:pt x="2607" y="355"/>
                  </a:lnTo>
                  <a:lnTo>
                    <a:pt x="2606" y="363"/>
                  </a:lnTo>
                  <a:lnTo>
                    <a:pt x="2604" y="370"/>
                  </a:lnTo>
                  <a:lnTo>
                    <a:pt x="2601" y="378"/>
                  </a:lnTo>
                  <a:lnTo>
                    <a:pt x="2595" y="386"/>
                  </a:lnTo>
                  <a:lnTo>
                    <a:pt x="2590" y="395"/>
                  </a:lnTo>
                  <a:lnTo>
                    <a:pt x="2583" y="401"/>
                  </a:lnTo>
                  <a:lnTo>
                    <a:pt x="2577" y="409"/>
                  </a:lnTo>
                  <a:lnTo>
                    <a:pt x="2571" y="415"/>
                  </a:lnTo>
                  <a:lnTo>
                    <a:pt x="2566" y="423"/>
                  </a:lnTo>
                  <a:lnTo>
                    <a:pt x="2564" y="427"/>
                  </a:lnTo>
                  <a:lnTo>
                    <a:pt x="2563" y="432"/>
                  </a:lnTo>
                  <a:lnTo>
                    <a:pt x="2562" y="437"/>
                  </a:lnTo>
                  <a:lnTo>
                    <a:pt x="2562" y="442"/>
                  </a:lnTo>
                  <a:lnTo>
                    <a:pt x="2562" y="452"/>
                  </a:lnTo>
                  <a:lnTo>
                    <a:pt x="2563" y="463"/>
                  </a:lnTo>
                  <a:lnTo>
                    <a:pt x="2565" y="472"/>
                  </a:lnTo>
                  <a:lnTo>
                    <a:pt x="2567" y="481"/>
                  </a:lnTo>
                  <a:lnTo>
                    <a:pt x="2572" y="498"/>
                  </a:lnTo>
                  <a:lnTo>
                    <a:pt x="2579" y="515"/>
                  </a:lnTo>
                  <a:lnTo>
                    <a:pt x="2584" y="531"/>
                  </a:lnTo>
                  <a:lnTo>
                    <a:pt x="2590" y="548"/>
                  </a:lnTo>
                  <a:lnTo>
                    <a:pt x="2592" y="557"/>
                  </a:lnTo>
                  <a:lnTo>
                    <a:pt x="2594" y="567"/>
                  </a:lnTo>
                  <a:lnTo>
                    <a:pt x="2595" y="576"/>
                  </a:lnTo>
                  <a:lnTo>
                    <a:pt x="2595" y="586"/>
                  </a:lnTo>
                  <a:lnTo>
                    <a:pt x="2595" y="598"/>
                  </a:lnTo>
                  <a:lnTo>
                    <a:pt x="2594" y="609"/>
                  </a:lnTo>
                  <a:lnTo>
                    <a:pt x="2593" y="618"/>
                  </a:lnTo>
                  <a:lnTo>
                    <a:pt x="2591" y="628"/>
                  </a:lnTo>
                  <a:lnTo>
                    <a:pt x="2587" y="647"/>
                  </a:lnTo>
                  <a:lnTo>
                    <a:pt x="2580" y="665"/>
                  </a:lnTo>
                  <a:lnTo>
                    <a:pt x="2564" y="699"/>
                  </a:lnTo>
                  <a:lnTo>
                    <a:pt x="2548" y="739"/>
                  </a:lnTo>
                  <a:lnTo>
                    <a:pt x="2539" y="765"/>
                  </a:lnTo>
                  <a:lnTo>
                    <a:pt x="2534" y="789"/>
                  </a:lnTo>
                  <a:lnTo>
                    <a:pt x="2529" y="800"/>
                  </a:lnTo>
                  <a:lnTo>
                    <a:pt x="2525" y="812"/>
                  </a:lnTo>
                  <a:lnTo>
                    <a:pt x="2520" y="823"/>
                  </a:lnTo>
                  <a:lnTo>
                    <a:pt x="2511" y="834"/>
                  </a:lnTo>
                  <a:lnTo>
                    <a:pt x="2497" y="851"/>
                  </a:lnTo>
                  <a:lnTo>
                    <a:pt x="2484" y="865"/>
                  </a:lnTo>
                  <a:lnTo>
                    <a:pt x="2477" y="871"/>
                  </a:lnTo>
                  <a:lnTo>
                    <a:pt x="2471" y="879"/>
                  </a:lnTo>
                  <a:lnTo>
                    <a:pt x="2464" y="887"/>
                  </a:lnTo>
                  <a:lnTo>
                    <a:pt x="2458" y="896"/>
                  </a:lnTo>
                  <a:lnTo>
                    <a:pt x="2452" y="908"/>
                  </a:lnTo>
                  <a:lnTo>
                    <a:pt x="2444" y="919"/>
                  </a:lnTo>
                  <a:lnTo>
                    <a:pt x="2439" y="930"/>
                  </a:lnTo>
                  <a:lnTo>
                    <a:pt x="2432" y="940"/>
                  </a:lnTo>
                  <a:lnTo>
                    <a:pt x="2432" y="940"/>
                  </a:lnTo>
                  <a:lnTo>
                    <a:pt x="2406" y="927"/>
                  </a:lnTo>
                  <a:lnTo>
                    <a:pt x="2381" y="915"/>
                  </a:lnTo>
                  <a:lnTo>
                    <a:pt x="2368" y="911"/>
                  </a:lnTo>
                  <a:lnTo>
                    <a:pt x="2355" y="908"/>
                  </a:lnTo>
                  <a:lnTo>
                    <a:pt x="2341" y="906"/>
                  </a:lnTo>
                  <a:lnTo>
                    <a:pt x="2326" y="905"/>
                  </a:lnTo>
                  <a:lnTo>
                    <a:pt x="2315" y="906"/>
                  </a:lnTo>
                  <a:lnTo>
                    <a:pt x="2307" y="908"/>
                  </a:lnTo>
                  <a:lnTo>
                    <a:pt x="2298" y="911"/>
                  </a:lnTo>
                  <a:lnTo>
                    <a:pt x="2290" y="914"/>
                  </a:lnTo>
                  <a:lnTo>
                    <a:pt x="2282" y="918"/>
                  </a:lnTo>
                  <a:lnTo>
                    <a:pt x="2273" y="921"/>
                  </a:lnTo>
                  <a:lnTo>
                    <a:pt x="2264" y="923"/>
                  </a:lnTo>
                  <a:lnTo>
                    <a:pt x="2254" y="924"/>
                  </a:lnTo>
                  <a:lnTo>
                    <a:pt x="2241" y="924"/>
                  </a:lnTo>
                  <a:lnTo>
                    <a:pt x="2228" y="923"/>
                  </a:lnTo>
                  <a:lnTo>
                    <a:pt x="2217" y="922"/>
                  </a:lnTo>
                  <a:lnTo>
                    <a:pt x="2206" y="920"/>
                  </a:lnTo>
                  <a:lnTo>
                    <a:pt x="2185" y="915"/>
                  </a:lnTo>
                  <a:lnTo>
                    <a:pt x="2161" y="908"/>
                  </a:lnTo>
                  <a:lnTo>
                    <a:pt x="2157" y="901"/>
                  </a:lnTo>
                  <a:lnTo>
                    <a:pt x="2152" y="896"/>
                  </a:lnTo>
                  <a:lnTo>
                    <a:pt x="2148" y="896"/>
                  </a:lnTo>
                  <a:lnTo>
                    <a:pt x="2144" y="897"/>
                  </a:lnTo>
                  <a:lnTo>
                    <a:pt x="2139" y="899"/>
                  </a:lnTo>
                  <a:lnTo>
                    <a:pt x="2136" y="901"/>
                  </a:lnTo>
                  <a:lnTo>
                    <a:pt x="2130" y="907"/>
                  </a:lnTo>
                  <a:lnTo>
                    <a:pt x="2124" y="913"/>
                  </a:lnTo>
                  <a:lnTo>
                    <a:pt x="2119" y="921"/>
                  </a:lnTo>
                  <a:lnTo>
                    <a:pt x="2113" y="928"/>
                  </a:lnTo>
                  <a:lnTo>
                    <a:pt x="2107" y="935"/>
                  </a:lnTo>
                  <a:lnTo>
                    <a:pt x="2099" y="941"/>
                  </a:lnTo>
                  <a:lnTo>
                    <a:pt x="2079" y="953"/>
                  </a:lnTo>
                  <a:lnTo>
                    <a:pt x="2061" y="963"/>
                  </a:lnTo>
                  <a:lnTo>
                    <a:pt x="2041" y="972"/>
                  </a:lnTo>
                  <a:lnTo>
                    <a:pt x="2023" y="978"/>
                  </a:lnTo>
                  <a:lnTo>
                    <a:pt x="2003" y="982"/>
                  </a:lnTo>
                  <a:lnTo>
                    <a:pt x="1984" y="986"/>
                  </a:lnTo>
                  <a:lnTo>
                    <a:pt x="1962" y="988"/>
                  </a:lnTo>
                  <a:lnTo>
                    <a:pt x="1938" y="989"/>
                  </a:lnTo>
                  <a:lnTo>
                    <a:pt x="1923" y="989"/>
                  </a:lnTo>
                  <a:lnTo>
                    <a:pt x="1910" y="989"/>
                  </a:lnTo>
                  <a:lnTo>
                    <a:pt x="1896" y="989"/>
                  </a:lnTo>
                  <a:lnTo>
                    <a:pt x="1881" y="989"/>
                  </a:lnTo>
                  <a:lnTo>
                    <a:pt x="1875" y="990"/>
                  </a:lnTo>
                  <a:lnTo>
                    <a:pt x="1869" y="992"/>
                  </a:lnTo>
                  <a:lnTo>
                    <a:pt x="1864" y="995"/>
                  </a:lnTo>
                  <a:lnTo>
                    <a:pt x="1860" y="999"/>
                  </a:lnTo>
                  <a:lnTo>
                    <a:pt x="1854" y="1002"/>
                  </a:lnTo>
                  <a:lnTo>
                    <a:pt x="1850" y="1005"/>
                  </a:lnTo>
                  <a:lnTo>
                    <a:pt x="1843" y="1007"/>
                  </a:lnTo>
                  <a:lnTo>
                    <a:pt x="1837" y="1008"/>
                  </a:lnTo>
                  <a:lnTo>
                    <a:pt x="1828" y="1008"/>
                  </a:lnTo>
                  <a:lnTo>
                    <a:pt x="1820" y="1006"/>
                  </a:lnTo>
                  <a:lnTo>
                    <a:pt x="1812" y="1005"/>
                  </a:lnTo>
                  <a:lnTo>
                    <a:pt x="1805" y="1003"/>
                  </a:lnTo>
                  <a:lnTo>
                    <a:pt x="1788" y="998"/>
                  </a:lnTo>
                  <a:lnTo>
                    <a:pt x="1771" y="994"/>
                  </a:lnTo>
                  <a:lnTo>
                    <a:pt x="1748" y="991"/>
                  </a:lnTo>
                  <a:lnTo>
                    <a:pt x="1728" y="987"/>
                  </a:lnTo>
                  <a:lnTo>
                    <a:pt x="1708" y="982"/>
                  </a:lnTo>
                  <a:lnTo>
                    <a:pt x="1689" y="977"/>
                  </a:lnTo>
                  <a:lnTo>
                    <a:pt x="1672" y="971"/>
                  </a:lnTo>
                  <a:lnTo>
                    <a:pt x="1653" y="962"/>
                  </a:lnTo>
                  <a:lnTo>
                    <a:pt x="1636" y="951"/>
                  </a:lnTo>
                  <a:lnTo>
                    <a:pt x="1618" y="938"/>
                  </a:lnTo>
                  <a:lnTo>
                    <a:pt x="1604" y="927"/>
                  </a:lnTo>
                  <a:lnTo>
                    <a:pt x="1591" y="915"/>
                  </a:lnTo>
                  <a:lnTo>
                    <a:pt x="1579" y="904"/>
                  </a:lnTo>
                  <a:lnTo>
                    <a:pt x="1568" y="893"/>
                  </a:lnTo>
                  <a:lnTo>
                    <a:pt x="1545" y="870"/>
                  </a:lnTo>
                  <a:lnTo>
                    <a:pt x="1524" y="849"/>
                  </a:lnTo>
                  <a:lnTo>
                    <a:pt x="1513" y="840"/>
                  </a:lnTo>
                  <a:lnTo>
                    <a:pt x="1501" y="831"/>
                  </a:lnTo>
                  <a:lnTo>
                    <a:pt x="1489" y="823"/>
                  </a:lnTo>
                  <a:lnTo>
                    <a:pt x="1476" y="816"/>
                  </a:lnTo>
                  <a:lnTo>
                    <a:pt x="1463" y="811"/>
                  </a:lnTo>
                  <a:lnTo>
                    <a:pt x="1448" y="807"/>
                  </a:lnTo>
                  <a:lnTo>
                    <a:pt x="1432" y="804"/>
                  </a:lnTo>
                  <a:lnTo>
                    <a:pt x="1416" y="804"/>
                  </a:lnTo>
                  <a:lnTo>
                    <a:pt x="1402" y="804"/>
                  </a:lnTo>
                  <a:lnTo>
                    <a:pt x="1389" y="807"/>
                  </a:lnTo>
                  <a:lnTo>
                    <a:pt x="1377" y="812"/>
                  </a:lnTo>
                  <a:lnTo>
                    <a:pt x="1366" y="818"/>
                  </a:lnTo>
                  <a:lnTo>
                    <a:pt x="1356" y="825"/>
                  </a:lnTo>
                  <a:lnTo>
                    <a:pt x="1346" y="832"/>
                  </a:lnTo>
                  <a:lnTo>
                    <a:pt x="1337" y="840"/>
                  </a:lnTo>
                  <a:lnTo>
                    <a:pt x="1327" y="849"/>
                  </a:lnTo>
                  <a:lnTo>
                    <a:pt x="1317" y="857"/>
                  </a:lnTo>
                  <a:lnTo>
                    <a:pt x="1309" y="865"/>
                  </a:lnTo>
                  <a:lnTo>
                    <a:pt x="1298" y="872"/>
                  </a:lnTo>
                  <a:lnTo>
                    <a:pt x="1288" y="880"/>
                  </a:lnTo>
                  <a:lnTo>
                    <a:pt x="1277" y="885"/>
                  </a:lnTo>
                  <a:lnTo>
                    <a:pt x="1266" y="890"/>
                  </a:lnTo>
                  <a:lnTo>
                    <a:pt x="1253" y="893"/>
                  </a:lnTo>
                  <a:lnTo>
                    <a:pt x="1239" y="894"/>
                  </a:lnTo>
                  <a:lnTo>
                    <a:pt x="1231" y="893"/>
                  </a:lnTo>
                  <a:lnTo>
                    <a:pt x="1223" y="891"/>
                  </a:lnTo>
                  <a:lnTo>
                    <a:pt x="1216" y="886"/>
                  </a:lnTo>
                  <a:lnTo>
                    <a:pt x="1211" y="881"/>
                  </a:lnTo>
                  <a:lnTo>
                    <a:pt x="1205" y="874"/>
                  </a:lnTo>
                  <a:lnTo>
                    <a:pt x="1202" y="868"/>
                  </a:lnTo>
                  <a:lnTo>
                    <a:pt x="1199" y="859"/>
                  </a:lnTo>
                  <a:lnTo>
                    <a:pt x="1196" y="852"/>
                  </a:lnTo>
                  <a:lnTo>
                    <a:pt x="1196" y="852"/>
                  </a:lnTo>
                  <a:close/>
                </a:path>
              </a:pathLst>
            </a:custGeom>
            <a:solidFill>
              <a:srgbClr val="C1EFA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12">
              <a:extLst>
                <a:ext uri="{FF2B5EF4-FFF2-40B4-BE49-F238E27FC236}">
                  <a16:creationId xmlns:a16="http://schemas.microsoft.com/office/drawing/2014/main" id="{D0EE3F12-4486-45E8-877A-E9F68977E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28775" y="2403476"/>
              <a:ext cx="1035050" cy="400050"/>
            </a:xfrm>
            <a:custGeom>
              <a:avLst/>
              <a:gdLst>
                <a:gd name="T0" fmla="*/ 804 w 2607"/>
                <a:gd name="T1" fmla="*/ 613 h 1008"/>
                <a:gd name="T2" fmla="*/ 709 w 2607"/>
                <a:gd name="T3" fmla="*/ 587 h 1008"/>
                <a:gd name="T4" fmla="*/ 632 w 2607"/>
                <a:gd name="T5" fmla="*/ 635 h 1008"/>
                <a:gd name="T6" fmla="*/ 465 w 2607"/>
                <a:gd name="T7" fmla="*/ 785 h 1008"/>
                <a:gd name="T8" fmla="*/ 399 w 2607"/>
                <a:gd name="T9" fmla="*/ 800 h 1008"/>
                <a:gd name="T10" fmla="*/ 330 w 2607"/>
                <a:gd name="T11" fmla="*/ 782 h 1008"/>
                <a:gd name="T12" fmla="*/ 310 w 2607"/>
                <a:gd name="T13" fmla="*/ 878 h 1008"/>
                <a:gd name="T14" fmla="*/ 249 w 2607"/>
                <a:gd name="T15" fmla="*/ 900 h 1008"/>
                <a:gd name="T16" fmla="*/ 179 w 2607"/>
                <a:gd name="T17" fmla="*/ 843 h 1008"/>
                <a:gd name="T18" fmla="*/ 134 w 2607"/>
                <a:gd name="T19" fmla="*/ 734 h 1008"/>
                <a:gd name="T20" fmla="*/ 134 w 2607"/>
                <a:gd name="T21" fmla="*/ 664 h 1008"/>
                <a:gd name="T22" fmla="*/ 51 w 2607"/>
                <a:gd name="T23" fmla="*/ 587 h 1008"/>
                <a:gd name="T24" fmla="*/ 16 w 2607"/>
                <a:gd name="T25" fmla="*/ 528 h 1008"/>
                <a:gd name="T26" fmla="*/ 137 w 2607"/>
                <a:gd name="T27" fmla="*/ 463 h 1008"/>
                <a:gd name="T28" fmla="*/ 247 w 2607"/>
                <a:gd name="T29" fmla="*/ 333 h 1008"/>
                <a:gd name="T30" fmla="*/ 286 w 2607"/>
                <a:gd name="T31" fmla="*/ 262 h 1008"/>
                <a:gd name="T32" fmla="*/ 275 w 2607"/>
                <a:gd name="T33" fmla="*/ 205 h 1008"/>
                <a:gd name="T34" fmla="*/ 247 w 2607"/>
                <a:gd name="T35" fmla="*/ 85 h 1008"/>
                <a:gd name="T36" fmla="*/ 344 w 2607"/>
                <a:gd name="T37" fmla="*/ 29 h 1008"/>
                <a:gd name="T38" fmla="*/ 628 w 2607"/>
                <a:gd name="T39" fmla="*/ 2 h 1008"/>
                <a:gd name="T40" fmla="*/ 728 w 2607"/>
                <a:gd name="T41" fmla="*/ 30 h 1008"/>
                <a:gd name="T42" fmla="*/ 822 w 2607"/>
                <a:gd name="T43" fmla="*/ 103 h 1008"/>
                <a:gd name="T44" fmla="*/ 889 w 2607"/>
                <a:gd name="T45" fmla="*/ 239 h 1008"/>
                <a:gd name="T46" fmla="*/ 924 w 2607"/>
                <a:gd name="T47" fmla="*/ 271 h 1008"/>
                <a:gd name="T48" fmla="*/ 991 w 2607"/>
                <a:gd name="T49" fmla="*/ 217 h 1008"/>
                <a:gd name="T50" fmla="*/ 1115 w 2607"/>
                <a:gd name="T51" fmla="*/ 162 h 1008"/>
                <a:gd name="T52" fmla="*/ 1250 w 2607"/>
                <a:gd name="T53" fmla="*/ 235 h 1008"/>
                <a:gd name="T54" fmla="*/ 1289 w 2607"/>
                <a:gd name="T55" fmla="*/ 273 h 1008"/>
                <a:gd name="T56" fmla="*/ 1333 w 2607"/>
                <a:gd name="T57" fmla="*/ 259 h 1008"/>
                <a:gd name="T58" fmla="*/ 1458 w 2607"/>
                <a:gd name="T59" fmla="*/ 195 h 1008"/>
                <a:gd name="T60" fmla="*/ 1562 w 2607"/>
                <a:gd name="T61" fmla="*/ 157 h 1008"/>
                <a:gd name="T62" fmla="*/ 1681 w 2607"/>
                <a:gd name="T63" fmla="*/ 159 h 1008"/>
                <a:gd name="T64" fmla="*/ 1734 w 2607"/>
                <a:gd name="T65" fmla="*/ 189 h 1008"/>
                <a:gd name="T66" fmla="*/ 1739 w 2607"/>
                <a:gd name="T67" fmla="*/ 261 h 1008"/>
                <a:gd name="T68" fmla="*/ 1652 w 2607"/>
                <a:gd name="T69" fmla="*/ 431 h 1008"/>
                <a:gd name="T70" fmla="*/ 1671 w 2607"/>
                <a:gd name="T71" fmla="*/ 523 h 1008"/>
                <a:gd name="T72" fmla="*/ 1751 w 2607"/>
                <a:gd name="T73" fmla="*/ 577 h 1008"/>
                <a:gd name="T74" fmla="*/ 1820 w 2607"/>
                <a:gd name="T75" fmla="*/ 559 h 1008"/>
                <a:gd name="T76" fmla="*/ 1916 w 2607"/>
                <a:gd name="T77" fmla="*/ 425 h 1008"/>
                <a:gd name="T78" fmla="*/ 2043 w 2607"/>
                <a:gd name="T79" fmla="*/ 381 h 1008"/>
                <a:gd name="T80" fmla="*/ 2190 w 2607"/>
                <a:gd name="T81" fmla="*/ 382 h 1008"/>
                <a:gd name="T82" fmla="*/ 2263 w 2607"/>
                <a:gd name="T83" fmla="*/ 388 h 1008"/>
                <a:gd name="T84" fmla="*/ 2366 w 2607"/>
                <a:gd name="T85" fmla="*/ 313 h 1008"/>
                <a:gd name="T86" fmla="*/ 2604 w 2607"/>
                <a:gd name="T87" fmla="*/ 318 h 1008"/>
                <a:gd name="T88" fmla="*/ 2590 w 2607"/>
                <a:gd name="T89" fmla="*/ 395 h 1008"/>
                <a:gd name="T90" fmla="*/ 2562 w 2607"/>
                <a:gd name="T91" fmla="*/ 442 h 1008"/>
                <a:gd name="T92" fmla="*/ 2590 w 2607"/>
                <a:gd name="T93" fmla="*/ 548 h 1008"/>
                <a:gd name="T94" fmla="*/ 2591 w 2607"/>
                <a:gd name="T95" fmla="*/ 628 h 1008"/>
                <a:gd name="T96" fmla="*/ 2525 w 2607"/>
                <a:gd name="T97" fmla="*/ 812 h 1008"/>
                <a:gd name="T98" fmla="*/ 2458 w 2607"/>
                <a:gd name="T99" fmla="*/ 896 h 1008"/>
                <a:gd name="T100" fmla="*/ 2368 w 2607"/>
                <a:gd name="T101" fmla="*/ 911 h 1008"/>
                <a:gd name="T102" fmla="*/ 2282 w 2607"/>
                <a:gd name="T103" fmla="*/ 918 h 1008"/>
                <a:gd name="T104" fmla="*/ 2185 w 2607"/>
                <a:gd name="T105" fmla="*/ 915 h 1008"/>
                <a:gd name="T106" fmla="*/ 2130 w 2607"/>
                <a:gd name="T107" fmla="*/ 907 h 1008"/>
                <a:gd name="T108" fmla="*/ 2041 w 2607"/>
                <a:gd name="T109" fmla="*/ 972 h 1008"/>
                <a:gd name="T110" fmla="*/ 1896 w 2607"/>
                <a:gd name="T111" fmla="*/ 989 h 1008"/>
                <a:gd name="T112" fmla="*/ 1843 w 2607"/>
                <a:gd name="T113" fmla="*/ 1007 h 1008"/>
                <a:gd name="T114" fmla="*/ 1748 w 2607"/>
                <a:gd name="T115" fmla="*/ 991 h 1008"/>
                <a:gd name="T116" fmla="*/ 1604 w 2607"/>
                <a:gd name="T117" fmla="*/ 927 h 1008"/>
                <a:gd name="T118" fmla="*/ 1489 w 2607"/>
                <a:gd name="T119" fmla="*/ 823 h 1008"/>
                <a:gd name="T120" fmla="*/ 1377 w 2607"/>
                <a:gd name="T121" fmla="*/ 812 h 1008"/>
                <a:gd name="T122" fmla="*/ 1298 w 2607"/>
                <a:gd name="T123" fmla="*/ 872 h 1008"/>
                <a:gd name="T124" fmla="*/ 1216 w 2607"/>
                <a:gd name="T125" fmla="*/ 886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07" h="1008">
                  <a:moveTo>
                    <a:pt x="1196" y="852"/>
                  </a:moveTo>
                  <a:lnTo>
                    <a:pt x="961" y="664"/>
                  </a:lnTo>
                  <a:lnTo>
                    <a:pt x="919" y="651"/>
                  </a:lnTo>
                  <a:lnTo>
                    <a:pt x="881" y="642"/>
                  </a:lnTo>
                  <a:lnTo>
                    <a:pt x="863" y="637"/>
                  </a:lnTo>
                  <a:lnTo>
                    <a:pt x="844" y="631"/>
                  </a:lnTo>
                  <a:lnTo>
                    <a:pt x="825" y="623"/>
                  </a:lnTo>
                  <a:lnTo>
                    <a:pt x="804" y="613"/>
                  </a:lnTo>
                  <a:lnTo>
                    <a:pt x="786" y="603"/>
                  </a:lnTo>
                  <a:lnTo>
                    <a:pt x="769" y="594"/>
                  </a:lnTo>
                  <a:lnTo>
                    <a:pt x="760" y="590"/>
                  </a:lnTo>
                  <a:lnTo>
                    <a:pt x="751" y="587"/>
                  </a:lnTo>
                  <a:lnTo>
                    <a:pt x="741" y="586"/>
                  </a:lnTo>
                  <a:lnTo>
                    <a:pt x="730" y="585"/>
                  </a:lnTo>
                  <a:lnTo>
                    <a:pt x="719" y="586"/>
                  </a:lnTo>
                  <a:lnTo>
                    <a:pt x="709" y="587"/>
                  </a:lnTo>
                  <a:lnTo>
                    <a:pt x="701" y="589"/>
                  </a:lnTo>
                  <a:lnTo>
                    <a:pt x="691" y="591"/>
                  </a:lnTo>
                  <a:lnTo>
                    <a:pt x="683" y="595"/>
                  </a:lnTo>
                  <a:lnTo>
                    <a:pt x="675" y="599"/>
                  </a:lnTo>
                  <a:lnTo>
                    <a:pt x="667" y="604"/>
                  </a:lnTo>
                  <a:lnTo>
                    <a:pt x="660" y="609"/>
                  </a:lnTo>
                  <a:lnTo>
                    <a:pt x="646" y="621"/>
                  </a:lnTo>
                  <a:lnTo>
                    <a:pt x="632" y="635"/>
                  </a:lnTo>
                  <a:lnTo>
                    <a:pt x="618" y="649"/>
                  </a:lnTo>
                  <a:lnTo>
                    <a:pt x="602" y="664"/>
                  </a:lnTo>
                  <a:lnTo>
                    <a:pt x="577" y="688"/>
                  </a:lnTo>
                  <a:lnTo>
                    <a:pt x="553" y="708"/>
                  </a:lnTo>
                  <a:lnTo>
                    <a:pt x="529" y="728"/>
                  </a:lnTo>
                  <a:lnTo>
                    <a:pt x="502" y="750"/>
                  </a:lnTo>
                  <a:lnTo>
                    <a:pt x="483" y="769"/>
                  </a:lnTo>
                  <a:lnTo>
                    <a:pt x="465" y="785"/>
                  </a:lnTo>
                  <a:lnTo>
                    <a:pt x="456" y="791"/>
                  </a:lnTo>
                  <a:lnTo>
                    <a:pt x="445" y="797"/>
                  </a:lnTo>
                  <a:lnTo>
                    <a:pt x="439" y="799"/>
                  </a:lnTo>
                  <a:lnTo>
                    <a:pt x="434" y="800"/>
                  </a:lnTo>
                  <a:lnTo>
                    <a:pt x="427" y="801"/>
                  </a:lnTo>
                  <a:lnTo>
                    <a:pt x="420" y="801"/>
                  </a:lnTo>
                  <a:lnTo>
                    <a:pt x="409" y="801"/>
                  </a:lnTo>
                  <a:lnTo>
                    <a:pt x="399" y="800"/>
                  </a:lnTo>
                  <a:lnTo>
                    <a:pt x="390" y="798"/>
                  </a:lnTo>
                  <a:lnTo>
                    <a:pt x="381" y="796"/>
                  </a:lnTo>
                  <a:lnTo>
                    <a:pt x="372" y="791"/>
                  </a:lnTo>
                  <a:lnTo>
                    <a:pt x="364" y="787"/>
                  </a:lnTo>
                  <a:lnTo>
                    <a:pt x="356" y="780"/>
                  </a:lnTo>
                  <a:lnTo>
                    <a:pt x="348" y="773"/>
                  </a:lnTo>
                  <a:lnTo>
                    <a:pt x="339" y="777"/>
                  </a:lnTo>
                  <a:lnTo>
                    <a:pt x="330" y="782"/>
                  </a:lnTo>
                  <a:lnTo>
                    <a:pt x="330" y="802"/>
                  </a:lnTo>
                  <a:lnTo>
                    <a:pt x="328" y="823"/>
                  </a:lnTo>
                  <a:lnTo>
                    <a:pt x="327" y="832"/>
                  </a:lnTo>
                  <a:lnTo>
                    <a:pt x="325" y="843"/>
                  </a:lnTo>
                  <a:lnTo>
                    <a:pt x="322" y="853"/>
                  </a:lnTo>
                  <a:lnTo>
                    <a:pt x="318" y="861"/>
                  </a:lnTo>
                  <a:lnTo>
                    <a:pt x="315" y="870"/>
                  </a:lnTo>
                  <a:lnTo>
                    <a:pt x="310" y="878"/>
                  </a:lnTo>
                  <a:lnTo>
                    <a:pt x="304" y="884"/>
                  </a:lnTo>
                  <a:lnTo>
                    <a:pt x="299" y="891"/>
                  </a:lnTo>
                  <a:lnTo>
                    <a:pt x="292" y="895"/>
                  </a:lnTo>
                  <a:lnTo>
                    <a:pt x="284" y="899"/>
                  </a:lnTo>
                  <a:lnTo>
                    <a:pt x="276" y="901"/>
                  </a:lnTo>
                  <a:lnTo>
                    <a:pt x="267" y="901"/>
                  </a:lnTo>
                  <a:lnTo>
                    <a:pt x="258" y="901"/>
                  </a:lnTo>
                  <a:lnTo>
                    <a:pt x="249" y="900"/>
                  </a:lnTo>
                  <a:lnTo>
                    <a:pt x="242" y="899"/>
                  </a:lnTo>
                  <a:lnTo>
                    <a:pt x="234" y="897"/>
                  </a:lnTo>
                  <a:lnTo>
                    <a:pt x="220" y="892"/>
                  </a:lnTo>
                  <a:lnTo>
                    <a:pt x="205" y="885"/>
                  </a:lnTo>
                  <a:lnTo>
                    <a:pt x="198" y="876"/>
                  </a:lnTo>
                  <a:lnTo>
                    <a:pt x="192" y="865"/>
                  </a:lnTo>
                  <a:lnTo>
                    <a:pt x="184" y="854"/>
                  </a:lnTo>
                  <a:lnTo>
                    <a:pt x="179" y="843"/>
                  </a:lnTo>
                  <a:lnTo>
                    <a:pt x="168" y="817"/>
                  </a:lnTo>
                  <a:lnTo>
                    <a:pt x="157" y="792"/>
                  </a:lnTo>
                  <a:lnTo>
                    <a:pt x="151" y="780"/>
                  </a:lnTo>
                  <a:lnTo>
                    <a:pt x="143" y="770"/>
                  </a:lnTo>
                  <a:lnTo>
                    <a:pt x="134" y="760"/>
                  </a:lnTo>
                  <a:lnTo>
                    <a:pt x="123" y="750"/>
                  </a:lnTo>
                  <a:lnTo>
                    <a:pt x="128" y="742"/>
                  </a:lnTo>
                  <a:lnTo>
                    <a:pt x="134" y="734"/>
                  </a:lnTo>
                  <a:lnTo>
                    <a:pt x="136" y="731"/>
                  </a:lnTo>
                  <a:lnTo>
                    <a:pt x="138" y="726"/>
                  </a:lnTo>
                  <a:lnTo>
                    <a:pt x="140" y="722"/>
                  </a:lnTo>
                  <a:lnTo>
                    <a:pt x="140" y="717"/>
                  </a:lnTo>
                  <a:lnTo>
                    <a:pt x="140" y="703"/>
                  </a:lnTo>
                  <a:lnTo>
                    <a:pt x="139" y="689"/>
                  </a:lnTo>
                  <a:lnTo>
                    <a:pt x="137" y="676"/>
                  </a:lnTo>
                  <a:lnTo>
                    <a:pt x="134" y="664"/>
                  </a:lnTo>
                  <a:lnTo>
                    <a:pt x="129" y="652"/>
                  </a:lnTo>
                  <a:lnTo>
                    <a:pt x="123" y="641"/>
                  </a:lnTo>
                  <a:lnTo>
                    <a:pt x="114" y="631"/>
                  </a:lnTo>
                  <a:lnTo>
                    <a:pt x="103" y="622"/>
                  </a:lnTo>
                  <a:lnTo>
                    <a:pt x="89" y="611"/>
                  </a:lnTo>
                  <a:lnTo>
                    <a:pt x="76" y="602"/>
                  </a:lnTo>
                  <a:lnTo>
                    <a:pt x="63" y="595"/>
                  </a:lnTo>
                  <a:lnTo>
                    <a:pt x="51" y="587"/>
                  </a:lnTo>
                  <a:lnTo>
                    <a:pt x="39" y="580"/>
                  </a:lnTo>
                  <a:lnTo>
                    <a:pt x="26" y="571"/>
                  </a:lnTo>
                  <a:lnTo>
                    <a:pt x="13" y="560"/>
                  </a:lnTo>
                  <a:lnTo>
                    <a:pt x="0" y="548"/>
                  </a:lnTo>
                  <a:lnTo>
                    <a:pt x="0" y="548"/>
                  </a:lnTo>
                  <a:lnTo>
                    <a:pt x="5" y="541"/>
                  </a:lnTo>
                  <a:lnTo>
                    <a:pt x="11" y="533"/>
                  </a:lnTo>
                  <a:lnTo>
                    <a:pt x="16" y="528"/>
                  </a:lnTo>
                  <a:lnTo>
                    <a:pt x="21" y="521"/>
                  </a:lnTo>
                  <a:lnTo>
                    <a:pt x="34" y="513"/>
                  </a:lnTo>
                  <a:lnTo>
                    <a:pt x="48" y="505"/>
                  </a:lnTo>
                  <a:lnTo>
                    <a:pt x="79" y="493"/>
                  </a:lnTo>
                  <a:lnTo>
                    <a:pt x="112" y="479"/>
                  </a:lnTo>
                  <a:lnTo>
                    <a:pt x="121" y="474"/>
                  </a:lnTo>
                  <a:lnTo>
                    <a:pt x="129" y="468"/>
                  </a:lnTo>
                  <a:lnTo>
                    <a:pt x="137" y="463"/>
                  </a:lnTo>
                  <a:lnTo>
                    <a:pt x="144" y="458"/>
                  </a:lnTo>
                  <a:lnTo>
                    <a:pt x="156" y="445"/>
                  </a:lnTo>
                  <a:lnTo>
                    <a:pt x="167" y="432"/>
                  </a:lnTo>
                  <a:lnTo>
                    <a:pt x="188" y="402"/>
                  </a:lnTo>
                  <a:lnTo>
                    <a:pt x="213" y="372"/>
                  </a:lnTo>
                  <a:lnTo>
                    <a:pt x="225" y="358"/>
                  </a:lnTo>
                  <a:lnTo>
                    <a:pt x="236" y="346"/>
                  </a:lnTo>
                  <a:lnTo>
                    <a:pt x="247" y="333"/>
                  </a:lnTo>
                  <a:lnTo>
                    <a:pt x="258" y="319"/>
                  </a:lnTo>
                  <a:lnTo>
                    <a:pt x="267" y="309"/>
                  </a:lnTo>
                  <a:lnTo>
                    <a:pt x="276" y="299"/>
                  </a:lnTo>
                  <a:lnTo>
                    <a:pt x="279" y="294"/>
                  </a:lnTo>
                  <a:lnTo>
                    <a:pt x="283" y="289"/>
                  </a:lnTo>
                  <a:lnTo>
                    <a:pt x="285" y="283"/>
                  </a:lnTo>
                  <a:lnTo>
                    <a:pt x="286" y="276"/>
                  </a:lnTo>
                  <a:lnTo>
                    <a:pt x="286" y="262"/>
                  </a:lnTo>
                  <a:lnTo>
                    <a:pt x="286" y="249"/>
                  </a:lnTo>
                  <a:lnTo>
                    <a:pt x="286" y="236"/>
                  </a:lnTo>
                  <a:lnTo>
                    <a:pt x="286" y="221"/>
                  </a:lnTo>
                  <a:lnTo>
                    <a:pt x="286" y="218"/>
                  </a:lnTo>
                  <a:lnTo>
                    <a:pt x="284" y="215"/>
                  </a:lnTo>
                  <a:lnTo>
                    <a:pt x="283" y="212"/>
                  </a:lnTo>
                  <a:lnTo>
                    <a:pt x="281" y="210"/>
                  </a:lnTo>
                  <a:lnTo>
                    <a:pt x="275" y="205"/>
                  </a:lnTo>
                  <a:lnTo>
                    <a:pt x="272" y="198"/>
                  </a:lnTo>
                  <a:lnTo>
                    <a:pt x="262" y="174"/>
                  </a:lnTo>
                  <a:lnTo>
                    <a:pt x="255" y="152"/>
                  </a:lnTo>
                  <a:lnTo>
                    <a:pt x="251" y="140"/>
                  </a:lnTo>
                  <a:lnTo>
                    <a:pt x="249" y="128"/>
                  </a:lnTo>
                  <a:lnTo>
                    <a:pt x="247" y="116"/>
                  </a:lnTo>
                  <a:lnTo>
                    <a:pt x="247" y="102"/>
                  </a:lnTo>
                  <a:lnTo>
                    <a:pt x="247" y="85"/>
                  </a:lnTo>
                  <a:lnTo>
                    <a:pt x="247" y="69"/>
                  </a:lnTo>
                  <a:lnTo>
                    <a:pt x="247" y="54"/>
                  </a:lnTo>
                  <a:lnTo>
                    <a:pt x="247" y="36"/>
                  </a:lnTo>
                  <a:lnTo>
                    <a:pt x="276" y="36"/>
                  </a:lnTo>
                  <a:lnTo>
                    <a:pt x="303" y="35"/>
                  </a:lnTo>
                  <a:lnTo>
                    <a:pt x="316" y="34"/>
                  </a:lnTo>
                  <a:lnTo>
                    <a:pt x="330" y="32"/>
                  </a:lnTo>
                  <a:lnTo>
                    <a:pt x="344" y="29"/>
                  </a:lnTo>
                  <a:lnTo>
                    <a:pt x="358" y="24"/>
                  </a:lnTo>
                  <a:lnTo>
                    <a:pt x="358" y="24"/>
                  </a:lnTo>
                  <a:lnTo>
                    <a:pt x="560" y="5"/>
                  </a:lnTo>
                  <a:lnTo>
                    <a:pt x="575" y="5"/>
                  </a:lnTo>
                  <a:lnTo>
                    <a:pt x="588" y="5"/>
                  </a:lnTo>
                  <a:lnTo>
                    <a:pt x="601" y="5"/>
                  </a:lnTo>
                  <a:lnTo>
                    <a:pt x="615" y="5"/>
                  </a:lnTo>
                  <a:lnTo>
                    <a:pt x="628" y="2"/>
                  </a:lnTo>
                  <a:lnTo>
                    <a:pt x="641" y="0"/>
                  </a:lnTo>
                  <a:lnTo>
                    <a:pt x="651" y="0"/>
                  </a:lnTo>
                  <a:lnTo>
                    <a:pt x="659" y="1"/>
                  </a:lnTo>
                  <a:lnTo>
                    <a:pt x="667" y="2"/>
                  </a:lnTo>
                  <a:lnTo>
                    <a:pt x="675" y="4"/>
                  </a:lnTo>
                  <a:lnTo>
                    <a:pt x="689" y="8"/>
                  </a:lnTo>
                  <a:lnTo>
                    <a:pt x="702" y="15"/>
                  </a:lnTo>
                  <a:lnTo>
                    <a:pt x="728" y="30"/>
                  </a:lnTo>
                  <a:lnTo>
                    <a:pt x="757" y="47"/>
                  </a:lnTo>
                  <a:lnTo>
                    <a:pt x="769" y="54"/>
                  </a:lnTo>
                  <a:lnTo>
                    <a:pt x="780" y="61"/>
                  </a:lnTo>
                  <a:lnTo>
                    <a:pt x="789" y="68"/>
                  </a:lnTo>
                  <a:lnTo>
                    <a:pt x="798" y="75"/>
                  </a:lnTo>
                  <a:lnTo>
                    <a:pt x="807" y="84"/>
                  </a:lnTo>
                  <a:lnTo>
                    <a:pt x="814" y="93"/>
                  </a:lnTo>
                  <a:lnTo>
                    <a:pt x="822" y="103"/>
                  </a:lnTo>
                  <a:lnTo>
                    <a:pt x="829" y="114"/>
                  </a:lnTo>
                  <a:lnTo>
                    <a:pt x="843" y="137"/>
                  </a:lnTo>
                  <a:lnTo>
                    <a:pt x="855" y="158"/>
                  </a:lnTo>
                  <a:lnTo>
                    <a:pt x="865" y="179"/>
                  </a:lnTo>
                  <a:lnTo>
                    <a:pt x="875" y="204"/>
                  </a:lnTo>
                  <a:lnTo>
                    <a:pt x="879" y="216"/>
                  </a:lnTo>
                  <a:lnTo>
                    <a:pt x="883" y="228"/>
                  </a:lnTo>
                  <a:lnTo>
                    <a:pt x="889" y="239"/>
                  </a:lnTo>
                  <a:lnTo>
                    <a:pt x="894" y="249"/>
                  </a:lnTo>
                  <a:lnTo>
                    <a:pt x="897" y="255"/>
                  </a:lnTo>
                  <a:lnTo>
                    <a:pt x="901" y="259"/>
                  </a:lnTo>
                  <a:lnTo>
                    <a:pt x="905" y="262"/>
                  </a:lnTo>
                  <a:lnTo>
                    <a:pt x="909" y="265"/>
                  </a:lnTo>
                  <a:lnTo>
                    <a:pt x="913" y="267"/>
                  </a:lnTo>
                  <a:lnTo>
                    <a:pt x="919" y="270"/>
                  </a:lnTo>
                  <a:lnTo>
                    <a:pt x="924" y="271"/>
                  </a:lnTo>
                  <a:lnTo>
                    <a:pt x="931" y="272"/>
                  </a:lnTo>
                  <a:lnTo>
                    <a:pt x="938" y="271"/>
                  </a:lnTo>
                  <a:lnTo>
                    <a:pt x="945" y="267"/>
                  </a:lnTo>
                  <a:lnTo>
                    <a:pt x="950" y="263"/>
                  </a:lnTo>
                  <a:lnTo>
                    <a:pt x="956" y="258"/>
                  </a:lnTo>
                  <a:lnTo>
                    <a:pt x="965" y="245"/>
                  </a:lnTo>
                  <a:lnTo>
                    <a:pt x="975" y="232"/>
                  </a:lnTo>
                  <a:lnTo>
                    <a:pt x="991" y="217"/>
                  </a:lnTo>
                  <a:lnTo>
                    <a:pt x="1007" y="205"/>
                  </a:lnTo>
                  <a:lnTo>
                    <a:pt x="1023" y="194"/>
                  </a:lnTo>
                  <a:lnTo>
                    <a:pt x="1039" y="184"/>
                  </a:lnTo>
                  <a:lnTo>
                    <a:pt x="1056" y="177"/>
                  </a:lnTo>
                  <a:lnTo>
                    <a:pt x="1074" y="171"/>
                  </a:lnTo>
                  <a:lnTo>
                    <a:pt x="1094" y="166"/>
                  </a:lnTo>
                  <a:lnTo>
                    <a:pt x="1115" y="162"/>
                  </a:lnTo>
                  <a:lnTo>
                    <a:pt x="1115" y="162"/>
                  </a:lnTo>
                  <a:lnTo>
                    <a:pt x="1133" y="174"/>
                  </a:lnTo>
                  <a:lnTo>
                    <a:pt x="1150" y="183"/>
                  </a:lnTo>
                  <a:lnTo>
                    <a:pt x="1166" y="191"/>
                  </a:lnTo>
                  <a:lnTo>
                    <a:pt x="1182" y="198"/>
                  </a:lnTo>
                  <a:lnTo>
                    <a:pt x="1200" y="206"/>
                  </a:lnTo>
                  <a:lnTo>
                    <a:pt x="1216" y="215"/>
                  </a:lnTo>
                  <a:lnTo>
                    <a:pt x="1233" y="223"/>
                  </a:lnTo>
                  <a:lnTo>
                    <a:pt x="1250" y="235"/>
                  </a:lnTo>
                  <a:lnTo>
                    <a:pt x="1257" y="240"/>
                  </a:lnTo>
                  <a:lnTo>
                    <a:pt x="1262" y="247"/>
                  </a:lnTo>
                  <a:lnTo>
                    <a:pt x="1267" y="253"/>
                  </a:lnTo>
                  <a:lnTo>
                    <a:pt x="1272" y="260"/>
                  </a:lnTo>
                  <a:lnTo>
                    <a:pt x="1277" y="265"/>
                  </a:lnTo>
                  <a:lnTo>
                    <a:pt x="1283" y="270"/>
                  </a:lnTo>
                  <a:lnTo>
                    <a:pt x="1286" y="272"/>
                  </a:lnTo>
                  <a:lnTo>
                    <a:pt x="1289" y="273"/>
                  </a:lnTo>
                  <a:lnTo>
                    <a:pt x="1294" y="274"/>
                  </a:lnTo>
                  <a:lnTo>
                    <a:pt x="1298" y="274"/>
                  </a:lnTo>
                  <a:lnTo>
                    <a:pt x="1303" y="274"/>
                  </a:lnTo>
                  <a:lnTo>
                    <a:pt x="1309" y="273"/>
                  </a:lnTo>
                  <a:lnTo>
                    <a:pt x="1313" y="272"/>
                  </a:lnTo>
                  <a:lnTo>
                    <a:pt x="1317" y="270"/>
                  </a:lnTo>
                  <a:lnTo>
                    <a:pt x="1325" y="265"/>
                  </a:lnTo>
                  <a:lnTo>
                    <a:pt x="1333" y="259"/>
                  </a:lnTo>
                  <a:lnTo>
                    <a:pt x="1340" y="252"/>
                  </a:lnTo>
                  <a:lnTo>
                    <a:pt x="1348" y="245"/>
                  </a:lnTo>
                  <a:lnTo>
                    <a:pt x="1355" y="238"/>
                  </a:lnTo>
                  <a:lnTo>
                    <a:pt x="1365" y="232"/>
                  </a:lnTo>
                  <a:lnTo>
                    <a:pt x="1388" y="219"/>
                  </a:lnTo>
                  <a:lnTo>
                    <a:pt x="1409" y="209"/>
                  </a:lnTo>
                  <a:lnTo>
                    <a:pt x="1432" y="202"/>
                  </a:lnTo>
                  <a:lnTo>
                    <a:pt x="1458" y="195"/>
                  </a:lnTo>
                  <a:lnTo>
                    <a:pt x="1474" y="191"/>
                  </a:lnTo>
                  <a:lnTo>
                    <a:pt x="1490" y="184"/>
                  </a:lnTo>
                  <a:lnTo>
                    <a:pt x="1504" y="178"/>
                  </a:lnTo>
                  <a:lnTo>
                    <a:pt x="1517" y="171"/>
                  </a:lnTo>
                  <a:lnTo>
                    <a:pt x="1531" y="166"/>
                  </a:lnTo>
                  <a:lnTo>
                    <a:pt x="1545" y="161"/>
                  </a:lnTo>
                  <a:lnTo>
                    <a:pt x="1553" y="159"/>
                  </a:lnTo>
                  <a:lnTo>
                    <a:pt x="1562" y="157"/>
                  </a:lnTo>
                  <a:lnTo>
                    <a:pt x="1570" y="156"/>
                  </a:lnTo>
                  <a:lnTo>
                    <a:pt x="1579" y="156"/>
                  </a:lnTo>
                  <a:lnTo>
                    <a:pt x="1597" y="156"/>
                  </a:lnTo>
                  <a:lnTo>
                    <a:pt x="1613" y="156"/>
                  </a:lnTo>
                  <a:lnTo>
                    <a:pt x="1630" y="156"/>
                  </a:lnTo>
                  <a:lnTo>
                    <a:pt x="1647" y="156"/>
                  </a:lnTo>
                  <a:lnTo>
                    <a:pt x="1664" y="157"/>
                  </a:lnTo>
                  <a:lnTo>
                    <a:pt x="1681" y="159"/>
                  </a:lnTo>
                  <a:lnTo>
                    <a:pt x="1689" y="162"/>
                  </a:lnTo>
                  <a:lnTo>
                    <a:pt x="1698" y="164"/>
                  </a:lnTo>
                  <a:lnTo>
                    <a:pt x="1705" y="167"/>
                  </a:lnTo>
                  <a:lnTo>
                    <a:pt x="1712" y="170"/>
                  </a:lnTo>
                  <a:lnTo>
                    <a:pt x="1718" y="174"/>
                  </a:lnTo>
                  <a:lnTo>
                    <a:pt x="1725" y="178"/>
                  </a:lnTo>
                  <a:lnTo>
                    <a:pt x="1730" y="183"/>
                  </a:lnTo>
                  <a:lnTo>
                    <a:pt x="1734" y="189"/>
                  </a:lnTo>
                  <a:lnTo>
                    <a:pt x="1739" y="195"/>
                  </a:lnTo>
                  <a:lnTo>
                    <a:pt x="1741" y="202"/>
                  </a:lnTo>
                  <a:lnTo>
                    <a:pt x="1743" y="209"/>
                  </a:lnTo>
                  <a:lnTo>
                    <a:pt x="1743" y="217"/>
                  </a:lnTo>
                  <a:lnTo>
                    <a:pt x="1743" y="229"/>
                  </a:lnTo>
                  <a:lnTo>
                    <a:pt x="1742" y="239"/>
                  </a:lnTo>
                  <a:lnTo>
                    <a:pt x="1741" y="250"/>
                  </a:lnTo>
                  <a:lnTo>
                    <a:pt x="1739" y="261"/>
                  </a:lnTo>
                  <a:lnTo>
                    <a:pt x="1733" y="280"/>
                  </a:lnTo>
                  <a:lnTo>
                    <a:pt x="1726" y="299"/>
                  </a:lnTo>
                  <a:lnTo>
                    <a:pt x="1708" y="334"/>
                  </a:lnTo>
                  <a:lnTo>
                    <a:pt x="1687" y="375"/>
                  </a:lnTo>
                  <a:lnTo>
                    <a:pt x="1675" y="395"/>
                  </a:lnTo>
                  <a:lnTo>
                    <a:pt x="1662" y="413"/>
                  </a:lnTo>
                  <a:lnTo>
                    <a:pt x="1657" y="422"/>
                  </a:lnTo>
                  <a:lnTo>
                    <a:pt x="1652" y="431"/>
                  </a:lnTo>
                  <a:lnTo>
                    <a:pt x="1649" y="441"/>
                  </a:lnTo>
                  <a:lnTo>
                    <a:pt x="1648" y="453"/>
                  </a:lnTo>
                  <a:lnTo>
                    <a:pt x="1649" y="466"/>
                  </a:lnTo>
                  <a:lnTo>
                    <a:pt x="1651" y="479"/>
                  </a:lnTo>
                  <a:lnTo>
                    <a:pt x="1653" y="491"/>
                  </a:lnTo>
                  <a:lnTo>
                    <a:pt x="1659" y="503"/>
                  </a:lnTo>
                  <a:lnTo>
                    <a:pt x="1664" y="514"/>
                  </a:lnTo>
                  <a:lnTo>
                    <a:pt x="1671" y="523"/>
                  </a:lnTo>
                  <a:lnTo>
                    <a:pt x="1677" y="533"/>
                  </a:lnTo>
                  <a:lnTo>
                    <a:pt x="1686" y="543"/>
                  </a:lnTo>
                  <a:lnTo>
                    <a:pt x="1694" y="550"/>
                  </a:lnTo>
                  <a:lnTo>
                    <a:pt x="1705" y="558"/>
                  </a:lnTo>
                  <a:lnTo>
                    <a:pt x="1715" y="564"/>
                  </a:lnTo>
                  <a:lnTo>
                    <a:pt x="1727" y="570"/>
                  </a:lnTo>
                  <a:lnTo>
                    <a:pt x="1738" y="574"/>
                  </a:lnTo>
                  <a:lnTo>
                    <a:pt x="1751" y="577"/>
                  </a:lnTo>
                  <a:lnTo>
                    <a:pt x="1762" y="579"/>
                  </a:lnTo>
                  <a:lnTo>
                    <a:pt x="1775" y="580"/>
                  </a:lnTo>
                  <a:lnTo>
                    <a:pt x="1783" y="580"/>
                  </a:lnTo>
                  <a:lnTo>
                    <a:pt x="1789" y="579"/>
                  </a:lnTo>
                  <a:lnTo>
                    <a:pt x="1795" y="576"/>
                  </a:lnTo>
                  <a:lnTo>
                    <a:pt x="1800" y="574"/>
                  </a:lnTo>
                  <a:lnTo>
                    <a:pt x="1810" y="568"/>
                  </a:lnTo>
                  <a:lnTo>
                    <a:pt x="1820" y="559"/>
                  </a:lnTo>
                  <a:lnTo>
                    <a:pt x="1836" y="540"/>
                  </a:lnTo>
                  <a:lnTo>
                    <a:pt x="1853" y="518"/>
                  </a:lnTo>
                  <a:lnTo>
                    <a:pt x="1866" y="503"/>
                  </a:lnTo>
                  <a:lnTo>
                    <a:pt x="1879" y="489"/>
                  </a:lnTo>
                  <a:lnTo>
                    <a:pt x="1890" y="474"/>
                  </a:lnTo>
                  <a:lnTo>
                    <a:pt x="1901" y="456"/>
                  </a:lnTo>
                  <a:lnTo>
                    <a:pt x="1908" y="439"/>
                  </a:lnTo>
                  <a:lnTo>
                    <a:pt x="1916" y="425"/>
                  </a:lnTo>
                  <a:lnTo>
                    <a:pt x="1921" y="419"/>
                  </a:lnTo>
                  <a:lnTo>
                    <a:pt x="1927" y="413"/>
                  </a:lnTo>
                  <a:lnTo>
                    <a:pt x="1934" y="409"/>
                  </a:lnTo>
                  <a:lnTo>
                    <a:pt x="1943" y="406"/>
                  </a:lnTo>
                  <a:lnTo>
                    <a:pt x="1971" y="399"/>
                  </a:lnTo>
                  <a:lnTo>
                    <a:pt x="1996" y="393"/>
                  </a:lnTo>
                  <a:lnTo>
                    <a:pt x="2021" y="386"/>
                  </a:lnTo>
                  <a:lnTo>
                    <a:pt x="2043" y="381"/>
                  </a:lnTo>
                  <a:lnTo>
                    <a:pt x="2067" y="377"/>
                  </a:lnTo>
                  <a:lnTo>
                    <a:pt x="2091" y="372"/>
                  </a:lnTo>
                  <a:lnTo>
                    <a:pt x="2117" y="370"/>
                  </a:lnTo>
                  <a:lnTo>
                    <a:pt x="2146" y="369"/>
                  </a:lnTo>
                  <a:lnTo>
                    <a:pt x="2158" y="370"/>
                  </a:lnTo>
                  <a:lnTo>
                    <a:pt x="2170" y="373"/>
                  </a:lnTo>
                  <a:lnTo>
                    <a:pt x="2180" y="378"/>
                  </a:lnTo>
                  <a:lnTo>
                    <a:pt x="2190" y="382"/>
                  </a:lnTo>
                  <a:lnTo>
                    <a:pt x="2201" y="386"/>
                  </a:lnTo>
                  <a:lnTo>
                    <a:pt x="2211" y="391"/>
                  </a:lnTo>
                  <a:lnTo>
                    <a:pt x="2223" y="394"/>
                  </a:lnTo>
                  <a:lnTo>
                    <a:pt x="2236" y="395"/>
                  </a:lnTo>
                  <a:lnTo>
                    <a:pt x="2243" y="394"/>
                  </a:lnTo>
                  <a:lnTo>
                    <a:pt x="2251" y="393"/>
                  </a:lnTo>
                  <a:lnTo>
                    <a:pt x="2257" y="391"/>
                  </a:lnTo>
                  <a:lnTo>
                    <a:pt x="2263" y="388"/>
                  </a:lnTo>
                  <a:lnTo>
                    <a:pt x="2274" y="381"/>
                  </a:lnTo>
                  <a:lnTo>
                    <a:pt x="2284" y="372"/>
                  </a:lnTo>
                  <a:lnTo>
                    <a:pt x="2295" y="361"/>
                  </a:lnTo>
                  <a:lnTo>
                    <a:pt x="2305" y="352"/>
                  </a:lnTo>
                  <a:lnTo>
                    <a:pt x="2317" y="342"/>
                  </a:lnTo>
                  <a:lnTo>
                    <a:pt x="2329" y="333"/>
                  </a:lnTo>
                  <a:lnTo>
                    <a:pt x="2348" y="321"/>
                  </a:lnTo>
                  <a:lnTo>
                    <a:pt x="2366" y="313"/>
                  </a:lnTo>
                  <a:lnTo>
                    <a:pt x="2383" y="304"/>
                  </a:lnTo>
                  <a:lnTo>
                    <a:pt x="2401" y="298"/>
                  </a:lnTo>
                  <a:lnTo>
                    <a:pt x="2418" y="291"/>
                  </a:lnTo>
                  <a:lnTo>
                    <a:pt x="2436" y="287"/>
                  </a:lnTo>
                  <a:lnTo>
                    <a:pt x="2456" y="283"/>
                  </a:lnTo>
                  <a:lnTo>
                    <a:pt x="2477" y="279"/>
                  </a:lnTo>
                  <a:lnTo>
                    <a:pt x="2604" y="318"/>
                  </a:lnTo>
                  <a:lnTo>
                    <a:pt x="2604" y="318"/>
                  </a:lnTo>
                  <a:lnTo>
                    <a:pt x="2606" y="333"/>
                  </a:lnTo>
                  <a:lnTo>
                    <a:pt x="2607" y="348"/>
                  </a:lnTo>
                  <a:lnTo>
                    <a:pt x="2607" y="355"/>
                  </a:lnTo>
                  <a:lnTo>
                    <a:pt x="2606" y="363"/>
                  </a:lnTo>
                  <a:lnTo>
                    <a:pt x="2604" y="370"/>
                  </a:lnTo>
                  <a:lnTo>
                    <a:pt x="2601" y="378"/>
                  </a:lnTo>
                  <a:lnTo>
                    <a:pt x="2595" y="386"/>
                  </a:lnTo>
                  <a:lnTo>
                    <a:pt x="2590" y="395"/>
                  </a:lnTo>
                  <a:lnTo>
                    <a:pt x="2583" y="401"/>
                  </a:lnTo>
                  <a:lnTo>
                    <a:pt x="2577" y="409"/>
                  </a:lnTo>
                  <a:lnTo>
                    <a:pt x="2571" y="415"/>
                  </a:lnTo>
                  <a:lnTo>
                    <a:pt x="2566" y="423"/>
                  </a:lnTo>
                  <a:lnTo>
                    <a:pt x="2564" y="427"/>
                  </a:lnTo>
                  <a:lnTo>
                    <a:pt x="2563" y="432"/>
                  </a:lnTo>
                  <a:lnTo>
                    <a:pt x="2562" y="437"/>
                  </a:lnTo>
                  <a:lnTo>
                    <a:pt x="2562" y="442"/>
                  </a:lnTo>
                  <a:lnTo>
                    <a:pt x="2562" y="452"/>
                  </a:lnTo>
                  <a:lnTo>
                    <a:pt x="2563" y="463"/>
                  </a:lnTo>
                  <a:lnTo>
                    <a:pt x="2565" y="472"/>
                  </a:lnTo>
                  <a:lnTo>
                    <a:pt x="2567" y="481"/>
                  </a:lnTo>
                  <a:lnTo>
                    <a:pt x="2572" y="498"/>
                  </a:lnTo>
                  <a:lnTo>
                    <a:pt x="2579" y="515"/>
                  </a:lnTo>
                  <a:lnTo>
                    <a:pt x="2584" y="531"/>
                  </a:lnTo>
                  <a:lnTo>
                    <a:pt x="2590" y="548"/>
                  </a:lnTo>
                  <a:lnTo>
                    <a:pt x="2592" y="557"/>
                  </a:lnTo>
                  <a:lnTo>
                    <a:pt x="2594" y="567"/>
                  </a:lnTo>
                  <a:lnTo>
                    <a:pt x="2595" y="576"/>
                  </a:lnTo>
                  <a:lnTo>
                    <a:pt x="2595" y="586"/>
                  </a:lnTo>
                  <a:lnTo>
                    <a:pt x="2595" y="598"/>
                  </a:lnTo>
                  <a:lnTo>
                    <a:pt x="2594" y="609"/>
                  </a:lnTo>
                  <a:lnTo>
                    <a:pt x="2593" y="618"/>
                  </a:lnTo>
                  <a:lnTo>
                    <a:pt x="2591" y="628"/>
                  </a:lnTo>
                  <a:lnTo>
                    <a:pt x="2587" y="647"/>
                  </a:lnTo>
                  <a:lnTo>
                    <a:pt x="2580" y="665"/>
                  </a:lnTo>
                  <a:lnTo>
                    <a:pt x="2564" y="699"/>
                  </a:lnTo>
                  <a:lnTo>
                    <a:pt x="2548" y="739"/>
                  </a:lnTo>
                  <a:lnTo>
                    <a:pt x="2539" y="765"/>
                  </a:lnTo>
                  <a:lnTo>
                    <a:pt x="2534" y="789"/>
                  </a:lnTo>
                  <a:lnTo>
                    <a:pt x="2529" y="800"/>
                  </a:lnTo>
                  <a:lnTo>
                    <a:pt x="2525" y="812"/>
                  </a:lnTo>
                  <a:lnTo>
                    <a:pt x="2520" y="823"/>
                  </a:lnTo>
                  <a:lnTo>
                    <a:pt x="2511" y="834"/>
                  </a:lnTo>
                  <a:lnTo>
                    <a:pt x="2497" y="851"/>
                  </a:lnTo>
                  <a:lnTo>
                    <a:pt x="2484" y="865"/>
                  </a:lnTo>
                  <a:lnTo>
                    <a:pt x="2477" y="871"/>
                  </a:lnTo>
                  <a:lnTo>
                    <a:pt x="2471" y="879"/>
                  </a:lnTo>
                  <a:lnTo>
                    <a:pt x="2464" y="887"/>
                  </a:lnTo>
                  <a:lnTo>
                    <a:pt x="2458" y="896"/>
                  </a:lnTo>
                  <a:lnTo>
                    <a:pt x="2452" y="908"/>
                  </a:lnTo>
                  <a:lnTo>
                    <a:pt x="2444" y="919"/>
                  </a:lnTo>
                  <a:lnTo>
                    <a:pt x="2439" y="930"/>
                  </a:lnTo>
                  <a:lnTo>
                    <a:pt x="2432" y="940"/>
                  </a:lnTo>
                  <a:lnTo>
                    <a:pt x="2432" y="940"/>
                  </a:lnTo>
                  <a:lnTo>
                    <a:pt x="2406" y="927"/>
                  </a:lnTo>
                  <a:lnTo>
                    <a:pt x="2381" y="915"/>
                  </a:lnTo>
                  <a:lnTo>
                    <a:pt x="2368" y="911"/>
                  </a:lnTo>
                  <a:lnTo>
                    <a:pt x="2355" y="908"/>
                  </a:lnTo>
                  <a:lnTo>
                    <a:pt x="2341" y="906"/>
                  </a:lnTo>
                  <a:lnTo>
                    <a:pt x="2326" y="905"/>
                  </a:lnTo>
                  <a:lnTo>
                    <a:pt x="2315" y="906"/>
                  </a:lnTo>
                  <a:lnTo>
                    <a:pt x="2307" y="908"/>
                  </a:lnTo>
                  <a:lnTo>
                    <a:pt x="2298" y="911"/>
                  </a:lnTo>
                  <a:lnTo>
                    <a:pt x="2290" y="914"/>
                  </a:lnTo>
                  <a:lnTo>
                    <a:pt x="2282" y="918"/>
                  </a:lnTo>
                  <a:lnTo>
                    <a:pt x="2273" y="921"/>
                  </a:lnTo>
                  <a:lnTo>
                    <a:pt x="2264" y="923"/>
                  </a:lnTo>
                  <a:lnTo>
                    <a:pt x="2254" y="924"/>
                  </a:lnTo>
                  <a:lnTo>
                    <a:pt x="2241" y="924"/>
                  </a:lnTo>
                  <a:lnTo>
                    <a:pt x="2228" y="923"/>
                  </a:lnTo>
                  <a:lnTo>
                    <a:pt x="2217" y="922"/>
                  </a:lnTo>
                  <a:lnTo>
                    <a:pt x="2206" y="920"/>
                  </a:lnTo>
                  <a:lnTo>
                    <a:pt x="2185" y="915"/>
                  </a:lnTo>
                  <a:lnTo>
                    <a:pt x="2161" y="908"/>
                  </a:lnTo>
                  <a:lnTo>
                    <a:pt x="2157" y="901"/>
                  </a:lnTo>
                  <a:lnTo>
                    <a:pt x="2152" y="896"/>
                  </a:lnTo>
                  <a:lnTo>
                    <a:pt x="2148" y="896"/>
                  </a:lnTo>
                  <a:lnTo>
                    <a:pt x="2144" y="897"/>
                  </a:lnTo>
                  <a:lnTo>
                    <a:pt x="2139" y="899"/>
                  </a:lnTo>
                  <a:lnTo>
                    <a:pt x="2136" y="901"/>
                  </a:lnTo>
                  <a:lnTo>
                    <a:pt x="2130" y="907"/>
                  </a:lnTo>
                  <a:lnTo>
                    <a:pt x="2124" y="913"/>
                  </a:lnTo>
                  <a:lnTo>
                    <a:pt x="2119" y="921"/>
                  </a:lnTo>
                  <a:lnTo>
                    <a:pt x="2113" y="928"/>
                  </a:lnTo>
                  <a:lnTo>
                    <a:pt x="2107" y="935"/>
                  </a:lnTo>
                  <a:lnTo>
                    <a:pt x="2099" y="941"/>
                  </a:lnTo>
                  <a:lnTo>
                    <a:pt x="2079" y="953"/>
                  </a:lnTo>
                  <a:lnTo>
                    <a:pt x="2061" y="963"/>
                  </a:lnTo>
                  <a:lnTo>
                    <a:pt x="2041" y="972"/>
                  </a:lnTo>
                  <a:lnTo>
                    <a:pt x="2023" y="978"/>
                  </a:lnTo>
                  <a:lnTo>
                    <a:pt x="2003" y="982"/>
                  </a:lnTo>
                  <a:lnTo>
                    <a:pt x="1984" y="986"/>
                  </a:lnTo>
                  <a:lnTo>
                    <a:pt x="1962" y="988"/>
                  </a:lnTo>
                  <a:lnTo>
                    <a:pt x="1938" y="989"/>
                  </a:lnTo>
                  <a:lnTo>
                    <a:pt x="1923" y="989"/>
                  </a:lnTo>
                  <a:lnTo>
                    <a:pt x="1910" y="989"/>
                  </a:lnTo>
                  <a:lnTo>
                    <a:pt x="1896" y="989"/>
                  </a:lnTo>
                  <a:lnTo>
                    <a:pt x="1881" y="989"/>
                  </a:lnTo>
                  <a:lnTo>
                    <a:pt x="1875" y="990"/>
                  </a:lnTo>
                  <a:lnTo>
                    <a:pt x="1869" y="992"/>
                  </a:lnTo>
                  <a:lnTo>
                    <a:pt x="1864" y="995"/>
                  </a:lnTo>
                  <a:lnTo>
                    <a:pt x="1860" y="999"/>
                  </a:lnTo>
                  <a:lnTo>
                    <a:pt x="1854" y="1002"/>
                  </a:lnTo>
                  <a:lnTo>
                    <a:pt x="1850" y="1005"/>
                  </a:lnTo>
                  <a:lnTo>
                    <a:pt x="1843" y="1007"/>
                  </a:lnTo>
                  <a:lnTo>
                    <a:pt x="1837" y="1008"/>
                  </a:lnTo>
                  <a:lnTo>
                    <a:pt x="1828" y="1008"/>
                  </a:lnTo>
                  <a:lnTo>
                    <a:pt x="1820" y="1006"/>
                  </a:lnTo>
                  <a:lnTo>
                    <a:pt x="1812" y="1005"/>
                  </a:lnTo>
                  <a:lnTo>
                    <a:pt x="1805" y="1003"/>
                  </a:lnTo>
                  <a:lnTo>
                    <a:pt x="1788" y="998"/>
                  </a:lnTo>
                  <a:lnTo>
                    <a:pt x="1771" y="994"/>
                  </a:lnTo>
                  <a:lnTo>
                    <a:pt x="1748" y="991"/>
                  </a:lnTo>
                  <a:lnTo>
                    <a:pt x="1728" y="987"/>
                  </a:lnTo>
                  <a:lnTo>
                    <a:pt x="1708" y="982"/>
                  </a:lnTo>
                  <a:lnTo>
                    <a:pt x="1689" y="977"/>
                  </a:lnTo>
                  <a:lnTo>
                    <a:pt x="1672" y="971"/>
                  </a:lnTo>
                  <a:lnTo>
                    <a:pt x="1653" y="962"/>
                  </a:lnTo>
                  <a:lnTo>
                    <a:pt x="1636" y="951"/>
                  </a:lnTo>
                  <a:lnTo>
                    <a:pt x="1618" y="938"/>
                  </a:lnTo>
                  <a:lnTo>
                    <a:pt x="1604" y="927"/>
                  </a:lnTo>
                  <a:lnTo>
                    <a:pt x="1591" y="915"/>
                  </a:lnTo>
                  <a:lnTo>
                    <a:pt x="1579" y="904"/>
                  </a:lnTo>
                  <a:lnTo>
                    <a:pt x="1568" y="893"/>
                  </a:lnTo>
                  <a:lnTo>
                    <a:pt x="1545" y="870"/>
                  </a:lnTo>
                  <a:lnTo>
                    <a:pt x="1524" y="849"/>
                  </a:lnTo>
                  <a:lnTo>
                    <a:pt x="1513" y="840"/>
                  </a:lnTo>
                  <a:lnTo>
                    <a:pt x="1501" y="831"/>
                  </a:lnTo>
                  <a:lnTo>
                    <a:pt x="1489" y="823"/>
                  </a:lnTo>
                  <a:lnTo>
                    <a:pt x="1476" y="816"/>
                  </a:lnTo>
                  <a:lnTo>
                    <a:pt x="1463" y="811"/>
                  </a:lnTo>
                  <a:lnTo>
                    <a:pt x="1448" y="807"/>
                  </a:lnTo>
                  <a:lnTo>
                    <a:pt x="1432" y="804"/>
                  </a:lnTo>
                  <a:lnTo>
                    <a:pt x="1416" y="804"/>
                  </a:lnTo>
                  <a:lnTo>
                    <a:pt x="1402" y="804"/>
                  </a:lnTo>
                  <a:lnTo>
                    <a:pt x="1389" y="807"/>
                  </a:lnTo>
                  <a:lnTo>
                    <a:pt x="1377" y="812"/>
                  </a:lnTo>
                  <a:lnTo>
                    <a:pt x="1366" y="818"/>
                  </a:lnTo>
                  <a:lnTo>
                    <a:pt x="1356" y="825"/>
                  </a:lnTo>
                  <a:lnTo>
                    <a:pt x="1346" y="832"/>
                  </a:lnTo>
                  <a:lnTo>
                    <a:pt x="1337" y="840"/>
                  </a:lnTo>
                  <a:lnTo>
                    <a:pt x="1327" y="849"/>
                  </a:lnTo>
                  <a:lnTo>
                    <a:pt x="1317" y="857"/>
                  </a:lnTo>
                  <a:lnTo>
                    <a:pt x="1309" y="865"/>
                  </a:lnTo>
                  <a:lnTo>
                    <a:pt x="1298" y="872"/>
                  </a:lnTo>
                  <a:lnTo>
                    <a:pt x="1288" y="880"/>
                  </a:lnTo>
                  <a:lnTo>
                    <a:pt x="1277" y="885"/>
                  </a:lnTo>
                  <a:lnTo>
                    <a:pt x="1266" y="890"/>
                  </a:lnTo>
                  <a:lnTo>
                    <a:pt x="1253" y="893"/>
                  </a:lnTo>
                  <a:lnTo>
                    <a:pt x="1239" y="894"/>
                  </a:lnTo>
                  <a:lnTo>
                    <a:pt x="1231" y="893"/>
                  </a:lnTo>
                  <a:lnTo>
                    <a:pt x="1223" y="891"/>
                  </a:lnTo>
                  <a:lnTo>
                    <a:pt x="1216" y="886"/>
                  </a:lnTo>
                  <a:lnTo>
                    <a:pt x="1211" y="881"/>
                  </a:lnTo>
                  <a:lnTo>
                    <a:pt x="1205" y="874"/>
                  </a:lnTo>
                  <a:lnTo>
                    <a:pt x="1202" y="868"/>
                  </a:lnTo>
                  <a:lnTo>
                    <a:pt x="1199" y="859"/>
                  </a:lnTo>
                  <a:lnTo>
                    <a:pt x="1196" y="852"/>
                  </a:lnTo>
                  <a:lnTo>
                    <a:pt x="1196" y="85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13">
              <a:extLst>
                <a:ext uri="{FF2B5EF4-FFF2-40B4-BE49-F238E27FC236}">
                  <a16:creationId xmlns:a16="http://schemas.microsoft.com/office/drawing/2014/main" id="{5CEAEDDF-C576-4ABC-88C8-AB475BD6F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5863" y="2262188"/>
              <a:ext cx="598488" cy="371475"/>
            </a:xfrm>
            <a:custGeom>
              <a:avLst/>
              <a:gdLst>
                <a:gd name="T0" fmla="*/ 1268 w 1508"/>
                <a:gd name="T1" fmla="*/ 663 h 939"/>
                <a:gd name="T2" fmla="*/ 1169 w 1508"/>
                <a:gd name="T3" fmla="*/ 731 h 939"/>
                <a:gd name="T4" fmla="*/ 1108 w 1508"/>
                <a:gd name="T5" fmla="*/ 753 h 939"/>
                <a:gd name="T6" fmla="*/ 1031 w 1508"/>
                <a:gd name="T7" fmla="*/ 728 h 939"/>
                <a:gd name="T8" fmla="*/ 856 w 1508"/>
                <a:gd name="T9" fmla="*/ 758 h 939"/>
                <a:gd name="T10" fmla="*/ 786 w 1508"/>
                <a:gd name="T11" fmla="*/ 815 h 939"/>
                <a:gd name="T12" fmla="*/ 695 w 1508"/>
                <a:gd name="T13" fmla="*/ 927 h 939"/>
                <a:gd name="T14" fmla="*/ 636 w 1508"/>
                <a:gd name="T15" fmla="*/ 936 h 939"/>
                <a:gd name="T16" fmla="*/ 562 w 1508"/>
                <a:gd name="T17" fmla="*/ 892 h 939"/>
                <a:gd name="T18" fmla="*/ 533 w 1508"/>
                <a:gd name="T19" fmla="*/ 812 h 939"/>
                <a:gd name="T20" fmla="*/ 593 w 1508"/>
                <a:gd name="T21" fmla="*/ 693 h 939"/>
                <a:gd name="T22" fmla="*/ 628 w 1508"/>
                <a:gd name="T23" fmla="*/ 576 h 939"/>
                <a:gd name="T24" fmla="*/ 603 w 1508"/>
                <a:gd name="T25" fmla="*/ 533 h 939"/>
                <a:gd name="T26" fmla="*/ 532 w 1508"/>
                <a:gd name="T27" fmla="*/ 515 h 939"/>
                <a:gd name="T28" fmla="*/ 438 w 1508"/>
                <a:gd name="T29" fmla="*/ 518 h 939"/>
                <a:gd name="T30" fmla="*/ 343 w 1508"/>
                <a:gd name="T31" fmla="*/ 554 h 939"/>
                <a:gd name="T32" fmla="*/ 225 w 1508"/>
                <a:gd name="T33" fmla="*/ 611 h 939"/>
                <a:gd name="T34" fmla="*/ 183 w 1508"/>
                <a:gd name="T35" fmla="*/ 633 h 939"/>
                <a:gd name="T36" fmla="*/ 152 w 1508"/>
                <a:gd name="T37" fmla="*/ 612 h 939"/>
                <a:gd name="T38" fmla="*/ 67 w 1508"/>
                <a:gd name="T39" fmla="*/ 557 h 939"/>
                <a:gd name="T40" fmla="*/ 9 w 1508"/>
                <a:gd name="T41" fmla="*/ 514 h 939"/>
                <a:gd name="T42" fmla="*/ 39 w 1508"/>
                <a:gd name="T43" fmla="*/ 459 h 939"/>
                <a:gd name="T44" fmla="*/ 60 w 1508"/>
                <a:gd name="T45" fmla="*/ 417 h 939"/>
                <a:gd name="T46" fmla="*/ 19 w 1508"/>
                <a:gd name="T47" fmla="*/ 318 h 939"/>
                <a:gd name="T48" fmla="*/ 3 w 1508"/>
                <a:gd name="T49" fmla="*/ 240 h 939"/>
                <a:gd name="T50" fmla="*/ 42 w 1508"/>
                <a:gd name="T51" fmla="*/ 173 h 939"/>
                <a:gd name="T52" fmla="*/ 46 w 1508"/>
                <a:gd name="T53" fmla="*/ 96 h 939"/>
                <a:gd name="T54" fmla="*/ 99 w 1508"/>
                <a:gd name="T55" fmla="*/ 70 h 939"/>
                <a:gd name="T56" fmla="*/ 182 w 1508"/>
                <a:gd name="T57" fmla="*/ 77 h 939"/>
                <a:gd name="T58" fmla="*/ 287 w 1508"/>
                <a:gd name="T59" fmla="*/ 70 h 939"/>
                <a:gd name="T60" fmla="*/ 395 w 1508"/>
                <a:gd name="T61" fmla="*/ 63 h 939"/>
                <a:gd name="T62" fmla="*/ 549 w 1508"/>
                <a:gd name="T63" fmla="*/ 17 h 939"/>
                <a:gd name="T64" fmla="*/ 579 w 1508"/>
                <a:gd name="T65" fmla="*/ 44 h 939"/>
                <a:gd name="T66" fmla="*/ 528 w 1508"/>
                <a:gd name="T67" fmla="*/ 182 h 939"/>
                <a:gd name="T68" fmla="*/ 534 w 1508"/>
                <a:gd name="T69" fmla="*/ 229 h 939"/>
                <a:gd name="T70" fmla="*/ 607 w 1508"/>
                <a:gd name="T71" fmla="*/ 268 h 939"/>
                <a:gd name="T72" fmla="*/ 666 w 1508"/>
                <a:gd name="T73" fmla="*/ 291 h 939"/>
                <a:gd name="T74" fmla="*/ 710 w 1508"/>
                <a:gd name="T75" fmla="*/ 265 h 939"/>
                <a:gd name="T76" fmla="*/ 738 w 1508"/>
                <a:gd name="T77" fmla="*/ 265 h 939"/>
                <a:gd name="T78" fmla="*/ 791 w 1508"/>
                <a:gd name="T79" fmla="*/ 311 h 939"/>
                <a:gd name="T80" fmla="*/ 847 w 1508"/>
                <a:gd name="T81" fmla="*/ 347 h 939"/>
                <a:gd name="T82" fmla="*/ 881 w 1508"/>
                <a:gd name="T83" fmla="*/ 302 h 939"/>
                <a:gd name="T84" fmla="*/ 867 w 1508"/>
                <a:gd name="T85" fmla="*/ 250 h 939"/>
                <a:gd name="T86" fmla="*/ 881 w 1508"/>
                <a:gd name="T87" fmla="*/ 230 h 939"/>
                <a:gd name="T88" fmla="*/ 920 w 1508"/>
                <a:gd name="T89" fmla="*/ 204 h 939"/>
                <a:gd name="T90" fmla="*/ 942 w 1508"/>
                <a:gd name="T91" fmla="*/ 109 h 939"/>
                <a:gd name="T92" fmla="*/ 970 w 1508"/>
                <a:gd name="T93" fmla="*/ 107 h 939"/>
                <a:gd name="T94" fmla="*/ 1015 w 1508"/>
                <a:gd name="T95" fmla="*/ 153 h 939"/>
                <a:gd name="T96" fmla="*/ 1153 w 1508"/>
                <a:gd name="T97" fmla="*/ 213 h 939"/>
                <a:gd name="T98" fmla="*/ 1259 w 1508"/>
                <a:gd name="T99" fmla="*/ 209 h 939"/>
                <a:gd name="T100" fmla="*/ 1335 w 1508"/>
                <a:gd name="T101" fmla="*/ 216 h 939"/>
                <a:gd name="T102" fmla="*/ 1478 w 1508"/>
                <a:gd name="T103" fmla="*/ 239 h 939"/>
                <a:gd name="T104" fmla="*/ 1480 w 1508"/>
                <a:gd name="T105" fmla="*/ 314 h 939"/>
                <a:gd name="T106" fmla="*/ 1500 w 1508"/>
                <a:gd name="T107" fmla="*/ 446 h 939"/>
                <a:gd name="T108" fmla="*/ 1502 w 1508"/>
                <a:gd name="T109" fmla="*/ 531 h 939"/>
                <a:gd name="T110" fmla="*/ 1496 w 1508"/>
                <a:gd name="T111" fmla="*/ 618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08" h="939">
                  <a:moveTo>
                    <a:pt x="1489" y="677"/>
                  </a:moveTo>
                  <a:lnTo>
                    <a:pt x="1362" y="638"/>
                  </a:lnTo>
                  <a:lnTo>
                    <a:pt x="1341" y="642"/>
                  </a:lnTo>
                  <a:lnTo>
                    <a:pt x="1321" y="646"/>
                  </a:lnTo>
                  <a:lnTo>
                    <a:pt x="1303" y="650"/>
                  </a:lnTo>
                  <a:lnTo>
                    <a:pt x="1286" y="657"/>
                  </a:lnTo>
                  <a:lnTo>
                    <a:pt x="1268" y="663"/>
                  </a:lnTo>
                  <a:lnTo>
                    <a:pt x="1251" y="672"/>
                  </a:lnTo>
                  <a:lnTo>
                    <a:pt x="1233" y="680"/>
                  </a:lnTo>
                  <a:lnTo>
                    <a:pt x="1214" y="692"/>
                  </a:lnTo>
                  <a:lnTo>
                    <a:pt x="1202" y="701"/>
                  </a:lnTo>
                  <a:lnTo>
                    <a:pt x="1190" y="711"/>
                  </a:lnTo>
                  <a:lnTo>
                    <a:pt x="1180" y="720"/>
                  </a:lnTo>
                  <a:lnTo>
                    <a:pt x="1169" y="731"/>
                  </a:lnTo>
                  <a:lnTo>
                    <a:pt x="1159" y="740"/>
                  </a:lnTo>
                  <a:lnTo>
                    <a:pt x="1148" y="747"/>
                  </a:lnTo>
                  <a:lnTo>
                    <a:pt x="1142" y="750"/>
                  </a:lnTo>
                  <a:lnTo>
                    <a:pt x="1136" y="752"/>
                  </a:lnTo>
                  <a:lnTo>
                    <a:pt x="1128" y="753"/>
                  </a:lnTo>
                  <a:lnTo>
                    <a:pt x="1121" y="754"/>
                  </a:lnTo>
                  <a:lnTo>
                    <a:pt x="1108" y="753"/>
                  </a:lnTo>
                  <a:lnTo>
                    <a:pt x="1096" y="750"/>
                  </a:lnTo>
                  <a:lnTo>
                    <a:pt x="1086" y="745"/>
                  </a:lnTo>
                  <a:lnTo>
                    <a:pt x="1075" y="741"/>
                  </a:lnTo>
                  <a:lnTo>
                    <a:pt x="1065" y="737"/>
                  </a:lnTo>
                  <a:lnTo>
                    <a:pt x="1055" y="732"/>
                  </a:lnTo>
                  <a:lnTo>
                    <a:pt x="1043" y="729"/>
                  </a:lnTo>
                  <a:lnTo>
                    <a:pt x="1031" y="728"/>
                  </a:lnTo>
                  <a:lnTo>
                    <a:pt x="1002" y="729"/>
                  </a:lnTo>
                  <a:lnTo>
                    <a:pt x="976" y="731"/>
                  </a:lnTo>
                  <a:lnTo>
                    <a:pt x="952" y="736"/>
                  </a:lnTo>
                  <a:lnTo>
                    <a:pt x="928" y="740"/>
                  </a:lnTo>
                  <a:lnTo>
                    <a:pt x="906" y="745"/>
                  </a:lnTo>
                  <a:lnTo>
                    <a:pt x="881" y="752"/>
                  </a:lnTo>
                  <a:lnTo>
                    <a:pt x="856" y="758"/>
                  </a:lnTo>
                  <a:lnTo>
                    <a:pt x="828" y="765"/>
                  </a:lnTo>
                  <a:lnTo>
                    <a:pt x="819" y="768"/>
                  </a:lnTo>
                  <a:lnTo>
                    <a:pt x="812" y="772"/>
                  </a:lnTo>
                  <a:lnTo>
                    <a:pt x="806" y="778"/>
                  </a:lnTo>
                  <a:lnTo>
                    <a:pt x="801" y="784"/>
                  </a:lnTo>
                  <a:lnTo>
                    <a:pt x="793" y="798"/>
                  </a:lnTo>
                  <a:lnTo>
                    <a:pt x="786" y="815"/>
                  </a:lnTo>
                  <a:lnTo>
                    <a:pt x="775" y="833"/>
                  </a:lnTo>
                  <a:lnTo>
                    <a:pt x="764" y="848"/>
                  </a:lnTo>
                  <a:lnTo>
                    <a:pt x="751" y="862"/>
                  </a:lnTo>
                  <a:lnTo>
                    <a:pt x="738" y="877"/>
                  </a:lnTo>
                  <a:lnTo>
                    <a:pt x="721" y="899"/>
                  </a:lnTo>
                  <a:lnTo>
                    <a:pt x="705" y="918"/>
                  </a:lnTo>
                  <a:lnTo>
                    <a:pt x="695" y="927"/>
                  </a:lnTo>
                  <a:lnTo>
                    <a:pt x="685" y="933"/>
                  </a:lnTo>
                  <a:lnTo>
                    <a:pt x="680" y="935"/>
                  </a:lnTo>
                  <a:lnTo>
                    <a:pt x="674" y="938"/>
                  </a:lnTo>
                  <a:lnTo>
                    <a:pt x="668" y="939"/>
                  </a:lnTo>
                  <a:lnTo>
                    <a:pt x="660" y="939"/>
                  </a:lnTo>
                  <a:lnTo>
                    <a:pt x="647" y="938"/>
                  </a:lnTo>
                  <a:lnTo>
                    <a:pt x="636" y="936"/>
                  </a:lnTo>
                  <a:lnTo>
                    <a:pt x="623" y="933"/>
                  </a:lnTo>
                  <a:lnTo>
                    <a:pt x="612" y="929"/>
                  </a:lnTo>
                  <a:lnTo>
                    <a:pt x="600" y="923"/>
                  </a:lnTo>
                  <a:lnTo>
                    <a:pt x="590" y="917"/>
                  </a:lnTo>
                  <a:lnTo>
                    <a:pt x="579" y="909"/>
                  </a:lnTo>
                  <a:lnTo>
                    <a:pt x="571" y="902"/>
                  </a:lnTo>
                  <a:lnTo>
                    <a:pt x="562" y="892"/>
                  </a:lnTo>
                  <a:lnTo>
                    <a:pt x="556" y="882"/>
                  </a:lnTo>
                  <a:lnTo>
                    <a:pt x="549" y="873"/>
                  </a:lnTo>
                  <a:lnTo>
                    <a:pt x="544" y="862"/>
                  </a:lnTo>
                  <a:lnTo>
                    <a:pt x="538" y="850"/>
                  </a:lnTo>
                  <a:lnTo>
                    <a:pt x="536" y="838"/>
                  </a:lnTo>
                  <a:lnTo>
                    <a:pt x="534" y="825"/>
                  </a:lnTo>
                  <a:lnTo>
                    <a:pt x="533" y="812"/>
                  </a:lnTo>
                  <a:lnTo>
                    <a:pt x="534" y="800"/>
                  </a:lnTo>
                  <a:lnTo>
                    <a:pt x="537" y="790"/>
                  </a:lnTo>
                  <a:lnTo>
                    <a:pt x="542" y="781"/>
                  </a:lnTo>
                  <a:lnTo>
                    <a:pt x="547" y="772"/>
                  </a:lnTo>
                  <a:lnTo>
                    <a:pt x="560" y="754"/>
                  </a:lnTo>
                  <a:lnTo>
                    <a:pt x="572" y="734"/>
                  </a:lnTo>
                  <a:lnTo>
                    <a:pt x="593" y="693"/>
                  </a:lnTo>
                  <a:lnTo>
                    <a:pt x="611" y="658"/>
                  </a:lnTo>
                  <a:lnTo>
                    <a:pt x="618" y="639"/>
                  </a:lnTo>
                  <a:lnTo>
                    <a:pt x="624" y="620"/>
                  </a:lnTo>
                  <a:lnTo>
                    <a:pt x="626" y="609"/>
                  </a:lnTo>
                  <a:lnTo>
                    <a:pt x="627" y="598"/>
                  </a:lnTo>
                  <a:lnTo>
                    <a:pt x="628" y="588"/>
                  </a:lnTo>
                  <a:lnTo>
                    <a:pt x="628" y="576"/>
                  </a:lnTo>
                  <a:lnTo>
                    <a:pt x="628" y="568"/>
                  </a:lnTo>
                  <a:lnTo>
                    <a:pt x="626" y="561"/>
                  </a:lnTo>
                  <a:lnTo>
                    <a:pt x="624" y="554"/>
                  </a:lnTo>
                  <a:lnTo>
                    <a:pt x="619" y="548"/>
                  </a:lnTo>
                  <a:lnTo>
                    <a:pt x="615" y="542"/>
                  </a:lnTo>
                  <a:lnTo>
                    <a:pt x="610" y="537"/>
                  </a:lnTo>
                  <a:lnTo>
                    <a:pt x="603" y="533"/>
                  </a:lnTo>
                  <a:lnTo>
                    <a:pt x="597" y="529"/>
                  </a:lnTo>
                  <a:lnTo>
                    <a:pt x="590" y="526"/>
                  </a:lnTo>
                  <a:lnTo>
                    <a:pt x="583" y="523"/>
                  </a:lnTo>
                  <a:lnTo>
                    <a:pt x="574" y="521"/>
                  </a:lnTo>
                  <a:lnTo>
                    <a:pt x="566" y="518"/>
                  </a:lnTo>
                  <a:lnTo>
                    <a:pt x="549" y="516"/>
                  </a:lnTo>
                  <a:lnTo>
                    <a:pt x="532" y="515"/>
                  </a:lnTo>
                  <a:lnTo>
                    <a:pt x="515" y="515"/>
                  </a:lnTo>
                  <a:lnTo>
                    <a:pt x="498" y="515"/>
                  </a:lnTo>
                  <a:lnTo>
                    <a:pt x="482" y="515"/>
                  </a:lnTo>
                  <a:lnTo>
                    <a:pt x="464" y="515"/>
                  </a:lnTo>
                  <a:lnTo>
                    <a:pt x="455" y="515"/>
                  </a:lnTo>
                  <a:lnTo>
                    <a:pt x="447" y="516"/>
                  </a:lnTo>
                  <a:lnTo>
                    <a:pt x="438" y="518"/>
                  </a:lnTo>
                  <a:lnTo>
                    <a:pt x="430" y="520"/>
                  </a:lnTo>
                  <a:lnTo>
                    <a:pt x="416" y="525"/>
                  </a:lnTo>
                  <a:lnTo>
                    <a:pt x="402" y="530"/>
                  </a:lnTo>
                  <a:lnTo>
                    <a:pt x="389" y="537"/>
                  </a:lnTo>
                  <a:lnTo>
                    <a:pt x="375" y="543"/>
                  </a:lnTo>
                  <a:lnTo>
                    <a:pt x="359" y="550"/>
                  </a:lnTo>
                  <a:lnTo>
                    <a:pt x="343" y="554"/>
                  </a:lnTo>
                  <a:lnTo>
                    <a:pt x="317" y="561"/>
                  </a:lnTo>
                  <a:lnTo>
                    <a:pt x="294" y="568"/>
                  </a:lnTo>
                  <a:lnTo>
                    <a:pt x="273" y="578"/>
                  </a:lnTo>
                  <a:lnTo>
                    <a:pt x="250" y="591"/>
                  </a:lnTo>
                  <a:lnTo>
                    <a:pt x="240" y="597"/>
                  </a:lnTo>
                  <a:lnTo>
                    <a:pt x="233" y="604"/>
                  </a:lnTo>
                  <a:lnTo>
                    <a:pt x="225" y="611"/>
                  </a:lnTo>
                  <a:lnTo>
                    <a:pt x="218" y="618"/>
                  </a:lnTo>
                  <a:lnTo>
                    <a:pt x="210" y="624"/>
                  </a:lnTo>
                  <a:lnTo>
                    <a:pt x="202" y="629"/>
                  </a:lnTo>
                  <a:lnTo>
                    <a:pt x="198" y="631"/>
                  </a:lnTo>
                  <a:lnTo>
                    <a:pt x="194" y="632"/>
                  </a:lnTo>
                  <a:lnTo>
                    <a:pt x="188" y="633"/>
                  </a:lnTo>
                  <a:lnTo>
                    <a:pt x="183" y="633"/>
                  </a:lnTo>
                  <a:lnTo>
                    <a:pt x="179" y="633"/>
                  </a:lnTo>
                  <a:lnTo>
                    <a:pt x="174" y="632"/>
                  </a:lnTo>
                  <a:lnTo>
                    <a:pt x="171" y="631"/>
                  </a:lnTo>
                  <a:lnTo>
                    <a:pt x="168" y="629"/>
                  </a:lnTo>
                  <a:lnTo>
                    <a:pt x="162" y="624"/>
                  </a:lnTo>
                  <a:lnTo>
                    <a:pt x="157" y="619"/>
                  </a:lnTo>
                  <a:lnTo>
                    <a:pt x="152" y="612"/>
                  </a:lnTo>
                  <a:lnTo>
                    <a:pt x="147" y="606"/>
                  </a:lnTo>
                  <a:lnTo>
                    <a:pt x="142" y="599"/>
                  </a:lnTo>
                  <a:lnTo>
                    <a:pt x="135" y="594"/>
                  </a:lnTo>
                  <a:lnTo>
                    <a:pt x="118" y="582"/>
                  </a:lnTo>
                  <a:lnTo>
                    <a:pt x="101" y="574"/>
                  </a:lnTo>
                  <a:lnTo>
                    <a:pt x="85" y="565"/>
                  </a:lnTo>
                  <a:lnTo>
                    <a:pt x="67" y="557"/>
                  </a:lnTo>
                  <a:lnTo>
                    <a:pt x="51" y="550"/>
                  </a:lnTo>
                  <a:lnTo>
                    <a:pt x="35" y="542"/>
                  </a:lnTo>
                  <a:lnTo>
                    <a:pt x="18" y="533"/>
                  </a:lnTo>
                  <a:lnTo>
                    <a:pt x="0" y="521"/>
                  </a:lnTo>
                  <a:lnTo>
                    <a:pt x="0" y="521"/>
                  </a:lnTo>
                  <a:lnTo>
                    <a:pt x="5" y="517"/>
                  </a:lnTo>
                  <a:lnTo>
                    <a:pt x="9" y="514"/>
                  </a:lnTo>
                  <a:lnTo>
                    <a:pt x="12" y="510"/>
                  </a:lnTo>
                  <a:lnTo>
                    <a:pt x="15" y="506"/>
                  </a:lnTo>
                  <a:lnTo>
                    <a:pt x="19" y="496"/>
                  </a:lnTo>
                  <a:lnTo>
                    <a:pt x="23" y="485"/>
                  </a:lnTo>
                  <a:lnTo>
                    <a:pt x="27" y="475"/>
                  </a:lnTo>
                  <a:lnTo>
                    <a:pt x="33" y="467"/>
                  </a:lnTo>
                  <a:lnTo>
                    <a:pt x="39" y="459"/>
                  </a:lnTo>
                  <a:lnTo>
                    <a:pt x="46" y="452"/>
                  </a:lnTo>
                  <a:lnTo>
                    <a:pt x="51" y="444"/>
                  </a:lnTo>
                  <a:lnTo>
                    <a:pt x="56" y="436"/>
                  </a:lnTo>
                  <a:lnTo>
                    <a:pt x="57" y="432"/>
                  </a:lnTo>
                  <a:lnTo>
                    <a:pt x="59" y="428"/>
                  </a:lnTo>
                  <a:lnTo>
                    <a:pt x="59" y="422"/>
                  </a:lnTo>
                  <a:lnTo>
                    <a:pt x="60" y="417"/>
                  </a:lnTo>
                  <a:lnTo>
                    <a:pt x="59" y="405"/>
                  </a:lnTo>
                  <a:lnTo>
                    <a:pt x="57" y="394"/>
                  </a:lnTo>
                  <a:lnTo>
                    <a:pt x="54" y="383"/>
                  </a:lnTo>
                  <a:lnTo>
                    <a:pt x="50" y="373"/>
                  </a:lnTo>
                  <a:lnTo>
                    <a:pt x="40" y="354"/>
                  </a:lnTo>
                  <a:lnTo>
                    <a:pt x="30" y="336"/>
                  </a:lnTo>
                  <a:lnTo>
                    <a:pt x="19" y="318"/>
                  </a:lnTo>
                  <a:lnTo>
                    <a:pt x="10" y="299"/>
                  </a:lnTo>
                  <a:lnTo>
                    <a:pt x="6" y="288"/>
                  </a:lnTo>
                  <a:lnTo>
                    <a:pt x="3" y="279"/>
                  </a:lnTo>
                  <a:lnTo>
                    <a:pt x="2" y="267"/>
                  </a:lnTo>
                  <a:lnTo>
                    <a:pt x="0" y="255"/>
                  </a:lnTo>
                  <a:lnTo>
                    <a:pt x="2" y="246"/>
                  </a:lnTo>
                  <a:lnTo>
                    <a:pt x="3" y="240"/>
                  </a:lnTo>
                  <a:lnTo>
                    <a:pt x="5" y="232"/>
                  </a:lnTo>
                  <a:lnTo>
                    <a:pt x="8" y="226"/>
                  </a:lnTo>
                  <a:lnTo>
                    <a:pt x="15" y="214"/>
                  </a:lnTo>
                  <a:lnTo>
                    <a:pt x="23" y="202"/>
                  </a:lnTo>
                  <a:lnTo>
                    <a:pt x="31" y="191"/>
                  </a:lnTo>
                  <a:lnTo>
                    <a:pt x="38" y="179"/>
                  </a:lnTo>
                  <a:lnTo>
                    <a:pt x="42" y="173"/>
                  </a:lnTo>
                  <a:lnTo>
                    <a:pt x="44" y="165"/>
                  </a:lnTo>
                  <a:lnTo>
                    <a:pt x="45" y="159"/>
                  </a:lnTo>
                  <a:lnTo>
                    <a:pt x="46" y="150"/>
                  </a:lnTo>
                  <a:lnTo>
                    <a:pt x="46" y="136"/>
                  </a:lnTo>
                  <a:lnTo>
                    <a:pt x="46" y="123"/>
                  </a:lnTo>
                  <a:lnTo>
                    <a:pt x="46" y="110"/>
                  </a:lnTo>
                  <a:lnTo>
                    <a:pt x="46" y="96"/>
                  </a:lnTo>
                  <a:lnTo>
                    <a:pt x="46" y="83"/>
                  </a:lnTo>
                  <a:lnTo>
                    <a:pt x="48" y="74"/>
                  </a:lnTo>
                  <a:lnTo>
                    <a:pt x="50" y="64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77" y="61"/>
                  </a:lnTo>
                  <a:lnTo>
                    <a:pt x="99" y="70"/>
                  </a:lnTo>
                  <a:lnTo>
                    <a:pt x="110" y="75"/>
                  </a:lnTo>
                  <a:lnTo>
                    <a:pt x="120" y="78"/>
                  </a:lnTo>
                  <a:lnTo>
                    <a:pt x="132" y="80"/>
                  </a:lnTo>
                  <a:lnTo>
                    <a:pt x="145" y="81"/>
                  </a:lnTo>
                  <a:lnTo>
                    <a:pt x="158" y="80"/>
                  </a:lnTo>
                  <a:lnTo>
                    <a:pt x="170" y="79"/>
                  </a:lnTo>
                  <a:lnTo>
                    <a:pt x="182" y="77"/>
                  </a:lnTo>
                  <a:lnTo>
                    <a:pt x="193" y="74"/>
                  </a:lnTo>
                  <a:lnTo>
                    <a:pt x="204" y="71"/>
                  </a:lnTo>
                  <a:lnTo>
                    <a:pt x="214" y="69"/>
                  </a:lnTo>
                  <a:lnTo>
                    <a:pt x="227" y="68"/>
                  </a:lnTo>
                  <a:lnTo>
                    <a:pt x="240" y="67"/>
                  </a:lnTo>
                  <a:lnTo>
                    <a:pt x="265" y="68"/>
                  </a:lnTo>
                  <a:lnTo>
                    <a:pt x="287" y="70"/>
                  </a:lnTo>
                  <a:lnTo>
                    <a:pt x="308" y="71"/>
                  </a:lnTo>
                  <a:lnTo>
                    <a:pt x="333" y="72"/>
                  </a:lnTo>
                  <a:lnTo>
                    <a:pt x="344" y="72"/>
                  </a:lnTo>
                  <a:lnTo>
                    <a:pt x="355" y="71"/>
                  </a:lnTo>
                  <a:lnTo>
                    <a:pt x="366" y="70"/>
                  </a:lnTo>
                  <a:lnTo>
                    <a:pt x="375" y="68"/>
                  </a:lnTo>
                  <a:lnTo>
                    <a:pt x="395" y="63"/>
                  </a:lnTo>
                  <a:lnTo>
                    <a:pt x="413" y="57"/>
                  </a:lnTo>
                  <a:lnTo>
                    <a:pt x="449" y="42"/>
                  </a:lnTo>
                  <a:lnTo>
                    <a:pt x="491" y="28"/>
                  </a:lnTo>
                  <a:lnTo>
                    <a:pt x="507" y="24"/>
                  </a:lnTo>
                  <a:lnTo>
                    <a:pt x="521" y="22"/>
                  </a:lnTo>
                  <a:lnTo>
                    <a:pt x="535" y="20"/>
                  </a:lnTo>
                  <a:lnTo>
                    <a:pt x="549" y="17"/>
                  </a:lnTo>
                  <a:lnTo>
                    <a:pt x="562" y="15"/>
                  </a:lnTo>
                  <a:lnTo>
                    <a:pt x="575" y="12"/>
                  </a:lnTo>
                  <a:lnTo>
                    <a:pt x="589" y="7"/>
                  </a:lnTo>
                  <a:lnTo>
                    <a:pt x="603" y="0"/>
                  </a:lnTo>
                  <a:lnTo>
                    <a:pt x="593" y="15"/>
                  </a:lnTo>
                  <a:lnTo>
                    <a:pt x="586" y="30"/>
                  </a:lnTo>
                  <a:lnTo>
                    <a:pt x="579" y="44"/>
                  </a:lnTo>
                  <a:lnTo>
                    <a:pt x="574" y="58"/>
                  </a:lnTo>
                  <a:lnTo>
                    <a:pt x="563" y="86"/>
                  </a:lnTo>
                  <a:lnTo>
                    <a:pt x="552" y="120"/>
                  </a:lnTo>
                  <a:lnTo>
                    <a:pt x="544" y="143"/>
                  </a:lnTo>
                  <a:lnTo>
                    <a:pt x="535" y="161"/>
                  </a:lnTo>
                  <a:lnTo>
                    <a:pt x="531" y="171"/>
                  </a:lnTo>
                  <a:lnTo>
                    <a:pt x="528" y="182"/>
                  </a:lnTo>
                  <a:lnTo>
                    <a:pt x="525" y="192"/>
                  </a:lnTo>
                  <a:lnTo>
                    <a:pt x="524" y="204"/>
                  </a:lnTo>
                  <a:lnTo>
                    <a:pt x="525" y="210"/>
                  </a:lnTo>
                  <a:lnTo>
                    <a:pt x="526" y="215"/>
                  </a:lnTo>
                  <a:lnTo>
                    <a:pt x="529" y="220"/>
                  </a:lnTo>
                  <a:lnTo>
                    <a:pt x="531" y="225"/>
                  </a:lnTo>
                  <a:lnTo>
                    <a:pt x="534" y="229"/>
                  </a:lnTo>
                  <a:lnTo>
                    <a:pt x="537" y="232"/>
                  </a:lnTo>
                  <a:lnTo>
                    <a:pt x="542" y="236"/>
                  </a:lnTo>
                  <a:lnTo>
                    <a:pt x="546" y="239"/>
                  </a:lnTo>
                  <a:lnTo>
                    <a:pt x="566" y="248"/>
                  </a:lnTo>
                  <a:lnTo>
                    <a:pt x="589" y="257"/>
                  </a:lnTo>
                  <a:lnTo>
                    <a:pt x="599" y="263"/>
                  </a:lnTo>
                  <a:lnTo>
                    <a:pt x="607" y="268"/>
                  </a:lnTo>
                  <a:lnTo>
                    <a:pt x="616" y="273"/>
                  </a:lnTo>
                  <a:lnTo>
                    <a:pt x="624" y="279"/>
                  </a:lnTo>
                  <a:lnTo>
                    <a:pt x="632" y="283"/>
                  </a:lnTo>
                  <a:lnTo>
                    <a:pt x="640" y="287"/>
                  </a:lnTo>
                  <a:lnTo>
                    <a:pt x="650" y="291"/>
                  </a:lnTo>
                  <a:lnTo>
                    <a:pt x="660" y="292"/>
                  </a:lnTo>
                  <a:lnTo>
                    <a:pt x="666" y="291"/>
                  </a:lnTo>
                  <a:lnTo>
                    <a:pt x="671" y="290"/>
                  </a:lnTo>
                  <a:lnTo>
                    <a:pt x="676" y="288"/>
                  </a:lnTo>
                  <a:lnTo>
                    <a:pt x="680" y="286"/>
                  </a:lnTo>
                  <a:lnTo>
                    <a:pt x="687" y="282"/>
                  </a:lnTo>
                  <a:lnTo>
                    <a:pt x="695" y="275"/>
                  </a:lnTo>
                  <a:lnTo>
                    <a:pt x="703" y="270"/>
                  </a:lnTo>
                  <a:lnTo>
                    <a:pt x="710" y="265"/>
                  </a:lnTo>
                  <a:lnTo>
                    <a:pt x="714" y="264"/>
                  </a:lnTo>
                  <a:lnTo>
                    <a:pt x="719" y="261"/>
                  </a:lnTo>
                  <a:lnTo>
                    <a:pt x="724" y="260"/>
                  </a:lnTo>
                  <a:lnTo>
                    <a:pt x="730" y="260"/>
                  </a:lnTo>
                  <a:lnTo>
                    <a:pt x="733" y="261"/>
                  </a:lnTo>
                  <a:lnTo>
                    <a:pt x="736" y="263"/>
                  </a:lnTo>
                  <a:lnTo>
                    <a:pt x="738" y="265"/>
                  </a:lnTo>
                  <a:lnTo>
                    <a:pt x="740" y="268"/>
                  </a:lnTo>
                  <a:lnTo>
                    <a:pt x="744" y="274"/>
                  </a:lnTo>
                  <a:lnTo>
                    <a:pt x="749" y="280"/>
                  </a:lnTo>
                  <a:lnTo>
                    <a:pt x="760" y="288"/>
                  </a:lnTo>
                  <a:lnTo>
                    <a:pt x="769" y="296"/>
                  </a:lnTo>
                  <a:lnTo>
                    <a:pt x="780" y="302"/>
                  </a:lnTo>
                  <a:lnTo>
                    <a:pt x="791" y="311"/>
                  </a:lnTo>
                  <a:lnTo>
                    <a:pt x="803" y="323"/>
                  </a:lnTo>
                  <a:lnTo>
                    <a:pt x="813" y="335"/>
                  </a:lnTo>
                  <a:lnTo>
                    <a:pt x="818" y="339"/>
                  </a:lnTo>
                  <a:lnTo>
                    <a:pt x="823" y="344"/>
                  </a:lnTo>
                  <a:lnTo>
                    <a:pt x="831" y="347"/>
                  </a:lnTo>
                  <a:lnTo>
                    <a:pt x="839" y="347"/>
                  </a:lnTo>
                  <a:lnTo>
                    <a:pt x="847" y="347"/>
                  </a:lnTo>
                  <a:lnTo>
                    <a:pt x="855" y="344"/>
                  </a:lnTo>
                  <a:lnTo>
                    <a:pt x="862" y="339"/>
                  </a:lnTo>
                  <a:lnTo>
                    <a:pt x="869" y="334"/>
                  </a:lnTo>
                  <a:lnTo>
                    <a:pt x="873" y="327"/>
                  </a:lnTo>
                  <a:lnTo>
                    <a:pt x="877" y="320"/>
                  </a:lnTo>
                  <a:lnTo>
                    <a:pt x="880" y="311"/>
                  </a:lnTo>
                  <a:lnTo>
                    <a:pt x="881" y="302"/>
                  </a:lnTo>
                  <a:lnTo>
                    <a:pt x="880" y="294"/>
                  </a:lnTo>
                  <a:lnTo>
                    <a:pt x="879" y="286"/>
                  </a:lnTo>
                  <a:lnTo>
                    <a:pt x="876" y="279"/>
                  </a:lnTo>
                  <a:lnTo>
                    <a:pt x="873" y="271"/>
                  </a:lnTo>
                  <a:lnTo>
                    <a:pt x="871" y="265"/>
                  </a:lnTo>
                  <a:lnTo>
                    <a:pt x="869" y="257"/>
                  </a:lnTo>
                  <a:lnTo>
                    <a:pt x="867" y="250"/>
                  </a:lnTo>
                  <a:lnTo>
                    <a:pt x="867" y="241"/>
                  </a:lnTo>
                  <a:lnTo>
                    <a:pt x="867" y="238"/>
                  </a:lnTo>
                  <a:lnTo>
                    <a:pt x="868" y="236"/>
                  </a:lnTo>
                  <a:lnTo>
                    <a:pt x="869" y="234"/>
                  </a:lnTo>
                  <a:lnTo>
                    <a:pt x="871" y="233"/>
                  </a:lnTo>
                  <a:lnTo>
                    <a:pt x="875" y="231"/>
                  </a:lnTo>
                  <a:lnTo>
                    <a:pt x="881" y="230"/>
                  </a:lnTo>
                  <a:lnTo>
                    <a:pt x="886" y="229"/>
                  </a:lnTo>
                  <a:lnTo>
                    <a:pt x="893" y="228"/>
                  </a:lnTo>
                  <a:lnTo>
                    <a:pt x="898" y="227"/>
                  </a:lnTo>
                  <a:lnTo>
                    <a:pt x="903" y="224"/>
                  </a:lnTo>
                  <a:lnTo>
                    <a:pt x="910" y="218"/>
                  </a:lnTo>
                  <a:lnTo>
                    <a:pt x="915" y="212"/>
                  </a:lnTo>
                  <a:lnTo>
                    <a:pt x="920" y="204"/>
                  </a:lnTo>
                  <a:lnTo>
                    <a:pt x="923" y="198"/>
                  </a:lnTo>
                  <a:lnTo>
                    <a:pt x="927" y="183"/>
                  </a:lnTo>
                  <a:lnTo>
                    <a:pt x="931" y="165"/>
                  </a:lnTo>
                  <a:lnTo>
                    <a:pt x="933" y="145"/>
                  </a:lnTo>
                  <a:lnTo>
                    <a:pt x="936" y="124"/>
                  </a:lnTo>
                  <a:lnTo>
                    <a:pt x="938" y="117"/>
                  </a:lnTo>
                  <a:lnTo>
                    <a:pt x="942" y="109"/>
                  </a:lnTo>
                  <a:lnTo>
                    <a:pt x="944" y="107"/>
                  </a:lnTo>
                  <a:lnTo>
                    <a:pt x="948" y="105"/>
                  </a:lnTo>
                  <a:lnTo>
                    <a:pt x="952" y="104"/>
                  </a:lnTo>
                  <a:lnTo>
                    <a:pt x="956" y="104"/>
                  </a:lnTo>
                  <a:lnTo>
                    <a:pt x="962" y="104"/>
                  </a:lnTo>
                  <a:lnTo>
                    <a:pt x="966" y="105"/>
                  </a:lnTo>
                  <a:lnTo>
                    <a:pt x="970" y="107"/>
                  </a:lnTo>
                  <a:lnTo>
                    <a:pt x="975" y="109"/>
                  </a:lnTo>
                  <a:lnTo>
                    <a:pt x="981" y="116"/>
                  </a:lnTo>
                  <a:lnTo>
                    <a:pt x="988" y="123"/>
                  </a:lnTo>
                  <a:lnTo>
                    <a:pt x="993" y="132"/>
                  </a:lnTo>
                  <a:lnTo>
                    <a:pt x="1000" y="139"/>
                  </a:lnTo>
                  <a:lnTo>
                    <a:pt x="1006" y="147"/>
                  </a:lnTo>
                  <a:lnTo>
                    <a:pt x="1015" y="153"/>
                  </a:lnTo>
                  <a:lnTo>
                    <a:pt x="1052" y="176"/>
                  </a:lnTo>
                  <a:lnTo>
                    <a:pt x="1087" y="196"/>
                  </a:lnTo>
                  <a:lnTo>
                    <a:pt x="1104" y="202"/>
                  </a:lnTo>
                  <a:lnTo>
                    <a:pt x="1123" y="207"/>
                  </a:lnTo>
                  <a:lnTo>
                    <a:pt x="1132" y="210"/>
                  </a:lnTo>
                  <a:lnTo>
                    <a:pt x="1142" y="212"/>
                  </a:lnTo>
                  <a:lnTo>
                    <a:pt x="1153" y="213"/>
                  </a:lnTo>
                  <a:lnTo>
                    <a:pt x="1165" y="213"/>
                  </a:lnTo>
                  <a:lnTo>
                    <a:pt x="1181" y="213"/>
                  </a:lnTo>
                  <a:lnTo>
                    <a:pt x="1195" y="213"/>
                  </a:lnTo>
                  <a:lnTo>
                    <a:pt x="1209" y="213"/>
                  </a:lnTo>
                  <a:lnTo>
                    <a:pt x="1224" y="213"/>
                  </a:lnTo>
                  <a:lnTo>
                    <a:pt x="1243" y="212"/>
                  </a:lnTo>
                  <a:lnTo>
                    <a:pt x="1259" y="209"/>
                  </a:lnTo>
                  <a:lnTo>
                    <a:pt x="1275" y="205"/>
                  </a:lnTo>
                  <a:lnTo>
                    <a:pt x="1292" y="204"/>
                  </a:lnTo>
                  <a:lnTo>
                    <a:pt x="1301" y="205"/>
                  </a:lnTo>
                  <a:lnTo>
                    <a:pt x="1308" y="206"/>
                  </a:lnTo>
                  <a:lnTo>
                    <a:pt x="1316" y="209"/>
                  </a:lnTo>
                  <a:lnTo>
                    <a:pt x="1322" y="211"/>
                  </a:lnTo>
                  <a:lnTo>
                    <a:pt x="1335" y="216"/>
                  </a:lnTo>
                  <a:lnTo>
                    <a:pt x="1352" y="221"/>
                  </a:lnTo>
                  <a:lnTo>
                    <a:pt x="1369" y="225"/>
                  </a:lnTo>
                  <a:lnTo>
                    <a:pt x="1385" y="228"/>
                  </a:lnTo>
                  <a:lnTo>
                    <a:pt x="1400" y="230"/>
                  </a:lnTo>
                  <a:lnTo>
                    <a:pt x="1414" y="232"/>
                  </a:lnTo>
                  <a:lnTo>
                    <a:pt x="1445" y="234"/>
                  </a:lnTo>
                  <a:lnTo>
                    <a:pt x="1478" y="239"/>
                  </a:lnTo>
                  <a:lnTo>
                    <a:pt x="1478" y="239"/>
                  </a:lnTo>
                  <a:lnTo>
                    <a:pt x="1480" y="253"/>
                  </a:lnTo>
                  <a:lnTo>
                    <a:pt x="1480" y="268"/>
                  </a:lnTo>
                  <a:lnTo>
                    <a:pt x="1480" y="281"/>
                  </a:lnTo>
                  <a:lnTo>
                    <a:pt x="1480" y="292"/>
                  </a:lnTo>
                  <a:lnTo>
                    <a:pt x="1480" y="301"/>
                  </a:lnTo>
                  <a:lnTo>
                    <a:pt x="1480" y="314"/>
                  </a:lnTo>
                  <a:lnTo>
                    <a:pt x="1481" y="336"/>
                  </a:lnTo>
                  <a:lnTo>
                    <a:pt x="1483" y="355"/>
                  </a:lnTo>
                  <a:lnTo>
                    <a:pt x="1487" y="374"/>
                  </a:lnTo>
                  <a:lnTo>
                    <a:pt x="1490" y="391"/>
                  </a:lnTo>
                  <a:lnTo>
                    <a:pt x="1494" y="408"/>
                  </a:lnTo>
                  <a:lnTo>
                    <a:pt x="1497" y="427"/>
                  </a:lnTo>
                  <a:lnTo>
                    <a:pt x="1500" y="446"/>
                  </a:lnTo>
                  <a:lnTo>
                    <a:pt x="1500" y="468"/>
                  </a:lnTo>
                  <a:lnTo>
                    <a:pt x="1500" y="480"/>
                  </a:lnTo>
                  <a:lnTo>
                    <a:pt x="1500" y="490"/>
                  </a:lnTo>
                  <a:lnTo>
                    <a:pt x="1499" y="500"/>
                  </a:lnTo>
                  <a:lnTo>
                    <a:pt x="1499" y="513"/>
                  </a:lnTo>
                  <a:lnTo>
                    <a:pt x="1500" y="523"/>
                  </a:lnTo>
                  <a:lnTo>
                    <a:pt x="1502" y="531"/>
                  </a:lnTo>
                  <a:lnTo>
                    <a:pt x="1505" y="539"/>
                  </a:lnTo>
                  <a:lnTo>
                    <a:pt x="1508" y="549"/>
                  </a:lnTo>
                  <a:lnTo>
                    <a:pt x="1508" y="565"/>
                  </a:lnTo>
                  <a:lnTo>
                    <a:pt x="1506" y="579"/>
                  </a:lnTo>
                  <a:lnTo>
                    <a:pt x="1503" y="592"/>
                  </a:lnTo>
                  <a:lnTo>
                    <a:pt x="1500" y="605"/>
                  </a:lnTo>
                  <a:lnTo>
                    <a:pt x="1496" y="618"/>
                  </a:lnTo>
                  <a:lnTo>
                    <a:pt x="1493" y="631"/>
                  </a:lnTo>
                  <a:lnTo>
                    <a:pt x="1491" y="646"/>
                  </a:lnTo>
                  <a:lnTo>
                    <a:pt x="1489" y="661"/>
                  </a:lnTo>
                  <a:lnTo>
                    <a:pt x="1489" y="670"/>
                  </a:lnTo>
                  <a:lnTo>
                    <a:pt x="1489" y="677"/>
                  </a:lnTo>
                  <a:lnTo>
                    <a:pt x="1489" y="677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14">
              <a:extLst>
                <a:ext uri="{FF2B5EF4-FFF2-40B4-BE49-F238E27FC236}">
                  <a16:creationId xmlns:a16="http://schemas.microsoft.com/office/drawing/2014/main" id="{AC78D53B-F54E-498A-972F-420B6C1BE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5863" y="2262188"/>
              <a:ext cx="598488" cy="371475"/>
            </a:xfrm>
            <a:custGeom>
              <a:avLst/>
              <a:gdLst>
                <a:gd name="T0" fmla="*/ 1268 w 1508"/>
                <a:gd name="T1" fmla="*/ 663 h 939"/>
                <a:gd name="T2" fmla="*/ 1169 w 1508"/>
                <a:gd name="T3" fmla="*/ 731 h 939"/>
                <a:gd name="T4" fmla="*/ 1108 w 1508"/>
                <a:gd name="T5" fmla="*/ 753 h 939"/>
                <a:gd name="T6" fmla="*/ 1031 w 1508"/>
                <a:gd name="T7" fmla="*/ 728 h 939"/>
                <a:gd name="T8" fmla="*/ 856 w 1508"/>
                <a:gd name="T9" fmla="*/ 758 h 939"/>
                <a:gd name="T10" fmla="*/ 786 w 1508"/>
                <a:gd name="T11" fmla="*/ 815 h 939"/>
                <a:gd name="T12" fmla="*/ 695 w 1508"/>
                <a:gd name="T13" fmla="*/ 927 h 939"/>
                <a:gd name="T14" fmla="*/ 636 w 1508"/>
                <a:gd name="T15" fmla="*/ 936 h 939"/>
                <a:gd name="T16" fmla="*/ 562 w 1508"/>
                <a:gd name="T17" fmla="*/ 892 h 939"/>
                <a:gd name="T18" fmla="*/ 533 w 1508"/>
                <a:gd name="T19" fmla="*/ 812 h 939"/>
                <a:gd name="T20" fmla="*/ 593 w 1508"/>
                <a:gd name="T21" fmla="*/ 693 h 939"/>
                <a:gd name="T22" fmla="*/ 628 w 1508"/>
                <a:gd name="T23" fmla="*/ 576 h 939"/>
                <a:gd name="T24" fmla="*/ 603 w 1508"/>
                <a:gd name="T25" fmla="*/ 533 h 939"/>
                <a:gd name="T26" fmla="*/ 532 w 1508"/>
                <a:gd name="T27" fmla="*/ 515 h 939"/>
                <a:gd name="T28" fmla="*/ 438 w 1508"/>
                <a:gd name="T29" fmla="*/ 518 h 939"/>
                <a:gd name="T30" fmla="*/ 343 w 1508"/>
                <a:gd name="T31" fmla="*/ 554 h 939"/>
                <a:gd name="T32" fmla="*/ 225 w 1508"/>
                <a:gd name="T33" fmla="*/ 611 h 939"/>
                <a:gd name="T34" fmla="*/ 183 w 1508"/>
                <a:gd name="T35" fmla="*/ 633 h 939"/>
                <a:gd name="T36" fmla="*/ 152 w 1508"/>
                <a:gd name="T37" fmla="*/ 612 h 939"/>
                <a:gd name="T38" fmla="*/ 67 w 1508"/>
                <a:gd name="T39" fmla="*/ 557 h 939"/>
                <a:gd name="T40" fmla="*/ 9 w 1508"/>
                <a:gd name="T41" fmla="*/ 514 h 939"/>
                <a:gd name="T42" fmla="*/ 39 w 1508"/>
                <a:gd name="T43" fmla="*/ 459 h 939"/>
                <a:gd name="T44" fmla="*/ 60 w 1508"/>
                <a:gd name="T45" fmla="*/ 417 h 939"/>
                <a:gd name="T46" fmla="*/ 19 w 1508"/>
                <a:gd name="T47" fmla="*/ 318 h 939"/>
                <a:gd name="T48" fmla="*/ 3 w 1508"/>
                <a:gd name="T49" fmla="*/ 240 h 939"/>
                <a:gd name="T50" fmla="*/ 42 w 1508"/>
                <a:gd name="T51" fmla="*/ 173 h 939"/>
                <a:gd name="T52" fmla="*/ 46 w 1508"/>
                <a:gd name="T53" fmla="*/ 96 h 939"/>
                <a:gd name="T54" fmla="*/ 99 w 1508"/>
                <a:gd name="T55" fmla="*/ 70 h 939"/>
                <a:gd name="T56" fmla="*/ 182 w 1508"/>
                <a:gd name="T57" fmla="*/ 77 h 939"/>
                <a:gd name="T58" fmla="*/ 287 w 1508"/>
                <a:gd name="T59" fmla="*/ 70 h 939"/>
                <a:gd name="T60" fmla="*/ 395 w 1508"/>
                <a:gd name="T61" fmla="*/ 63 h 939"/>
                <a:gd name="T62" fmla="*/ 549 w 1508"/>
                <a:gd name="T63" fmla="*/ 17 h 939"/>
                <a:gd name="T64" fmla="*/ 579 w 1508"/>
                <a:gd name="T65" fmla="*/ 44 h 939"/>
                <a:gd name="T66" fmla="*/ 528 w 1508"/>
                <a:gd name="T67" fmla="*/ 182 h 939"/>
                <a:gd name="T68" fmla="*/ 534 w 1508"/>
                <a:gd name="T69" fmla="*/ 229 h 939"/>
                <a:gd name="T70" fmla="*/ 607 w 1508"/>
                <a:gd name="T71" fmla="*/ 268 h 939"/>
                <a:gd name="T72" fmla="*/ 666 w 1508"/>
                <a:gd name="T73" fmla="*/ 291 h 939"/>
                <a:gd name="T74" fmla="*/ 710 w 1508"/>
                <a:gd name="T75" fmla="*/ 265 h 939"/>
                <a:gd name="T76" fmla="*/ 738 w 1508"/>
                <a:gd name="T77" fmla="*/ 265 h 939"/>
                <a:gd name="T78" fmla="*/ 791 w 1508"/>
                <a:gd name="T79" fmla="*/ 311 h 939"/>
                <a:gd name="T80" fmla="*/ 847 w 1508"/>
                <a:gd name="T81" fmla="*/ 347 h 939"/>
                <a:gd name="T82" fmla="*/ 881 w 1508"/>
                <a:gd name="T83" fmla="*/ 302 h 939"/>
                <a:gd name="T84" fmla="*/ 867 w 1508"/>
                <a:gd name="T85" fmla="*/ 250 h 939"/>
                <a:gd name="T86" fmla="*/ 881 w 1508"/>
                <a:gd name="T87" fmla="*/ 230 h 939"/>
                <a:gd name="T88" fmla="*/ 920 w 1508"/>
                <a:gd name="T89" fmla="*/ 204 h 939"/>
                <a:gd name="T90" fmla="*/ 942 w 1508"/>
                <a:gd name="T91" fmla="*/ 109 h 939"/>
                <a:gd name="T92" fmla="*/ 970 w 1508"/>
                <a:gd name="T93" fmla="*/ 107 h 939"/>
                <a:gd name="T94" fmla="*/ 1015 w 1508"/>
                <a:gd name="T95" fmla="*/ 153 h 939"/>
                <a:gd name="T96" fmla="*/ 1153 w 1508"/>
                <a:gd name="T97" fmla="*/ 213 h 939"/>
                <a:gd name="T98" fmla="*/ 1259 w 1508"/>
                <a:gd name="T99" fmla="*/ 209 h 939"/>
                <a:gd name="T100" fmla="*/ 1335 w 1508"/>
                <a:gd name="T101" fmla="*/ 216 h 939"/>
                <a:gd name="T102" fmla="*/ 1478 w 1508"/>
                <a:gd name="T103" fmla="*/ 239 h 939"/>
                <a:gd name="T104" fmla="*/ 1480 w 1508"/>
                <a:gd name="T105" fmla="*/ 314 h 939"/>
                <a:gd name="T106" fmla="*/ 1500 w 1508"/>
                <a:gd name="T107" fmla="*/ 446 h 939"/>
                <a:gd name="T108" fmla="*/ 1502 w 1508"/>
                <a:gd name="T109" fmla="*/ 531 h 939"/>
                <a:gd name="T110" fmla="*/ 1496 w 1508"/>
                <a:gd name="T111" fmla="*/ 618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08" h="939">
                  <a:moveTo>
                    <a:pt x="1489" y="677"/>
                  </a:moveTo>
                  <a:lnTo>
                    <a:pt x="1362" y="638"/>
                  </a:lnTo>
                  <a:lnTo>
                    <a:pt x="1341" y="642"/>
                  </a:lnTo>
                  <a:lnTo>
                    <a:pt x="1321" y="646"/>
                  </a:lnTo>
                  <a:lnTo>
                    <a:pt x="1303" y="650"/>
                  </a:lnTo>
                  <a:lnTo>
                    <a:pt x="1286" y="657"/>
                  </a:lnTo>
                  <a:lnTo>
                    <a:pt x="1268" y="663"/>
                  </a:lnTo>
                  <a:lnTo>
                    <a:pt x="1251" y="672"/>
                  </a:lnTo>
                  <a:lnTo>
                    <a:pt x="1233" y="680"/>
                  </a:lnTo>
                  <a:lnTo>
                    <a:pt x="1214" y="692"/>
                  </a:lnTo>
                  <a:lnTo>
                    <a:pt x="1202" y="701"/>
                  </a:lnTo>
                  <a:lnTo>
                    <a:pt x="1190" y="711"/>
                  </a:lnTo>
                  <a:lnTo>
                    <a:pt x="1180" y="720"/>
                  </a:lnTo>
                  <a:lnTo>
                    <a:pt x="1169" y="731"/>
                  </a:lnTo>
                  <a:lnTo>
                    <a:pt x="1159" y="740"/>
                  </a:lnTo>
                  <a:lnTo>
                    <a:pt x="1148" y="747"/>
                  </a:lnTo>
                  <a:lnTo>
                    <a:pt x="1142" y="750"/>
                  </a:lnTo>
                  <a:lnTo>
                    <a:pt x="1136" y="752"/>
                  </a:lnTo>
                  <a:lnTo>
                    <a:pt x="1128" y="753"/>
                  </a:lnTo>
                  <a:lnTo>
                    <a:pt x="1121" y="754"/>
                  </a:lnTo>
                  <a:lnTo>
                    <a:pt x="1108" y="753"/>
                  </a:lnTo>
                  <a:lnTo>
                    <a:pt x="1096" y="750"/>
                  </a:lnTo>
                  <a:lnTo>
                    <a:pt x="1086" y="745"/>
                  </a:lnTo>
                  <a:lnTo>
                    <a:pt x="1075" y="741"/>
                  </a:lnTo>
                  <a:lnTo>
                    <a:pt x="1065" y="737"/>
                  </a:lnTo>
                  <a:lnTo>
                    <a:pt x="1055" y="732"/>
                  </a:lnTo>
                  <a:lnTo>
                    <a:pt x="1043" y="729"/>
                  </a:lnTo>
                  <a:lnTo>
                    <a:pt x="1031" y="728"/>
                  </a:lnTo>
                  <a:lnTo>
                    <a:pt x="1002" y="729"/>
                  </a:lnTo>
                  <a:lnTo>
                    <a:pt x="976" y="731"/>
                  </a:lnTo>
                  <a:lnTo>
                    <a:pt x="952" y="736"/>
                  </a:lnTo>
                  <a:lnTo>
                    <a:pt x="928" y="740"/>
                  </a:lnTo>
                  <a:lnTo>
                    <a:pt x="906" y="745"/>
                  </a:lnTo>
                  <a:lnTo>
                    <a:pt x="881" y="752"/>
                  </a:lnTo>
                  <a:lnTo>
                    <a:pt x="856" y="758"/>
                  </a:lnTo>
                  <a:lnTo>
                    <a:pt x="828" y="765"/>
                  </a:lnTo>
                  <a:lnTo>
                    <a:pt x="819" y="768"/>
                  </a:lnTo>
                  <a:lnTo>
                    <a:pt x="812" y="772"/>
                  </a:lnTo>
                  <a:lnTo>
                    <a:pt x="806" y="778"/>
                  </a:lnTo>
                  <a:lnTo>
                    <a:pt x="801" y="784"/>
                  </a:lnTo>
                  <a:lnTo>
                    <a:pt x="793" y="798"/>
                  </a:lnTo>
                  <a:lnTo>
                    <a:pt x="786" y="815"/>
                  </a:lnTo>
                  <a:lnTo>
                    <a:pt x="775" y="833"/>
                  </a:lnTo>
                  <a:lnTo>
                    <a:pt x="764" y="848"/>
                  </a:lnTo>
                  <a:lnTo>
                    <a:pt x="751" y="862"/>
                  </a:lnTo>
                  <a:lnTo>
                    <a:pt x="738" y="877"/>
                  </a:lnTo>
                  <a:lnTo>
                    <a:pt x="721" y="899"/>
                  </a:lnTo>
                  <a:lnTo>
                    <a:pt x="705" y="918"/>
                  </a:lnTo>
                  <a:lnTo>
                    <a:pt x="695" y="927"/>
                  </a:lnTo>
                  <a:lnTo>
                    <a:pt x="685" y="933"/>
                  </a:lnTo>
                  <a:lnTo>
                    <a:pt x="680" y="935"/>
                  </a:lnTo>
                  <a:lnTo>
                    <a:pt x="674" y="938"/>
                  </a:lnTo>
                  <a:lnTo>
                    <a:pt x="668" y="939"/>
                  </a:lnTo>
                  <a:lnTo>
                    <a:pt x="660" y="939"/>
                  </a:lnTo>
                  <a:lnTo>
                    <a:pt x="647" y="938"/>
                  </a:lnTo>
                  <a:lnTo>
                    <a:pt x="636" y="936"/>
                  </a:lnTo>
                  <a:lnTo>
                    <a:pt x="623" y="933"/>
                  </a:lnTo>
                  <a:lnTo>
                    <a:pt x="612" y="929"/>
                  </a:lnTo>
                  <a:lnTo>
                    <a:pt x="600" y="923"/>
                  </a:lnTo>
                  <a:lnTo>
                    <a:pt x="590" y="917"/>
                  </a:lnTo>
                  <a:lnTo>
                    <a:pt x="579" y="909"/>
                  </a:lnTo>
                  <a:lnTo>
                    <a:pt x="571" y="902"/>
                  </a:lnTo>
                  <a:lnTo>
                    <a:pt x="562" y="892"/>
                  </a:lnTo>
                  <a:lnTo>
                    <a:pt x="556" y="882"/>
                  </a:lnTo>
                  <a:lnTo>
                    <a:pt x="549" y="873"/>
                  </a:lnTo>
                  <a:lnTo>
                    <a:pt x="544" y="862"/>
                  </a:lnTo>
                  <a:lnTo>
                    <a:pt x="538" y="850"/>
                  </a:lnTo>
                  <a:lnTo>
                    <a:pt x="536" y="838"/>
                  </a:lnTo>
                  <a:lnTo>
                    <a:pt x="534" y="825"/>
                  </a:lnTo>
                  <a:lnTo>
                    <a:pt x="533" y="812"/>
                  </a:lnTo>
                  <a:lnTo>
                    <a:pt x="534" y="800"/>
                  </a:lnTo>
                  <a:lnTo>
                    <a:pt x="537" y="790"/>
                  </a:lnTo>
                  <a:lnTo>
                    <a:pt x="542" y="781"/>
                  </a:lnTo>
                  <a:lnTo>
                    <a:pt x="547" y="772"/>
                  </a:lnTo>
                  <a:lnTo>
                    <a:pt x="560" y="754"/>
                  </a:lnTo>
                  <a:lnTo>
                    <a:pt x="572" y="734"/>
                  </a:lnTo>
                  <a:lnTo>
                    <a:pt x="593" y="693"/>
                  </a:lnTo>
                  <a:lnTo>
                    <a:pt x="611" y="658"/>
                  </a:lnTo>
                  <a:lnTo>
                    <a:pt x="618" y="639"/>
                  </a:lnTo>
                  <a:lnTo>
                    <a:pt x="624" y="620"/>
                  </a:lnTo>
                  <a:lnTo>
                    <a:pt x="626" y="609"/>
                  </a:lnTo>
                  <a:lnTo>
                    <a:pt x="627" y="598"/>
                  </a:lnTo>
                  <a:lnTo>
                    <a:pt x="628" y="588"/>
                  </a:lnTo>
                  <a:lnTo>
                    <a:pt x="628" y="576"/>
                  </a:lnTo>
                  <a:lnTo>
                    <a:pt x="628" y="568"/>
                  </a:lnTo>
                  <a:lnTo>
                    <a:pt x="626" y="561"/>
                  </a:lnTo>
                  <a:lnTo>
                    <a:pt x="624" y="554"/>
                  </a:lnTo>
                  <a:lnTo>
                    <a:pt x="619" y="548"/>
                  </a:lnTo>
                  <a:lnTo>
                    <a:pt x="615" y="542"/>
                  </a:lnTo>
                  <a:lnTo>
                    <a:pt x="610" y="537"/>
                  </a:lnTo>
                  <a:lnTo>
                    <a:pt x="603" y="533"/>
                  </a:lnTo>
                  <a:lnTo>
                    <a:pt x="597" y="529"/>
                  </a:lnTo>
                  <a:lnTo>
                    <a:pt x="590" y="526"/>
                  </a:lnTo>
                  <a:lnTo>
                    <a:pt x="583" y="523"/>
                  </a:lnTo>
                  <a:lnTo>
                    <a:pt x="574" y="521"/>
                  </a:lnTo>
                  <a:lnTo>
                    <a:pt x="566" y="518"/>
                  </a:lnTo>
                  <a:lnTo>
                    <a:pt x="549" y="516"/>
                  </a:lnTo>
                  <a:lnTo>
                    <a:pt x="532" y="515"/>
                  </a:lnTo>
                  <a:lnTo>
                    <a:pt x="515" y="515"/>
                  </a:lnTo>
                  <a:lnTo>
                    <a:pt x="498" y="515"/>
                  </a:lnTo>
                  <a:lnTo>
                    <a:pt x="482" y="515"/>
                  </a:lnTo>
                  <a:lnTo>
                    <a:pt x="464" y="515"/>
                  </a:lnTo>
                  <a:lnTo>
                    <a:pt x="455" y="515"/>
                  </a:lnTo>
                  <a:lnTo>
                    <a:pt x="447" y="516"/>
                  </a:lnTo>
                  <a:lnTo>
                    <a:pt x="438" y="518"/>
                  </a:lnTo>
                  <a:lnTo>
                    <a:pt x="430" y="520"/>
                  </a:lnTo>
                  <a:lnTo>
                    <a:pt x="416" y="525"/>
                  </a:lnTo>
                  <a:lnTo>
                    <a:pt x="402" y="530"/>
                  </a:lnTo>
                  <a:lnTo>
                    <a:pt x="389" y="537"/>
                  </a:lnTo>
                  <a:lnTo>
                    <a:pt x="375" y="543"/>
                  </a:lnTo>
                  <a:lnTo>
                    <a:pt x="359" y="550"/>
                  </a:lnTo>
                  <a:lnTo>
                    <a:pt x="343" y="554"/>
                  </a:lnTo>
                  <a:lnTo>
                    <a:pt x="317" y="561"/>
                  </a:lnTo>
                  <a:lnTo>
                    <a:pt x="294" y="568"/>
                  </a:lnTo>
                  <a:lnTo>
                    <a:pt x="273" y="578"/>
                  </a:lnTo>
                  <a:lnTo>
                    <a:pt x="250" y="591"/>
                  </a:lnTo>
                  <a:lnTo>
                    <a:pt x="240" y="597"/>
                  </a:lnTo>
                  <a:lnTo>
                    <a:pt x="233" y="604"/>
                  </a:lnTo>
                  <a:lnTo>
                    <a:pt x="225" y="611"/>
                  </a:lnTo>
                  <a:lnTo>
                    <a:pt x="218" y="618"/>
                  </a:lnTo>
                  <a:lnTo>
                    <a:pt x="210" y="624"/>
                  </a:lnTo>
                  <a:lnTo>
                    <a:pt x="202" y="629"/>
                  </a:lnTo>
                  <a:lnTo>
                    <a:pt x="198" y="631"/>
                  </a:lnTo>
                  <a:lnTo>
                    <a:pt x="194" y="632"/>
                  </a:lnTo>
                  <a:lnTo>
                    <a:pt x="188" y="633"/>
                  </a:lnTo>
                  <a:lnTo>
                    <a:pt x="183" y="633"/>
                  </a:lnTo>
                  <a:lnTo>
                    <a:pt x="179" y="633"/>
                  </a:lnTo>
                  <a:lnTo>
                    <a:pt x="174" y="632"/>
                  </a:lnTo>
                  <a:lnTo>
                    <a:pt x="171" y="631"/>
                  </a:lnTo>
                  <a:lnTo>
                    <a:pt x="168" y="629"/>
                  </a:lnTo>
                  <a:lnTo>
                    <a:pt x="162" y="624"/>
                  </a:lnTo>
                  <a:lnTo>
                    <a:pt x="157" y="619"/>
                  </a:lnTo>
                  <a:lnTo>
                    <a:pt x="152" y="612"/>
                  </a:lnTo>
                  <a:lnTo>
                    <a:pt x="147" y="606"/>
                  </a:lnTo>
                  <a:lnTo>
                    <a:pt x="142" y="599"/>
                  </a:lnTo>
                  <a:lnTo>
                    <a:pt x="135" y="594"/>
                  </a:lnTo>
                  <a:lnTo>
                    <a:pt x="118" y="582"/>
                  </a:lnTo>
                  <a:lnTo>
                    <a:pt x="101" y="574"/>
                  </a:lnTo>
                  <a:lnTo>
                    <a:pt x="85" y="565"/>
                  </a:lnTo>
                  <a:lnTo>
                    <a:pt x="67" y="557"/>
                  </a:lnTo>
                  <a:lnTo>
                    <a:pt x="51" y="550"/>
                  </a:lnTo>
                  <a:lnTo>
                    <a:pt x="35" y="542"/>
                  </a:lnTo>
                  <a:lnTo>
                    <a:pt x="18" y="533"/>
                  </a:lnTo>
                  <a:lnTo>
                    <a:pt x="0" y="521"/>
                  </a:lnTo>
                  <a:lnTo>
                    <a:pt x="0" y="521"/>
                  </a:lnTo>
                  <a:lnTo>
                    <a:pt x="5" y="517"/>
                  </a:lnTo>
                  <a:lnTo>
                    <a:pt x="9" y="514"/>
                  </a:lnTo>
                  <a:lnTo>
                    <a:pt x="12" y="510"/>
                  </a:lnTo>
                  <a:lnTo>
                    <a:pt x="15" y="506"/>
                  </a:lnTo>
                  <a:lnTo>
                    <a:pt x="19" y="496"/>
                  </a:lnTo>
                  <a:lnTo>
                    <a:pt x="23" y="485"/>
                  </a:lnTo>
                  <a:lnTo>
                    <a:pt x="27" y="475"/>
                  </a:lnTo>
                  <a:lnTo>
                    <a:pt x="33" y="467"/>
                  </a:lnTo>
                  <a:lnTo>
                    <a:pt x="39" y="459"/>
                  </a:lnTo>
                  <a:lnTo>
                    <a:pt x="46" y="452"/>
                  </a:lnTo>
                  <a:lnTo>
                    <a:pt x="51" y="444"/>
                  </a:lnTo>
                  <a:lnTo>
                    <a:pt x="56" y="436"/>
                  </a:lnTo>
                  <a:lnTo>
                    <a:pt x="57" y="432"/>
                  </a:lnTo>
                  <a:lnTo>
                    <a:pt x="59" y="428"/>
                  </a:lnTo>
                  <a:lnTo>
                    <a:pt x="59" y="422"/>
                  </a:lnTo>
                  <a:lnTo>
                    <a:pt x="60" y="417"/>
                  </a:lnTo>
                  <a:lnTo>
                    <a:pt x="59" y="405"/>
                  </a:lnTo>
                  <a:lnTo>
                    <a:pt x="57" y="394"/>
                  </a:lnTo>
                  <a:lnTo>
                    <a:pt x="54" y="383"/>
                  </a:lnTo>
                  <a:lnTo>
                    <a:pt x="50" y="373"/>
                  </a:lnTo>
                  <a:lnTo>
                    <a:pt x="40" y="354"/>
                  </a:lnTo>
                  <a:lnTo>
                    <a:pt x="30" y="336"/>
                  </a:lnTo>
                  <a:lnTo>
                    <a:pt x="19" y="318"/>
                  </a:lnTo>
                  <a:lnTo>
                    <a:pt x="10" y="299"/>
                  </a:lnTo>
                  <a:lnTo>
                    <a:pt x="6" y="288"/>
                  </a:lnTo>
                  <a:lnTo>
                    <a:pt x="3" y="279"/>
                  </a:lnTo>
                  <a:lnTo>
                    <a:pt x="2" y="267"/>
                  </a:lnTo>
                  <a:lnTo>
                    <a:pt x="0" y="255"/>
                  </a:lnTo>
                  <a:lnTo>
                    <a:pt x="2" y="246"/>
                  </a:lnTo>
                  <a:lnTo>
                    <a:pt x="3" y="240"/>
                  </a:lnTo>
                  <a:lnTo>
                    <a:pt x="5" y="232"/>
                  </a:lnTo>
                  <a:lnTo>
                    <a:pt x="8" y="226"/>
                  </a:lnTo>
                  <a:lnTo>
                    <a:pt x="15" y="214"/>
                  </a:lnTo>
                  <a:lnTo>
                    <a:pt x="23" y="202"/>
                  </a:lnTo>
                  <a:lnTo>
                    <a:pt x="31" y="191"/>
                  </a:lnTo>
                  <a:lnTo>
                    <a:pt x="38" y="179"/>
                  </a:lnTo>
                  <a:lnTo>
                    <a:pt x="42" y="173"/>
                  </a:lnTo>
                  <a:lnTo>
                    <a:pt x="44" y="165"/>
                  </a:lnTo>
                  <a:lnTo>
                    <a:pt x="45" y="159"/>
                  </a:lnTo>
                  <a:lnTo>
                    <a:pt x="46" y="150"/>
                  </a:lnTo>
                  <a:lnTo>
                    <a:pt x="46" y="136"/>
                  </a:lnTo>
                  <a:lnTo>
                    <a:pt x="46" y="123"/>
                  </a:lnTo>
                  <a:lnTo>
                    <a:pt x="46" y="110"/>
                  </a:lnTo>
                  <a:lnTo>
                    <a:pt x="46" y="96"/>
                  </a:lnTo>
                  <a:lnTo>
                    <a:pt x="46" y="83"/>
                  </a:lnTo>
                  <a:lnTo>
                    <a:pt x="48" y="74"/>
                  </a:lnTo>
                  <a:lnTo>
                    <a:pt x="50" y="64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77" y="61"/>
                  </a:lnTo>
                  <a:lnTo>
                    <a:pt x="99" y="70"/>
                  </a:lnTo>
                  <a:lnTo>
                    <a:pt x="110" y="75"/>
                  </a:lnTo>
                  <a:lnTo>
                    <a:pt x="120" y="78"/>
                  </a:lnTo>
                  <a:lnTo>
                    <a:pt x="132" y="80"/>
                  </a:lnTo>
                  <a:lnTo>
                    <a:pt x="145" y="81"/>
                  </a:lnTo>
                  <a:lnTo>
                    <a:pt x="158" y="80"/>
                  </a:lnTo>
                  <a:lnTo>
                    <a:pt x="170" y="79"/>
                  </a:lnTo>
                  <a:lnTo>
                    <a:pt x="182" y="77"/>
                  </a:lnTo>
                  <a:lnTo>
                    <a:pt x="193" y="74"/>
                  </a:lnTo>
                  <a:lnTo>
                    <a:pt x="204" y="71"/>
                  </a:lnTo>
                  <a:lnTo>
                    <a:pt x="214" y="69"/>
                  </a:lnTo>
                  <a:lnTo>
                    <a:pt x="227" y="68"/>
                  </a:lnTo>
                  <a:lnTo>
                    <a:pt x="240" y="67"/>
                  </a:lnTo>
                  <a:lnTo>
                    <a:pt x="265" y="68"/>
                  </a:lnTo>
                  <a:lnTo>
                    <a:pt x="287" y="70"/>
                  </a:lnTo>
                  <a:lnTo>
                    <a:pt x="308" y="71"/>
                  </a:lnTo>
                  <a:lnTo>
                    <a:pt x="333" y="72"/>
                  </a:lnTo>
                  <a:lnTo>
                    <a:pt x="344" y="72"/>
                  </a:lnTo>
                  <a:lnTo>
                    <a:pt x="355" y="71"/>
                  </a:lnTo>
                  <a:lnTo>
                    <a:pt x="366" y="70"/>
                  </a:lnTo>
                  <a:lnTo>
                    <a:pt x="375" y="68"/>
                  </a:lnTo>
                  <a:lnTo>
                    <a:pt x="395" y="63"/>
                  </a:lnTo>
                  <a:lnTo>
                    <a:pt x="413" y="57"/>
                  </a:lnTo>
                  <a:lnTo>
                    <a:pt x="449" y="42"/>
                  </a:lnTo>
                  <a:lnTo>
                    <a:pt x="491" y="28"/>
                  </a:lnTo>
                  <a:lnTo>
                    <a:pt x="507" y="24"/>
                  </a:lnTo>
                  <a:lnTo>
                    <a:pt x="521" y="22"/>
                  </a:lnTo>
                  <a:lnTo>
                    <a:pt x="535" y="20"/>
                  </a:lnTo>
                  <a:lnTo>
                    <a:pt x="549" y="17"/>
                  </a:lnTo>
                  <a:lnTo>
                    <a:pt x="562" y="15"/>
                  </a:lnTo>
                  <a:lnTo>
                    <a:pt x="575" y="12"/>
                  </a:lnTo>
                  <a:lnTo>
                    <a:pt x="589" y="7"/>
                  </a:lnTo>
                  <a:lnTo>
                    <a:pt x="603" y="0"/>
                  </a:lnTo>
                  <a:lnTo>
                    <a:pt x="593" y="15"/>
                  </a:lnTo>
                  <a:lnTo>
                    <a:pt x="586" y="30"/>
                  </a:lnTo>
                  <a:lnTo>
                    <a:pt x="579" y="44"/>
                  </a:lnTo>
                  <a:lnTo>
                    <a:pt x="574" y="58"/>
                  </a:lnTo>
                  <a:lnTo>
                    <a:pt x="563" y="86"/>
                  </a:lnTo>
                  <a:lnTo>
                    <a:pt x="552" y="120"/>
                  </a:lnTo>
                  <a:lnTo>
                    <a:pt x="544" y="143"/>
                  </a:lnTo>
                  <a:lnTo>
                    <a:pt x="535" y="161"/>
                  </a:lnTo>
                  <a:lnTo>
                    <a:pt x="531" y="171"/>
                  </a:lnTo>
                  <a:lnTo>
                    <a:pt x="528" y="182"/>
                  </a:lnTo>
                  <a:lnTo>
                    <a:pt x="525" y="192"/>
                  </a:lnTo>
                  <a:lnTo>
                    <a:pt x="524" y="204"/>
                  </a:lnTo>
                  <a:lnTo>
                    <a:pt x="525" y="210"/>
                  </a:lnTo>
                  <a:lnTo>
                    <a:pt x="526" y="215"/>
                  </a:lnTo>
                  <a:lnTo>
                    <a:pt x="529" y="220"/>
                  </a:lnTo>
                  <a:lnTo>
                    <a:pt x="531" y="225"/>
                  </a:lnTo>
                  <a:lnTo>
                    <a:pt x="534" y="229"/>
                  </a:lnTo>
                  <a:lnTo>
                    <a:pt x="537" y="232"/>
                  </a:lnTo>
                  <a:lnTo>
                    <a:pt x="542" y="236"/>
                  </a:lnTo>
                  <a:lnTo>
                    <a:pt x="546" y="239"/>
                  </a:lnTo>
                  <a:lnTo>
                    <a:pt x="566" y="248"/>
                  </a:lnTo>
                  <a:lnTo>
                    <a:pt x="589" y="257"/>
                  </a:lnTo>
                  <a:lnTo>
                    <a:pt x="599" y="263"/>
                  </a:lnTo>
                  <a:lnTo>
                    <a:pt x="607" y="268"/>
                  </a:lnTo>
                  <a:lnTo>
                    <a:pt x="616" y="273"/>
                  </a:lnTo>
                  <a:lnTo>
                    <a:pt x="624" y="279"/>
                  </a:lnTo>
                  <a:lnTo>
                    <a:pt x="632" y="283"/>
                  </a:lnTo>
                  <a:lnTo>
                    <a:pt x="640" y="287"/>
                  </a:lnTo>
                  <a:lnTo>
                    <a:pt x="650" y="291"/>
                  </a:lnTo>
                  <a:lnTo>
                    <a:pt x="660" y="292"/>
                  </a:lnTo>
                  <a:lnTo>
                    <a:pt x="666" y="291"/>
                  </a:lnTo>
                  <a:lnTo>
                    <a:pt x="671" y="290"/>
                  </a:lnTo>
                  <a:lnTo>
                    <a:pt x="676" y="288"/>
                  </a:lnTo>
                  <a:lnTo>
                    <a:pt x="680" y="286"/>
                  </a:lnTo>
                  <a:lnTo>
                    <a:pt x="687" y="282"/>
                  </a:lnTo>
                  <a:lnTo>
                    <a:pt x="695" y="275"/>
                  </a:lnTo>
                  <a:lnTo>
                    <a:pt x="703" y="270"/>
                  </a:lnTo>
                  <a:lnTo>
                    <a:pt x="710" y="265"/>
                  </a:lnTo>
                  <a:lnTo>
                    <a:pt x="714" y="264"/>
                  </a:lnTo>
                  <a:lnTo>
                    <a:pt x="719" y="261"/>
                  </a:lnTo>
                  <a:lnTo>
                    <a:pt x="724" y="260"/>
                  </a:lnTo>
                  <a:lnTo>
                    <a:pt x="730" y="260"/>
                  </a:lnTo>
                  <a:lnTo>
                    <a:pt x="733" y="261"/>
                  </a:lnTo>
                  <a:lnTo>
                    <a:pt x="736" y="263"/>
                  </a:lnTo>
                  <a:lnTo>
                    <a:pt x="738" y="265"/>
                  </a:lnTo>
                  <a:lnTo>
                    <a:pt x="740" y="268"/>
                  </a:lnTo>
                  <a:lnTo>
                    <a:pt x="744" y="274"/>
                  </a:lnTo>
                  <a:lnTo>
                    <a:pt x="749" y="280"/>
                  </a:lnTo>
                  <a:lnTo>
                    <a:pt x="760" y="288"/>
                  </a:lnTo>
                  <a:lnTo>
                    <a:pt x="769" y="296"/>
                  </a:lnTo>
                  <a:lnTo>
                    <a:pt x="780" y="302"/>
                  </a:lnTo>
                  <a:lnTo>
                    <a:pt x="791" y="311"/>
                  </a:lnTo>
                  <a:lnTo>
                    <a:pt x="803" y="323"/>
                  </a:lnTo>
                  <a:lnTo>
                    <a:pt x="813" y="335"/>
                  </a:lnTo>
                  <a:lnTo>
                    <a:pt x="818" y="339"/>
                  </a:lnTo>
                  <a:lnTo>
                    <a:pt x="823" y="344"/>
                  </a:lnTo>
                  <a:lnTo>
                    <a:pt x="831" y="347"/>
                  </a:lnTo>
                  <a:lnTo>
                    <a:pt x="839" y="347"/>
                  </a:lnTo>
                  <a:lnTo>
                    <a:pt x="847" y="347"/>
                  </a:lnTo>
                  <a:lnTo>
                    <a:pt x="855" y="344"/>
                  </a:lnTo>
                  <a:lnTo>
                    <a:pt x="862" y="339"/>
                  </a:lnTo>
                  <a:lnTo>
                    <a:pt x="869" y="334"/>
                  </a:lnTo>
                  <a:lnTo>
                    <a:pt x="873" y="327"/>
                  </a:lnTo>
                  <a:lnTo>
                    <a:pt x="877" y="320"/>
                  </a:lnTo>
                  <a:lnTo>
                    <a:pt x="880" y="311"/>
                  </a:lnTo>
                  <a:lnTo>
                    <a:pt x="881" y="302"/>
                  </a:lnTo>
                  <a:lnTo>
                    <a:pt x="880" y="294"/>
                  </a:lnTo>
                  <a:lnTo>
                    <a:pt x="879" y="286"/>
                  </a:lnTo>
                  <a:lnTo>
                    <a:pt x="876" y="279"/>
                  </a:lnTo>
                  <a:lnTo>
                    <a:pt x="873" y="271"/>
                  </a:lnTo>
                  <a:lnTo>
                    <a:pt x="871" y="265"/>
                  </a:lnTo>
                  <a:lnTo>
                    <a:pt x="869" y="257"/>
                  </a:lnTo>
                  <a:lnTo>
                    <a:pt x="867" y="250"/>
                  </a:lnTo>
                  <a:lnTo>
                    <a:pt x="867" y="241"/>
                  </a:lnTo>
                  <a:lnTo>
                    <a:pt x="867" y="238"/>
                  </a:lnTo>
                  <a:lnTo>
                    <a:pt x="868" y="236"/>
                  </a:lnTo>
                  <a:lnTo>
                    <a:pt x="869" y="234"/>
                  </a:lnTo>
                  <a:lnTo>
                    <a:pt x="871" y="233"/>
                  </a:lnTo>
                  <a:lnTo>
                    <a:pt x="875" y="231"/>
                  </a:lnTo>
                  <a:lnTo>
                    <a:pt x="881" y="230"/>
                  </a:lnTo>
                  <a:lnTo>
                    <a:pt x="886" y="229"/>
                  </a:lnTo>
                  <a:lnTo>
                    <a:pt x="893" y="228"/>
                  </a:lnTo>
                  <a:lnTo>
                    <a:pt x="898" y="227"/>
                  </a:lnTo>
                  <a:lnTo>
                    <a:pt x="903" y="224"/>
                  </a:lnTo>
                  <a:lnTo>
                    <a:pt x="910" y="218"/>
                  </a:lnTo>
                  <a:lnTo>
                    <a:pt x="915" y="212"/>
                  </a:lnTo>
                  <a:lnTo>
                    <a:pt x="920" y="204"/>
                  </a:lnTo>
                  <a:lnTo>
                    <a:pt x="923" y="198"/>
                  </a:lnTo>
                  <a:lnTo>
                    <a:pt x="927" y="183"/>
                  </a:lnTo>
                  <a:lnTo>
                    <a:pt x="931" y="165"/>
                  </a:lnTo>
                  <a:lnTo>
                    <a:pt x="933" y="145"/>
                  </a:lnTo>
                  <a:lnTo>
                    <a:pt x="936" y="124"/>
                  </a:lnTo>
                  <a:lnTo>
                    <a:pt x="938" y="117"/>
                  </a:lnTo>
                  <a:lnTo>
                    <a:pt x="942" y="109"/>
                  </a:lnTo>
                  <a:lnTo>
                    <a:pt x="944" y="107"/>
                  </a:lnTo>
                  <a:lnTo>
                    <a:pt x="948" y="105"/>
                  </a:lnTo>
                  <a:lnTo>
                    <a:pt x="952" y="104"/>
                  </a:lnTo>
                  <a:lnTo>
                    <a:pt x="956" y="104"/>
                  </a:lnTo>
                  <a:lnTo>
                    <a:pt x="962" y="104"/>
                  </a:lnTo>
                  <a:lnTo>
                    <a:pt x="966" y="105"/>
                  </a:lnTo>
                  <a:lnTo>
                    <a:pt x="970" y="107"/>
                  </a:lnTo>
                  <a:lnTo>
                    <a:pt x="975" y="109"/>
                  </a:lnTo>
                  <a:lnTo>
                    <a:pt x="981" y="116"/>
                  </a:lnTo>
                  <a:lnTo>
                    <a:pt x="988" y="123"/>
                  </a:lnTo>
                  <a:lnTo>
                    <a:pt x="993" y="132"/>
                  </a:lnTo>
                  <a:lnTo>
                    <a:pt x="1000" y="139"/>
                  </a:lnTo>
                  <a:lnTo>
                    <a:pt x="1006" y="147"/>
                  </a:lnTo>
                  <a:lnTo>
                    <a:pt x="1015" y="153"/>
                  </a:lnTo>
                  <a:lnTo>
                    <a:pt x="1052" y="176"/>
                  </a:lnTo>
                  <a:lnTo>
                    <a:pt x="1087" y="196"/>
                  </a:lnTo>
                  <a:lnTo>
                    <a:pt x="1104" y="202"/>
                  </a:lnTo>
                  <a:lnTo>
                    <a:pt x="1123" y="207"/>
                  </a:lnTo>
                  <a:lnTo>
                    <a:pt x="1132" y="210"/>
                  </a:lnTo>
                  <a:lnTo>
                    <a:pt x="1142" y="212"/>
                  </a:lnTo>
                  <a:lnTo>
                    <a:pt x="1153" y="213"/>
                  </a:lnTo>
                  <a:lnTo>
                    <a:pt x="1165" y="213"/>
                  </a:lnTo>
                  <a:lnTo>
                    <a:pt x="1181" y="213"/>
                  </a:lnTo>
                  <a:lnTo>
                    <a:pt x="1195" y="213"/>
                  </a:lnTo>
                  <a:lnTo>
                    <a:pt x="1209" y="213"/>
                  </a:lnTo>
                  <a:lnTo>
                    <a:pt x="1224" y="213"/>
                  </a:lnTo>
                  <a:lnTo>
                    <a:pt x="1243" y="212"/>
                  </a:lnTo>
                  <a:lnTo>
                    <a:pt x="1259" y="209"/>
                  </a:lnTo>
                  <a:lnTo>
                    <a:pt x="1275" y="205"/>
                  </a:lnTo>
                  <a:lnTo>
                    <a:pt x="1292" y="204"/>
                  </a:lnTo>
                  <a:lnTo>
                    <a:pt x="1301" y="205"/>
                  </a:lnTo>
                  <a:lnTo>
                    <a:pt x="1308" y="206"/>
                  </a:lnTo>
                  <a:lnTo>
                    <a:pt x="1316" y="209"/>
                  </a:lnTo>
                  <a:lnTo>
                    <a:pt x="1322" y="211"/>
                  </a:lnTo>
                  <a:lnTo>
                    <a:pt x="1335" y="216"/>
                  </a:lnTo>
                  <a:lnTo>
                    <a:pt x="1352" y="221"/>
                  </a:lnTo>
                  <a:lnTo>
                    <a:pt x="1369" y="225"/>
                  </a:lnTo>
                  <a:lnTo>
                    <a:pt x="1385" y="228"/>
                  </a:lnTo>
                  <a:lnTo>
                    <a:pt x="1400" y="230"/>
                  </a:lnTo>
                  <a:lnTo>
                    <a:pt x="1414" y="232"/>
                  </a:lnTo>
                  <a:lnTo>
                    <a:pt x="1445" y="234"/>
                  </a:lnTo>
                  <a:lnTo>
                    <a:pt x="1478" y="239"/>
                  </a:lnTo>
                  <a:lnTo>
                    <a:pt x="1478" y="239"/>
                  </a:lnTo>
                  <a:lnTo>
                    <a:pt x="1480" y="253"/>
                  </a:lnTo>
                  <a:lnTo>
                    <a:pt x="1480" y="268"/>
                  </a:lnTo>
                  <a:lnTo>
                    <a:pt x="1480" y="281"/>
                  </a:lnTo>
                  <a:lnTo>
                    <a:pt x="1480" y="292"/>
                  </a:lnTo>
                  <a:lnTo>
                    <a:pt x="1480" y="301"/>
                  </a:lnTo>
                  <a:lnTo>
                    <a:pt x="1480" y="314"/>
                  </a:lnTo>
                  <a:lnTo>
                    <a:pt x="1481" y="336"/>
                  </a:lnTo>
                  <a:lnTo>
                    <a:pt x="1483" y="355"/>
                  </a:lnTo>
                  <a:lnTo>
                    <a:pt x="1487" y="374"/>
                  </a:lnTo>
                  <a:lnTo>
                    <a:pt x="1490" y="391"/>
                  </a:lnTo>
                  <a:lnTo>
                    <a:pt x="1494" y="408"/>
                  </a:lnTo>
                  <a:lnTo>
                    <a:pt x="1497" y="427"/>
                  </a:lnTo>
                  <a:lnTo>
                    <a:pt x="1500" y="446"/>
                  </a:lnTo>
                  <a:lnTo>
                    <a:pt x="1500" y="468"/>
                  </a:lnTo>
                  <a:lnTo>
                    <a:pt x="1500" y="480"/>
                  </a:lnTo>
                  <a:lnTo>
                    <a:pt x="1500" y="490"/>
                  </a:lnTo>
                  <a:lnTo>
                    <a:pt x="1499" y="500"/>
                  </a:lnTo>
                  <a:lnTo>
                    <a:pt x="1499" y="513"/>
                  </a:lnTo>
                  <a:lnTo>
                    <a:pt x="1500" y="523"/>
                  </a:lnTo>
                  <a:lnTo>
                    <a:pt x="1502" y="531"/>
                  </a:lnTo>
                  <a:lnTo>
                    <a:pt x="1505" y="539"/>
                  </a:lnTo>
                  <a:lnTo>
                    <a:pt x="1508" y="549"/>
                  </a:lnTo>
                  <a:lnTo>
                    <a:pt x="1508" y="565"/>
                  </a:lnTo>
                  <a:lnTo>
                    <a:pt x="1506" y="579"/>
                  </a:lnTo>
                  <a:lnTo>
                    <a:pt x="1503" y="592"/>
                  </a:lnTo>
                  <a:lnTo>
                    <a:pt x="1500" y="605"/>
                  </a:lnTo>
                  <a:lnTo>
                    <a:pt x="1496" y="618"/>
                  </a:lnTo>
                  <a:lnTo>
                    <a:pt x="1493" y="631"/>
                  </a:lnTo>
                  <a:lnTo>
                    <a:pt x="1491" y="646"/>
                  </a:lnTo>
                  <a:lnTo>
                    <a:pt x="1489" y="661"/>
                  </a:lnTo>
                  <a:lnTo>
                    <a:pt x="1489" y="670"/>
                  </a:lnTo>
                  <a:lnTo>
                    <a:pt x="1489" y="677"/>
                  </a:lnTo>
                  <a:lnTo>
                    <a:pt x="1489" y="677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15">
              <a:extLst>
                <a:ext uri="{FF2B5EF4-FFF2-40B4-BE49-F238E27FC236}">
                  <a16:creationId xmlns:a16="http://schemas.microsoft.com/office/drawing/2014/main" id="{0D75A6E4-0CD9-4B1C-AC11-49980B000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5225" y="2038351"/>
              <a:ext cx="565150" cy="360363"/>
            </a:xfrm>
            <a:custGeom>
              <a:avLst/>
              <a:gdLst>
                <a:gd name="T0" fmla="*/ 80 w 1426"/>
                <a:gd name="T1" fmla="*/ 642 h 909"/>
                <a:gd name="T2" fmla="*/ 152 w 1426"/>
                <a:gd name="T3" fmla="*/ 633 h 909"/>
                <a:gd name="T4" fmla="*/ 256 w 1426"/>
                <a:gd name="T5" fmla="*/ 633 h 909"/>
                <a:gd name="T6" fmla="*/ 343 w 1426"/>
                <a:gd name="T7" fmla="*/ 625 h 909"/>
                <a:gd name="T8" fmla="*/ 483 w 1426"/>
                <a:gd name="T9" fmla="*/ 582 h 909"/>
                <a:gd name="T10" fmla="*/ 541 w 1426"/>
                <a:gd name="T11" fmla="*/ 577 h 909"/>
                <a:gd name="T12" fmla="*/ 492 w 1426"/>
                <a:gd name="T13" fmla="*/ 705 h 909"/>
                <a:gd name="T14" fmla="*/ 473 w 1426"/>
                <a:gd name="T15" fmla="*/ 772 h 909"/>
                <a:gd name="T16" fmla="*/ 490 w 1426"/>
                <a:gd name="T17" fmla="*/ 798 h 909"/>
                <a:gd name="T18" fmla="*/ 564 w 1426"/>
                <a:gd name="T19" fmla="*/ 835 h 909"/>
                <a:gd name="T20" fmla="*/ 614 w 1426"/>
                <a:gd name="T21" fmla="*/ 853 h 909"/>
                <a:gd name="T22" fmla="*/ 651 w 1426"/>
                <a:gd name="T23" fmla="*/ 832 h 909"/>
                <a:gd name="T24" fmla="*/ 681 w 1426"/>
                <a:gd name="T25" fmla="*/ 823 h 909"/>
                <a:gd name="T26" fmla="*/ 708 w 1426"/>
                <a:gd name="T27" fmla="*/ 850 h 909"/>
                <a:gd name="T28" fmla="*/ 766 w 1426"/>
                <a:gd name="T29" fmla="*/ 901 h 909"/>
                <a:gd name="T30" fmla="*/ 810 w 1426"/>
                <a:gd name="T31" fmla="*/ 901 h 909"/>
                <a:gd name="T32" fmla="*/ 828 w 1426"/>
                <a:gd name="T33" fmla="*/ 856 h 909"/>
                <a:gd name="T34" fmla="*/ 815 w 1426"/>
                <a:gd name="T35" fmla="*/ 812 h 909"/>
                <a:gd name="T36" fmla="*/ 823 w 1426"/>
                <a:gd name="T37" fmla="*/ 793 h 909"/>
                <a:gd name="T38" fmla="*/ 858 w 1426"/>
                <a:gd name="T39" fmla="*/ 780 h 909"/>
                <a:gd name="T40" fmla="*/ 881 w 1426"/>
                <a:gd name="T41" fmla="*/ 707 h 909"/>
                <a:gd name="T42" fmla="*/ 900 w 1426"/>
                <a:gd name="T43" fmla="*/ 666 h 909"/>
                <a:gd name="T44" fmla="*/ 929 w 1426"/>
                <a:gd name="T45" fmla="*/ 678 h 909"/>
                <a:gd name="T46" fmla="*/ 1000 w 1426"/>
                <a:gd name="T47" fmla="*/ 738 h 909"/>
                <a:gd name="T48" fmla="*/ 1101 w 1426"/>
                <a:gd name="T49" fmla="*/ 775 h 909"/>
                <a:gd name="T50" fmla="*/ 1191 w 1426"/>
                <a:gd name="T51" fmla="*/ 774 h 909"/>
                <a:gd name="T52" fmla="*/ 1264 w 1426"/>
                <a:gd name="T53" fmla="*/ 771 h 909"/>
                <a:gd name="T54" fmla="*/ 1348 w 1426"/>
                <a:gd name="T55" fmla="*/ 792 h 909"/>
                <a:gd name="T56" fmla="*/ 1418 w 1426"/>
                <a:gd name="T57" fmla="*/ 764 h 909"/>
                <a:gd name="T58" fmla="*/ 1394 w 1426"/>
                <a:gd name="T59" fmla="*/ 654 h 909"/>
                <a:gd name="T60" fmla="*/ 1390 w 1426"/>
                <a:gd name="T61" fmla="*/ 493 h 909"/>
                <a:gd name="T62" fmla="*/ 1367 w 1426"/>
                <a:gd name="T63" fmla="*/ 416 h 909"/>
                <a:gd name="T64" fmla="*/ 1333 w 1426"/>
                <a:gd name="T65" fmla="*/ 327 h 909"/>
                <a:gd name="T66" fmla="*/ 1305 w 1426"/>
                <a:gd name="T67" fmla="*/ 281 h 909"/>
                <a:gd name="T68" fmla="*/ 1162 w 1426"/>
                <a:gd name="T69" fmla="*/ 220 h 909"/>
                <a:gd name="T70" fmla="*/ 1107 w 1426"/>
                <a:gd name="T71" fmla="*/ 193 h 909"/>
                <a:gd name="T72" fmla="*/ 969 w 1426"/>
                <a:gd name="T73" fmla="*/ 189 h 909"/>
                <a:gd name="T74" fmla="*/ 900 w 1426"/>
                <a:gd name="T75" fmla="*/ 164 h 909"/>
                <a:gd name="T76" fmla="*/ 831 w 1426"/>
                <a:gd name="T77" fmla="*/ 139 h 909"/>
                <a:gd name="T78" fmla="*/ 774 w 1426"/>
                <a:gd name="T79" fmla="*/ 143 h 909"/>
                <a:gd name="T80" fmla="*/ 724 w 1426"/>
                <a:gd name="T81" fmla="*/ 125 h 909"/>
                <a:gd name="T82" fmla="*/ 688 w 1426"/>
                <a:gd name="T83" fmla="*/ 86 h 909"/>
                <a:gd name="T84" fmla="*/ 655 w 1426"/>
                <a:gd name="T85" fmla="*/ 39 h 909"/>
                <a:gd name="T86" fmla="*/ 576 w 1426"/>
                <a:gd name="T87" fmla="*/ 22 h 909"/>
                <a:gd name="T88" fmla="*/ 522 w 1426"/>
                <a:gd name="T89" fmla="*/ 0 h 909"/>
                <a:gd name="T90" fmla="*/ 442 w 1426"/>
                <a:gd name="T91" fmla="*/ 61 h 909"/>
                <a:gd name="T92" fmla="*/ 380 w 1426"/>
                <a:gd name="T93" fmla="*/ 79 h 909"/>
                <a:gd name="T94" fmla="*/ 322 w 1426"/>
                <a:gd name="T95" fmla="*/ 77 h 909"/>
                <a:gd name="T96" fmla="*/ 303 w 1426"/>
                <a:gd name="T97" fmla="*/ 94 h 909"/>
                <a:gd name="T98" fmla="*/ 281 w 1426"/>
                <a:gd name="T99" fmla="*/ 171 h 909"/>
                <a:gd name="T100" fmla="*/ 257 w 1426"/>
                <a:gd name="T101" fmla="*/ 238 h 909"/>
                <a:gd name="T102" fmla="*/ 212 w 1426"/>
                <a:gd name="T103" fmla="*/ 373 h 909"/>
                <a:gd name="T104" fmla="*/ 185 w 1426"/>
                <a:gd name="T105" fmla="*/ 421 h 909"/>
                <a:gd name="T106" fmla="*/ 108 w 1426"/>
                <a:gd name="T107" fmla="*/ 482 h 909"/>
                <a:gd name="T108" fmla="*/ 40 w 1426"/>
                <a:gd name="T109" fmla="*/ 513 h 909"/>
                <a:gd name="T110" fmla="*/ 12 w 1426"/>
                <a:gd name="T111" fmla="*/ 555 h 909"/>
                <a:gd name="T112" fmla="*/ 0 w 1426"/>
                <a:gd name="T113" fmla="*/ 614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26" h="909">
                  <a:moveTo>
                    <a:pt x="0" y="614"/>
                  </a:moveTo>
                  <a:lnTo>
                    <a:pt x="25" y="623"/>
                  </a:lnTo>
                  <a:lnTo>
                    <a:pt x="47" y="632"/>
                  </a:lnTo>
                  <a:lnTo>
                    <a:pt x="58" y="637"/>
                  </a:lnTo>
                  <a:lnTo>
                    <a:pt x="68" y="640"/>
                  </a:lnTo>
                  <a:lnTo>
                    <a:pt x="80" y="642"/>
                  </a:lnTo>
                  <a:lnTo>
                    <a:pt x="93" y="643"/>
                  </a:lnTo>
                  <a:lnTo>
                    <a:pt x="106" y="642"/>
                  </a:lnTo>
                  <a:lnTo>
                    <a:pt x="118" y="641"/>
                  </a:lnTo>
                  <a:lnTo>
                    <a:pt x="130" y="639"/>
                  </a:lnTo>
                  <a:lnTo>
                    <a:pt x="141" y="636"/>
                  </a:lnTo>
                  <a:lnTo>
                    <a:pt x="152" y="633"/>
                  </a:lnTo>
                  <a:lnTo>
                    <a:pt x="162" y="631"/>
                  </a:lnTo>
                  <a:lnTo>
                    <a:pt x="175" y="630"/>
                  </a:lnTo>
                  <a:lnTo>
                    <a:pt x="188" y="629"/>
                  </a:lnTo>
                  <a:lnTo>
                    <a:pt x="213" y="630"/>
                  </a:lnTo>
                  <a:lnTo>
                    <a:pt x="235" y="632"/>
                  </a:lnTo>
                  <a:lnTo>
                    <a:pt x="256" y="633"/>
                  </a:lnTo>
                  <a:lnTo>
                    <a:pt x="281" y="634"/>
                  </a:lnTo>
                  <a:lnTo>
                    <a:pt x="292" y="634"/>
                  </a:lnTo>
                  <a:lnTo>
                    <a:pt x="303" y="633"/>
                  </a:lnTo>
                  <a:lnTo>
                    <a:pt x="314" y="632"/>
                  </a:lnTo>
                  <a:lnTo>
                    <a:pt x="323" y="630"/>
                  </a:lnTo>
                  <a:lnTo>
                    <a:pt x="343" y="625"/>
                  </a:lnTo>
                  <a:lnTo>
                    <a:pt x="361" y="619"/>
                  </a:lnTo>
                  <a:lnTo>
                    <a:pt x="397" y="604"/>
                  </a:lnTo>
                  <a:lnTo>
                    <a:pt x="439" y="590"/>
                  </a:lnTo>
                  <a:lnTo>
                    <a:pt x="455" y="586"/>
                  </a:lnTo>
                  <a:lnTo>
                    <a:pt x="469" y="584"/>
                  </a:lnTo>
                  <a:lnTo>
                    <a:pt x="483" y="582"/>
                  </a:lnTo>
                  <a:lnTo>
                    <a:pt x="497" y="579"/>
                  </a:lnTo>
                  <a:lnTo>
                    <a:pt x="510" y="577"/>
                  </a:lnTo>
                  <a:lnTo>
                    <a:pt x="523" y="574"/>
                  </a:lnTo>
                  <a:lnTo>
                    <a:pt x="537" y="569"/>
                  </a:lnTo>
                  <a:lnTo>
                    <a:pt x="551" y="562"/>
                  </a:lnTo>
                  <a:lnTo>
                    <a:pt x="541" y="577"/>
                  </a:lnTo>
                  <a:lnTo>
                    <a:pt x="534" y="592"/>
                  </a:lnTo>
                  <a:lnTo>
                    <a:pt x="527" y="606"/>
                  </a:lnTo>
                  <a:lnTo>
                    <a:pt x="522" y="620"/>
                  </a:lnTo>
                  <a:lnTo>
                    <a:pt x="511" y="648"/>
                  </a:lnTo>
                  <a:lnTo>
                    <a:pt x="500" y="682"/>
                  </a:lnTo>
                  <a:lnTo>
                    <a:pt x="492" y="705"/>
                  </a:lnTo>
                  <a:lnTo>
                    <a:pt x="483" y="723"/>
                  </a:lnTo>
                  <a:lnTo>
                    <a:pt x="479" y="733"/>
                  </a:lnTo>
                  <a:lnTo>
                    <a:pt x="476" y="744"/>
                  </a:lnTo>
                  <a:lnTo>
                    <a:pt x="473" y="754"/>
                  </a:lnTo>
                  <a:lnTo>
                    <a:pt x="472" y="766"/>
                  </a:lnTo>
                  <a:lnTo>
                    <a:pt x="473" y="772"/>
                  </a:lnTo>
                  <a:lnTo>
                    <a:pt x="474" y="777"/>
                  </a:lnTo>
                  <a:lnTo>
                    <a:pt x="477" y="782"/>
                  </a:lnTo>
                  <a:lnTo>
                    <a:pt x="479" y="787"/>
                  </a:lnTo>
                  <a:lnTo>
                    <a:pt x="482" y="791"/>
                  </a:lnTo>
                  <a:lnTo>
                    <a:pt x="485" y="794"/>
                  </a:lnTo>
                  <a:lnTo>
                    <a:pt x="490" y="798"/>
                  </a:lnTo>
                  <a:lnTo>
                    <a:pt x="494" y="801"/>
                  </a:lnTo>
                  <a:lnTo>
                    <a:pt x="514" y="810"/>
                  </a:lnTo>
                  <a:lnTo>
                    <a:pt x="537" y="819"/>
                  </a:lnTo>
                  <a:lnTo>
                    <a:pt x="547" y="825"/>
                  </a:lnTo>
                  <a:lnTo>
                    <a:pt x="555" y="830"/>
                  </a:lnTo>
                  <a:lnTo>
                    <a:pt x="564" y="835"/>
                  </a:lnTo>
                  <a:lnTo>
                    <a:pt x="572" y="841"/>
                  </a:lnTo>
                  <a:lnTo>
                    <a:pt x="580" y="845"/>
                  </a:lnTo>
                  <a:lnTo>
                    <a:pt x="588" y="849"/>
                  </a:lnTo>
                  <a:lnTo>
                    <a:pt x="598" y="853"/>
                  </a:lnTo>
                  <a:lnTo>
                    <a:pt x="608" y="854"/>
                  </a:lnTo>
                  <a:lnTo>
                    <a:pt x="614" y="853"/>
                  </a:lnTo>
                  <a:lnTo>
                    <a:pt x="619" y="852"/>
                  </a:lnTo>
                  <a:lnTo>
                    <a:pt x="624" y="850"/>
                  </a:lnTo>
                  <a:lnTo>
                    <a:pt x="628" y="848"/>
                  </a:lnTo>
                  <a:lnTo>
                    <a:pt x="635" y="844"/>
                  </a:lnTo>
                  <a:lnTo>
                    <a:pt x="643" y="837"/>
                  </a:lnTo>
                  <a:lnTo>
                    <a:pt x="651" y="832"/>
                  </a:lnTo>
                  <a:lnTo>
                    <a:pt x="658" y="827"/>
                  </a:lnTo>
                  <a:lnTo>
                    <a:pt x="662" y="826"/>
                  </a:lnTo>
                  <a:lnTo>
                    <a:pt x="667" y="823"/>
                  </a:lnTo>
                  <a:lnTo>
                    <a:pt x="672" y="822"/>
                  </a:lnTo>
                  <a:lnTo>
                    <a:pt x="678" y="822"/>
                  </a:lnTo>
                  <a:lnTo>
                    <a:pt x="681" y="823"/>
                  </a:lnTo>
                  <a:lnTo>
                    <a:pt x="684" y="825"/>
                  </a:lnTo>
                  <a:lnTo>
                    <a:pt x="686" y="827"/>
                  </a:lnTo>
                  <a:lnTo>
                    <a:pt x="688" y="830"/>
                  </a:lnTo>
                  <a:lnTo>
                    <a:pt x="692" y="836"/>
                  </a:lnTo>
                  <a:lnTo>
                    <a:pt x="697" y="842"/>
                  </a:lnTo>
                  <a:lnTo>
                    <a:pt x="708" y="850"/>
                  </a:lnTo>
                  <a:lnTo>
                    <a:pt x="717" y="858"/>
                  </a:lnTo>
                  <a:lnTo>
                    <a:pt x="728" y="864"/>
                  </a:lnTo>
                  <a:lnTo>
                    <a:pt x="739" y="873"/>
                  </a:lnTo>
                  <a:lnTo>
                    <a:pt x="751" y="885"/>
                  </a:lnTo>
                  <a:lnTo>
                    <a:pt x="761" y="897"/>
                  </a:lnTo>
                  <a:lnTo>
                    <a:pt x="766" y="901"/>
                  </a:lnTo>
                  <a:lnTo>
                    <a:pt x="771" y="906"/>
                  </a:lnTo>
                  <a:lnTo>
                    <a:pt x="779" y="909"/>
                  </a:lnTo>
                  <a:lnTo>
                    <a:pt x="787" y="909"/>
                  </a:lnTo>
                  <a:lnTo>
                    <a:pt x="795" y="909"/>
                  </a:lnTo>
                  <a:lnTo>
                    <a:pt x="803" y="906"/>
                  </a:lnTo>
                  <a:lnTo>
                    <a:pt x="810" y="901"/>
                  </a:lnTo>
                  <a:lnTo>
                    <a:pt x="817" y="896"/>
                  </a:lnTo>
                  <a:lnTo>
                    <a:pt x="821" y="889"/>
                  </a:lnTo>
                  <a:lnTo>
                    <a:pt x="825" y="882"/>
                  </a:lnTo>
                  <a:lnTo>
                    <a:pt x="828" y="873"/>
                  </a:lnTo>
                  <a:lnTo>
                    <a:pt x="829" y="864"/>
                  </a:lnTo>
                  <a:lnTo>
                    <a:pt x="828" y="856"/>
                  </a:lnTo>
                  <a:lnTo>
                    <a:pt x="827" y="848"/>
                  </a:lnTo>
                  <a:lnTo>
                    <a:pt x="824" y="841"/>
                  </a:lnTo>
                  <a:lnTo>
                    <a:pt x="821" y="833"/>
                  </a:lnTo>
                  <a:lnTo>
                    <a:pt x="819" y="827"/>
                  </a:lnTo>
                  <a:lnTo>
                    <a:pt x="817" y="819"/>
                  </a:lnTo>
                  <a:lnTo>
                    <a:pt x="815" y="812"/>
                  </a:lnTo>
                  <a:lnTo>
                    <a:pt x="815" y="803"/>
                  </a:lnTo>
                  <a:lnTo>
                    <a:pt x="815" y="800"/>
                  </a:lnTo>
                  <a:lnTo>
                    <a:pt x="816" y="798"/>
                  </a:lnTo>
                  <a:lnTo>
                    <a:pt x="817" y="796"/>
                  </a:lnTo>
                  <a:lnTo>
                    <a:pt x="819" y="795"/>
                  </a:lnTo>
                  <a:lnTo>
                    <a:pt x="823" y="793"/>
                  </a:lnTo>
                  <a:lnTo>
                    <a:pt x="829" y="792"/>
                  </a:lnTo>
                  <a:lnTo>
                    <a:pt x="834" y="791"/>
                  </a:lnTo>
                  <a:lnTo>
                    <a:pt x="841" y="790"/>
                  </a:lnTo>
                  <a:lnTo>
                    <a:pt x="846" y="789"/>
                  </a:lnTo>
                  <a:lnTo>
                    <a:pt x="851" y="786"/>
                  </a:lnTo>
                  <a:lnTo>
                    <a:pt x="858" y="780"/>
                  </a:lnTo>
                  <a:lnTo>
                    <a:pt x="863" y="774"/>
                  </a:lnTo>
                  <a:lnTo>
                    <a:pt x="868" y="766"/>
                  </a:lnTo>
                  <a:lnTo>
                    <a:pt x="871" y="760"/>
                  </a:lnTo>
                  <a:lnTo>
                    <a:pt x="875" y="745"/>
                  </a:lnTo>
                  <a:lnTo>
                    <a:pt x="879" y="727"/>
                  </a:lnTo>
                  <a:lnTo>
                    <a:pt x="881" y="707"/>
                  </a:lnTo>
                  <a:lnTo>
                    <a:pt x="884" y="686"/>
                  </a:lnTo>
                  <a:lnTo>
                    <a:pt x="886" y="679"/>
                  </a:lnTo>
                  <a:lnTo>
                    <a:pt x="890" y="671"/>
                  </a:lnTo>
                  <a:lnTo>
                    <a:pt x="892" y="669"/>
                  </a:lnTo>
                  <a:lnTo>
                    <a:pt x="896" y="667"/>
                  </a:lnTo>
                  <a:lnTo>
                    <a:pt x="900" y="666"/>
                  </a:lnTo>
                  <a:lnTo>
                    <a:pt x="904" y="666"/>
                  </a:lnTo>
                  <a:lnTo>
                    <a:pt x="910" y="666"/>
                  </a:lnTo>
                  <a:lnTo>
                    <a:pt x="914" y="667"/>
                  </a:lnTo>
                  <a:lnTo>
                    <a:pt x="918" y="669"/>
                  </a:lnTo>
                  <a:lnTo>
                    <a:pt x="923" y="671"/>
                  </a:lnTo>
                  <a:lnTo>
                    <a:pt x="929" y="678"/>
                  </a:lnTo>
                  <a:lnTo>
                    <a:pt x="936" y="685"/>
                  </a:lnTo>
                  <a:lnTo>
                    <a:pt x="941" y="694"/>
                  </a:lnTo>
                  <a:lnTo>
                    <a:pt x="948" y="701"/>
                  </a:lnTo>
                  <a:lnTo>
                    <a:pt x="954" y="709"/>
                  </a:lnTo>
                  <a:lnTo>
                    <a:pt x="963" y="715"/>
                  </a:lnTo>
                  <a:lnTo>
                    <a:pt x="1000" y="738"/>
                  </a:lnTo>
                  <a:lnTo>
                    <a:pt x="1035" y="758"/>
                  </a:lnTo>
                  <a:lnTo>
                    <a:pt x="1052" y="764"/>
                  </a:lnTo>
                  <a:lnTo>
                    <a:pt x="1071" y="769"/>
                  </a:lnTo>
                  <a:lnTo>
                    <a:pt x="1080" y="772"/>
                  </a:lnTo>
                  <a:lnTo>
                    <a:pt x="1090" y="774"/>
                  </a:lnTo>
                  <a:lnTo>
                    <a:pt x="1101" y="775"/>
                  </a:lnTo>
                  <a:lnTo>
                    <a:pt x="1113" y="775"/>
                  </a:lnTo>
                  <a:lnTo>
                    <a:pt x="1129" y="775"/>
                  </a:lnTo>
                  <a:lnTo>
                    <a:pt x="1143" y="775"/>
                  </a:lnTo>
                  <a:lnTo>
                    <a:pt x="1157" y="775"/>
                  </a:lnTo>
                  <a:lnTo>
                    <a:pt x="1172" y="775"/>
                  </a:lnTo>
                  <a:lnTo>
                    <a:pt x="1191" y="774"/>
                  </a:lnTo>
                  <a:lnTo>
                    <a:pt x="1207" y="771"/>
                  </a:lnTo>
                  <a:lnTo>
                    <a:pt x="1223" y="767"/>
                  </a:lnTo>
                  <a:lnTo>
                    <a:pt x="1240" y="766"/>
                  </a:lnTo>
                  <a:lnTo>
                    <a:pt x="1249" y="767"/>
                  </a:lnTo>
                  <a:lnTo>
                    <a:pt x="1256" y="768"/>
                  </a:lnTo>
                  <a:lnTo>
                    <a:pt x="1264" y="771"/>
                  </a:lnTo>
                  <a:lnTo>
                    <a:pt x="1270" y="773"/>
                  </a:lnTo>
                  <a:lnTo>
                    <a:pt x="1283" y="778"/>
                  </a:lnTo>
                  <a:lnTo>
                    <a:pt x="1300" y="783"/>
                  </a:lnTo>
                  <a:lnTo>
                    <a:pt x="1317" y="787"/>
                  </a:lnTo>
                  <a:lnTo>
                    <a:pt x="1333" y="790"/>
                  </a:lnTo>
                  <a:lnTo>
                    <a:pt x="1348" y="792"/>
                  </a:lnTo>
                  <a:lnTo>
                    <a:pt x="1362" y="794"/>
                  </a:lnTo>
                  <a:lnTo>
                    <a:pt x="1393" y="796"/>
                  </a:lnTo>
                  <a:lnTo>
                    <a:pt x="1426" y="801"/>
                  </a:lnTo>
                  <a:lnTo>
                    <a:pt x="1426" y="801"/>
                  </a:lnTo>
                  <a:lnTo>
                    <a:pt x="1423" y="781"/>
                  </a:lnTo>
                  <a:lnTo>
                    <a:pt x="1418" y="764"/>
                  </a:lnTo>
                  <a:lnTo>
                    <a:pt x="1413" y="747"/>
                  </a:lnTo>
                  <a:lnTo>
                    <a:pt x="1407" y="729"/>
                  </a:lnTo>
                  <a:lnTo>
                    <a:pt x="1402" y="712"/>
                  </a:lnTo>
                  <a:lnTo>
                    <a:pt x="1398" y="694"/>
                  </a:lnTo>
                  <a:lnTo>
                    <a:pt x="1395" y="674"/>
                  </a:lnTo>
                  <a:lnTo>
                    <a:pt x="1394" y="654"/>
                  </a:lnTo>
                  <a:lnTo>
                    <a:pt x="1394" y="618"/>
                  </a:lnTo>
                  <a:lnTo>
                    <a:pt x="1394" y="588"/>
                  </a:lnTo>
                  <a:lnTo>
                    <a:pt x="1394" y="557"/>
                  </a:lnTo>
                  <a:lnTo>
                    <a:pt x="1394" y="522"/>
                  </a:lnTo>
                  <a:lnTo>
                    <a:pt x="1393" y="507"/>
                  </a:lnTo>
                  <a:lnTo>
                    <a:pt x="1390" y="493"/>
                  </a:lnTo>
                  <a:lnTo>
                    <a:pt x="1386" y="481"/>
                  </a:lnTo>
                  <a:lnTo>
                    <a:pt x="1382" y="469"/>
                  </a:lnTo>
                  <a:lnTo>
                    <a:pt x="1377" y="457"/>
                  </a:lnTo>
                  <a:lnTo>
                    <a:pt x="1373" y="444"/>
                  </a:lnTo>
                  <a:lnTo>
                    <a:pt x="1369" y="431"/>
                  </a:lnTo>
                  <a:lnTo>
                    <a:pt x="1367" y="416"/>
                  </a:lnTo>
                  <a:lnTo>
                    <a:pt x="1364" y="402"/>
                  </a:lnTo>
                  <a:lnTo>
                    <a:pt x="1362" y="390"/>
                  </a:lnTo>
                  <a:lnTo>
                    <a:pt x="1359" y="380"/>
                  </a:lnTo>
                  <a:lnTo>
                    <a:pt x="1355" y="369"/>
                  </a:lnTo>
                  <a:lnTo>
                    <a:pt x="1345" y="348"/>
                  </a:lnTo>
                  <a:lnTo>
                    <a:pt x="1333" y="327"/>
                  </a:lnTo>
                  <a:lnTo>
                    <a:pt x="1327" y="314"/>
                  </a:lnTo>
                  <a:lnTo>
                    <a:pt x="1321" y="302"/>
                  </a:lnTo>
                  <a:lnTo>
                    <a:pt x="1319" y="296"/>
                  </a:lnTo>
                  <a:lnTo>
                    <a:pt x="1315" y="291"/>
                  </a:lnTo>
                  <a:lnTo>
                    <a:pt x="1310" y="286"/>
                  </a:lnTo>
                  <a:lnTo>
                    <a:pt x="1305" y="281"/>
                  </a:lnTo>
                  <a:lnTo>
                    <a:pt x="1287" y="269"/>
                  </a:lnTo>
                  <a:lnTo>
                    <a:pt x="1269" y="260"/>
                  </a:lnTo>
                  <a:lnTo>
                    <a:pt x="1253" y="252"/>
                  </a:lnTo>
                  <a:lnTo>
                    <a:pt x="1237" y="245"/>
                  </a:lnTo>
                  <a:lnTo>
                    <a:pt x="1202" y="233"/>
                  </a:lnTo>
                  <a:lnTo>
                    <a:pt x="1162" y="220"/>
                  </a:lnTo>
                  <a:lnTo>
                    <a:pt x="1152" y="215"/>
                  </a:lnTo>
                  <a:lnTo>
                    <a:pt x="1142" y="211"/>
                  </a:lnTo>
                  <a:lnTo>
                    <a:pt x="1133" y="206"/>
                  </a:lnTo>
                  <a:lnTo>
                    <a:pt x="1125" y="201"/>
                  </a:lnTo>
                  <a:lnTo>
                    <a:pt x="1116" y="196"/>
                  </a:lnTo>
                  <a:lnTo>
                    <a:pt x="1107" y="193"/>
                  </a:lnTo>
                  <a:lnTo>
                    <a:pt x="1097" y="189"/>
                  </a:lnTo>
                  <a:lnTo>
                    <a:pt x="1086" y="189"/>
                  </a:lnTo>
                  <a:lnTo>
                    <a:pt x="1054" y="189"/>
                  </a:lnTo>
                  <a:lnTo>
                    <a:pt x="1027" y="189"/>
                  </a:lnTo>
                  <a:lnTo>
                    <a:pt x="1000" y="189"/>
                  </a:lnTo>
                  <a:lnTo>
                    <a:pt x="969" y="189"/>
                  </a:lnTo>
                  <a:lnTo>
                    <a:pt x="959" y="188"/>
                  </a:lnTo>
                  <a:lnTo>
                    <a:pt x="950" y="187"/>
                  </a:lnTo>
                  <a:lnTo>
                    <a:pt x="940" y="184"/>
                  </a:lnTo>
                  <a:lnTo>
                    <a:pt x="931" y="181"/>
                  </a:lnTo>
                  <a:lnTo>
                    <a:pt x="915" y="173"/>
                  </a:lnTo>
                  <a:lnTo>
                    <a:pt x="900" y="164"/>
                  </a:lnTo>
                  <a:lnTo>
                    <a:pt x="885" y="155"/>
                  </a:lnTo>
                  <a:lnTo>
                    <a:pt x="869" y="146"/>
                  </a:lnTo>
                  <a:lnTo>
                    <a:pt x="860" y="143"/>
                  </a:lnTo>
                  <a:lnTo>
                    <a:pt x="851" y="141"/>
                  </a:lnTo>
                  <a:lnTo>
                    <a:pt x="842" y="139"/>
                  </a:lnTo>
                  <a:lnTo>
                    <a:pt x="831" y="139"/>
                  </a:lnTo>
                  <a:lnTo>
                    <a:pt x="821" y="140"/>
                  </a:lnTo>
                  <a:lnTo>
                    <a:pt x="811" y="141"/>
                  </a:lnTo>
                  <a:lnTo>
                    <a:pt x="803" y="143"/>
                  </a:lnTo>
                  <a:lnTo>
                    <a:pt x="792" y="144"/>
                  </a:lnTo>
                  <a:lnTo>
                    <a:pt x="782" y="144"/>
                  </a:lnTo>
                  <a:lnTo>
                    <a:pt x="774" y="143"/>
                  </a:lnTo>
                  <a:lnTo>
                    <a:pt x="764" y="141"/>
                  </a:lnTo>
                  <a:lnTo>
                    <a:pt x="755" y="139"/>
                  </a:lnTo>
                  <a:lnTo>
                    <a:pt x="747" y="137"/>
                  </a:lnTo>
                  <a:lnTo>
                    <a:pt x="739" y="133"/>
                  </a:lnTo>
                  <a:lnTo>
                    <a:pt x="732" y="129"/>
                  </a:lnTo>
                  <a:lnTo>
                    <a:pt x="724" y="125"/>
                  </a:lnTo>
                  <a:lnTo>
                    <a:pt x="717" y="119"/>
                  </a:lnTo>
                  <a:lnTo>
                    <a:pt x="711" y="114"/>
                  </a:lnTo>
                  <a:lnTo>
                    <a:pt x="705" y="107"/>
                  </a:lnTo>
                  <a:lnTo>
                    <a:pt x="699" y="101"/>
                  </a:lnTo>
                  <a:lnTo>
                    <a:pt x="694" y="93"/>
                  </a:lnTo>
                  <a:lnTo>
                    <a:pt x="688" y="86"/>
                  </a:lnTo>
                  <a:lnTo>
                    <a:pt x="684" y="77"/>
                  </a:lnTo>
                  <a:lnTo>
                    <a:pt x="680" y="69"/>
                  </a:lnTo>
                  <a:lnTo>
                    <a:pt x="675" y="59"/>
                  </a:lnTo>
                  <a:lnTo>
                    <a:pt x="669" y="51"/>
                  </a:lnTo>
                  <a:lnTo>
                    <a:pt x="662" y="45"/>
                  </a:lnTo>
                  <a:lnTo>
                    <a:pt x="655" y="39"/>
                  </a:lnTo>
                  <a:lnTo>
                    <a:pt x="646" y="36"/>
                  </a:lnTo>
                  <a:lnTo>
                    <a:pt x="638" y="33"/>
                  </a:lnTo>
                  <a:lnTo>
                    <a:pt x="628" y="31"/>
                  </a:lnTo>
                  <a:lnTo>
                    <a:pt x="618" y="29"/>
                  </a:lnTo>
                  <a:lnTo>
                    <a:pt x="598" y="26"/>
                  </a:lnTo>
                  <a:lnTo>
                    <a:pt x="576" y="22"/>
                  </a:lnTo>
                  <a:lnTo>
                    <a:pt x="565" y="20"/>
                  </a:lnTo>
                  <a:lnTo>
                    <a:pt x="554" y="17"/>
                  </a:lnTo>
                  <a:lnTo>
                    <a:pt x="545" y="12"/>
                  </a:lnTo>
                  <a:lnTo>
                    <a:pt x="534" y="7"/>
                  </a:lnTo>
                  <a:lnTo>
                    <a:pt x="528" y="4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05" y="17"/>
                  </a:lnTo>
                  <a:lnTo>
                    <a:pt x="487" y="31"/>
                  </a:lnTo>
                  <a:lnTo>
                    <a:pt x="469" y="45"/>
                  </a:lnTo>
                  <a:lnTo>
                    <a:pt x="452" y="57"/>
                  </a:lnTo>
                  <a:lnTo>
                    <a:pt x="442" y="61"/>
                  </a:lnTo>
                  <a:lnTo>
                    <a:pt x="432" y="66"/>
                  </a:lnTo>
                  <a:lnTo>
                    <a:pt x="423" y="70"/>
                  </a:lnTo>
                  <a:lnTo>
                    <a:pt x="413" y="74"/>
                  </a:lnTo>
                  <a:lnTo>
                    <a:pt x="402" y="76"/>
                  </a:lnTo>
                  <a:lnTo>
                    <a:pt x="391" y="78"/>
                  </a:lnTo>
                  <a:lnTo>
                    <a:pt x="380" y="79"/>
                  </a:lnTo>
                  <a:lnTo>
                    <a:pt x="369" y="79"/>
                  </a:lnTo>
                  <a:lnTo>
                    <a:pt x="358" y="79"/>
                  </a:lnTo>
                  <a:lnTo>
                    <a:pt x="348" y="78"/>
                  </a:lnTo>
                  <a:lnTo>
                    <a:pt x="338" y="77"/>
                  </a:lnTo>
                  <a:lnTo>
                    <a:pt x="328" y="77"/>
                  </a:lnTo>
                  <a:lnTo>
                    <a:pt x="322" y="77"/>
                  </a:lnTo>
                  <a:lnTo>
                    <a:pt x="318" y="78"/>
                  </a:lnTo>
                  <a:lnTo>
                    <a:pt x="314" y="80"/>
                  </a:lnTo>
                  <a:lnTo>
                    <a:pt x="310" y="83"/>
                  </a:lnTo>
                  <a:lnTo>
                    <a:pt x="307" y="86"/>
                  </a:lnTo>
                  <a:lnTo>
                    <a:pt x="305" y="90"/>
                  </a:lnTo>
                  <a:lnTo>
                    <a:pt x="303" y="94"/>
                  </a:lnTo>
                  <a:lnTo>
                    <a:pt x="301" y="99"/>
                  </a:lnTo>
                  <a:lnTo>
                    <a:pt x="294" y="119"/>
                  </a:lnTo>
                  <a:lnTo>
                    <a:pt x="291" y="141"/>
                  </a:lnTo>
                  <a:lnTo>
                    <a:pt x="288" y="152"/>
                  </a:lnTo>
                  <a:lnTo>
                    <a:pt x="284" y="161"/>
                  </a:lnTo>
                  <a:lnTo>
                    <a:pt x="281" y="171"/>
                  </a:lnTo>
                  <a:lnTo>
                    <a:pt x="277" y="179"/>
                  </a:lnTo>
                  <a:lnTo>
                    <a:pt x="272" y="187"/>
                  </a:lnTo>
                  <a:lnTo>
                    <a:pt x="268" y="197"/>
                  </a:lnTo>
                  <a:lnTo>
                    <a:pt x="265" y="206"/>
                  </a:lnTo>
                  <a:lnTo>
                    <a:pt x="263" y="218"/>
                  </a:lnTo>
                  <a:lnTo>
                    <a:pt x="257" y="238"/>
                  </a:lnTo>
                  <a:lnTo>
                    <a:pt x="252" y="256"/>
                  </a:lnTo>
                  <a:lnTo>
                    <a:pt x="245" y="274"/>
                  </a:lnTo>
                  <a:lnTo>
                    <a:pt x="240" y="290"/>
                  </a:lnTo>
                  <a:lnTo>
                    <a:pt x="227" y="323"/>
                  </a:lnTo>
                  <a:lnTo>
                    <a:pt x="215" y="362"/>
                  </a:lnTo>
                  <a:lnTo>
                    <a:pt x="212" y="373"/>
                  </a:lnTo>
                  <a:lnTo>
                    <a:pt x="209" y="382"/>
                  </a:lnTo>
                  <a:lnTo>
                    <a:pt x="204" y="390"/>
                  </a:lnTo>
                  <a:lnTo>
                    <a:pt x="200" y="399"/>
                  </a:lnTo>
                  <a:lnTo>
                    <a:pt x="196" y="407"/>
                  </a:lnTo>
                  <a:lnTo>
                    <a:pt x="190" y="414"/>
                  </a:lnTo>
                  <a:lnTo>
                    <a:pt x="185" y="421"/>
                  </a:lnTo>
                  <a:lnTo>
                    <a:pt x="179" y="427"/>
                  </a:lnTo>
                  <a:lnTo>
                    <a:pt x="166" y="439"/>
                  </a:lnTo>
                  <a:lnTo>
                    <a:pt x="152" y="451"/>
                  </a:lnTo>
                  <a:lnTo>
                    <a:pt x="136" y="463"/>
                  </a:lnTo>
                  <a:lnTo>
                    <a:pt x="119" y="475"/>
                  </a:lnTo>
                  <a:lnTo>
                    <a:pt x="108" y="482"/>
                  </a:lnTo>
                  <a:lnTo>
                    <a:pt x="96" y="489"/>
                  </a:lnTo>
                  <a:lnTo>
                    <a:pt x="85" y="493"/>
                  </a:lnTo>
                  <a:lnTo>
                    <a:pt x="74" y="497"/>
                  </a:lnTo>
                  <a:lnTo>
                    <a:pt x="62" y="502"/>
                  </a:lnTo>
                  <a:lnTo>
                    <a:pt x="51" y="507"/>
                  </a:lnTo>
                  <a:lnTo>
                    <a:pt x="40" y="513"/>
                  </a:lnTo>
                  <a:lnTo>
                    <a:pt x="29" y="522"/>
                  </a:lnTo>
                  <a:lnTo>
                    <a:pt x="25" y="528"/>
                  </a:lnTo>
                  <a:lnTo>
                    <a:pt x="22" y="533"/>
                  </a:lnTo>
                  <a:lnTo>
                    <a:pt x="19" y="538"/>
                  </a:lnTo>
                  <a:lnTo>
                    <a:pt x="17" y="544"/>
                  </a:lnTo>
                  <a:lnTo>
                    <a:pt x="12" y="555"/>
                  </a:lnTo>
                  <a:lnTo>
                    <a:pt x="11" y="565"/>
                  </a:lnTo>
                  <a:lnTo>
                    <a:pt x="9" y="577"/>
                  </a:lnTo>
                  <a:lnTo>
                    <a:pt x="8" y="589"/>
                  </a:lnTo>
                  <a:lnTo>
                    <a:pt x="5" y="601"/>
                  </a:lnTo>
                  <a:lnTo>
                    <a:pt x="0" y="614"/>
                  </a:lnTo>
                  <a:lnTo>
                    <a:pt x="0" y="614"/>
                  </a:lnTo>
                  <a:close/>
                </a:path>
              </a:pathLst>
            </a:custGeom>
            <a:solidFill>
              <a:srgbClr val="FEFEFE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16">
              <a:extLst>
                <a:ext uri="{FF2B5EF4-FFF2-40B4-BE49-F238E27FC236}">
                  <a16:creationId xmlns:a16="http://schemas.microsoft.com/office/drawing/2014/main" id="{000689D6-B640-4A8F-8635-DFD3A515B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5225" y="2038351"/>
              <a:ext cx="565150" cy="360363"/>
            </a:xfrm>
            <a:custGeom>
              <a:avLst/>
              <a:gdLst>
                <a:gd name="T0" fmla="*/ 80 w 1426"/>
                <a:gd name="T1" fmla="*/ 642 h 909"/>
                <a:gd name="T2" fmla="*/ 152 w 1426"/>
                <a:gd name="T3" fmla="*/ 633 h 909"/>
                <a:gd name="T4" fmla="*/ 256 w 1426"/>
                <a:gd name="T5" fmla="*/ 633 h 909"/>
                <a:gd name="T6" fmla="*/ 343 w 1426"/>
                <a:gd name="T7" fmla="*/ 625 h 909"/>
                <a:gd name="T8" fmla="*/ 483 w 1426"/>
                <a:gd name="T9" fmla="*/ 582 h 909"/>
                <a:gd name="T10" fmla="*/ 541 w 1426"/>
                <a:gd name="T11" fmla="*/ 577 h 909"/>
                <a:gd name="T12" fmla="*/ 492 w 1426"/>
                <a:gd name="T13" fmla="*/ 705 h 909"/>
                <a:gd name="T14" fmla="*/ 473 w 1426"/>
                <a:gd name="T15" fmla="*/ 772 h 909"/>
                <a:gd name="T16" fmla="*/ 490 w 1426"/>
                <a:gd name="T17" fmla="*/ 798 h 909"/>
                <a:gd name="T18" fmla="*/ 564 w 1426"/>
                <a:gd name="T19" fmla="*/ 835 h 909"/>
                <a:gd name="T20" fmla="*/ 614 w 1426"/>
                <a:gd name="T21" fmla="*/ 853 h 909"/>
                <a:gd name="T22" fmla="*/ 651 w 1426"/>
                <a:gd name="T23" fmla="*/ 832 h 909"/>
                <a:gd name="T24" fmla="*/ 681 w 1426"/>
                <a:gd name="T25" fmla="*/ 823 h 909"/>
                <a:gd name="T26" fmla="*/ 708 w 1426"/>
                <a:gd name="T27" fmla="*/ 850 h 909"/>
                <a:gd name="T28" fmla="*/ 766 w 1426"/>
                <a:gd name="T29" fmla="*/ 901 h 909"/>
                <a:gd name="T30" fmla="*/ 810 w 1426"/>
                <a:gd name="T31" fmla="*/ 901 h 909"/>
                <a:gd name="T32" fmla="*/ 828 w 1426"/>
                <a:gd name="T33" fmla="*/ 856 h 909"/>
                <a:gd name="T34" fmla="*/ 815 w 1426"/>
                <a:gd name="T35" fmla="*/ 812 h 909"/>
                <a:gd name="T36" fmla="*/ 823 w 1426"/>
                <a:gd name="T37" fmla="*/ 793 h 909"/>
                <a:gd name="T38" fmla="*/ 858 w 1426"/>
                <a:gd name="T39" fmla="*/ 780 h 909"/>
                <a:gd name="T40" fmla="*/ 881 w 1426"/>
                <a:gd name="T41" fmla="*/ 707 h 909"/>
                <a:gd name="T42" fmla="*/ 900 w 1426"/>
                <a:gd name="T43" fmla="*/ 666 h 909"/>
                <a:gd name="T44" fmla="*/ 929 w 1426"/>
                <a:gd name="T45" fmla="*/ 678 h 909"/>
                <a:gd name="T46" fmla="*/ 1000 w 1426"/>
                <a:gd name="T47" fmla="*/ 738 h 909"/>
                <a:gd name="T48" fmla="*/ 1101 w 1426"/>
                <a:gd name="T49" fmla="*/ 775 h 909"/>
                <a:gd name="T50" fmla="*/ 1191 w 1426"/>
                <a:gd name="T51" fmla="*/ 774 h 909"/>
                <a:gd name="T52" fmla="*/ 1264 w 1426"/>
                <a:gd name="T53" fmla="*/ 771 h 909"/>
                <a:gd name="T54" fmla="*/ 1348 w 1426"/>
                <a:gd name="T55" fmla="*/ 792 h 909"/>
                <a:gd name="T56" fmla="*/ 1418 w 1426"/>
                <a:gd name="T57" fmla="*/ 764 h 909"/>
                <a:gd name="T58" fmla="*/ 1394 w 1426"/>
                <a:gd name="T59" fmla="*/ 654 h 909"/>
                <a:gd name="T60" fmla="*/ 1390 w 1426"/>
                <a:gd name="T61" fmla="*/ 493 h 909"/>
                <a:gd name="T62" fmla="*/ 1367 w 1426"/>
                <a:gd name="T63" fmla="*/ 416 h 909"/>
                <a:gd name="T64" fmla="*/ 1333 w 1426"/>
                <a:gd name="T65" fmla="*/ 327 h 909"/>
                <a:gd name="T66" fmla="*/ 1305 w 1426"/>
                <a:gd name="T67" fmla="*/ 281 h 909"/>
                <a:gd name="T68" fmla="*/ 1162 w 1426"/>
                <a:gd name="T69" fmla="*/ 220 h 909"/>
                <a:gd name="T70" fmla="*/ 1107 w 1426"/>
                <a:gd name="T71" fmla="*/ 193 h 909"/>
                <a:gd name="T72" fmla="*/ 969 w 1426"/>
                <a:gd name="T73" fmla="*/ 189 h 909"/>
                <a:gd name="T74" fmla="*/ 900 w 1426"/>
                <a:gd name="T75" fmla="*/ 164 h 909"/>
                <a:gd name="T76" fmla="*/ 831 w 1426"/>
                <a:gd name="T77" fmla="*/ 139 h 909"/>
                <a:gd name="T78" fmla="*/ 774 w 1426"/>
                <a:gd name="T79" fmla="*/ 143 h 909"/>
                <a:gd name="T80" fmla="*/ 724 w 1426"/>
                <a:gd name="T81" fmla="*/ 125 h 909"/>
                <a:gd name="T82" fmla="*/ 688 w 1426"/>
                <a:gd name="T83" fmla="*/ 86 h 909"/>
                <a:gd name="T84" fmla="*/ 655 w 1426"/>
                <a:gd name="T85" fmla="*/ 39 h 909"/>
                <a:gd name="T86" fmla="*/ 576 w 1426"/>
                <a:gd name="T87" fmla="*/ 22 h 909"/>
                <a:gd name="T88" fmla="*/ 522 w 1426"/>
                <a:gd name="T89" fmla="*/ 0 h 909"/>
                <a:gd name="T90" fmla="*/ 442 w 1426"/>
                <a:gd name="T91" fmla="*/ 61 h 909"/>
                <a:gd name="T92" fmla="*/ 380 w 1426"/>
                <a:gd name="T93" fmla="*/ 79 h 909"/>
                <a:gd name="T94" fmla="*/ 322 w 1426"/>
                <a:gd name="T95" fmla="*/ 77 h 909"/>
                <a:gd name="T96" fmla="*/ 303 w 1426"/>
                <a:gd name="T97" fmla="*/ 94 h 909"/>
                <a:gd name="T98" fmla="*/ 281 w 1426"/>
                <a:gd name="T99" fmla="*/ 171 h 909"/>
                <a:gd name="T100" fmla="*/ 257 w 1426"/>
                <a:gd name="T101" fmla="*/ 238 h 909"/>
                <a:gd name="T102" fmla="*/ 212 w 1426"/>
                <a:gd name="T103" fmla="*/ 373 h 909"/>
                <a:gd name="T104" fmla="*/ 185 w 1426"/>
                <a:gd name="T105" fmla="*/ 421 h 909"/>
                <a:gd name="T106" fmla="*/ 108 w 1426"/>
                <a:gd name="T107" fmla="*/ 482 h 909"/>
                <a:gd name="T108" fmla="*/ 40 w 1426"/>
                <a:gd name="T109" fmla="*/ 513 h 909"/>
                <a:gd name="T110" fmla="*/ 12 w 1426"/>
                <a:gd name="T111" fmla="*/ 555 h 909"/>
                <a:gd name="T112" fmla="*/ 0 w 1426"/>
                <a:gd name="T113" fmla="*/ 614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26" h="909">
                  <a:moveTo>
                    <a:pt x="0" y="614"/>
                  </a:moveTo>
                  <a:lnTo>
                    <a:pt x="25" y="623"/>
                  </a:lnTo>
                  <a:lnTo>
                    <a:pt x="47" y="632"/>
                  </a:lnTo>
                  <a:lnTo>
                    <a:pt x="58" y="637"/>
                  </a:lnTo>
                  <a:lnTo>
                    <a:pt x="68" y="640"/>
                  </a:lnTo>
                  <a:lnTo>
                    <a:pt x="80" y="642"/>
                  </a:lnTo>
                  <a:lnTo>
                    <a:pt x="93" y="643"/>
                  </a:lnTo>
                  <a:lnTo>
                    <a:pt x="106" y="642"/>
                  </a:lnTo>
                  <a:lnTo>
                    <a:pt x="118" y="641"/>
                  </a:lnTo>
                  <a:lnTo>
                    <a:pt x="130" y="639"/>
                  </a:lnTo>
                  <a:lnTo>
                    <a:pt x="141" y="636"/>
                  </a:lnTo>
                  <a:lnTo>
                    <a:pt x="152" y="633"/>
                  </a:lnTo>
                  <a:lnTo>
                    <a:pt x="162" y="631"/>
                  </a:lnTo>
                  <a:lnTo>
                    <a:pt x="175" y="630"/>
                  </a:lnTo>
                  <a:lnTo>
                    <a:pt x="188" y="629"/>
                  </a:lnTo>
                  <a:lnTo>
                    <a:pt x="213" y="630"/>
                  </a:lnTo>
                  <a:lnTo>
                    <a:pt x="235" y="632"/>
                  </a:lnTo>
                  <a:lnTo>
                    <a:pt x="256" y="633"/>
                  </a:lnTo>
                  <a:lnTo>
                    <a:pt x="281" y="634"/>
                  </a:lnTo>
                  <a:lnTo>
                    <a:pt x="292" y="634"/>
                  </a:lnTo>
                  <a:lnTo>
                    <a:pt x="303" y="633"/>
                  </a:lnTo>
                  <a:lnTo>
                    <a:pt x="314" y="632"/>
                  </a:lnTo>
                  <a:lnTo>
                    <a:pt x="323" y="630"/>
                  </a:lnTo>
                  <a:lnTo>
                    <a:pt x="343" y="625"/>
                  </a:lnTo>
                  <a:lnTo>
                    <a:pt x="361" y="619"/>
                  </a:lnTo>
                  <a:lnTo>
                    <a:pt x="397" y="604"/>
                  </a:lnTo>
                  <a:lnTo>
                    <a:pt x="439" y="590"/>
                  </a:lnTo>
                  <a:lnTo>
                    <a:pt x="455" y="586"/>
                  </a:lnTo>
                  <a:lnTo>
                    <a:pt x="469" y="584"/>
                  </a:lnTo>
                  <a:lnTo>
                    <a:pt x="483" y="582"/>
                  </a:lnTo>
                  <a:lnTo>
                    <a:pt x="497" y="579"/>
                  </a:lnTo>
                  <a:lnTo>
                    <a:pt x="510" y="577"/>
                  </a:lnTo>
                  <a:lnTo>
                    <a:pt x="523" y="574"/>
                  </a:lnTo>
                  <a:lnTo>
                    <a:pt x="537" y="569"/>
                  </a:lnTo>
                  <a:lnTo>
                    <a:pt x="551" y="562"/>
                  </a:lnTo>
                  <a:lnTo>
                    <a:pt x="541" y="577"/>
                  </a:lnTo>
                  <a:lnTo>
                    <a:pt x="534" y="592"/>
                  </a:lnTo>
                  <a:lnTo>
                    <a:pt x="527" y="606"/>
                  </a:lnTo>
                  <a:lnTo>
                    <a:pt x="522" y="620"/>
                  </a:lnTo>
                  <a:lnTo>
                    <a:pt x="511" y="648"/>
                  </a:lnTo>
                  <a:lnTo>
                    <a:pt x="500" y="682"/>
                  </a:lnTo>
                  <a:lnTo>
                    <a:pt x="492" y="705"/>
                  </a:lnTo>
                  <a:lnTo>
                    <a:pt x="483" y="723"/>
                  </a:lnTo>
                  <a:lnTo>
                    <a:pt x="479" y="733"/>
                  </a:lnTo>
                  <a:lnTo>
                    <a:pt x="476" y="744"/>
                  </a:lnTo>
                  <a:lnTo>
                    <a:pt x="473" y="754"/>
                  </a:lnTo>
                  <a:lnTo>
                    <a:pt x="472" y="766"/>
                  </a:lnTo>
                  <a:lnTo>
                    <a:pt x="473" y="772"/>
                  </a:lnTo>
                  <a:lnTo>
                    <a:pt x="474" y="777"/>
                  </a:lnTo>
                  <a:lnTo>
                    <a:pt x="477" y="782"/>
                  </a:lnTo>
                  <a:lnTo>
                    <a:pt x="479" y="787"/>
                  </a:lnTo>
                  <a:lnTo>
                    <a:pt x="482" y="791"/>
                  </a:lnTo>
                  <a:lnTo>
                    <a:pt x="485" y="794"/>
                  </a:lnTo>
                  <a:lnTo>
                    <a:pt x="490" y="798"/>
                  </a:lnTo>
                  <a:lnTo>
                    <a:pt x="494" y="801"/>
                  </a:lnTo>
                  <a:lnTo>
                    <a:pt x="514" y="810"/>
                  </a:lnTo>
                  <a:lnTo>
                    <a:pt x="537" y="819"/>
                  </a:lnTo>
                  <a:lnTo>
                    <a:pt x="547" y="825"/>
                  </a:lnTo>
                  <a:lnTo>
                    <a:pt x="555" y="830"/>
                  </a:lnTo>
                  <a:lnTo>
                    <a:pt x="564" y="835"/>
                  </a:lnTo>
                  <a:lnTo>
                    <a:pt x="572" y="841"/>
                  </a:lnTo>
                  <a:lnTo>
                    <a:pt x="580" y="845"/>
                  </a:lnTo>
                  <a:lnTo>
                    <a:pt x="588" y="849"/>
                  </a:lnTo>
                  <a:lnTo>
                    <a:pt x="598" y="853"/>
                  </a:lnTo>
                  <a:lnTo>
                    <a:pt x="608" y="854"/>
                  </a:lnTo>
                  <a:lnTo>
                    <a:pt x="614" y="853"/>
                  </a:lnTo>
                  <a:lnTo>
                    <a:pt x="619" y="852"/>
                  </a:lnTo>
                  <a:lnTo>
                    <a:pt x="624" y="850"/>
                  </a:lnTo>
                  <a:lnTo>
                    <a:pt x="628" y="848"/>
                  </a:lnTo>
                  <a:lnTo>
                    <a:pt x="635" y="844"/>
                  </a:lnTo>
                  <a:lnTo>
                    <a:pt x="643" y="837"/>
                  </a:lnTo>
                  <a:lnTo>
                    <a:pt x="651" y="832"/>
                  </a:lnTo>
                  <a:lnTo>
                    <a:pt x="658" y="827"/>
                  </a:lnTo>
                  <a:lnTo>
                    <a:pt x="662" y="826"/>
                  </a:lnTo>
                  <a:lnTo>
                    <a:pt x="667" y="823"/>
                  </a:lnTo>
                  <a:lnTo>
                    <a:pt x="672" y="822"/>
                  </a:lnTo>
                  <a:lnTo>
                    <a:pt x="678" y="822"/>
                  </a:lnTo>
                  <a:lnTo>
                    <a:pt x="681" y="823"/>
                  </a:lnTo>
                  <a:lnTo>
                    <a:pt x="684" y="825"/>
                  </a:lnTo>
                  <a:lnTo>
                    <a:pt x="686" y="827"/>
                  </a:lnTo>
                  <a:lnTo>
                    <a:pt x="688" y="830"/>
                  </a:lnTo>
                  <a:lnTo>
                    <a:pt x="692" y="836"/>
                  </a:lnTo>
                  <a:lnTo>
                    <a:pt x="697" y="842"/>
                  </a:lnTo>
                  <a:lnTo>
                    <a:pt x="708" y="850"/>
                  </a:lnTo>
                  <a:lnTo>
                    <a:pt x="717" y="858"/>
                  </a:lnTo>
                  <a:lnTo>
                    <a:pt x="728" y="864"/>
                  </a:lnTo>
                  <a:lnTo>
                    <a:pt x="739" y="873"/>
                  </a:lnTo>
                  <a:lnTo>
                    <a:pt x="751" y="885"/>
                  </a:lnTo>
                  <a:lnTo>
                    <a:pt x="761" y="897"/>
                  </a:lnTo>
                  <a:lnTo>
                    <a:pt x="766" y="901"/>
                  </a:lnTo>
                  <a:lnTo>
                    <a:pt x="771" y="906"/>
                  </a:lnTo>
                  <a:lnTo>
                    <a:pt x="779" y="909"/>
                  </a:lnTo>
                  <a:lnTo>
                    <a:pt x="787" y="909"/>
                  </a:lnTo>
                  <a:lnTo>
                    <a:pt x="795" y="909"/>
                  </a:lnTo>
                  <a:lnTo>
                    <a:pt x="803" y="906"/>
                  </a:lnTo>
                  <a:lnTo>
                    <a:pt x="810" y="901"/>
                  </a:lnTo>
                  <a:lnTo>
                    <a:pt x="817" y="896"/>
                  </a:lnTo>
                  <a:lnTo>
                    <a:pt x="821" y="889"/>
                  </a:lnTo>
                  <a:lnTo>
                    <a:pt x="825" y="882"/>
                  </a:lnTo>
                  <a:lnTo>
                    <a:pt x="828" y="873"/>
                  </a:lnTo>
                  <a:lnTo>
                    <a:pt x="829" y="864"/>
                  </a:lnTo>
                  <a:lnTo>
                    <a:pt x="828" y="856"/>
                  </a:lnTo>
                  <a:lnTo>
                    <a:pt x="827" y="848"/>
                  </a:lnTo>
                  <a:lnTo>
                    <a:pt x="824" y="841"/>
                  </a:lnTo>
                  <a:lnTo>
                    <a:pt x="821" y="833"/>
                  </a:lnTo>
                  <a:lnTo>
                    <a:pt x="819" y="827"/>
                  </a:lnTo>
                  <a:lnTo>
                    <a:pt x="817" y="819"/>
                  </a:lnTo>
                  <a:lnTo>
                    <a:pt x="815" y="812"/>
                  </a:lnTo>
                  <a:lnTo>
                    <a:pt x="815" y="803"/>
                  </a:lnTo>
                  <a:lnTo>
                    <a:pt x="815" y="800"/>
                  </a:lnTo>
                  <a:lnTo>
                    <a:pt x="816" y="798"/>
                  </a:lnTo>
                  <a:lnTo>
                    <a:pt x="817" y="796"/>
                  </a:lnTo>
                  <a:lnTo>
                    <a:pt x="819" y="795"/>
                  </a:lnTo>
                  <a:lnTo>
                    <a:pt x="823" y="793"/>
                  </a:lnTo>
                  <a:lnTo>
                    <a:pt x="829" y="792"/>
                  </a:lnTo>
                  <a:lnTo>
                    <a:pt x="834" y="791"/>
                  </a:lnTo>
                  <a:lnTo>
                    <a:pt x="841" y="790"/>
                  </a:lnTo>
                  <a:lnTo>
                    <a:pt x="846" y="789"/>
                  </a:lnTo>
                  <a:lnTo>
                    <a:pt x="851" y="786"/>
                  </a:lnTo>
                  <a:lnTo>
                    <a:pt x="858" y="780"/>
                  </a:lnTo>
                  <a:lnTo>
                    <a:pt x="863" y="774"/>
                  </a:lnTo>
                  <a:lnTo>
                    <a:pt x="868" y="766"/>
                  </a:lnTo>
                  <a:lnTo>
                    <a:pt x="871" y="760"/>
                  </a:lnTo>
                  <a:lnTo>
                    <a:pt x="875" y="745"/>
                  </a:lnTo>
                  <a:lnTo>
                    <a:pt x="879" y="727"/>
                  </a:lnTo>
                  <a:lnTo>
                    <a:pt x="881" y="707"/>
                  </a:lnTo>
                  <a:lnTo>
                    <a:pt x="884" y="686"/>
                  </a:lnTo>
                  <a:lnTo>
                    <a:pt x="886" y="679"/>
                  </a:lnTo>
                  <a:lnTo>
                    <a:pt x="890" y="671"/>
                  </a:lnTo>
                  <a:lnTo>
                    <a:pt x="892" y="669"/>
                  </a:lnTo>
                  <a:lnTo>
                    <a:pt x="896" y="667"/>
                  </a:lnTo>
                  <a:lnTo>
                    <a:pt x="900" y="666"/>
                  </a:lnTo>
                  <a:lnTo>
                    <a:pt x="904" y="666"/>
                  </a:lnTo>
                  <a:lnTo>
                    <a:pt x="910" y="666"/>
                  </a:lnTo>
                  <a:lnTo>
                    <a:pt x="914" y="667"/>
                  </a:lnTo>
                  <a:lnTo>
                    <a:pt x="918" y="669"/>
                  </a:lnTo>
                  <a:lnTo>
                    <a:pt x="923" y="671"/>
                  </a:lnTo>
                  <a:lnTo>
                    <a:pt x="929" y="678"/>
                  </a:lnTo>
                  <a:lnTo>
                    <a:pt x="936" y="685"/>
                  </a:lnTo>
                  <a:lnTo>
                    <a:pt x="941" y="694"/>
                  </a:lnTo>
                  <a:lnTo>
                    <a:pt x="948" y="701"/>
                  </a:lnTo>
                  <a:lnTo>
                    <a:pt x="954" y="709"/>
                  </a:lnTo>
                  <a:lnTo>
                    <a:pt x="963" y="715"/>
                  </a:lnTo>
                  <a:lnTo>
                    <a:pt x="1000" y="738"/>
                  </a:lnTo>
                  <a:lnTo>
                    <a:pt x="1035" y="758"/>
                  </a:lnTo>
                  <a:lnTo>
                    <a:pt x="1052" y="764"/>
                  </a:lnTo>
                  <a:lnTo>
                    <a:pt x="1071" y="769"/>
                  </a:lnTo>
                  <a:lnTo>
                    <a:pt x="1080" y="772"/>
                  </a:lnTo>
                  <a:lnTo>
                    <a:pt x="1090" y="774"/>
                  </a:lnTo>
                  <a:lnTo>
                    <a:pt x="1101" y="775"/>
                  </a:lnTo>
                  <a:lnTo>
                    <a:pt x="1113" y="775"/>
                  </a:lnTo>
                  <a:lnTo>
                    <a:pt x="1129" y="775"/>
                  </a:lnTo>
                  <a:lnTo>
                    <a:pt x="1143" y="775"/>
                  </a:lnTo>
                  <a:lnTo>
                    <a:pt x="1157" y="775"/>
                  </a:lnTo>
                  <a:lnTo>
                    <a:pt x="1172" y="775"/>
                  </a:lnTo>
                  <a:lnTo>
                    <a:pt x="1191" y="774"/>
                  </a:lnTo>
                  <a:lnTo>
                    <a:pt x="1207" y="771"/>
                  </a:lnTo>
                  <a:lnTo>
                    <a:pt x="1223" y="767"/>
                  </a:lnTo>
                  <a:lnTo>
                    <a:pt x="1240" y="766"/>
                  </a:lnTo>
                  <a:lnTo>
                    <a:pt x="1249" y="767"/>
                  </a:lnTo>
                  <a:lnTo>
                    <a:pt x="1256" y="768"/>
                  </a:lnTo>
                  <a:lnTo>
                    <a:pt x="1264" y="771"/>
                  </a:lnTo>
                  <a:lnTo>
                    <a:pt x="1270" y="773"/>
                  </a:lnTo>
                  <a:lnTo>
                    <a:pt x="1283" y="778"/>
                  </a:lnTo>
                  <a:lnTo>
                    <a:pt x="1300" y="783"/>
                  </a:lnTo>
                  <a:lnTo>
                    <a:pt x="1317" y="787"/>
                  </a:lnTo>
                  <a:lnTo>
                    <a:pt x="1333" y="790"/>
                  </a:lnTo>
                  <a:lnTo>
                    <a:pt x="1348" y="792"/>
                  </a:lnTo>
                  <a:lnTo>
                    <a:pt x="1362" y="794"/>
                  </a:lnTo>
                  <a:lnTo>
                    <a:pt x="1393" y="796"/>
                  </a:lnTo>
                  <a:lnTo>
                    <a:pt x="1426" y="801"/>
                  </a:lnTo>
                  <a:lnTo>
                    <a:pt x="1426" y="801"/>
                  </a:lnTo>
                  <a:lnTo>
                    <a:pt x="1423" y="781"/>
                  </a:lnTo>
                  <a:lnTo>
                    <a:pt x="1418" y="764"/>
                  </a:lnTo>
                  <a:lnTo>
                    <a:pt x="1413" y="747"/>
                  </a:lnTo>
                  <a:lnTo>
                    <a:pt x="1407" y="729"/>
                  </a:lnTo>
                  <a:lnTo>
                    <a:pt x="1402" y="712"/>
                  </a:lnTo>
                  <a:lnTo>
                    <a:pt x="1398" y="694"/>
                  </a:lnTo>
                  <a:lnTo>
                    <a:pt x="1395" y="674"/>
                  </a:lnTo>
                  <a:lnTo>
                    <a:pt x="1394" y="654"/>
                  </a:lnTo>
                  <a:lnTo>
                    <a:pt x="1394" y="618"/>
                  </a:lnTo>
                  <a:lnTo>
                    <a:pt x="1394" y="588"/>
                  </a:lnTo>
                  <a:lnTo>
                    <a:pt x="1394" y="557"/>
                  </a:lnTo>
                  <a:lnTo>
                    <a:pt x="1394" y="522"/>
                  </a:lnTo>
                  <a:lnTo>
                    <a:pt x="1393" y="507"/>
                  </a:lnTo>
                  <a:lnTo>
                    <a:pt x="1390" y="493"/>
                  </a:lnTo>
                  <a:lnTo>
                    <a:pt x="1386" y="481"/>
                  </a:lnTo>
                  <a:lnTo>
                    <a:pt x="1382" y="469"/>
                  </a:lnTo>
                  <a:lnTo>
                    <a:pt x="1377" y="457"/>
                  </a:lnTo>
                  <a:lnTo>
                    <a:pt x="1373" y="444"/>
                  </a:lnTo>
                  <a:lnTo>
                    <a:pt x="1369" y="431"/>
                  </a:lnTo>
                  <a:lnTo>
                    <a:pt x="1367" y="416"/>
                  </a:lnTo>
                  <a:lnTo>
                    <a:pt x="1364" y="402"/>
                  </a:lnTo>
                  <a:lnTo>
                    <a:pt x="1362" y="390"/>
                  </a:lnTo>
                  <a:lnTo>
                    <a:pt x="1359" y="380"/>
                  </a:lnTo>
                  <a:lnTo>
                    <a:pt x="1355" y="369"/>
                  </a:lnTo>
                  <a:lnTo>
                    <a:pt x="1345" y="348"/>
                  </a:lnTo>
                  <a:lnTo>
                    <a:pt x="1333" y="327"/>
                  </a:lnTo>
                  <a:lnTo>
                    <a:pt x="1327" y="314"/>
                  </a:lnTo>
                  <a:lnTo>
                    <a:pt x="1321" y="302"/>
                  </a:lnTo>
                  <a:lnTo>
                    <a:pt x="1319" y="296"/>
                  </a:lnTo>
                  <a:lnTo>
                    <a:pt x="1315" y="291"/>
                  </a:lnTo>
                  <a:lnTo>
                    <a:pt x="1310" y="286"/>
                  </a:lnTo>
                  <a:lnTo>
                    <a:pt x="1305" y="281"/>
                  </a:lnTo>
                  <a:lnTo>
                    <a:pt x="1287" y="269"/>
                  </a:lnTo>
                  <a:lnTo>
                    <a:pt x="1269" y="260"/>
                  </a:lnTo>
                  <a:lnTo>
                    <a:pt x="1253" y="252"/>
                  </a:lnTo>
                  <a:lnTo>
                    <a:pt x="1237" y="245"/>
                  </a:lnTo>
                  <a:lnTo>
                    <a:pt x="1202" y="233"/>
                  </a:lnTo>
                  <a:lnTo>
                    <a:pt x="1162" y="220"/>
                  </a:lnTo>
                  <a:lnTo>
                    <a:pt x="1152" y="215"/>
                  </a:lnTo>
                  <a:lnTo>
                    <a:pt x="1142" y="211"/>
                  </a:lnTo>
                  <a:lnTo>
                    <a:pt x="1133" y="206"/>
                  </a:lnTo>
                  <a:lnTo>
                    <a:pt x="1125" y="201"/>
                  </a:lnTo>
                  <a:lnTo>
                    <a:pt x="1116" y="196"/>
                  </a:lnTo>
                  <a:lnTo>
                    <a:pt x="1107" y="193"/>
                  </a:lnTo>
                  <a:lnTo>
                    <a:pt x="1097" y="189"/>
                  </a:lnTo>
                  <a:lnTo>
                    <a:pt x="1086" y="189"/>
                  </a:lnTo>
                  <a:lnTo>
                    <a:pt x="1054" y="189"/>
                  </a:lnTo>
                  <a:lnTo>
                    <a:pt x="1027" y="189"/>
                  </a:lnTo>
                  <a:lnTo>
                    <a:pt x="1000" y="189"/>
                  </a:lnTo>
                  <a:lnTo>
                    <a:pt x="969" y="189"/>
                  </a:lnTo>
                  <a:lnTo>
                    <a:pt x="959" y="188"/>
                  </a:lnTo>
                  <a:lnTo>
                    <a:pt x="950" y="187"/>
                  </a:lnTo>
                  <a:lnTo>
                    <a:pt x="940" y="184"/>
                  </a:lnTo>
                  <a:lnTo>
                    <a:pt x="931" y="181"/>
                  </a:lnTo>
                  <a:lnTo>
                    <a:pt x="915" y="173"/>
                  </a:lnTo>
                  <a:lnTo>
                    <a:pt x="900" y="164"/>
                  </a:lnTo>
                  <a:lnTo>
                    <a:pt x="885" y="155"/>
                  </a:lnTo>
                  <a:lnTo>
                    <a:pt x="869" y="146"/>
                  </a:lnTo>
                  <a:lnTo>
                    <a:pt x="860" y="143"/>
                  </a:lnTo>
                  <a:lnTo>
                    <a:pt x="851" y="141"/>
                  </a:lnTo>
                  <a:lnTo>
                    <a:pt x="842" y="139"/>
                  </a:lnTo>
                  <a:lnTo>
                    <a:pt x="831" y="139"/>
                  </a:lnTo>
                  <a:lnTo>
                    <a:pt x="821" y="140"/>
                  </a:lnTo>
                  <a:lnTo>
                    <a:pt x="811" y="141"/>
                  </a:lnTo>
                  <a:lnTo>
                    <a:pt x="803" y="143"/>
                  </a:lnTo>
                  <a:lnTo>
                    <a:pt x="792" y="144"/>
                  </a:lnTo>
                  <a:lnTo>
                    <a:pt x="782" y="144"/>
                  </a:lnTo>
                  <a:lnTo>
                    <a:pt x="774" y="143"/>
                  </a:lnTo>
                  <a:lnTo>
                    <a:pt x="764" y="141"/>
                  </a:lnTo>
                  <a:lnTo>
                    <a:pt x="755" y="139"/>
                  </a:lnTo>
                  <a:lnTo>
                    <a:pt x="747" y="137"/>
                  </a:lnTo>
                  <a:lnTo>
                    <a:pt x="739" y="133"/>
                  </a:lnTo>
                  <a:lnTo>
                    <a:pt x="732" y="129"/>
                  </a:lnTo>
                  <a:lnTo>
                    <a:pt x="724" y="125"/>
                  </a:lnTo>
                  <a:lnTo>
                    <a:pt x="717" y="119"/>
                  </a:lnTo>
                  <a:lnTo>
                    <a:pt x="711" y="114"/>
                  </a:lnTo>
                  <a:lnTo>
                    <a:pt x="705" y="107"/>
                  </a:lnTo>
                  <a:lnTo>
                    <a:pt x="699" y="101"/>
                  </a:lnTo>
                  <a:lnTo>
                    <a:pt x="694" y="93"/>
                  </a:lnTo>
                  <a:lnTo>
                    <a:pt x="688" y="86"/>
                  </a:lnTo>
                  <a:lnTo>
                    <a:pt x="684" y="77"/>
                  </a:lnTo>
                  <a:lnTo>
                    <a:pt x="680" y="69"/>
                  </a:lnTo>
                  <a:lnTo>
                    <a:pt x="675" y="59"/>
                  </a:lnTo>
                  <a:lnTo>
                    <a:pt x="669" y="51"/>
                  </a:lnTo>
                  <a:lnTo>
                    <a:pt x="662" y="45"/>
                  </a:lnTo>
                  <a:lnTo>
                    <a:pt x="655" y="39"/>
                  </a:lnTo>
                  <a:lnTo>
                    <a:pt x="646" y="36"/>
                  </a:lnTo>
                  <a:lnTo>
                    <a:pt x="638" y="33"/>
                  </a:lnTo>
                  <a:lnTo>
                    <a:pt x="628" y="31"/>
                  </a:lnTo>
                  <a:lnTo>
                    <a:pt x="618" y="29"/>
                  </a:lnTo>
                  <a:lnTo>
                    <a:pt x="598" y="26"/>
                  </a:lnTo>
                  <a:lnTo>
                    <a:pt x="576" y="22"/>
                  </a:lnTo>
                  <a:lnTo>
                    <a:pt x="565" y="20"/>
                  </a:lnTo>
                  <a:lnTo>
                    <a:pt x="554" y="17"/>
                  </a:lnTo>
                  <a:lnTo>
                    <a:pt x="545" y="12"/>
                  </a:lnTo>
                  <a:lnTo>
                    <a:pt x="534" y="7"/>
                  </a:lnTo>
                  <a:lnTo>
                    <a:pt x="528" y="4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05" y="17"/>
                  </a:lnTo>
                  <a:lnTo>
                    <a:pt x="487" y="31"/>
                  </a:lnTo>
                  <a:lnTo>
                    <a:pt x="469" y="45"/>
                  </a:lnTo>
                  <a:lnTo>
                    <a:pt x="452" y="57"/>
                  </a:lnTo>
                  <a:lnTo>
                    <a:pt x="442" y="61"/>
                  </a:lnTo>
                  <a:lnTo>
                    <a:pt x="432" y="66"/>
                  </a:lnTo>
                  <a:lnTo>
                    <a:pt x="423" y="70"/>
                  </a:lnTo>
                  <a:lnTo>
                    <a:pt x="413" y="74"/>
                  </a:lnTo>
                  <a:lnTo>
                    <a:pt x="402" y="76"/>
                  </a:lnTo>
                  <a:lnTo>
                    <a:pt x="391" y="78"/>
                  </a:lnTo>
                  <a:lnTo>
                    <a:pt x="380" y="79"/>
                  </a:lnTo>
                  <a:lnTo>
                    <a:pt x="369" y="79"/>
                  </a:lnTo>
                  <a:lnTo>
                    <a:pt x="358" y="79"/>
                  </a:lnTo>
                  <a:lnTo>
                    <a:pt x="348" y="78"/>
                  </a:lnTo>
                  <a:lnTo>
                    <a:pt x="338" y="77"/>
                  </a:lnTo>
                  <a:lnTo>
                    <a:pt x="328" y="77"/>
                  </a:lnTo>
                  <a:lnTo>
                    <a:pt x="322" y="77"/>
                  </a:lnTo>
                  <a:lnTo>
                    <a:pt x="318" y="78"/>
                  </a:lnTo>
                  <a:lnTo>
                    <a:pt x="314" y="80"/>
                  </a:lnTo>
                  <a:lnTo>
                    <a:pt x="310" y="83"/>
                  </a:lnTo>
                  <a:lnTo>
                    <a:pt x="307" y="86"/>
                  </a:lnTo>
                  <a:lnTo>
                    <a:pt x="305" y="90"/>
                  </a:lnTo>
                  <a:lnTo>
                    <a:pt x="303" y="94"/>
                  </a:lnTo>
                  <a:lnTo>
                    <a:pt x="301" y="99"/>
                  </a:lnTo>
                  <a:lnTo>
                    <a:pt x="294" y="119"/>
                  </a:lnTo>
                  <a:lnTo>
                    <a:pt x="291" y="141"/>
                  </a:lnTo>
                  <a:lnTo>
                    <a:pt x="288" y="152"/>
                  </a:lnTo>
                  <a:lnTo>
                    <a:pt x="284" y="161"/>
                  </a:lnTo>
                  <a:lnTo>
                    <a:pt x="281" y="171"/>
                  </a:lnTo>
                  <a:lnTo>
                    <a:pt x="277" y="179"/>
                  </a:lnTo>
                  <a:lnTo>
                    <a:pt x="272" y="187"/>
                  </a:lnTo>
                  <a:lnTo>
                    <a:pt x="268" y="197"/>
                  </a:lnTo>
                  <a:lnTo>
                    <a:pt x="265" y="206"/>
                  </a:lnTo>
                  <a:lnTo>
                    <a:pt x="263" y="218"/>
                  </a:lnTo>
                  <a:lnTo>
                    <a:pt x="257" y="238"/>
                  </a:lnTo>
                  <a:lnTo>
                    <a:pt x="252" y="256"/>
                  </a:lnTo>
                  <a:lnTo>
                    <a:pt x="245" y="274"/>
                  </a:lnTo>
                  <a:lnTo>
                    <a:pt x="240" y="290"/>
                  </a:lnTo>
                  <a:lnTo>
                    <a:pt x="227" y="323"/>
                  </a:lnTo>
                  <a:lnTo>
                    <a:pt x="215" y="362"/>
                  </a:lnTo>
                  <a:lnTo>
                    <a:pt x="212" y="373"/>
                  </a:lnTo>
                  <a:lnTo>
                    <a:pt x="209" y="382"/>
                  </a:lnTo>
                  <a:lnTo>
                    <a:pt x="204" y="390"/>
                  </a:lnTo>
                  <a:lnTo>
                    <a:pt x="200" y="399"/>
                  </a:lnTo>
                  <a:lnTo>
                    <a:pt x="196" y="407"/>
                  </a:lnTo>
                  <a:lnTo>
                    <a:pt x="190" y="414"/>
                  </a:lnTo>
                  <a:lnTo>
                    <a:pt x="185" y="421"/>
                  </a:lnTo>
                  <a:lnTo>
                    <a:pt x="179" y="427"/>
                  </a:lnTo>
                  <a:lnTo>
                    <a:pt x="166" y="439"/>
                  </a:lnTo>
                  <a:lnTo>
                    <a:pt x="152" y="451"/>
                  </a:lnTo>
                  <a:lnTo>
                    <a:pt x="136" y="463"/>
                  </a:lnTo>
                  <a:lnTo>
                    <a:pt x="119" y="475"/>
                  </a:lnTo>
                  <a:lnTo>
                    <a:pt x="108" y="482"/>
                  </a:lnTo>
                  <a:lnTo>
                    <a:pt x="96" y="489"/>
                  </a:lnTo>
                  <a:lnTo>
                    <a:pt x="85" y="493"/>
                  </a:lnTo>
                  <a:lnTo>
                    <a:pt x="74" y="497"/>
                  </a:lnTo>
                  <a:lnTo>
                    <a:pt x="62" y="502"/>
                  </a:lnTo>
                  <a:lnTo>
                    <a:pt x="51" y="507"/>
                  </a:lnTo>
                  <a:lnTo>
                    <a:pt x="40" y="513"/>
                  </a:lnTo>
                  <a:lnTo>
                    <a:pt x="29" y="522"/>
                  </a:lnTo>
                  <a:lnTo>
                    <a:pt x="25" y="528"/>
                  </a:lnTo>
                  <a:lnTo>
                    <a:pt x="22" y="533"/>
                  </a:lnTo>
                  <a:lnTo>
                    <a:pt x="19" y="538"/>
                  </a:lnTo>
                  <a:lnTo>
                    <a:pt x="17" y="544"/>
                  </a:lnTo>
                  <a:lnTo>
                    <a:pt x="12" y="555"/>
                  </a:lnTo>
                  <a:lnTo>
                    <a:pt x="11" y="565"/>
                  </a:lnTo>
                  <a:lnTo>
                    <a:pt x="9" y="577"/>
                  </a:lnTo>
                  <a:lnTo>
                    <a:pt x="8" y="589"/>
                  </a:lnTo>
                  <a:lnTo>
                    <a:pt x="5" y="601"/>
                  </a:lnTo>
                  <a:lnTo>
                    <a:pt x="0" y="614"/>
                  </a:lnTo>
                  <a:lnTo>
                    <a:pt x="0" y="614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17">
              <a:extLst>
                <a:ext uri="{FF2B5EF4-FFF2-40B4-BE49-F238E27FC236}">
                  <a16:creationId xmlns:a16="http://schemas.microsoft.com/office/drawing/2014/main" id="{8759259F-4DA6-4055-9E97-901AF52C4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8613" y="1644651"/>
              <a:ext cx="639763" cy="866775"/>
            </a:xfrm>
            <a:custGeom>
              <a:avLst/>
              <a:gdLst>
                <a:gd name="T0" fmla="*/ 1067 w 1614"/>
                <a:gd name="T1" fmla="*/ 2028 h 2184"/>
                <a:gd name="T2" fmla="*/ 1099 w 1614"/>
                <a:gd name="T3" fmla="*/ 1975 h 2184"/>
                <a:gd name="T4" fmla="*/ 1059 w 1614"/>
                <a:gd name="T5" fmla="*/ 1871 h 2184"/>
                <a:gd name="T6" fmla="*/ 1045 w 1614"/>
                <a:gd name="T7" fmla="*/ 1785 h 2184"/>
                <a:gd name="T8" fmla="*/ 1085 w 1614"/>
                <a:gd name="T9" fmla="*/ 1712 h 2184"/>
                <a:gd name="T10" fmla="*/ 1090 w 1614"/>
                <a:gd name="T11" fmla="*/ 1617 h 2184"/>
                <a:gd name="T12" fmla="*/ 1109 w 1614"/>
                <a:gd name="T13" fmla="*/ 1535 h 2184"/>
                <a:gd name="T14" fmla="*/ 1166 w 1614"/>
                <a:gd name="T15" fmla="*/ 1488 h 2184"/>
                <a:gd name="T16" fmla="*/ 1271 w 1614"/>
                <a:gd name="T17" fmla="*/ 1418 h 2184"/>
                <a:gd name="T18" fmla="*/ 1307 w 1614"/>
                <a:gd name="T19" fmla="*/ 1353 h 2184"/>
                <a:gd name="T20" fmla="*/ 1360 w 1614"/>
                <a:gd name="T21" fmla="*/ 1188 h 2184"/>
                <a:gd name="T22" fmla="*/ 1393 w 1614"/>
                <a:gd name="T23" fmla="*/ 1090 h 2184"/>
                <a:gd name="T24" fmla="*/ 1420 w 1614"/>
                <a:gd name="T25" fmla="*/ 1068 h 2184"/>
                <a:gd name="T26" fmla="*/ 1505 w 1614"/>
                <a:gd name="T27" fmla="*/ 1065 h 2184"/>
                <a:gd name="T28" fmla="*/ 1614 w 1614"/>
                <a:gd name="T29" fmla="*/ 991 h 2184"/>
                <a:gd name="T30" fmla="*/ 1588 w 1614"/>
                <a:gd name="T31" fmla="*/ 958 h 2184"/>
                <a:gd name="T32" fmla="*/ 1577 w 1614"/>
                <a:gd name="T33" fmla="*/ 891 h 2184"/>
                <a:gd name="T34" fmla="*/ 1509 w 1614"/>
                <a:gd name="T35" fmla="*/ 829 h 2184"/>
                <a:gd name="T36" fmla="*/ 1362 w 1614"/>
                <a:gd name="T37" fmla="*/ 727 h 2184"/>
                <a:gd name="T38" fmla="*/ 1250 w 1614"/>
                <a:gd name="T39" fmla="*/ 554 h 2184"/>
                <a:gd name="T40" fmla="*/ 1152 w 1614"/>
                <a:gd name="T41" fmla="*/ 434 h 2184"/>
                <a:gd name="T42" fmla="*/ 1084 w 1614"/>
                <a:gd name="T43" fmla="*/ 403 h 2184"/>
                <a:gd name="T44" fmla="*/ 965 w 1614"/>
                <a:gd name="T45" fmla="*/ 314 h 2184"/>
                <a:gd name="T46" fmla="*/ 894 w 1614"/>
                <a:gd name="T47" fmla="*/ 265 h 2184"/>
                <a:gd name="T48" fmla="*/ 822 w 1614"/>
                <a:gd name="T49" fmla="*/ 212 h 2184"/>
                <a:gd name="T50" fmla="*/ 735 w 1614"/>
                <a:gd name="T51" fmla="*/ 163 h 2184"/>
                <a:gd name="T52" fmla="*/ 624 w 1614"/>
                <a:gd name="T53" fmla="*/ 154 h 2184"/>
                <a:gd name="T54" fmla="*/ 578 w 1614"/>
                <a:gd name="T55" fmla="*/ 100 h 2184"/>
                <a:gd name="T56" fmla="*/ 506 w 1614"/>
                <a:gd name="T57" fmla="*/ 54 h 2184"/>
                <a:gd name="T58" fmla="*/ 409 w 1614"/>
                <a:gd name="T59" fmla="*/ 3 h 2184"/>
                <a:gd name="T60" fmla="*/ 268 w 1614"/>
                <a:gd name="T61" fmla="*/ 17 h 2184"/>
                <a:gd name="T62" fmla="*/ 59 w 1614"/>
                <a:gd name="T63" fmla="*/ 17 h 2184"/>
                <a:gd name="T64" fmla="*/ 52 w 1614"/>
                <a:gd name="T65" fmla="*/ 153 h 2184"/>
                <a:gd name="T66" fmla="*/ 54 w 1614"/>
                <a:gd name="T67" fmla="*/ 238 h 2184"/>
                <a:gd name="T68" fmla="*/ 155 w 1614"/>
                <a:gd name="T69" fmla="*/ 345 h 2184"/>
                <a:gd name="T70" fmla="*/ 186 w 1614"/>
                <a:gd name="T71" fmla="*/ 412 h 2184"/>
                <a:gd name="T72" fmla="*/ 171 w 1614"/>
                <a:gd name="T73" fmla="*/ 524 h 2184"/>
                <a:gd name="T74" fmla="*/ 115 w 1614"/>
                <a:gd name="T75" fmla="*/ 575 h 2184"/>
                <a:gd name="T76" fmla="*/ 76 w 1614"/>
                <a:gd name="T77" fmla="*/ 716 h 2184"/>
                <a:gd name="T78" fmla="*/ 51 w 1614"/>
                <a:gd name="T79" fmla="*/ 838 h 2184"/>
                <a:gd name="T80" fmla="*/ 65 w 1614"/>
                <a:gd name="T81" fmla="*/ 906 h 2184"/>
                <a:gd name="T82" fmla="*/ 65 w 1614"/>
                <a:gd name="T83" fmla="*/ 1030 h 2184"/>
                <a:gd name="T84" fmla="*/ 4 w 1614"/>
                <a:gd name="T85" fmla="*/ 1220 h 2184"/>
                <a:gd name="T86" fmla="*/ 36 w 1614"/>
                <a:gd name="T87" fmla="*/ 1336 h 2184"/>
                <a:gd name="T88" fmla="*/ 66 w 1614"/>
                <a:gd name="T89" fmla="*/ 1446 h 2184"/>
                <a:gd name="T90" fmla="*/ 63 w 1614"/>
                <a:gd name="T91" fmla="*/ 1580 h 2184"/>
                <a:gd name="T92" fmla="*/ 90 w 1614"/>
                <a:gd name="T93" fmla="*/ 1634 h 2184"/>
                <a:gd name="T94" fmla="*/ 224 w 1614"/>
                <a:gd name="T95" fmla="*/ 1671 h 2184"/>
                <a:gd name="T96" fmla="*/ 265 w 1614"/>
                <a:gd name="T97" fmla="*/ 1709 h 2184"/>
                <a:gd name="T98" fmla="*/ 269 w 1614"/>
                <a:gd name="T99" fmla="*/ 1861 h 2184"/>
                <a:gd name="T100" fmla="*/ 513 w 1614"/>
                <a:gd name="T101" fmla="*/ 1917 h 2184"/>
                <a:gd name="T102" fmla="*/ 600 w 1614"/>
                <a:gd name="T103" fmla="*/ 1916 h 2184"/>
                <a:gd name="T104" fmla="*/ 723 w 1614"/>
                <a:gd name="T105" fmla="*/ 1987 h 2184"/>
                <a:gd name="T106" fmla="*/ 800 w 1614"/>
                <a:gd name="T107" fmla="*/ 2116 h 2184"/>
                <a:gd name="T108" fmla="*/ 834 w 1614"/>
                <a:gd name="T109" fmla="*/ 2177 h 2184"/>
                <a:gd name="T110" fmla="*/ 881 w 1614"/>
                <a:gd name="T111" fmla="*/ 2170 h 2184"/>
                <a:gd name="T112" fmla="*/ 999 w 1614"/>
                <a:gd name="T113" fmla="*/ 2083 h 2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14" h="2184">
                  <a:moveTo>
                    <a:pt x="1040" y="2074"/>
                  </a:moveTo>
                  <a:lnTo>
                    <a:pt x="1045" y="2070"/>
                  </a:lnTo>
                  <a:lnTo>
                    <a:pt x="1049" y="2067"/>
                  </a:lnTo>
                  <a:lnTo>
                    <a:pt x="1052" y="2063"/>
                  </a:lnTo>
                  <a:lnTo>
                    <a:pt x="1055" y="2059"/>
                  </a:lnTo>
                  <a:lnTo>
                    <a:pt x="1059" y="2049"/>
                  </a:lnTo>
                  <a:lnTo>
                    <a:pt x="1063" y="2038"/>
                  </a:lnTo>
                  <a:lnTo>
                    <a:pt x="1067" y="2028"/>
                  </a:lnTo>
                  <a:lnTo>
                    <a:pt x="1073" y="2020"/>
                  </a:lnTo>
                  <a:lnTo>
                    <a:pt x="1079" y="2012"/>
                  </a:lnTo>
                  <a:lnTo>
                    <a:pt x="1086" y="2005"/>
                  </a:lnTo>
                  <a:lnTo>
                    <a:pt x="1091" y="1997"/>
                  </a:lnTo>
                  <a:lnTo>
                    <a:pt x="1096" y="1989"/>
                  </a:lnTo>
                  <a:lnTo>
                    <a:pt x="1097" y="1985"/>
                  </a:lnTo>
                  <a:lnTo>
                    <a:pt x="1099" y="1981"/>
                  </a:lnTo>
                  <a:lnTo>
                    <a:pt x="1099" y="1975"/>
                  </a:lnTo>
                  <a:lnTo>
                    <a:pt x="1100" y="1970"/>
                  </a:lnTo>
                  <a:lnTo>
                    <a:pt x="1099" y="1958"/>
                  </a:lnTo>
                  <a:lnTo>
                    <a:pt x="1097" y="1947"/>
                  </a:lnTo>
                  <a:lnTo>
                    <a:pt x="1094" y="1936"/>
                  </a:lnTo>
                  <a:lnTo>
                    <a:pt x="1090" y="1926"/>
                  </a:lnTo>
                  <a:lnTo>
                    <a:pt x="1080" y="1907"/>
                  </a:lnTo>
                  <a:lnTo>
                    <a:pt x="1070" y="1889"/>
                  </a:lnTo>
                  <a:lnTo>
                    <a:pt x="1059" y="1871"/>
                  </a:lnTo>
                  <a:lnTo>
                    <a:pt x="1050" y="1852"/>
                  </a:lnTo>
                  <a:lnTo>
                    <a:pt x="1046" y="1841"/>
                  </a:lnTo>
                  <a:lnTo>
                    <a:pt x="1043" y="1832"/>
                  </a:lnTo>
                  <a:lnTo>
                    <a:pt x="1042" y="1820"/>
                  </a:lnTo>
                  <a:lnTo>
                    <a:pt x="1040" y="1808"/>
                  </a:lnTo>
                  <a:lnTo>
                    <a:pt x="1042" y="1799"/>
                  </a:lnTo>
                  <a:lnTo>
                    <a:pt x="1043" y="1793"/>
                  </a:lnTo>
                  <a:lnTo>
                    <a:pt x="1045" y="1785"/>
                  </a:lnTo>
                  <a:lnTo>
                    <a:pt x="1048" y="1779"/>
                  </a:lnTo>
                  <a:lnTo>
                    <a:pt x="1055" y="1767"/>
                  </a:lnTo>
                  <a:lnTo>
                    <a:pt x="1063" y="1755"/>
                  </a:lnTo>
                  <a:lnTo>
                    <a:pt x="1071" y="1744"/>
                  </a:lnTo>
                  <a:lnTo>
                    <a:pt x="1078" y="1732"/>
                  </a:lnTo>
                  <a:lnTo>
                    <a:pt x="1082" y="1726"/>
                  </a:lnTo>
                  <a:lnTo>
                    <a:pt x="1084" y="1718"/>
                  </a:lnTo>
                  <a:lnTo>
                    <a:pt x="1085" y="1712"/>
                  </a:lnTo>
                  <a:lnTo>
                    <a:pt x="1086" y="1703"/>
                  </a:lnTo>
                  <a:lnTo>
                    <a:pt x="1086" y="1689"/>
                  </a:lnTo>
                  <a:lnTo>
                    <a:pt x="1086" y="1676"/>
                  </a:lnTo>
                  <a:lnTo>
                    <a:pt x="1086" y="1663"/>
                  </a:lnTo>
                  <a:lnTo>
                    <a:pt x="1086" y="1649"/>
                  </a:lnTo>
                  <a:lnTo>
                    <a:pt x="1086" y="1636"/>
                  </a:lnTo>
                  <a:lnTo>
                    <a:pt x="1088" y="1627"/>
                  </a:lnTo>
                  <a:lnTo>
                    <a:pt x="1090" y="1617"/>
                  </a:lnTo>
                  <a:lnTo>
                    <a:pt x="1092" y="1605"/>
                  </a:lnTo>
                  <a:lnTo>
                    <a:pt x="1092" y="1605"/>
                  </a:lnTo>
                  <a:lnTo>
                    <a:pt x="1097" y="1592"/>
                  </a:lnTo>
                  <a:lnTo>
                    <a:pt x="1100" y="1580"/>
                  </a:lnTo>
                  <a:lnTo>
                    <a:pt x="1101" y="1568"/>
                  </a:lnTo>
                  <a:lnTo>
                    <a:pt x="1103" y="1556"/>
                  </a:lnTo>
                  <a:lnTo>
                    <a:pt x="1104" y="1546"/>
                  </a:lnTo>
                  <a:lnTo>
                    <a:pt x="1109" y="1535"/>
                  </a:lnTo>
                  <a:lnTo>
                    <a:pt x="1111" y="1529"/>
                  </a:lnTo>
                  <a:lnTo>
                    <a:pt x="1114" y="1524"/>
                  </a:lnTo>
                  <a:lnTo>
                    <a:pt x="1117" y="1519"/>
                  </a:lnTo>
                  <a:lnTo>
                    <a:pt x="1121" y="1513"/>
                  </a:lnTo>
                  <a:lnTo>
                    <a:pt x="1132" y="1504"/>
                  </a:lnTo>
                  <a:lnTo>
                    <a:pt x="1143" y="1498"/>
                  </a:lnTo>
                  <a:lnTo>
                    <a:pt x="1154" y="1493"/>
                  </a:lnTo>
                  <a:lnTo>
                    <a:pt x="1166" y="1488"/>
                  </a:lnTo>
                  <a:lnTo>
                    <a:pt x="1177" y="1484"/>
                  </a:lnTo>
                  <a:lnTo>
                    <a:pt x="1188" y="1480"/>
                  </a:lnTo>
                  <a:lnTo>
                    <a:pt x="1200" y="1473"/>
                  </a:lnTo>
                  <a:lnTo>
                    <a:pt x="1211" y="1466"/>
                  </a:lnTo>
                  <a:lnTo>
                    <a:pt x="1228" y="1454"/>
                  </a:lnTo>
                  <a:lnTo>
                    <a:pt x="1244" y="1442"/>
                  </a:lnTo>
                  <a:lnTo>
                    <a:pt x="1258" y="1430"/>
                  </a:lnTo>
                  <a:lnTo>
                    <a:pt x="1271" y="1418"/>
                  </a:lnTo>
                  <a:lnTo>
                    <a:pt x="1277" y="1412"/>
                  </a:lnTo>
                  <a:lnTo>
                    <a:pt x="1282" y="1405"/>
                  </a:lnTo>
                  <a:lnTo>
                    <a:pt x="1288" y="1398"/>
                  </a:lnTo>
                  <a:lnTo>
                    <a:pt x="1292" y="1390"/>
                  </a:lnTo>
                  <a:lnTo>
                    <a:pt x="1296" y="1381"/>
                  </a:lnTo>
                  <a:lnTo>
                    <a:pt x="1301" y="1373"/>
                  </a:lnTo>
                  <a:lnTo>
                    <a:pt x="1304" y="1364"/>
                  </a:lnTo>
                  <a:lnTo>
                    <a:pt x="1307" y="1353"/>
                  </a:lnTo>
                  <a:lnTo>
                    <a:pt x="1319" y="1314"/>
                  </a:lnTo>
                  <a:lnTo>
                    <a:pt x="1332" y="1281"/>
                  </a:lnTo>
                  <a:lnTo>
                    <a:pt x="1337" y="1265"/>
                  </a:lnTo>
                  <a:lnTo>
                    <a:pt x="1344" y="1247"/>
                  </a:lnTo>
                  <a:lnTo>
                    <a:pt x="1349" y="1229"/>
                  </a:lnTo>
                  <a:lnTo>
                    <a:pt x="1355" y="1209"/>
                  </a:lnTo>
                  <a:lnTo>
                    <a:pt x="1357" y="1197"/>
                  </a:lnTo>
                  <a:lnTo>
                    <a:pt x="1360" y="1188"/>
                  </a:lnTo>
                  <a:lnTo>
                    <a:pt x="1364" y="1178"/>
                  </a:lnTo>
                  <a:lnTo>
                    <a:pt x="1369" y="1170"/>
                  </a:lnTo>
                  <a:lnTo>
                    <a:pt x="1373" y="1162"/>
                  </a:lnTo>
                  <a:lnTo>
                    <a:pt x="1376" y="1152"/>
                  </a:lnTo>
                  <a:lnTo>
                    <a:pt x="1380" y="1143"/>
                  </a:lnTo>
                  <a:lnTo>
                    <a:pt x="1383" y="1132"/>
                  </a:lnTo>
                  <a:lnTo>
                    <a:pt x="1386" y="1110"/>
                  </a:lnTo>
                  <a:lnTo>
                    <a:pt x="1393" y="1090"/>
                  </a:lnTo>
                  <a:lnTo>
                    <a:pt x="1395" y="1085"/>
                  </a:lnTo>
                  <a:lnTo>
                    <a:pt x="1397" y="1081"/>
                  </a:lnTo>
                  <a:lnTo>
                    <a:pt x="1399" y="1077"/>
                  </a:lnTo>
                  <a:lnTo>
                    <a:pt x="1402" y="1074"/>
                  </a:lnTo>
                  <a:lnTo>
                    <a:pt x="1406" y="1071"/>
                  </a:lnTo>
                  <a:lnTo>
                    <a:pt x="1410" y="1069"/>
                  </a:lnTo>
                  <a:lnTo>
                    <a:pt x="1414" y="1068"/>
                  </a:lnTo>
                  <a:lnTo>
                    <a:pt x="1420" y="1068"/>
                  </a:lnTo>
                  <a:lnTo>
                    <a:pt x="1430" y="1068"/>
                  </a:lnTo>
                  <a:lnTo>
                    <a:pt x="1440" y="1069"/>
                  </a:lnTo>
                  <a:lnTo>
                    <a:pt x="1450" y="1070"/>
                  </a:lnTo>
                  <a:lnTo>
                    <a:pt x="1461" y="1070"/>
                  </a:lnTo>
                  <a:lnTo>
                    <a:pt x="1472" y="1070"/>
                  </a:lnTo>
                  <a:lnTo>
                    <a:pt x="1483" y="1069"/>
                  </a:lnTo>
                  <a:lnTo>
                    <a:pt x="1494" y="1067"/>
                  </a:lnTo>
                  <a:lnTo>
                    <a:pt x="1505" y="1065"/>
                  </a:lnTo>
                  <a:lnTo>
                    <a:pt x="1515" y="1061"/>
                  </a:lnTo>
                  <a:lnTo>
                    <a:pt x="1524" y="1057"/>
                  </a:lnTo>
                  <a:lnTo>
                    <a:pt x="1534" y="1052"/>
                  </a:lnTo>
                  <a:lnTo>
                    <a:pt x="1544" y="1048"/>
                  </a:lnTo>
                  <a:lnTo>
                    <a:pt x="1561" y="1036"/>
                  </a:lnTo>
                  <a:lnTo>
                    <a:pt x="1579" y="1022"/>
                  </a:lnTo>
                  <a:lnTo>
                    <a:pt x="1597" y="1008"/>
                  </a:lnTo>
                  <a:lnTo>
                    <a:pt x="1614" y="991"/>
                  </a:lnTo>
                  <a:lnTo>
                    <a:pt x="1614" y="991"/>
                  </a:lnTo>
                  <a:lnTo>
                    <a:pt x="1608" y="988"/>
                  </a:lnTo>
                  <a:lnTo>
                    <a:pt x="1602" y="985"/>
                  </a:lnTo>
                  <a:lnTo>
                    <a:pt x="1597" y="981"/>
                  </a:lnTo>
                  <a:lnTo>
                    <a:pt x="1592" y="975"/>
                  </a:lnTo>
                  <a:lnTo>
                    <a:pt x="1590" y="970"/>
                  </a:lnTo>
                  <a:lnTo>
                    <a:pt x="1588" y="963"/>
                  </a:lnTo>
                  <a:lnTo>
                    <a:pt x="1588" y="958"/>
                  </a:lnTo>
                  <a:lnTo>
                    <a:pt x="1589" y="953"/>
                  </a:lnTo>
                  <a:lnTo>
                    <a:pt x="1590" y="941"/>
                  </a:lnTo>
                  <a:lnTo>
                    <a:pt x="1590" y="928"/>
                  </a:lnTo>
                  <a:lnTo>
                    <a:pt x="1588" y="919"/>
                  </a:lnTo>
                  <a:lnTo>
                    <a:pt x="1586" y="912"/>
                  </a:lnTo>
                  <a:lnTo>
                    <a:pt x="1584" y="904"/>
                  </a:lnTo>
                  <a:lnTo>
                    <a:pt x="1581" y="898"/>
                  </a:lnTo>
                  <a:lnTo>
                    <a:pt x="1577" y="891"/>
                  </a:lnTo>
                  <a:lnTo>
                    <a:pt x="1573" y="885"/>
                  </a:lnTo>
                  <a:lnTo>
                    <a:pt x="1568" y="878"/>
                  </a:lnTo>
                  <a:lnTo>
                    <a:pt x="1562" y="872"/>
                  </a:lnTo>
                  <a:lnTo>
                    <a:pt x="1554" y="863"/>
                  </a:lnTo>
                  <a:lnTo>
                    <a:pt x="1544" y="854"/>
                  </a:lnTo>
                  <a:lnTo>
                    <a:pt x="1535" y="847"/>
                  </a:lnTo>
                  <a:lnTo>
                    <a:pt x="1526" y="840"/>
                  </a:lnTo>
                  <a:lnTo>
                    <a:pt x="1509" y="829"/>
                  </a:lnTo>
                  <a:lnTo>
                    <a:pt x="1491" y="819"/>
                  </a:lnTo>
                  <a:lnTo>
                    <a:pt x="1472" y="809"/>
                  </a:lnTo>
                  <a:lnTo>
                    <a:pt x="1453" y="799"/>
                  </a:lnTo>
                  <a:lnTo>
                    <a:pt x="1434" y="787"/>
                  </a:lnTo>
                  <a:lnTo>
                    <a:pt x="1413" y="773"/>
                  </a:lnTo>
                  <a:lnTo>
                    <a:pt x="1395" y="758"/>
                  </a:lnTo>
                  <a:lnTo>
                    <a:pt x="1377" y="743"/>
                  </a:lnTo>
                  <a:lnTo>
                    <a:pt x="1362" y="727"/>
                  </a:lnTo>
                  <a:lnTo>
                    <a:pt x="1348" y="711"/>
                  </a:lnTo>
                  <a:lnTo>
                    <a:pt x="1336" y="694"/>
                  </a:lnTo>
                  <a:lnTo>
                    <a:pt x="1325" y="678"/>
                  </a:lnTo>
                  <a:lnTo>
                    <a:pt x="1314" y="661"/>
                  </a:lnTo>
                  <a:lnTo>
                    <a:pt x="1304" y="644"/>
                  </a:lnTo>
                  <a:lnTo>
                    <a:pt x="1283" y="608"/>
                  </a:lnTo>
                  <a:lnTo>
                    <a:pt x="1262" y="572"/>
                  </a:lnTo>
                  <a:lnTo>
                    <a:pt x="1250" y="554"/>
                  </a:lnTo>
                  <a:lnTo>
                    <a:pt x="1236" y="536"/>
                  </a:lnTo>
                  <a:lnTo>
                    <a:pt x="1222" y="517"/>
                  </a:lnTo>
                  <a:lnTo>
                    <a:pt x="1206" y="499"/>
                  </a:lnTo>
                  <a:lnTo>
                    <a:pt x="1190" y="478"/>
                  </a:lnTo>
                  <a:lnTo>
                    <a:pt x="1175" y="460"/>
                  </a:lnTo>
                  <a:lnTo>
                    <a:pt x="1168" y="451"/>
                  </a:lnTo>
                  <a:lnTo>
                    <a:pt x="1160" y="443"/>
                  </a:lnTo>
                  <a:lnTo>
                    <a:pt x="1152" y="434"/>
                  </a:lnTo>
                  <a:lnTo>
                    <a:pt x="1141" y="427"/>
                  </a:lnTo>
                  <a:lnTo>
                    <a:pt x="1133" y="420"/>
                  </a:lnTo>
                  <a:lnTo>
                    <a:pt x="1125" y="417"/>
                  </a:lnTo>
                  <a:lnTo>
                    <a:pt x="1117" y="414"/>
                  </a:lnTo>
                  <a:lnTo>
                    <a:pt x="1109" y="412"/>
                  </a:lnTo>
                  <a:lnTo>
                    <a:pt x="1100" y="408"/>
                  </a:lnTo>
                  <a:lnTo>
                    <a:pt x="1092" y="406"/>
                  </a:lnTo>
                  <a:lnTo>
                    <a:pt x="1084" y="403"/>
                  </a:lnTo>
                  <a:lnTo>
                    <a:pt x="1074" y="399"/>
                  </a:lnTo>
                  <a:lnTo>
                    <a:pt x="1056" y="387"/>
                  </a:lnTo>
                  <a:lnTo>
                    <a:pt x="1037" y="376"/>
                  </a:lnTo>
                  <a:lnTo>
                    <a:pt x="1021" y="366"/>
                  </a:lnTo>
                  <a:lnTo>
                    <a:pt x="1007" y="354"/>
                  </a:lnTo>
                  <a:lnTo>
                    <a:pt x="992" y="342"/>
                  </a:lnTo>
                  <a:lnTo>
                    <a:pt x="978" y="329"/>
                  </a:lnTo>
                  <a:lnTo>
                    <a:pt x="965" y="314"/>
                  </a:lnTo>
                  <a:lnTo>
                    <a:pt x="951" y="297"/>
                  </a:lnTo>
                  <a:lnTo>
                    <a:pt x="946" y="292"/>
                  </a:lnTo>
                  <a:lnTo>
                    <a:pt x="942" y="286"/>
                  </a:lnTo>
                  <a:lnTo>
                    <a:pt x="937" y="282"/>
                  </a:lnTo>
                  <a:lnTo>
                    <a:pt x="931" y="279"/>
                  </a:lnTo>
                  <a:lnTo>
                    <a:pt x="919" y="273"/>
                  </a:lnTo>
                  <a:lnTo>
                    <a:pt x="907" y="269"/>
                  </a:lnTo>
                  <a:lnTo>
                    <a:pt x="894" y="265"/>
                  </a:lnTo>
                  <a:lnTo>
                    <a:pt x="882" y="260"/>
                  </a:lnTo>
                  <a:lnTo>
                    <a:pt x="875" y="257"/>
                  </a:lnTo>
                  <a:lnTo>
                    <a:pt x="869" y="254"/>
                  </a:lnTo>
                  <a:lnTo>
                    <a:pt x="863" y="250"/>
                  </a:lnTo>
                  <a:lnTo>
                    <a:pt x="858" y="244"/>
                  </a:lnTo>
                  <a:lnTo>
                    <a:pt x="846" y="232"/>
                  </a:lnTo>
                  <a:lnTo>
                    <a:pt x="834" y="221"/>
                  </a:lnTo>
                  <a:lnTo>
                    <a:pt x="822" y="212"/>
                  </a:lnTo>
                  <a:lnTo>
                    <a:pt x="808" y="202"/>
                  </a:lnTo>
                  <a:lnTo>
                    <a:pt x="794" y="189"/>
                  </a:lnTo>
                  <a:lnTo>
                    <a:pt x="781" y="176"/>
                  </a:lnTo>
                  <a:lnTo>
                    <a:pt x="775" y="171"/>
                  </a:lnTo>
                  <a:lnTo>
                    <a:pt x="768" y="166"/>
                  </a:lnTo>
                  <a:lnTo>
                    <a:pt x="761" y="164"/>
                  </a:lnTo>
                  <a:lnTo>
                    <a:pt x="751" y="163"/>
                  </a:lnTo>
                  <a:lnTo>
                    <a:pt x="735" y="163"/>
                  </a:lnTo>
                  <a:lnTo>
                    <a:pt x="721" y="163"/>
                  </a:lnTo>
                  <a:lnTo>
                    <a:pt x="707" y="163"/>
                  </a:lnTo>
                  <a:lnTo>
                    <a:pt x="691" y="163"/>
                  </a:lnTo>
                  <a:lnTo>
                    <a:pt x="676" y="163"/>
                  </a:lnTo>
                  <a:lnTo>
                    <a:pt x="661" y="162"/>
                  </a:lnTo>
                  <a:lnTo>
                    <a:pt x="648" y="161"/>
                  </a:lnTo>
                  <a:lnTo>
                    <a:pt x="635" y="158"/>
                  </a:lnTo>
                  <a:lnTo>
                    <a:pt x="624" y="154"/>
                  </a:lnTo>
                  <a:lnTo>
                    <a:pt x="612" y="148"/>
                  </a:lnTo>
                  <a:lnTo>
                    <a:pt x="606" y="145"/>
                  </a:lnTo>
                  <a:lnTo>
                    <a:pt x="602" y="140"/>
                  </a:lnTo>
                  <a:lnTo>
                    <a:pt x="597" y="135"/>
                  </a:lnTo>
                  <a:lnTo>
                    <a:pt x="592" y="129"/>
                  </a:lnTo>
                  <a:lnTo>
                    <a:pt x="586" y="118"/>
                  </a:lnTo>
                  <a:lnTo>
                    <a:pt x="580" y="106"/>
                  </a:lnTo>
                  <a:lnTo>
                    <a:pt x="578" y="100"/>
                  </a:lnTo>
                  <a:lnTo>
                    <a:pt x="575" y="95"/>
                  </a:lnTo>
                  <a:lnTo>
                    <a:pt x="572" y="90"/>
                  </a:lnTo>
                  <a:lnTo>
                    <a:pt x="566" y="84"/>
                  </a:lnTo>
                  <a:lnTo>
                    <a:pt x="558" y="76"/>
                  </a:lnTo>
                  <a:lnTo>
                    <a:pt x="548" y="69"/>
                  </a:lnTo>
                  <a:lnTo>
                    <a:pt x="537" y="65"/>
                  </a:lnTo>
                  <a:lnTo>
                    <a:pt x="527" y="61"/>
                  </a:lnTo>
                  <a:lnTo>
                    <a:pt x="506" y="54"/>
                  </a:lnTo>
                  <a:lnTo>
                    <a:pt x="483" y="45"/>
                  </a:lnTo>
                  <a:lnTo>
                    <a:pt x="469" y="39"/>
                  </a:lnTo>
                  <a:lnTo>
                    <a:pt x="457" y="31"/>
                  </a:lnTo>
                  <a:lnTo>
                    <a:pt x="446" y="24"/>
                  </a:lnTo>
                  <a:lnTo>
                    <a:pt x="437" y="16"/>
                  </a:lnTo>
                  <a:lnTo>
                    <a:pt x="426" y="10"/>
                  </a:lnTo>
                  <a:lnTo>
                    <a:pt x="414" y="5"/>
                  </a:lnTo>
                  <a:lnTo>
                    <a:pt x="409" y="3"/>
                  </a:lnTo>
                  <a:lnTo>
                    <a:pt x="402" y="1"/>
                  </a:lnTo>
                  <a:lnTo>
                    <a:pt x="395" y="0"/>
                  </a:lnTo>
                  <a:lnTo>
                    <a:pt x="387" y="0"/>
                  </a:lnTo>
                  <a:lnTo>
                    <a:pt x="360" y="1"/>
                  </a:lnTo>
                  <a:lnTo>
                    <a:pt x="336" y="4"/>
                  </a:lnTo>
                  <a:lnTo>
                    <a:pt x="312" y="9"/>
                  </a:lnTo>
                  <a:lnTo>
                    <a:pt x="291" y="13"/>
                  </a:lnTo>
                  <a:lnTo>
                    <a:pt x="268" y="17"/>
                  </a:lnTo>
                  <a:lnTo>
                    <a:pt x="246" y="22"/>
                  </a:lnTo>
                  <a:lnTo>
                    <a:pt x="221" y="24"/>
                  </a:lnTo>
                  <a:lnTo>
                    <a:pt x="194" y="25"/>
                  </a:lnTo>
                  <a:lnTo>
                    <a:pt x="158" y="24"/>
                  </a:lnTo>
                  <a:lnTo>
                    <a:pt x="126" y="22"/>
                  </a:lnTo>
                  <a:lnTo>
                    <a:pt x="94" y="18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0" y="35"/>
                  </a:lnTo>
                  <a:lnTo>
                    <a:pt x="60" y="51"/>
                  </a:lnTo>
                  <a:lnTo>
                    <a:pt x="59" y="68"/>
                  </a:lnTo>
                  <a:lnTo>
                    <a:pt x="59" y="85"/>
                  </a:lnTo>
                  <a:lnTo>
                    <a:pt x="58" y="104"/>
                  </a:lnTo>
                  <a:lnTo>
                    <a:pt x="57" y="121"/>
                  </a:lnTo>
                  <a:lnTo>
                    <a:pt x="54" y="137"/>
                  </a:lnTo>
                  <a:lnTo>
                    <a:pt x="52" y="153"/>
                  </a:lnTo>
                  <a:lnTo>
                    <a:pt x="50" y="169"/>
                  </a:lnTo>
                  <a:lnTo>
                    <a:pt x="48" y="185"/>
                  </a:lnTo>
                  <a:lnTo>
                    <a:pt x="46" y="203"/>
                  </a:lnTo>
                  <a:lnTo>
                    <a:pt x="46" y="221"/>
                  </a:lnTo>
                  <a:lnTo>
                    <a:pt x="46" y="227"/>
                  </a:lnTo>
                  <a:lnTo>
                    <a:pt x="48" y="231"/>
                  </a:lnTo>
                  <a:lnTo>
                    <a:pt x="51" y="234"/>
                  </a:lnTo>
                  <a:lnTo>
                    <a:pt x="54" y="238"/>
                  </a:lnTo>
                  <a:lnTo>
                    <a:pt x="62" y="244"/>
                  </a:lnTo>
                  <a:lnTo>
                    <a:pt x="68" y="253"/>
                  </a:lnTo>
                  <a:lnTo>
                    <a:pt x="76" y="268"/>
                  </a:lnTo>
                  <a:lnTo>
                    <a:pt x="86" y="281"/>
                  </a:lnTo>
                  <a:lnTo>
                    <a:pt x="94" y="294"/>
                  </a:lnTo>
                  <a:lnTo>
                    <a:pt x="105" y="305"/>
                  </a:lnTo>
                  <a:lnTo>
                    <a:pt x="128" y="324"/>
                  </a:lnTo>
                  <a:lnTo>
                    <a:pt x="155" y="345"/>
                  </a:lnTo>
                  <a:lnTo>
                    <a:pt x="168" y="354"/>
                  </a:lnTo>
                  <a:lnTo>
                    <a:pt x="179" y="365"/>
                  </a:lnTo>
                  <a:lnTo>
                    <a:pt x="183" y="372"/>
                  </a:lnTo>
                  <a:lnTo>
                    <a:pt x="186" y="377"/>
                  </a:lnTo>
                  <a:lnTo>
                    <a:pt x="187" y="385"/>
                  </a:lnTo>
                  <a:lnTo>
                    <a:pt x="188" y="392"/>
                  </a:lnTo>
                  <a:lnTo>
                    <a:pt x="188" y="402"/>
                  </a:lnTo>
                  <a:lnTo>
                    <a:pt x="186" y="412"/>
                  </a:lnTo>
                  <a:lnTo>
                    <a:pt x="185" y="419"/>
                  </a:lnTo>
                  <a:lnTo>
                    <a:pt x="182" y="428"/>
                  </a:lnTo>
                  <a:lnTo>
                    <a:pt x="177" y="444"/>
                  </a:lnTo>
                  <a:lnTo>
                    <a:pt x="174" y="462"/>
                  </a:lnTo>
                  <a:lnTo>
                    <a:pt x="174" y="485"/>
                  </a:lnTo>
                  <a:lnTo>
                    <a:pt x="174" y="504"/>
                  </a:lnTo>
                  <a:lnTo>
                    <a:pt x="173" y="514"/>
                  </a:lnTo>
                  <a:lnTo>
                    <a:pt x="171" y="524"/>
                  </a:lnTo>
                  <a:lnTo>
                    <a:pt x="167" y="532"/>
                  </a:lnTo>
                  <a:lnTo>
                    <a:pt x="160" y="541"/>
                  </a:lnTo>
                  <a:lnTo>
                    <a:pt x="153" y="549"/>
                  </a:lnTo>
                  <a:lnTo>
                    <a:pt x="145" y="554"/>
                  </a:lnTo>
                  <a:lnTo>
                    <a:pt x="138" y="559"/>
                  </a:lnTo>
                  <a:lnTo>
                    <a:pt x="129" y="564"/>
                  </a:lnTo>
                  <a:lnTo>
                    <a:pt x="121" y="569"/>
                  </a:lnTo>
                  <a:lnTo>
                    <a:pt x="115" y="575"/>
                  </a:lnTo>
                  <a:lnTo>
                    <a:pt x="108" y="582"/>
                  </a:lnTo>
                  <a:lnTo>
                    <a:pt x="104" y="592"/>
                  </a:lnTo>
                  <a:lnTo>
                    <a:pt x="96" y="615"/>
                  </a:lnTo>
                  <a:lnTo>
                    <a:pt x="90" y="635"/>
                  </a:lnTo>
                  <a:lnTo>
                    <a:pt x="86" y="656"/>
                  </a:lnTo>
                  <a:lnTo>
                    <a:pt x="81" y="675"/>
                  </a:lnTo>
                  <a:lnTo>
                    <a:pt x="78" y="696"/>
                  </a:lnTo>
                  <a:lnTo>
                    <a:pt x="76" y="716"/>
                  </a:lnTo>
                  <a:lnTo>
                    <a:pt x="74" y="738"/>
                  </a:lnTo>
                  <a:lnTo>
                    <a:pt x="71" y="763"/>
                  </a:lnTo>
                  <a:lnTo>
                    <a:pt x="68" y="777"/>
                  </a:lnTo>
                  <a:lnTo>
                    <a:pt x="65" y="791"/>
                  </a:lnTo>
                  <a:lnTo>
                    <a:pt x="62" y="802"/>
                  </a:lnTo>
                  <a:lnTo>
                    <a:pt x="58" y="814"/>
                  </a:lnTo>
                  <a:lnTo>
                    <a:pt x="54" y="826"/>
                  </a:lnTo>
                  <a:lnTo>
                    <a:pt x="51" y="838"/>
                  </a:lnTo>
                  <a:lnTo>
                    <a:pt x="49" y="851"/>
                  </a:lnTo>
                  <a:lnTo>
                    <a:pt x="48" y="866"/>
                  </a:lnTo>
                  <a:lnTo>
                    <a:pt x="49" y="874"/>
                  </a:lnTo>
                  <a:lnTo>
                    <a:pt x="51" y="881"/>
                  </a:lnTo>
                  <a:lnTo>
                    <a:pt x="54" y="888"/>
                  </a:lnTo>
                  <a:lnTo>
                    <a:pt x="59" y="894"/>
                  </a:lnTo>
                  <a:lnTo>
                    <a:pt x="62" y="900"/>
                  </a:lnTo>
                  <a:lnTo>
                    <a:pt x="65" y="906"/>
                  </a:lnTo>
                  <a:lnTo>
                    <a:pt x="67" y="914"/>
                  </a:lnTo>
                  <a:lnTo>
                    <a:pt x="68" y="921"/>
                  </a:lnTo>
                  <a:lnTo>
                    <a:pt x="68" y="941"/>
                  </a:lnTo>
                  <a:lnTo>
                    <a:pt x="68" y="957"/>
                  </a:lnTo>
                  <a:lnTo>
                    <a:pt x="68" y="974"/>
                  </a:lnTo>
                  <a:lnTo>
                    <a:pt x="68" y="993"/>
                  </a:lnTo>
                  <a:lnTo>
                    <a:pt x="67" y="1012"/>
                  </a:lnTo>
                  <a:lnTo>
                    <a:pt x="65" y="1030"/>
                  </a:lnTo>
                  <a:lnTo>
                    <a:pt x="62" y="1048"/>
                  </a:lnTo>
                  <a:lnTo>
                    <a:pt x="58" y="1065"/>
                  </a:lnTo>
                  <a:lnTo>
                    <a:pt x="47" y="1095"/>
                  </a:lnTo>
                  <a:lnTo>
                    <a:pt x="34" y="1125"/>
                  </a:lnTo>
                  <a:lnTo>
                    <a:pt x="22" y="1156"/>
                  </a:lnTo>
                  <a:lnTo>
                    <a:pt x="11" y="1187"/>
                  </a:lnTo>
                  <a:lnTo>
                    <a:pt x="7" y="1203"/>
                  </a:lnTo>
                  <a:lnTo>
                    <a:pt x="4" y="1220"/>
                  </a:lnTo>
                  <a:lnTo>
                    <a:pt x="1" y="1239"/>
                  </a:lnTo>
                  <a:lnTo>
                    <a:pt x="0" y="1258"/>
                  </a:lnTo>
                  <a:lnTo>
                    <a:pt x="1" y="1270"/>
                  </a:lnTo>
                  <a:lnTo>
                    <a:pt x="4" y="1281"/>
                  </a:lnTo>
                  <a:lnTo>
                    <a:pt x="7" y="1292"/>
                  </a:lnTo>
                  <a:lnTo>
                    <a:pt x="11" y="1301"/>
                  </a:lnTo>
                  <a:lnTo>
                    <a:pt x="23" y="1319"/>
                  </a:lnTo>
                  <a:lnTo>
                    <a:pt x="36" y="1336"/>
                  </a:lnTo>
                  <a:lnTo>
                    <a:pt x="49" y="1352"/>
                  </a:lnTo>
                  <a:lnTo>
                    <a:pt x="60" y="1369"/>
                  </a:lnTo>
                  <a:lnTo>
                    <a:pt x="64" y="1379"/>
                  </a:lnTo>
                  <a:lnTo>
                    <a:pt x="67" y="1390"/>
                  </a:lnTo>
                  <a:lnTo>
                    <a:pt x="69" y="1401"/>
                  </a:lnTo>
                  <a:lnTo>
                    <a:pt x="71" y="1413"/>
                  </a:lnTo>
                  <a:lnTo>
                    <a:pt x="69" y="1430"/>
                  </a:lnTo>
                  <a:lnTo>
                    <a:pt x="66" y="1446"/>
                  </a:lnTo>
                  <a:lnTo>
                    <a:pt x="64" y="1461"/>
                  </a:lnTo>
                  <a:lnTo>
                    <a:pt x="62" y="1480"/>
                  </a:lnTo>
                  <a:lnTo>
                    <a:pt x="62" y="1500"/>
                  </a:lnTo>
                  <a:lnTo>
                    <a:pt x="62" y="1517"/>
                  </a:lnTo>
                  <a:lnTo>
                    <a:pt x="62" y="1536"/>
                  </a:lnTo>
                  <a:lnTo>
                    <a:pt x="62" y="1556"/>
                  </a:lnTo>
                  <a:lnTo>
                    <a:pt x="62" y="1568"/>
                  </a:lnTo>
                  <a:lnTo>
                    <a:pt x="63" y="1580"/>
                  </a:lnTo>
                  <a:lnTo>
                    <a:pt x="63" y="1592"/>
                  </a:lnTo>
                  <a:lnTo>
                    <a:pt x="65" y="1603"/>
                  </a:lnTo>
                  <a:lnTo>
                    <a:pt x="68" y="1612"/>
                  </a:lnTo>
                  <a:lnTo>
                    <a:pt x="74" y="1621"/>
                  </a:lnTo>
                  <a:lnTo>
                    <a:pt x="77" y="1625"/>
                  </a:lnTo>
                  <a:lnTo>
                    <a:pt x="80" y="1629"/>
                  </a:lnTo>
                  <a:lnTo>
                    <a:pt x="86" y="1632"/>
                  </a:lnTo>
                  <a:lnTo>
                    <a:pt x="90" y="1634"/>
                  </a:lnTo>
                  <a:lnTo>
                    <a:pt x="105" y="1639"/>
                  </a:lnTo>
                  <a:lnTo>
                    <a:pt x="118" y="1644"/>
                  </a:lnTo>
                  <a:lnTo>
                    <a:pt x="132" y="1647"/>
                  </a:lnTo>
                  <a:lnTo>
                    <a:pt x="144" y="1649"/>
                  </a:lnTo>
                  <a:lnTo>
                    <a:pt x="171" y="1655"/>
                  </a:lnTo>
                  <a:lnTo>
                    <a:pt x="200" y="1662"/>
                  </a:lnTo>
                  <a:lnTo>
                    <a:pt x="212" y="1666"/>
                  </a:lnTo>
                  <a:lnTo>
                    <a:pt x="224" y="1671"/>
                  </a:lnTo>
                  <a:lnTo>
                    <a:pt x="235" y="1676"/>
                  </a:lnTo>
                  <a:lnTo>
                    <a:pt x="246" y="1683"/>
                  </a:lnTo>
                  <a:lnTo>
                    <a:pt x="250" y="1686"/>
                  </a:lnTo>
                  <a:lnTo>
                    <a:pt x="254" y="1689"/>
                  </a:lnTo>
                  <a:lnTo>
                    <a:pt x="257" y="1693"/>
                  </a:lnTo>
                  <a:lnTo>
                    <a:pt x="261" y="1698"/>
                  </a:lnTo>
                  <a:lnTo>
                    <a:pt x="264" y="1703"/>
                  </a:lnTo>
                  <a:lnTo>
                    <a:pt x="265" y="1709"/>
                  </a:lnTo>
                  <a:lnTo>
                    <a:pt x="266" y="1714"/>
                  </a:lnTo>
                  <a:lnTo>
                    <a:pt x="267" y="1720"/>
                  </a:lnTo>
                  <a:lnTo>
                    <a:pt x="267" y="1751"/>
                  </a:lnTo>
                  <a:lnTo>
                    <a:pt x="267" y="1777"/>
                  </a:lnTo>
                  <a:lnTo>
                    <a:pt x="267" y="1804"/>
                  </a:lnTo>
                  <a:lnTo>
                    <a:pt x="267" y="1834"/>
                  </a:lnTo>
                  <a:lnTo>
                    <a:pt x="267" y="1848"/>
                  </a:lnTo>
                  <a:lnTo>
                    <a:pt x="269" y="1861"/>
                  </a:lnTo>
                  <a:lnTo>
                    <a:pt x="270" y="1874"/>
                  </a:lnTo>
                  <a:lnTo>
                    <a:pt x="274" y="1885"/>
                  </a:lnTo>
                  <a:lnTo>
                    <a:pt x="279" y="1909"/>
                  </a:lnTo>
                  <a:lnTo>
                    <a:pt x="283" y="1936"/>
                  </a:lnTo>
                  <a:lnTo>
                    <a:pt x="283" y="1936"/>
                  </a:lnTo>
                  <a:lnTo>
                    <a:pt x="485" y="1917"/>
                  </a:lnTo>
                  <a:lnTo>
                    <a:pt x="500" y="1917"/>
                  </a:lnTo>
                  <a:lnTo>
                    <a:pt x="513" y="1917"/>
                  </a:lnTo>
                  <a:lnTo>
                    <a:pt x="526" y="1917"/>
                  </a:lnTo>
                  <a:lnTo>
                    <a:pt x="540" y="1917"/>
                  </a:lnTo>
                  <a:lnTo>
                    <a:pt x="553" y="1914"/>
                  </a:lnTo>
                  <a:lnTo>
                    <a:pt x="566" y="1912"/>
                  </a:lnTo>
                  <a:lnTo>
                    <a:pt x="576" y="1912"/>
                  </a:lnTo>
                  <a:lnTo>
                    <a:pt x="584" y="1913"/>
                  </a:lnTo>
                  <a:lnTo>
                    <a:pt x="592" y="1914"/>
                  </a:lnTo>
                  <a:lnTo>
                    <a:pt x="600" y="1916"/>
                  </a:lnTo>
                  <a:lnTo>
                    <a:pt x="614" y="1920"/>
                  </a:lnTo>
                  <a:lnTo>
                    <a:pt x="627" y="1927"/>
                  </a:lnTo>
                  <a:lnTo>
                    <a:pt x="653" y="1942"/>
                  </a:lnTo>
                  <a:lnTo>
                    <a:pt x="682" y="1959"/>
                  </a:lnTo>
                  <a:lnTo>
                    <a:pt x="694" y="1966"/>
                  </a:lnTo>
                  <a:lnTo>
                    <a:pt x="705" y="1973"/>
                  </a:lnTo>
                  <a:lnTo>
                    <a:pt x="714" y="1980"/>
                  </a:lnTo>
                  <a:lnTo>
                    <a:pt x="723" y="1987"/>
                  </a:lnTo>
                  <a:lnTo>
                    <a:pt x="732" y="1996"/>
                  </a:lnTo>
                  <a:lnTo>
                    <a:pt x="739" y="2005"/>
                  </a:lnTo>
                  <a:lnTo>
                    <a:pt x="747" y="2015"/>
                  </a:lnTo>
                  <a:lnTo>
                    <a:pt x="754" y="2026"/>
                  </a:lnTo>
                  <a:lnTo>
                    <a:pt x="768" y="2049"/>
                  </a:lnTo>
                  <a:lnTo>
                    <a:pt x="780" y="2070"/>
                  </a:lnTo>
                  <a:lnTo>
                    <a:pt x="790" y="2091"/>
                  </a:lnTo>
                  <a:lnTo>
                    <a:pt x="800" y="2116"/>
                  </a:lnTo>
                  <a:lnTo>
                    <a:pt x="804" y="2128"/>
                  </a:lnTo>
                  <a:lnTo>
                    <a:pt x="808" y="2140"/>
                  </a:lnTo>
                  <a:lnTo>
                    <a:pt x="814" y="2151"/>
                  </a:lnTo>
                  <a:lnTo>
                    <a:pt x="819" y="2161"/>
                  </a:lnTo>
                  <a:lnTo>
                    <a:pt x="822" y="2167"/>
                  </a:lnTo>
                  <a:lnTo>
                    <a:pt x="826" y="2171"/>
                  </a:lnTo>
                  <a:lnTo>
                    <a:pt x="830" y="2174"/>
                  </a:lnTo>
                  <a:lnTo>
                    <a:pt x="834" y="2177"/>
                  </a:lnTo>
                  <a:lnTo>
                    <a:pt x="838" y="2179"/>
                  </a:lnTo>
                  <a:lnTo>
                    <a:pt x="844" y="2182"/>
                  </a:lnTo>
                  <a:lnTo>
                    <a:pt x="849" y="2183"/>
                  </a:lnTo>
                  <a:lnTo>
                    <a:pt x="856" y="2184"/>
                  </a:lnTo>
                  <a:lnTo>
                    <a:pt x="863" y="2183"/>
                  </a:lnTo>
                  <a:lnTo>
                    <a:pt x="870" y="2179"/>
                  </a:lnTo>
                  <a:lnTo>
                    <a:pt x="875" y="2175"/>
                  </a:lnTo>
                  <a:lnTo>
                    <a:pt x="881" y="2170"/>
                  </a:lnTo>
                  <a:lnTo>
                    <a:pt x="890" y="2157"/>
                  </a:lnTo>
                  <a:lnTo>
                    <a:pt x="900" y="2144"/>
                  </a:lnTo>
                  <a:lnTo>
                    <a:pt x="916" y="2129"/>
                  </a:lnTo>
                  <a:lnTo>
                    <a:pt x="932" y="2117"/>
                  </a:lnTo>
                  <a:lnTo>
                    <a:pt x="948" y="2106"/>
                  </a:lnTo>
                  <a:lnTo>
                    <a:pt x="964" y="2096"/>
                  </a:lnTo>
                  <a:lnTo>
                    <a:pt x="981" y="2089"/>
                  </a:lnTo>
                  <a:lnTo>
                    <a:pt x="999" y="2083"/>
                  </a:lnTo>
                  <a:lnTo>
                    <a:pt x="1019" y="2078"/>
                  </a:lnTo>
                  <a:lnTo>
                    <a:pt x="1040" y="2074"/>
                  </a:lnTo>
                  <a:lnTo>
                    <a:pt x="1040" y="2074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18">
              <a:extLst>
                <a:ext uri="{FF2B5EF4-FFF2-40B4-BE49-F238E27FC236}">
                  <a16:creationId xmlns:a16="http://schemas.microsoft.com/office/drawing/2014/main" id="{0425106B-C22D-467A-A73C-CA11F1214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8613" y="1644651"/>
              <a:ext cx="639763" cy="866775"/>
            </a:xfrm>
            <a:custGeom>
              <a:avLst/>
              <a:gdLst>
                <a:gd name="T0" fmla="*/ 1067 w 1614"/>
                <a:gd name="T1" fmla="*/ 2028 h 2184"/>
                <a:gd name="T2" fmla="*/ 1099 w 1614"/>
                <a:gd name="T3" fmla="*/ 1975 h 2184"/>
                <a:gd name="T4" fmla="*/ 1059 w 1614"/>
                <a:gd name="T5" fmla="*/ 1871 h 2184"/>
                <a:gd name="T6" fmla="*/ 1045 w 1614"/>
                <a:gd name="T7" fmla="*/ 1785 h 2184"/>
                <a:gd name="T8" fmla="*/ 1085 w 1614"/>
                <a:gd name="T9" fmla="*/ 1712 h 2184"/>
                <a:gd name="T10" fmla="*/ 1090 w 1614"/>
                <a:gd name="T11" fmla="*/ 1617 h 2184"/>
                <a:gd name="T12" fmla="*/ 1109 w 1614"/>
                <a:gd name="T13" fmla="*/ 1535 h 2184"/>
                <a:gd name="T14" fmla="*/ 1166 w 1614"/>
                <a:gd name="T15" fmla="*/ 1488 h 2184"/>
                <a:gd name="T16" fmla="*/ 1271 w 1614"/>
                <a:gd name="T17" fmla="*/ 1418 h 2184"/>
                <a:gd name="T18" fmla="*/ 1307 w 1614"/>
                <a:gd name="T19" fmla="*/ 1353 h 2184"/>
                <a:gd name="T20" fmla="*/ 1360 w 1614"/>
                <a:gd name="T21" fmla="*/ 1188 h 2184"/>
                <a:gd name="T22" fmla="*/ 1393 w 1614"/>
                <a:gd name="T23" fmla="*/ 1090 h 2184"/>
                <a:gd name="T24" fmla="*/ 1420 w 1614"/>
                <a:gd name="T25" fmla="*/ 1068 h 2184"/>
                <a:gd name="T26" fmla="*/ 1505 w 1614"/>
                <a:gd name="T27" fmla="*/ 1065 h 2184"/>
                <a:gd name="T28" fmla="*/ 1614 w 1614"/>
                <a:gd name="T29" fmla="*/ 991 h 2184"/>
                <a:gd name="T30" fmla="*/ 1588 w 1614"/>
                <a:gd name="T31" fmla="*/ 958 h 2184"/>
                <a:gd name="T32" fmla="*/ 1577 w 1614"/>
                <a:gd name="T33" fmla="*/ 891 h 2184"/>
                <a:gd name="T34" fmla="*/ 1509 w 1614"/>
                <a:gd name="T35" fmla="*/ 829 h 2184"/>
                <a:gd name="T36" fmla="*/ 1362 w 1614"/>
                <a:gd name="T37" fmla="*/ 727 h 2184"/>
                <a:gd name="T38" fmla="*/ 1250 w 1614"/>
                <a:gd name="T39" fmla="*/ 554 h 2184"/>
                <a:gd name="T40" fmla="*/ 1152 w 1614"/>
                <a:gd name="T41" fmla="*/ 434 h 2184"/>
                <a:gd name="T42" fmla="*/ 1084 w 1614"/>
                <a:gd name="T43" fmla="*/ 403 h 2184"/>
                <a:gd name="T44" fmla="*/ 965 w 1614"/>
                <a:gd name="T45" fmla="*/ 314 h 2184"/>
                <a:gd name="T46" fmla="*/ 894 w 1614"/>
                <a:gd name="T47" fmla="*/ 265 h 2184"/>
                <a:gd name="T48" fmla="*/ 822 w 1614"/>
                <a:gd name="T49" fmla="*/ 212 h 2184"/>
                <a:gd name="T50" fmla="*/ 735 w 1614"/>
                <a:gd name="T51" fmla="*/ 163 h 2184"/>
                <a:gd name="T52" fmla="*/ 624 w 1614"/>
                <a:gd name="T53" fmla="*/ 154 h 2184"/>
                <a:gd name="T54" fmla="*/ 578 w 1614"/>
                <a:gd name="T55" fmla="*/ 100 h 2184"/>
                <a:gd name="T56" fmla="*/ 506 w 1614"/>
                <a:gd name="T57" fmla="*/ 54 h 2184"/>
                <a:gd name="T58" fmla="*/ 409 w 1614"/>
                <a:gd name="T59" fmla="*/ 3 h 2184"/>
                <a:gd name="T60" fmla="*/ 268 w 1614"/>
                <a:gd name="T61" fmla="*/ 17 h 2184"/>
                <a:gd name="T62" fmla="*/ 59 w 1614"/>
                <a:gd name="T63" fmla="*/ 17 h 2184"/>
                <a:gd name="T64" fmla="*/ 52 w 1614"/>
                <a:gd name="T65" fmla="*/ 153 h 2184"/>
                <a:gd name="T66" fmla="*/ 54 w 1614"/>
                <a:gd name="T67" fmla="*/ 238 h 2184"/>
                <a:gd name="T68" fmla="*/ 155 w 1614"/>
                <a:gd name="T69" fmla="*/ 345 h 2184"/>
                <a:gd name="T70" fmla="*/ 186 w 1614"/>
                <a:gd name="T71" fmla="*/ 412 h 2184"/>
                <a:gd name="T72" fmla="*/ 171 w 1614"/>
                <a:gd name="T73" fmla="*/ 524 h 2184"/>
                <a:gd name="T74" fmla="*/ 115 w 1614"/>
                <a:gd name="T75" fmla="*/ 575 h 2184"/>
                <a:gd name="T76" fmla="*/ 76 w 1614"/>
                <a:gd name="T77" fmla="*/ 716 h 2184"/>
                <a:gd name="T78" fmla="*/ 51 w 1614"/>
                <a:gd name="T79" fmla="*/ 838 h 2184"/>
                <a:gd name="T80" fmla="*/ 65 w 1614"/>
                <a:gd name="T81" fmla="*/ 906 h 2184"/>
                <a:gd name="T82" fmla="*/ 65 w 1614"/>
                <a:gd name="T83" fmla="*/ 1030 h 2184"/>
                <a:gd name="T84" fmla="*/ 4 w 1614"/>
                <a:gd name="T85" fmla="*/ 1220 h 2184"/>
                <a:gd name="T86" fmla="*/ 36 w 1614"/>
                <a:gd name="T87" fmla="*/ 1336 h 2184"/>
                <a:gd name="T88" fmla="*/ 66 w 1614"/>
                <a:gd name="T89" fmla="*/ 1446 h 2184"/>
                <a:gd name="T90" fmla="*/ 63 w 1614"/>
                <a:gd name="T91" fmla="*/ 1580 h 2184"/>
                <a:gd name="T92" fmla="*/ 90 w 1614"/>
                <a:gd name="T93" fmla="*/ 1634 h 2184"/>
                <a:gd name="T94" fmla="*/ 224 w 1614"/>
                <a:gd name="T95" fmla="*/ 1671 h 2184"/>
                <a:gd name="T96" fmla="*/ 265 w 1614"/>
                <a:gd name="T97" fmla="*/ 1709 h 2184"/>
                <a:gd name="T98" fmla="*/ 269 w 1614"/>
                <a:gd name="T99" fmla="*/ 1861 h 2184"/>
                <a:gd name="T100" fmla="*/ 513 w 1614"/>
                <a:gd name="T101" fmla="*/ 1917 h 2184"/>
                <a:gd name="T102" fmla="*/ 600 w 1614"/>
                <a:gd name="T103" fmla="*/ 1916 h 2184"/>
                <a:gd name="T104" fmla="*/ 723 w 1614"/>
                <a:gd name="T105" fmla="*/ 1987 h 2184"/>
                <a:gd name="T106" fmla="*/ 800 w 1614"/>
                <a:gd name="T107" fmla="*/ 2116 h 2184"/>
                <a:gd name="T108" fmla="*/ 834 w 1614"/>
                <a:gd name="T109" fmla="*/ 2177 h 2184"/>
                <a:gd name="T110" fmla="*/ 881 w 1614"/>
                <a:gd name="T111" fmla="*/ 2170 h 2184"/>
                <a:gd name="T112" fmla="*/ 999 w 1614"/>
                <a:gd name="T113" fmla="*/ 2083 h 2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14" h="2184">
                  <a:moveTo>
                    <a:pt x="1040" y="2074"/>
                  </a:moveTo>
                  <a:lnTo>
                    <a:pt x="1045" y="2070"/>
                  </a:lnTo>
                  <a:lnTo>
                    <a:pt x="1049" y="2067"/>
                  </a:lnTo>
                  <a:lnTo>
                    <a:pt x="1052" y="2063"/>
                  </a:lnTo>
                  <a:lnTo>
                    <a:pt x="1055" y="2059"/>
                  </a:lnTo>
                  <a:lnTo>
                    <a:pt x="1059" y="2049"/>
                  </a:lnTo>
                  <a:lnTo>
                    <a:pt x="1063" y="2038"/>
                  </a:lnTo>
                  <a:lnTo>
                    <a:pt x="1067" y="2028"/>
                  </a:lnTo>
                  <a:lnTo>
                    <a:pt x="1073" y="2020"/>
                  </a:lnTo>
                  <a:lnTo>
                    <a:pt x="1079" y="2012"/>
                  </a:lnTo>
                  <a:lnTo>
                    <a:pt x="1086" y="2005"/>
                  </a:lnTo>
                  <a:lnTo>
                    <a:pt x="1091" y="1997"/>
                  </a:lnTo>
                  <a:lnTo>
                    <a:pt x="1096" y="1989"/>
                  </a:lnTo>
                  <a:lnTo>
                    <a:pt x="1097" y="1985"/>
                  </a:lnTo>
                  <a:lnTo>
                    <a:pt x="1099" y="1981"/>
                  </a:lnTo>
                  <a:lnTo>
                    <a:pt x="1099" y="1975"/>
                  </a:lnTo>
                  <a:lnTo>
                    <a:pt x="1100" y="1970"/>
                  </a:lnTo>
                  <a:lnTo>
                    <a:pt x="1099" y="1958"/>
                  </a:lnTo>
                  <a:lnTo>
                    <a:pt x="1097" y="1947"/>
                  </a:lnTo>
                  <a:lnTo>
                    <a:pt x="1094" y="1936"/>
                  </a:lnTo>
                  <a:lnTo>
                    <a:pt x="1090" y="1926"/>
                  </a:lnTo>
                  <a:lnTo>
                    <a:pt x="1080" y="1907"/>
                  </a:lnTo>
                  <a:lnTo>
                    <a:pt x="1070" y="1889"/>
                  </a:lnTo>
                  <a:lnTo>
                    <a:pt x="1059" y="1871"/>
                  </a:lnTo>
                  <a:lnTo>
                    <a:pt x="1050" y="1852"/>
                  </a:lnTo>
                  <a:lnTo>
                    <a:pt x="1046" y="1841"/>
                  </a:lnTo>
                  <a:lnTo>
                    <a:pt x="1043" y="1832"/>
                  </a:lnTo>
                  <a:lnTo>
                    <a:pt x="1042" y="1820"/>
                  </a:lnTo>
                  <a:lnTo>
                    <a:pt x="1040" y="1808"/>
                  </a:lnTo>
                  <a:lnTo>
                    <a:pt x="1042" y="1799"/>
                  </a:lnTo>
                  <a:lnTo>
                    <a:pt x="1043" y="1793"/>
                  </a:lnTo>
                  <a:lnTo>
                    <a:pt x="1045" y="1785"/>
                  </a:lnTo>
                  <a:lnTo>
                    <a:pt x="1048" y="1779"/>
                  </a:lnTo>
                  <a:lnTo>
                    <a:pt x="1055" y="1767"/>
                  </a:lnTo>
                  <a:lnTo>
                    <a:pt x="1063" y="1755"/>
                  </a:lnTo>
                  <a:lnTo>
                    <a:pt x="1071" y="1744"/>
                  </a:lnTo>
                  <a:lnTo>
                    <a:pt x="1078" y="1732"/>
                  </a:lnTo>
                  <a:lnTo>
                    <a:pt x="1082" y="1726"/>
                  </a:lnTo>
                  <a:lnTo>
                    <a:pt x="1084" y="1718"/>
                  </a:lnTo>
                  <a:lnTo>
                    <a:pt x="1085" y="1712"/>
                  </a:lnTo>
                  <a:lnTo>
                    <a:pt x="1086" y="1703"/>
                  </a:lnTo>
                  <a:lnTo>
                    <a:pt x="1086" y="1689"/>
                  </a:lnTo>
                  <a:lnTo>
                    <a:pt x="1086" y="1676"/>
                  </a:lnTo>
                  <a:lnTo>
                    <a:pt x="1086" y="1663"/>
                  </a:lnTo>
                  <a:lnTo>
                    <a:pt x="1086" y="1649"/>
                  </a:lnTo>
                  <a:lnTo>
                    <a:pt x="1086" y="1636"/>
                  </a:lnTo>
                  <a:lnTo>
                    <a:pt x="1088" y="1627"/>
                  </a:lnTo>
                  <a:lnTo>
                    <a:pt x="1090" y="1617"/>
                  </a:lnTo>
                  <a:lnTo>
                    <a:pt x="1092" y="1605"/>
                  </a:lnTo>
                  <a:lnTo>
                    <a:pt x="1092" y="1605"/>
                  </a:lnTo>
                  <a:lnTo>
                    <a:pt x="1097" y="1592"/>
                  </a:lnTo>
                  <a:lnTo>
                    <a:pt x="1100" y="1580"/>
                  </a:lnTo>
                  <a:lnTo>
                    <a:pt x="1101" y="1568"/>
                  </a:lnTo>
                  <a:lnTo>
                    <a:pt x="1103" y="1556"/>
                  </a:lnTo>
                  <a:lnTo>
                    <a:pt x="1104" y="1546"/>
                  </a:lnTo>
                  <a:lnTo>
                    <a:pt x="1109" y="1535"/>
                  </a:lnTo>
                  <a:lnTo>
                    <a:pt x="1111" y="1529"/>
                  </a:lnTo>
                  <a:lnTo>
                    <a:pt x="1114" y="1524"/>
                  </a:lnTo>
                  <a:lnTo>
                    <a:pt x="1117" y="1519"/>
                  </a:lnTo>
                  <a:lnTo>
                    <a:pt x="1121" y="1513"/>
                  </a:lnTo>
                  <a:lnTo>
                    <a:pt x="1132" y="1504"/>
                  </a:lnTo>
                  <a:lnTo>
                    <a:pt x="1143" y="1498"/>
                  </a:lnTo>
                  <a:lnTo>
                    <a:pt x="1154" y="1493"/>
                  </a:lnTo>
                  <a:lnTo>
                    <a:pt x="1166" y="1488"/>
                  </a:lnTo>
                  <a:lnTo>
                    <a:pt x="1177" y="1484"/>
                  </a:lnTo>
                  <a:lnTo>
                    <a:pt x="1188" y="1480"/>
                  </a:lnTo>
                  <a:lnTo>
                    <a:pt x="1200" y="1473"/>
                  </a:lnTo>
                  <a:lnTo>
                    <a:pt x="1211" y="1466"/>
                  </a:lnTo>
                  <a:lnTo>
                    <a:pt x="1228" y="1454"/>
                  </a:lnTo>
                  <a:lnTo>
                    <a:pt x="1244" y="1442"/>
                  </a:lnTo>
                  <a:lnTo>
                    <a:pt x="1258" y="1430"/>
                  </a:lnTo>
                  <a:lnTo>
                    <a:pt x="1271" y="1418"/>
                  </a:lnTo>
                  <a:lnTo>
                    <a:pt x="1277" y="1412"/>
                  </a:lnTo>
                  <a:lnTo>
                    <a:pt x="1282" y="1405"/>
                  </a:lnTo>
                  <a:lnTo>
                    <a:pt x="1288" y="1398"/>
                  </a:lnTo>
                  <a:lnTo>
                    <a:pt x="1292" y="1390"/>
                  </a:lnTo>
                  <a:lnTo>
                    <a:pt x="1296" y="1381"/>
                  </a:lnTo>
                  <a:lnTo>
                    <a:pt x="1301" y="1373"/>
                  </a:lnTo>
                  <a:lnTo>
                    <a:pt x="1304" y="1364"/>
                  </a:lnTo>
                  <a:lnTo>
                    <a:pt x="1307" y="1353"/>
                  </a:lnTo>
                  <a:lnTo>
                    <a:pt x="1319" y="1314"/>
                  </a:lnTo>
                  <a:lnTo>
                    <a:pt x="1332" y="1281"/>
                  </a:lnTo>
                  <a:lnTo>
                    <a:pt x="1337" y="1265"/>
                  </a:lnTo>
                  <a:lnTo>
                    <a:pt x="1344" y="1247"/>
                  </a:lnTo>
                  <a:lnTo>
                    <a:pt x="1349" y="1229"/>
                  </a:lnTo>
                  <a:lnTo>
                    <a:pt x="1355" y="1209"/>
                  </a:lnTo>
                  <a:lnTo>
                    <a:pt x="1357" y="1197"/>
                  </a:lnTo>
                  <a:lnTo>
                    <a:pt x="1360" y="1188"/>
                  </a:lnTo>
                  <a:lnTo>
                    <a:pt x="1364" y="1178"/>
                  </a:lnTo>
                  <a:lnTo>
                    <a:pt x="1369" y="1170"/>
                  </a:lnTo>
                  <a:lnTo>
                    <a:pt x="1373" y="1162"/>
                  </a:lnTo>
                  <a:lnTo>
                    <a:pt x="1376" y="1152"/>
                  </a:lnTo>
                  <a:lnTo>
                    <a:pt x="1380" y="1143"/>
                  </a:lnTo>
                  <a:lnTo>
                    <a:pt x="1383" y="1132"/>
                  </a:lnTo>
                  <a:lnTo>
                    <a:pt x="1386" y="1110"/>
                  </a:lnTo>
                  <a:lnTo>
                    <a:pt x="1393" y="1090"/>
                  </a:lnTo>
                  <a:lnTo>
                    <a:pt x="1395" y="1085"/>
                  </a:lnTo>
                  <a:lnTo>
                    <a:pt x="1397" y="1081"/>
                  </a:lnTo>
                  <a:lnTo>
                    <a:pt x="1399" y="1077"/>
                  </a:lnTo>
                  <a:lnTo>
                    <a:pt x="1402" y="1074"/>
                  </a:lnTo>
                  <a:lnTo>
                    <a:pt x="1406" y="1071"/>
                  </a:lnTo>
                  <a:lnTo>
                    <a:pt x="1410" y="1069"/>
                  </a:lnTo>
                  <a:lnTo>
                    <a:pt x="1414" y="1068"/>
                  </a:lnTo>
                  <a:lnTo>
                    <a:pt x="1420" y="1068"/>
                  </a:lnTo>
                  <a:lnTo>
                    <a:pt x="1430" y="1068"/>
                  </a:lnTo>
                  <a:lnTo>
                    <a:pt x="1440" y="1069"/>
                  </a:lnTo>
                  <a:lnTo>
                    <a:pt x="1450" y="1070"/>
                  </a:lnTo>
                  <a:lnTo>
                    <a:pt x="1461" y="1070"/>
                  </a:lnTo>
                  <a:lnTo>
                    <a:pt x="1472" y="1070"/>
                  </a:lnTo>
                  <a:lnTo>
                    <a:pt x="1483" y="1069"/>
                  </a:lnTo>
                  <a:lnTo>
                    <a:pt x="1494" y="1067"/>
                  </a:lnTo>
                  <a:lnTo>
                    <a:pt x="1505" y="1065"/>
                  </a:lnTo>
                  <a:lnTo>
                    <a:pt x="1515" y="1061"/>
                  </a:lnTo>
                  <a:lnTo>
                    <a:pt x="1524" y="1057"/>
                  </a:lnTo>
                  <a:lnTo>
                    <a:pt x="1534" y="1052"/>
                  </a:lnTo>
                  <a:lnTo>
                    <a:pt x="1544" y="1048"/>
                  </a:lnTo>
                  <a:lnTo>
                    <a:pt x="1561" y="1036"/>
                  </a:lnTo>
                  <a:lnTo>
                    <a:pt x="1579" y="1022"/>
                  </a:lnTo>
                  <a:lnTo>
                    <a:pt x="1597" y="1008"/>
                  </a:lnTo>
                  <a:lnTo>
                    <a:pt x="1614" y="991"/>
                  </a:lnTo>
                  <a:lnTo>
                    <a:pt x="1614" y="991"/>
                  </a:lnTo>
                  <a:lnTo>
                    <a:pt x="1608" y="988"/>
                  </a:lnTo>
                  <a:lnTo>
                    <a:pt x="1602" y="985"/>
                  </a:lnTo>
                  <a:lnTo>
                    <a:pt x="1597" y="981"/>
                  </a:lnTo>
                  <a:lnTo>
                    <a:pt x="1592" y="975"/>
                  </a:lnTo>
                  <a:lnTo>
                    <a:pt x="1590" y="970"/>
                  </a:lnTo>
                  <a:lnTo>
                    <a:pt x="1588" y="963"/>
                  </a:lnTo>
                  <a:lnTo>
                    <a:pt x="1588" y="958"/>
                  </a:lnTo>
                  <a:lnTo>
                    <a:pt x="1589" y="953"/>
                  </a:lnTo>
                  <a:lnTo>
                    <a:pt x="1590" y="941"/>
                  </a:lnTo>
                  <a:lnTo>
                    <a:pt x="1590" y="928"/>
                  </a:lnTo>
                  <a:lnTo>
                    <a:pt x="1588" y="919"/>
                  </a:lnTo>
                  <a:lnTo>
                    <a:pt x="1586" y="912"/>
                  </a:lnTo>
                  <a:lnTo>
                    <a:pt x="1584" y="904"/>
                  </a:lnTo>
                  <a:lnTo>
                    <a:pt x="1581" y="898"/>
                  </a:lnTo>
                  <a:lnTo>
                    <a:pt x="1577" y="891"/>
                  </a:lnTo>
                  <a:lnTo>
                    <a:pt x="1573" y="885"/>
                  </a:lnTo>
                  <a:lnTo>
                    <a:pt x="1568" y="878"/>
                  </a:lnTo>
                  <a:lnTo>
                    <a:pt x="1562" y="872"/>
                  </a:lnTo>
                  <a:lnTo>
                    <a:pt x="1554" y="863"/>
                  </a:lnTo>
                  <a:lnTo>
                    <a:pt x="1544" y="854"/>
                  </a:lnTo>
                  <a:lnTo>
                    <a:pt x="1535" y="847"/>
                  </a:lnTo>
                  <a:lnTo>
                    <a:pt x="1526" y="840"/>
                  </a:lnTo>
                  <a:lnTo>
                    <a:pt x="1509" y="829"/>
                  </a:lnTo>
                  <a:lnTo>
                    <a:pt x="1491" y="819"/>
                  </a:lnTo>
                  <a:lnTo>
                    <a:pt x="1472" y="809"/>
                  </a:lnTo>
                  <a:lnTo>
                    <a:pt x="1453" y="799"/>
                  </a:lnTo>
                  <a:lnTo>
                    <a:pt x="1434" y="787"/>
                  </a:lnTo>
                  <a:lnTo>
                    <a:pt x="1413" y="773"/>
                  </a:lnTo>
                  <a:lnTo>
                    <a:pt x="1395" y="758"/>
                  </a:lnTo>
                  <a:lnTo>
                    <a:pt x="1377" y="743"/>
                  </a:lnTo>
                  <a:lnTo>
                    <a:pt x="1362" y="727"/>
                  </a:lnTo>
                  <a:lnTo>
                    <a:pt x="1348" y="711"/>
                  </a:lnTo>
                  <a:lnTo>
                    <a:pt x="1336" y="694"/>
                  </a:lnTo>
                  <a:lnTo>
                    <a:pt x="1325" y="678"/>
                  </a:lnTo>
                  <a:lnTo>
                    <a:pt x="1314" y="661"/>
                  </a:lnTo>
                  <a:lnTo>
                    <a:pt x="1304" y="644"/>
                  </a:lnTo>
                  <a:lnTo>
                    <a:pt x="1283" y="608"/>
                  </a:lnTo>
                  <a:lnTo>
                    <a:pt x="1262" y="572"/>
                  </a:lnTo>
                  <a:lnTo>
                    <a:pt x="1250" y="554"/>
                  </a:lnTo>
                  <a:lnTo>
                    <a:pt x="1236" y="536"/>
                  </a:lnTo>
                  <a:lnTo>
                    <a:pt x="1222" y="517"/>
                  </a:lnTo>
                  <a:lnTo>
                    <a:pt x="1206" y="499"/>
                  </a:lnTo>
                  <a:lnTo>
                    <a:pt x="1190" y="478"/>
                  </a:lnTo>
                  <a:lnTo>
                    <a:pt x="1175" y="460"/>
                  </a:lnTo>
                  <a:lnTo>
                    <a:pt x="1168" y="451"/>
                  </a:lnTo>
                  <a:lnTo>
                    <a:pt x="1160" y="443"/>
                  </a:lnTo>
                  <a:lnTo>
                    <a:pt x="1152" y="434"/>
                  </a:lnTo>
                  <a:lnTo>
                    <a:pt x="1141" y="427"/>
                  </a:lnTo>
                  <a:lnTo>
                    <a:pt x="1133" y="420"/>
                  </a:lnTo>
                  <a:lnTo>
                    <a:pt x="1125" y="417"/>
                  </a:lnTo>
                  <a:lnTo>
                    <a:pt x="1117" y="414"/>
                  </a:lnTo>
                  <a:lnTo>
                    <a:pt x="1109" y="412"/>
                  </a:lnTo>
                  <a:lnTo>
                    <a:pt x="1100" y="408"/>
                  </a:lnTo>
                  <a:lnTo>
                    <a:pt x="1092" y="406"/>
                  </a:lnTo>
                  <a:lnTo>
                    <a:pt x="1084" y="403"/>
                  </a:lnTo>
                  <a:lnTo>
                    <a:pt x="1074" y="399"/>
                  </a:lnTo>
                  <a:lnTo>
                    <a:pt x="1056" y="387"/>
                  </a:lnTo>
                  <a:lnTo>
                    <a:pt x="1037" y="376"/>
                  </a:lnTo>
                  <a:lnTo>
                    <a:pt x="1021" y="366"/>
                  </a:lnTo>
                  <a:lnTo>
                    <a:pt x="1007" y="354"/>
                  </a:lnTo>
                  <a:lnTo>
                    <a:pt x="992" y="342"/>
                  </a:lnTo>
                  <a:lnTo>
                    <a:pt x="978" y="329"/>
                  </a:lnTo>
                  <a:lnTo>
                    <a:pt x="965" y="314"/>
                  </a:lnTo>
                  <a:lnTo>
                    <a:pt x="951" y="297"/>
                  </a:lnTo>
                  <a:lnTo>
                    <a:pt x="946" y="292"/>
                  </a:lnTo>
                  <a:lnTo>
                    <a:pt x="942" y="286"/>
                  </a:lnTo>
                  <a:lnTo>
                    <a:pt x="937" y="282"/>
                  </a:lnTo>
                  <a:lnTo>
                    <a:pt x="931" y="279"/>
                  </a:lnTo>
                  <a:lnTo>
                    <a:pt x="919" y="273"/>
                  </a:lnTo>
                  <a:lnTo>
                    <a:pt x="907" y="269"/>
                  </a:lnTo>
                  <a:lnTo>
                    <a:pt x="894" y="265"/>
                  </a:lnTo>
                  <a:lnTo>
                    <a:pt x="882" y="260"/>
                  </a:lnTo>
                  <a:lnTo>
                    <a:pt x="875" y="257"/>
                  </a:lnTo>
                  <a:lnTo>
                    <a:pt x="869" y="254"/>
                  </a:lnTo>
                  <a:lnTo>
                    <a:pt x="863" y="250"/>
                  </a:lnTo>
                  <a:lnTo>
                    <a:pt x="858" y="244"/>
                  </a:lnTo>
                  <a:lnTo>
                    <a:pt x="846" y="232"/>
                  </a:lnTo>
                  <a:lnTo>
                    <a:pt x="834" y="221"/>
                  </a:lnTo>
                  <a:lnTo>
                    <a:pt x="822" y="212"/>
                  </a:lnTo>
                  <a:lnTo>
                    <a:pt x="808" y="202"/>
                  </a:lnTo>
                  <a:lnTo>
                    <a:pt x="794" y="189"/>
                  </a:lnTo>
                  <a:lnTo>
                    <a:pt x="781" y="176"/>
                  </a:lnTo>
                  <a:lnTo>
                    <a:pt x="775" y="171"/>
                  </a:lnTo>
                  <a:lnTo>
                    <a:pt x="768" y="166"/>
                  </a:lnTo>
                  <a:lnTo>
                    <a:pt x="761" y="164"/>
                  </a:lnTo>
                  <a:lnTo>
                    <a:pt x="751" y="163"/>
                  </a:lnTo>
                  <a:lnTo>
                    <a:pt x="735" y="163"/>
                  </a:lnTo>
                  <a:lnTo>
                    <a:pt x="721" y="163"/>
                  </a:lnTo>
                  <a:lnTo>
                    <a:pt x="707" y="163"/>
                  </a:lnTo>
                  <a:lnTo>
                    <a:pt x="691" y="163"/>
                  </a:lnTo>
                  <a:lnTo>
                    <a:pt x="676" y="163"/>
                  </a:lnTo>
                  <a:lnTo>
                    <a:pt x="661" y="162"/>
                  </a:lnTo>
                  <a:lnTo>
                    <a:pt x="648" y="161"/>
                  </a:lnTo>
                  <a:lnTo>
                    <a:pt x="635" y="158"/>
                  </a:lnTo>
                  <a:lnTo>
                    <a:pt x="624" y="154"/>
                  </a:lnTo>
                  <a:lnTo>
                    <a:pt x="612" y="148"/>
                  </a:lnTo>
                  <a:lnTo>
                    <a:pt x="606" y="145"/>
                  </a:lnTo>
                  <a:lnTo>
                    <a:pt x="602" y="140"/>
                  </a:lnTo>
                  <a:lnTo>
                    <a:pt x="597" y="135"/>
                  </a:lnTo>
                  <a:lnTo>
                    <a:pt x="592" y="129"/>
                  </a:lnTo>
                  <a:lnTo>
                    <a:pt x="586" y="118"/>
                  </a:lnTo>
                  <a:lnTo>
                    <a:pt x="580" y="106"/>
                  </a:lnTo>
                  <a:lnTo>
                    <a:pt x="578" y="100"/>
                  </a:lnTo>
                  <a:lnTo>
                    <a:pt x="575" y="95"/>
                  </a:lnTo>
                  <a:lnTo>
                    <a:pt x="572" y="90"/>
                  </a:lnTo>
                  <a:lnTo>
                    <a:pt x="566" y="84"/>
                  </a:lnTo>
                  <a:lnTo>
                    <a:pt x="558" y="76"/>
                  </a:lnTo>
                  <a:lnTo>
                    <a:pt x="548" y="69"/>
                  </a:lnTo>
                  <a:lnTo>
                    <a:pt x="537" y="65"/>
                  </a:lnTo>
                  <a:lnTo>
                    <a:pt x="527" y="61"/>
                  </a:lnTo>
                  <a:lnTo>
                    <a:pt x="506" y="54"/>
                  </a:lnTo>
                  <a:lnTo>
                    <a:pt x="483" y="45"/>
                  </a:lnTo>
                  <a:lnTo>
                    <a:pt x="469" y="39"/>
                  </a:lnTo>
                  <a:lnTo>
                    <a:pt x="457" y="31"/>
                  </a:lnTo>
                  <a:lnTo>
                    <a:pt x="446" y="24"/>
                  </a:lnTo>
                  <a:lnTo>
                    <a:pt x="437" y="16"/>
                  </a:lnTo>
                  <a:lnTo>
                    <a:pt x="426" y="10"/>
                  </a:lnTo>
                  <a:lnTo>
                    <a:pt x="414" y="5"/>
                  </a:lnTo>
                  <a:lnTo>
                    <a:pt x="409" y="3"/>
                  </a:lnTo>
                  <a:lnTo>
                    <a:pt x="402" y="1"/>
                  </a:lnTo>
                  <a:lnTo>
                    <a:pt x="395" y="0"/>
                  </a:lnTo>
                  <a:lnTo>
                    <a:pt x="387" y="0"/>
                  </a:lnTo>
                  <a:lnTo>
                    <a:pt x="360" y="1"/>
                  </a:lnTo>
                  <a:lnTo>
                    <a:pt x="336" y="4"/>
                  </a:lnTo>
                  <a:lnTo>
                    <a:pt x="312" y="9"/>
                  </a:lnTo>
                  <a:lnTo>
                    <a:pt x="291" y="13"/>
                  </a:lnTo>
                  <a:lnTo>
                    <a:pt x="268" y="17"/>
                  </a:lnTo>
                  <a:lnTo>
                    <a:pt x="246" y="22"/>
                  </a:lnTo>
                  <a:lnTo>
                    <a:pt x="221" y="24"/>
                  </a:lnTo>
                  <a:lnTo>
                    <a:pt x="194" y="25"/>
                  </a:lnTo>
                  <a:lnTo>
                    <a:pt x="158" y="24"/>
                  </a:lnTo>
                  <a:lnTo>
                    <a:pt x="126" y="22"/>
                  </a:lnTo>
                  <a:lnTo>
                    <a:pt x="94" y="18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0" y="35"/>
                  </a:lnTo>
                  <a:lnTo>
                    <a:pt x="60" y="51"/>
                  </a:lnTo>
                  <a:lnTo>
                    <a:pt x="59" y="68"/>
                  </a:lnTo>
                  <a:lnTo>
                    <a:pt x="59" y="85"/>
                  </a:lnTo>
                  <a:lnTo>
                    <a:pt x="58" y="104"/>
                  </a:lnTo>
                  <a:lnTo>
                    <a:pt x="57" y="121"/>
                  </a:lnTo>
                  <a:lnTo>
                    <a:pt x="54" y="137"/>
                  </a:lnTo>
                  <a:lnTo>
                    <a:pt x="52" y="153"/>
                  </a:lnTo>
                  <a:lnTo>
                    <a:pt x="50" y="169"/>
                  </a:lnTo>
                  <a:lnTo>
                    <a:pt x="48" y="185"/>
                  </a:lnTo>
                  <a:lnTo>
                    <a:pt x="46" y="203"/>
                  </a:lnTo>
                  <a:lnTo>
                    <a:pt x="46" y="221"/>
                  </a:lnTo>
                  <a:lnTo>
                    <a:pt x="46" y="227"/>
                  </a:lnTo>
                  <a:lnTo>
                    <a:pt x="48" y="231"/>
                  </a:lnTo>
                  <a:lnTo>
                    <a:pt x="51" y="234"/>
                  </a:lnTo>
                  <a:lnTo>
                    <a:pt x="54" y="238"/>
                  </a:lnTo>
                  <a:lnTo>
                    <a:pt x="62" y="244"/>
                  </a:lnTo>
                  <a:lnTo>
                    <a:pt x="68" y="253"/>
                  </a:lnTo>
                  <a:lnTo>
                    <a:pt x="76" y="268"/>
                  </a:lnTo>
                  <a:lnTo>
                    <a:pt x="86" y="281"/>
                  </a:lnTo>
                  <a:lnTo>
                    <a:pt x="94" y="294"/>
                  </a:lnTo>
                  <a:lnTo>
                    <a:pt x="105" y="305"/>
                  </a:lnTo>
                  <a:lnTo>
                    <a:pt x="128" y="324"/>
                  </a:lnTo>
                  <a:lnTo>
                    <a:pt x="155" y="345"/>
                  </a:lnTo>
                  <a:lnTo>
                    <a:pt x="168" y="354"/>
                  </a:lnTo>
                  <a:lnTo>
                    <a:pt x="179" y="365"/>
                  </a:lnTo>
                  <a:lnTo>
                    <a:pt x="183" y="372"/>
                  </a:lnTo>
                  <a:lnTo>
                    <a:pt x="186" y="377"/>
                  </a:lnTo>
                  <a:lnTo>
                    <a:pt x="187" y="385"/>
                  </a:lnTo>
                  <a:lnTo>
                    <a:pt x="188" y="392"/>
                  </a:lnTo>
                  <a:lnTo>
                    <a:pt x="188" y="402"/>
                  </a:lnTo>
                  <a:lnTo>
                    <a:pt x="186" y="412"/>
                  </a:lnTo>
                  <a:lnTo>
                    <a:pt x="185" y="419"/>
                  </a:lnTo>
                  <a:lnTo>
                    <a:pt x="182" y="428"/>
                  </a:lnTo>
                  <a:lnTo>
                    <a:pt x="177" y="444"/>
                  </a:lnTo>
                  <a:lnTo>
                    <a:pt x="174" y="462"/>
                  </a:lnTo>
                  <a:lnTo>
                    <a:pt x="174" y="485"/>
                  </a:lnTo>
                  <a:lnTo>
                    <a:pt x="174" y="504"/>
                  </a:lnTo>
                  <a:lnTo>
                    <a:pt x="173" y="514"/>
                  </a:lnTo>
                  <a:lnTo>
                    <a:pt x="171" y="524"/>
                  </a:lnTo>
                  <a:lnTo>
                    <a:pt x="167" y="532"/>
                  </a:lnTo>
                  <a:lnTo>
                    <a:pt x="160" y="541"/>
                  </a:lnTo>
                  <a:lnTo>
                    <a:pt x="153" y="549"/>
                  </a:lnTo>
                  <a:lnTo>
                    <a:pt x="145" y="554"/>
                  </a:lnTo>
                  <a:lnTo>
                    <a:pt x="138" y="559"/>
                  </a:lnTo>
                  <a:lnTo>
                    <a:pt x="129" y="564"/>
                  </a:lnTo>
                  <a:lnTo>
                    <a:pt x="121" y="569"/>
                  </a:lnTo>
                  <a:lnTo>
                    <a:pt x="115" y="575"/>
                  </a:lnTo>
                  <a:lnTo>
                    <a:pt x="108" y="582"/>
                  </a:lnTo>
                  <a:lnTo>
                    <a:pt x="104" y="592"/>
                  </a:lnTo>
                  <a:lnTo>
                    <a:pt x="96" y="615"/>
                  </a:lnTo>
                  <a:lnTo>
                    <a:pt x="90" y="635"/>
                  </a:lnTo>
                  <a:lnTo>
                    <a:pt x="86" y="656"/>
                  </a:lnTo>
                  <a:lnTo>
                    <a:pt x="81" y="675"/>
                  </a:lnTo>
                  <a:lnTo>
                    <a:pt x="78" y="696"/>
                  </a:lnTo>
                  <a:lnTo>
                    <a:pt x="76" y="716"/>
                  </a:lnTo>
                  <a:lnTo>
                    <a:pt x="74" y="738"/>
                  </a:lnTo>
                  <a:lnTo>
                    <a:pt x="71" y="763"/>
                  </a:lnTo>
                  <a:lnTo>
                    <a:pt x="68" y="777"/>
                  </a:lnTo>
                  <a:lnTo>
                    <a:pt x="65" y="791"/>
                  </a:lnTo>
                  <a:lnTo>
                    <a:pt x="62" y="802"/>
                  </a:lnTo>
                  <a:lnTo>
                    <a:pt x="58" y="814"/>
                  </a:lnTo>
                  <a:lnTo>
                    <a:pt x="54" y="826"/>
                  </a:lnTo>
                  <a:lnTo>
                    <a:pt x="51" y="838"/>
                  </a:lnTo>
                  <a:lnTo>
                    <a:pt x="49" y="851"/>
                  </a:lnTo>
                  <a:lnTo>
                    <a:pt x="48" y="866"/>
                  </a:lnTo>
                  <a:lnTo>
                    <a:pt x="49" y="874"/>
                  </a:lnTo>
                  <a:lnTo>
                    <a:pt x="51" y="881"/>
                  </a:lnTo>
                  <a:lnTo>
                    <a:pt x="54" y="888"/>
                  </a:lnTo>
                  <a:lnTo>
                    <a:pt x="59" y="894"/>
                  </a:lnTo>
                  <a:lnTo>
                    <a:pt x="62" y="900"/>
                  </a:lnTo>
                  <a:lnTo>
                    <a:pt x="65" y="906"/>
                  </a:lnTo>
                  <a:lnTo>
                    <a:pt x="67" y="914"/>
                  </a:lnTo>
                  <a:lnTo>
                    <a:pt x="68" y="921"/>
                  </a:lnTo>
                  <a:lnTo>
                    <a:pt x="68" y="941"/>
                  </a:lnTo>
                  <a:lnTo>
                    <a:pt x="68" y="957"/>
                  </a:lnTo>
                  <a:lnTo>
                    <a:pt x="68" y="974"/>
                  </a:lnTo>
                  <a:lnTo>
                    <a:pt x="68" y="993"/>
                  </a:lnTo>
                  <a:lnTo>
                    <a:pt x="67" y="1012"/>
                  </a:lnTo>
                  <a:lnTo>
                    <a:pt x="65" y="1030"/>
                  </a:lnTo>
                  <a:lnTo>
                    <a:pt x="62" y="1048"/>
                  </a:lnTo>
                  <a:lnTo>
                    <a:pt x="58" y="1065"/>
                  </a:lnTo>
                  <a:lnTo>
                    <a:pt x="47" y="1095"/>
                  </a:lnTo>
                  <a:lnTo>
                    <a:pt x="34" y="1125"/>
                  </a:lnTo>
                  <a:lnTo>
                    <a:pt x="22" y="1156"/>
                  </a:lnTo>
                  <a:lnTo>
                    <a:pt x="11" y="1187"/>
                  </a:lnTo>
                  <a:lnTo>
                    <a:pt x="7" y="1203"/>
                  </a:lnTo>
                  <a:lnTo>
                    <a:pt x="4" y="1220"/>
                  </a:lnTo>
                  <a:lnTo>
                    <a:pt x="1" y="1239"/>
                  </a:lnTo>
                  <a:lnTo>
                    <a:pt x="0" y="1258"/>
                  </a:lnTo>
                  <a:lnTo>
                    <a:pt x="1" y="1270"/>
                  </a:lnTo>
                  <a:lnTo>
                    <a:pt x="4" y="1281"/>
                  </a:lnTo>
                  <a:lnTo>
                    <a:pt x="7" y="1292"/>
                  </a:lnTo>
                  <a:lnTo>
                    <a:pt x="11" y="1301"/>
                  </a:lnTo>
                  <a:lnTo>
                    <a:pt x="23" y="1319"/>
                  </a:lnTo>
                  <a:lnTo>
                    <a:pt x="36" y="1336"/>
                  </a:lnTo>
                  <a:lnTo>
                    <a:pt x="49" y="1352"/>
                  </a:lnTo>
                  <a:lnTo>
                    <a:pt x="60" y="1369"/>
                  </a:lnTo>
                  <a:lnTo>
                    <a:pt x="64" y="1379"/>
                  </a:lnTo>
                  <a:lnTo>
                    <a:pt x="67" y="1390"/>
                  </a:lnTo>
                  <a:lnTo>
                    <a:pt x="69" y="1401"/>
                  </a:lnTo>
                  <a:lnTo>
                    <a:pt x="71" y="1413"/>
                  </a:lnTo>
                  <a:lnTo>
                    <a:pt x="69" y="1430"/>
                  </a:lnTo>
                  <a:lnTo>
                    <a:pt x="66" y="1446"/>
                  </a:lnTo>
                  <a:lnTo>
                    <a:pt x="64" y="1461"/>
                  </a:lnTo>
                  <a:lnTo>
                    <a:pt x="62" y="1480"/>
                  </a:lnTo>
                  <a:lnTo>
                    <a:pt x="62" y="1500"/>
                  </a:lnTo>
                  <a:lnTo>
                    <a:pt x="62" y="1517"/>
                  </a:lnTo>
                  <a:lnTo>
                    <a:pt x="62" y="1536"/>
                  </a:lnTo>
                  <a:lnTo>
                    <a:pt x="62" y="1556"/>
                  </a:lnTo>
                  <a:lnTo>
                    <a:pt x="62" y="1568"/>
                  </a:lnTo>
                  <a:lnTo>
                    <a:pt x="63" y="1580"/>
                  </a:lnTo>
                  <a:lnTo>
                    <a:pt x="63" y="1592"/>
                  </a:lnTo>
                  <a:lnTo>
                    <a:pt x="65" y="1603"/>
                  </a:lnTo>
                  <a:lnTo>
                    <a:pt x="68" y="1612"/>
                  </a:lnTo>
                  <a:lnTo>
                    <a:pt x="74" y="1621"/>
                  </a:lnTo>
                  <a:lnTo>
                    <a:pt x="77" y="1625"/>
                  </a:lnTo>
                  <a:lnTo>
                    <a:pt x="80" y="1629"/>
                  </a:lnTo>
                  <a:lnTo>
                    <a:pt x="86" y="1632"/>
                  </a:lnTo>
                  <a:lnTo>
                    <a:pt x="90" y="1634"/>
                  </a:lnTo>
                  <a:lnTo>
                    <a:pt x="105" y="1639"/>
                  </a:lnTo>
                  <a:lnTo>
                    <a:pt x="118" y="1644"/>
                  </a:lnTo>
                  <a:lnTo>
                    <a:pt x="132" y="1647"/>
                  </a:lnTo>
                  <a:lnTo>
                    <a:pt x="144" y="1649"/>
                  </a:lnTo>
                  <a:lnTo>
                    <a:pt x="171" y="1655"/>
                  </a:lnTo>
                  <a:lnTo>
                    <a:pt x="200" y="1662"/>
                  </a:lnTo>
                  <a:lnTo>
                    <a:pt x="212" y="1666"/>
                  </a:lnTo>
                  <a:lnTo>
                    <a:pt x="224" y="1671"/>
                  </a:lnTo>
                  <a:lnTo>
                    <a:pt x="235" y="1676"/>
                  </a:lnTo>
                  <a:lnTo>
                    <a:pt x="246" y="1683"/>
                  </a:lnTo>
                  <a:lnTo>
                    <a:pt x="250" y="1686"/>
                  </a:lnTo>
                  <a:lnTo>
                    <a:pt x="254" y="1689"/>
                  </a:lnTo>
                  <a:lnTo>
                    <a:pt x="257" y="1693"/>
                  </a:lnTo>
                  <a:lnTo>
                    <a:pt x="261" y="1698"/>
                  </a:lnTo>
                  <a:lnTo>
                    <a:pt x="264" y="1703"/>
                  </a:lnTo>
                  <a:lnTo>
                    <a:pt x="265" y="1709"/>
                  </a:lnTo>
                  <a:lnTo>
                    <a:pt x="266" y="1714"/>
                  </a:lnTo>
                  <a:lnTo>
                    <a:pt x="267" y="1720"/>
                  </a:lnTo>
                  <a:lnTo>
                    <a:pt x="267" y="1751"/>
                  </a:lnTo>
                  <a:lnTo>
                    <a:pt x="267" y="1777"/>
                  </a:lnTo>
                  <a:lnTo>
                    <a:pt x="267" y="1804"/>
                  </a:lnTo>
                  <a:lnTo>
                    <a:pt x="267" y="1834"/>
                  </a:lnTo>
                  <a:lnTo>
                    <a:pt x="267" y="1848"/>
                  </a:lnTo>
                  <a:lnTo>
                    <a:pt x="269" y="1861"/>
                  </a:lnTo>
                  <a:lnTo>
                    <a:pt x="270" y="1874"/>
                  </a:lnTo>
                  <a:lnTo>
                    <a:pt x="274" y="1885"/>
                  </a:lnTo>
                  <a:lnTo>
                    <a:pt x="279" y="1909"/>
                  </a:lnTo>
                  <a:lnTo>
                    <a:pt x="283" y="1936"/>
                  </a:lnTo>
                  <a:lnTo>
                    <a:pt x="283" y="1936"/>
                  </a:lnTo>
                  <a:lnTo>
                    <a:pt x="485" y="1917"/>
                  </a:lnTo>
                  <a:lnTo>
                    <a:pt x="500" y="1917"/>
                  </a:lnTo>
                  <a:lnTo>
                    <a:pt x="513" y="1917"/>
                  </a:lnTo>
                  <a:lnTo>
                    <a:pt x="526" y="1917"/>
                  </a:lnTo>
                  <a:lnTo>
                    <a:pt x="540" y="1917"/>
                  </a:lnTo>
                  <a:lnTo>
                    <a:pt x="553" y="1914"/>
                  </a:lnTo>
                  <a:lnTo>
                    <a:pt x="566" y="1912"/>
                  </a:lnTo>
                  <a:lnTo>
                    <a:pt x="576" y="1912"/>
                  </a:lnTo>
                  <a:lnTo>
                    <a:pt x="584" y="1913"/>
                  </a:lnTo>
                  <a:lnTo>
                    <a:pt x="592" y="1914"/>
                  </a:lnTo>
                  <a:lnTo>
                    <a:pt x="600" y="1916"/>
                  </a:lnTo>
                  <a:lnTo>
                    <a:pt x="614" y="1920"/>
                  </a:lnTo>
                  <a:lnTo>
                    <a:pt x="627" y="1927"/>
                  </a:lnTo>
                  <a:lnTo>
                    <a:pt x="653" y="1942"/>
                  </a:lnTo>
                  <a:lnTo>
                    <a:pt x="682" y="1959"/>
                  </a:lnTo>
                  <a:lnTo>
                    <a:pt x="694" y="1966"/>
                  </a:lnTo>
                  <a:lnTo>
                    <a:pt x="705" y="1973"/>
                  </a:lnTo>
                  <a:lnTo>
                    <a:pt x="714" y="1980"/>
                  </a:lnTo>
                  <a:lnTo>
                    <a:pt x="723" y="1987"/>
                  </a:lnTo>
                  <a:lnTo>
                    <a:pt x="732" y="1996"/>
                  </a:lnTo>
                  <a:lnTo>
                    <a:pt x="739" y="2005"/>
                  </a:lnTo>
                  <a:lnTo>
                    <a:pt x="747" y="2015"/>
                  </a:lnTo>
                  <a:lnTo>
                    <a:pt x="754" y="2026"/>
                  </a:lnTo>
                  <a:lnTo>
                    <a:pt x="768" y="2049"/>
                  </a:lnTo>
                  <a:lnTo>
                    <a:pt x="780" y="2070"/>
                  </a:lnTo>
                  <a:lnTo>
                    <a:pt x="790" y="2091"/>
                  </a:lnTo>
                  <a:lnTo>
                    <a:pt x="800" y="2116"/>
                  </a:lnTo>
                  <a:lnTo>
                    <a:pt x="804" y="2128"/>
                  </a:lnTo>
                  <a:lnTo>
                    <a:pt x="808" y="2140"/>
                  </a:lnTo>
                  <a:lnTo>
                    <a:pt x="814" y="2151"/>
                  </a:lnTo>
                  <a:lnTo>
                    <a:pt x="819" y="2161"/>
                  </a:lnTo>
                  <a:lnTo>
                    <a:pt x="822" y="2167"/>
                  </a:lnTo>
                  <a:lnTo>
                    <a:pt x="826" y="2171"/>
                  </a:lnTo>
                  <a:lnTo>
                    <a:pt x="830" y="2174"/>
                  </a:lnTo>
                  <a:lnTo>
                    <a:pt x="834" y="2177"/>
                  </a:lnTo>
                  <a:lnTo>
                    <a:pt x="838" y="2179"/>
                  </a:lnTo>
                  <a:lnTo>
                    <a:pt x="844" y="2182"/>
                  </a:lnTo>
                  <a:lnTo>
                    <a:pt x="849" y="2183"/>
                  </a:lnTo>
                  <a:lnTo>
                    <a:pt x="856" y="2184"/>
                  </a:lnTo>
                  <a:lnTo>
                    <a:pt x="863" y="2183"/>
                  </a:lnTo>
                  <a:lnTo>
                    <a:pt x="870" y="2179"/>
                  </a:lnTo>
                  <a:lnTo>
                    <a:pt x="875" y="2175"/>
                  </a:lnTo>
                  <a:lnTo>
                    <a:pt x="881" y="2170"/>
                  </a:lnTo>
                  <a:lnTo>
                    <a:pt x="890" y="2157"/>
                  </a:lnTo>
                  <a:lnTo>
                    <a:pt x="900" y="2144"/>
                  </a:lnTo>
                  <a:lnTo>
                    <a:pt x="916" y="2129"/>
                  </a:lnTo>
                  <a:lnTo>
                    <a:pt x="932" y="2117"/>
                  </a:lnTo>
                  <a:lnTo>
                    <a:pt x="948" y="2106"/>
                  </a:lnTo>
                  <a:lnTo>
                    <a:pt x="964" y="2096"/>
                  </a:lnTo>
                  <a:lnTo>
                    <a:pt x="981" y="2089"/>
                  </a:lnTo>
                  <a:lnTo>
                    <a:pt x="999" y="2083"/>
                  </a:lnTo>
                  <a:lnTo>
                    <a:pt x="1019" y="2078"/>
                  </a:lnTo>
                  <a:lnTo>
                    <a:pt x="1040" y="2074"/>
                  </a:lnTo>
                  <a:lnTo>
                    <a:pt x="1040" y="207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19">
              <a:extLst>
                <a:ext uri="{FF2B5EF4-FFF2-40B4-BE49-F238E27FC236}">
                  <a16:creationId xmlns:a16="http://schemas.microsoft.com/office/drawing/2014/main" id="{DBEFD229-55AF-4500-B48F-F21582593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4475" y="1271588"/>
              <a:ext cx="1122363" cy="1524000"/>
            </a:xfrm>
            <a:custGeom>
              <a:avLst/>
              <a:gdLst>
                <a:gd name="T0" fmla="*/ 1259 w 2831"/>
                <a:gd name="T1" fmla="*/ 87 h 3841"/>
                <a:gd name="T2" fmla="*/ 1401 w 2831"/>
                <a:gd name="T3" fmla="*/ 146 h 3841"/>
                <a:gd name="T4" fmla="*/ 1463 w 2831"/>
                <a:gd name="T5" fmla="*/ 212 h 3841"/>
                <a:gd name="T6" fmla="*/ 1616 w 2831"/>
                <a:gd name="T7" fmla="*/ 275 h 3841"/>
                <a:gd name="T8" fmla="*/ 1713 w 2831"/>
                <a:gd name="T9" fmla="*/ 433 h 3841"/>
                <a:gd name="T10" fmla="*/ 1726 w 2831"/>
                <a:gd name="T11" fmla="*/ 506 h 3841"/>
                <a:gd name="T12" fmla="*/ 1687 w 2831"/>
                <a:gd name="T13" fmla="*/ 614 h 3841"/>
                <a:gd name="T14" fmla="*/ 1687 w 2831"/>
                <a:gd name="T15" fmla="*/ 884 h 3841"/>
                <a:gd name="T16" fmla="*/ 1729 w 2831"/>
                <a:gd name="T17" fmla="*/ 792 h 3841"/>
                <a:gd name="T18" fmla="*/ 1791 w 2831"/>
                <a:gd name="T19" fmla="*/ 616 h 3841"/>
                <a:gd name="T20" fmla="*/ 1835 w 2831"/>
                <a:gd name="T21" fmla="*/ 759 h 3841"/>
                <a:gd name="T22" fmla="*/ 2024 w 2831"/>
                <a:gd name="T23" fmla="*/ 618 h 3841"/>
                <a:gd name="T24" fmla="*/ 2290 w 2831"/>
                <a:gd name="T25" fmla="*/ 740 h 3841"/>
                <a:gd name="T26" fmla="*/ 2592 w 2831"/>
                <a:gd name="T27" fmla="*/ 841 h 3841"/>
                <a:gd name="T28" fmla="*/ 2692 w 2831"/>
                <a:gd name="T29" fmla="*/ 838 h 3841"/>
                <a:gd name="T30" fmla="*/ 2831 w 2831"/>
                <a:gd name="T31" fmla="*/ 881 h 3841"/>
                <a:gd name="T32" fmla="*/ 2704 w 2831"/>
                <a:gd name="T33" fmla="*/ 1031 h 3841"/>
                <a:gd name="T34" fmla="*/ 2543 w 2831"/>
                <a:gd name="T35" fmla="*/ 1143 h 3841"/>
                <a:gd name="T36" fmla="*/ 2452 w 2831"/>
                <a:gd name="T37" fmla="*/ 1167 h 3841"/>
                <a:gd name="T38" fmla="*/ 2311 w 2831"/>
                <a:gd name="T39" fmla="*/ 1402 h 3841"/>
                <a:gd name="T40" fmla="*/ 2336 w 2831"/>
                <a:gd name="T41" fmla="*/ 1500 h 3841"/>
                <a:gd name="T42" fmla="*/ 2343 w 2831"/>
                <a:gd name="T43" fmla="*/ 1650 h 3841"/>
                <a:gd name="T44" fmla="*/ 2319 w 2831"/>
                <a:gd name="T45" fmla="*/ 1929 h 3841"/>
                <a:gd name="T46" fmla="*/ 2214 w 2831"/>
                <a:gd name="T47" fmla="*/ 2069 h 3841"/>
                <a:gd name="T48" fmla="*/ 2225 w 2831"/>
                <a:gd name="T49" fmla="*/ 2228 h 3841"/>
                <a:gd name="T50" fmla="*/ 2292 w 2831"/>
                <a:gd name="T51" fmla="*/ 2382 h 3841"/>
                <a:gd name="T52" fmla="*/ 2208 w 2831"/>
                <a:gd name="T53" fmla="*/ 2558 h 3841"/>
                <a:gd name="T54" fmla="*/ 1939 w 2831"/>
                <a:gd name="T55" fmla="*/ 2469 h 3841"/>
                <a:gd name="T56" fmla="*/ 1752 w 2831"/>
                <a:gd name="T57" fmla="*/ 2523 h 3841"/>
                <a:gd name="T58" fmla="*/ 1659 w 2831"/>
                <a:gd name="T59" fmla="*/ 2619 h 3841"/>
                <a:gd name="T60" fmla="*/ 1449 w 2831"/>
                <a:gd name="T61" fmla="*/ 2727 h 3841"/>
                <a:gd name="T62" fmla="*/ 1266 w 2831"/>
                <a:gd name="T63" fmla="*/ 2751 h 3841"/>
                <a:gd name="T64" fmla="*/ 1137 w 2831"/>
                <a:gd name="T65" fmla="*/ 2889 h 3841"/>
                <a:gd name="T66" fmla="*/ 1009 w 2831"/>
                <a:gd name="T67" fmla="*/ 3254 h 3841"/>
                <a:gd name="T68" fmla="*/ 979 w 2831"/>
                <a:gd name="T69" fmla="*/ 3398 h 3841"/>
                <a:gd name="T70" fmla="*/ 1002 w 2831"/>
                <a:gd name="T71" fmla="*/ 3597 h 3841"/>
                <a:gd name="T72" fmla="*/ 867 w 2831"/>
                <a:gd name="T73" fmla="*/ 3783 h 3841"/>
                <a:gd name="T74" fmla="*/ 749 w 2831"/>
                <a:gd name="T75" fmla="*/ 3491 h 3841"/>
                <a:gd name="T76" fmla="*/ 578 w 2831"/>
                <a:gd name="T77" fmla="*/ 3277 h 3841"/>
                <a:gd name="T78" fmla="*/ 675 w 2831"/>
                <a:gd name="T79" fmla="*/ 3093 h 3841"/>
                <a:gd name="T80" fmla="*/ 766 w 2831"/>
                <a:gd name="T81" fmla="*/ 3033 h 3841"/>
                <a:gd name="T82" fmla="*/ 709 w 2831"/>
                <a:gd name="T83" fmla="*/ 2920 h 3841"/>
                <a:gd name="T84" fmla="*/ 532 w 2831"/>
                <a:gd name="T85" fmla="*/ 2900 h 3841"/>
                <a:gd name="T86" fmla="*/ 358 w 2831"/>
                <a:gd name="T87" fmla="*/ 2619 h 3841"/>
                <a:gd name="T88" fmla="*/ 289 w 2831"/>
                <a:gd name="T89" fmla="*/ 2503 h 3841"/>
                <a:gd name="T90" fmla="*/ 376 w 2831"/>
                <a:gd name="T91" fmla="*/ 2357 h 3841"/>
                <a:gd name="T92" fmla="*/ 441 w 2831"/>
                <a:gd name="T93" fmla="*/ 2085 h 3841"/>
                <a:gd name="T94" fmla="*/ 459 w 2831"/>
                <a:gd name="T95" fmla="*/ 1805 h 3841"/>
                <a:gd name="T96" fmla="*/ 275 w 2831"/>
                <a:gd name="T97" fmla="*/ 1682 h 3841"/>
                <a:gd name="T98" fmla="*/ 108 w 2831"/>
                <a:gd name="T99" fmla="*/ 1665 h 3841"/>
                <a:gd name="T100" fmla="*/ 106 w 2831"/>
                <a:gd name="T101" fmla="*/ 1543 h 3841"/>
                <a:gd name="T102" fmla="*/ 330 w 2831"/>
                <a:gd name="T103" fmla="*/ 1425 h 3841"/>
                <a:gd name="T104" fmla="*/ 446 w 2831"/>
                <a:gd name="T105" fmla="*/ 1359 h 3841"/>
                <a:gd name="T106" fmla="*/ 555 w 2831"/>
                <a:gd name="T107" fmla="*/ 1251 h 3841"/>
                <a:gd name="T108" fmla="*/ 675 w 2831"/>
                <a:gd name="T109" fmla="*/ 1059 h 3841"/>
                <a:gd name="T110" fmla="*/ 751 w 2831"/>
                <a:gd name="T111" fmla="*/ 912 h 3841"/>
                <a:gd name="T112" fmla="*/ 855 w 2831"/>
                <a:gd name="T113" fmla="*/ 675 h 3841"/>
                <a:gd name="T114" fmla="*/ 1000 w 2831"/>
                <a:gd name="T115" fmla="*/ 436 h 3841"/>
                <a:gd name="T116" fmla="*/ 1003 w 2831"/>
                <a:gd name="T117" fmla="*/ 302 h 3841"/>
                <a:gd name="T118" fmla="*/ 1048 w 2831"/>
                <a:gd name="T119" fmla="*/ 172 h 3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31" h="3841">
                  <a:moveTo>
                    <a:pt x="1096" y="0"/>
                  </a:moveTo>
                  <a:lnTo>
                    <a:pt x="1108" y="8"/>
                  </a:lnTo>
                  <a:lnTo>
                    <a:pt x="1121" y="15"/>
                  </a:lnTo>
                  <a:lnTo>
                    <a:pt x="1133" y="23"/>
                  </a:lnTo>
                  <a:lnTo>
                    <a:pt x="1146" y="33"/>
                  </a:lnTo>
                  <a:lnTo>
                    <a:pt x="1169" y="53"/>
                  </a:lnTo>
                  <a:lnTo>
                    <a:pt x="1189" y="73"/>
                  </a:lnTo>
                  <a:lnTo>
                    <a:pt x="1200" y="80"/>
                  </a:lnTo>
                  <a:lnTo>
                    <a:pt x="1211" y="87"/>
                  </a:lnTo>
                  <a:lnTo>
                    <a:pt x="1217" y="89"/>
                  </a:lnTo>
                  <a:lnTo>
                    <a:pt x="1224" y="91"/>
                  </a:lnTo>
                  <a:lnTo>
                    <a:pt x="1231" y="92"/>
                  </a:lnTo>
                  <a:lnTo>
                    <a:pt x="1239" y="92"/>
                  </a:lnTo>
                  <a:lnTo>
                    <a:pt x="1245" y="91"/>
                  </a:lnTo>
                  <a:lnTo>
                    <a:pt x="1250" y="90"/>
                  </a:lnTo>
                  <a:lnTo>
                    <a:pt x="1255" y="89"/>
                  </a:lnTo>
                  <a:lnTo>
                    <a:pt x="1259" y="87"/>
                  </a:lnTo>
                  <a:lnTo>
                    <a:pt x="1265" y="85"/>
                  </a:lnTo>
                  <a:lnTo>
                    <a:pt x="1269" y="82"/>
                  </a:lnTo>
                  <a:lnTo>
                    <a:pt x="1274" y="81"/>
                  </a:lnTo>
                  <a:lnTo>
                    <a:pt x="1281" y="81"/>
                  </a:lnTo>
                  <a:lnTo>
                    <a:pt x="1289" y="81"/>
                  </a:lnTo>
                  <a:lnTo>
                    <a:pt x="1297" y="84"/>
                  </a:lnTo>
                  <a:lnTo>
                    <a:pt x="1304" y="87"/>
                  </a:lnTo>
                  <a:lnTo>
                    <a:pt x="1310" y="91"/>
                  </a:lnTo>
                  <a:lnTo>
                    <a:pt x="1323" y="102"/>
                  </a:lnTo>
                  <a:lnTo>
                    <a:pt x="1337" y="112"/>
                  </a:lnTo>
                  <a:lnTo>
                    <a:pt x="1360" y="122"/>
                  </a:lnTo>
                  <a:lnTo>
                    <a:pt x="1381" y="131"/>
                  </a:lnTo>
                  <a:lnTo>
                    <a:pt x="1386" y="133"/>
                  </a:lnTo>
                  <a:lnTo>
                    <a:pt x="1390" y="136"/>
                  </a:lnTo>
                  <a:lnTo>
                    <a:pt x="1394" y="140"/>
                  </a:lnTo>
                  <a:lnTo>
                    <a:pt x="1397" y="143"/>
                  </a:lnTo>
                  <a:lnTo>
                    <a:pt x="1401" y="146"/>
                  </a:lnTo>
                  <a:lnTo>
                    <a:pt x="1403" y="152"/>
                  </a:lnTo>
                  <a:lnTo>
                    <a:pt x="1404" y="156"/>
                  </a:lnTo>
                  <a:lnTo>
                    <a:pt x="1404" y="162"/>
                  </a:lnTo>
                  <a:lnTo>
                    <a:pt x="1403" y="169"/>
                  </a:lnTo>
                  <a:lnTo>
                    <a:pt x="1402" y="174"/>
                  </a:lnTo>
                  <a:lnTo>
                    <a:pt x="1399" y="180"/>
                  </a:lnTo>
                  <a:lnTo>
                    <a:pt x="1395" y="185"/>
                  </a:lnTo>
                  <a:lnTo>
                    <a:pt x="1392" y="189"/>
                  </a:lnTo>
                  <a:lnTo>
                    <a:pt x="1389" y="195"/>
                  </a:lnTo>
                  <a:lnTo>
                    <a:pt x="1386" y="200"/>
                  </a:lnTo>
                  <a:lnTo>
                    <a:pt x="1385" y="207"/>
                  </a:lnTo>
                  <a:lnTo>
                    <a:pt x="1395" y="212"/>
                  </a:lnTo>
                  <a:lnTo>
                    <a:pt x="1412" y="212"/>
                  </a:lnTo>
                  <a:lnTo>
                    <a:pt x="1424" y="212"/>
                  </a:lnTo>
                  <a:lnTo>
                    <a:pt x="1439" y="212"/>
                  </a:lnTo>
                  <a:lnTo>
                    <a:pt x="1454" y="212"/>
                  </a:lnTo>
                  <a:lnTo>
                    <a:pt x="1463" y="212"/>
                  </a:lnTo>
                  <a:lnTo>
                    <a:pt x="1472" y="210"/>
                  </a:lnTo>
                  <a:lnTo>
                    <a:pt x="1481" y="208"/>
                  </a:lnTo>
                  <a:lnTo>
                    <a:pt x="1488" y="206"/>
                  </a:lnTo>
                  <a:lnTo>
                    <a:pt x="1497" y="203"/>
                  </a:lnTo>
                  <a:lnTo>
                    <a:pt x="1504" y="201"/>
                  </a:lnTo>
                  <a:lnTo>
                    <a:pt x="1513" y="199"/>
                  </a:lnTo>
                  <a:lnTo>
                    <a:pt x="1523" y="198"/>
                  </a:lnTo>
                  <a:lnTo>
                    <a:pt x="1529" y="199"/>
                  </a:lnTo>
                  <a:lnTo>
                    <a:pt x="1535" y="200"/>
                  </a:lnTo>
                  <a:lnTo>
                    <a:pt x="1540" y="201"/>
                  </a:lnTo>
                  <a:lnTo>
                    <a:pt x="1544" y="203"/>
                  </a:lnTo>
                  <a:lnTo>
                    <a:pt x="1552" y="209"/>
                  </a:lnTo>
                  <a:lnTo>
                    <a:pt x="1559" y="216"/>
                  </a:lnTo>
                  <a:lnTo>
                    <a:pt x="1574" y="234"/>
                  </a:lnTo>
                  <a:lnTo>
                    <a:pt x="1589" y="252"/>
                  </a:lnTo>
                  <a:lnTo>
                    <a:pt x="1603" y="264"/>
                  </a:lnTo>
                  <a:lnTo>
                    <a:pt x="1616" y="275"/>
                  </a:lnTo>
                  <a:lnTo>
                    <a:pt x="1629" y="285"/>
                  </a:lnTo>
                  <a:lnTo>
                    <a:pt x="1643" y="296"/>
                  </a:lnTo>
                  <a:lnTo>
                    <a:pt x="1652" y="305"/>
                  </a:lnTo>
                  <a:lnTo>
                    <a:pt x="1660" y="314"/>
                  </a:lnTo>
                  <a:lnTo>
                    <a:pt x="1668" y="322"/>
                  </a:lnTo>
                  <a:lnTo>
                    <a:pt x="1674" y="332"/>
                  </a:lnTo>
                  <a:lnTo>
                    <a:pt x="1679" y="342"/>
                  </a:lnTo>
                  <a:lnTo>
                    <a:pt x="1684" y="351"/>
                  </a:lnTo>
                  <a:lnTo>
                    <a:pt x="1688" y="363"/>
                  </a:lnTo>
                  <a:lnTo>
                    <a:pt x="1692" y="375"/>
                  </a:lnTo>
                  <a:lnTo>
                    <a:pt x="1698" y="387"/>
                  </a:lnTo>
                  <a:lnTo>
                    <a:pt x="1704" y="398"/>
                  </a:lnTo>
                  <a:lnTo>
                    <a:pt x="1707" y="403"/>
                  </a:lnTo>
                  <a:lnTo>
                    <a:pt x="1710" y="409"/>
                  </a:lnTo>
                  <a:lnTo>
                    <a:pt x="1712" y="415"/>
                  </a:lnTo>
                  <a:lnTo>
                    <a:pt x="1713" y="422"/>
                  </a:lnTo>
                  <a:lnTo>
                    <a:pt x="1713" y="433"/>
                  </a:lnTo>
                  <a:lnTo>
                    <a:pt x="1713" y="445"/>
                  </a:lnTo>
                  <a:lnTo>
                    <a:pt x="1673" y="449"/>
                  </a:lnTo>
                  <a:lnTo>
                    <a:pt x="1637" y="450"/>
                  </a:lnTo>
                  <a:lnTo>
                    <a:pt x="1629" y="451"/>
                  </a:lnTo>
                  <a:lnTo>
                    <a:pt x="1621" y="452"/>
                  </a:lnTo>
                  <a:lnTo>
                    <a:pt x="1614" y="454"/>
                  </a:lnTo>
                  <a:lnTo>
                    <a:pt x="1606" y="457"/>
                  </a:lnTo>
                  <a:lnTo>
                    <a:pt x="1598" y="460"/>
                  </a:lnTo>
                  <a:lnTo>
                    <a:pt x="1591" y="466"/>
                  </a:lnTo>
                  <a:lnTo>
                    <a:pt x="1584" y="471"/>
                  </a:lnTo>
                  <a:lnTo>
                    <a:pt x="1578" y="479"/>
                  </a:lnTo>
                  <a:lnTo>
                    <a:pt x="1608" y="483"/>
                  </a:lnTo>
                  <a:lnTo>
                    <a:pt x="1635" y="489"/>
                  </a:lnTo>
                  <a:lnTo>
                    <a:pt x="1661" y="494"/>
                  </a:lnTo>
                  <a:lnTo>
                    <a:pt x="1690" y="501"/>
                  </a:lnTo>
                  <a:lnTo>
                    <a:pt x="1707" y="504"/>
                  </a:lnTo>
                  <a:lnTo>
                    <a:pt x="1726" y="506"/>
                  </a:lnTo>
                  <a:lnTo>
                    <a:pt x="1734" y="507"/>
                  </a:lnTo>
                  <a:lnTo>
                    <a:pt x="1740" y="510"/>
                  </a:lnTo>
                  <a:lnTo>
                    <a:pt x="1743" y="512"/>
                  </a:lnTo>
                  <a:lnTo>
                    <a:pt x="1744" y="514"/>
                  </a:lnTo>
                  <a:lnTo>
                    <a:pt x="1745" y="519"/>
                  </a:lnTo>
                  <a:lnTo>
                    <a:pt x="1746" y="522"/>
                  </a:lnTo>
                  <a:lnTo>
                    <a:pt x="1745" y="527"/>
                  </a:lnTo>
                  <a:lnTo>
                    <a:pt x="1745" y="533"/>
                  </a:lnTo>
                  <a:lnTo>
                    <a:pt x="1743" y="537"/>
                  </a:lnTo>
                  <a:lnTo>
                    <a:pt x="1741" y="541"/>
                  </a:lnTo>
                  <a:lnTo>
                    <a:pt x="1736" y="550"/>
                  </a:lnTo>
                  <a:lnTo>
                    <a:pt x="1729" y="557"/>
                  </a:lnTo>
                  <a:lnTo>
                    <a:pt x="1722" y="564"/>
                  </a:lnTo>
                  <a:lnTo>
                    <a:pt x="1714" y="571"/>
                  </a:lnTo>
                  <a:lnTo>
                    <a:pt x="1707" y="579"/>
                  </a:lnTo>
                  <a:lnTo>
                    <a:pt x="1701" y="588"/>
                  </a:lnTo>
                  <a:lnTo>
                    <a:pt x="1687" y="614"/>
                  </a:lnTo>
                  <a:lnTo>
                    <a:pt x="1675" y="639"/>
                  </a:lnTo>
                  <a:lnTo>
                    <a:pt x="1664" y="661"/>
                  </a:lnTo>
                  <a:lnTo>
                    <a:pt x="1656" y="685"/>
                  </a:lnTo>
                  <a:lnTo>
                    <a:pt x="1649" y="709"/>
                  </a:lnTo>
                  <a:lnTo>
                    <a:pt x="1644" y="734"/>
                  </a:lnTo>
                  <a:lnTo>
                    <a:pt x="1642" y="747"/>
                  </a:lnTo>
                  <a:lnTo>
                    <a:pt x="1641" y="761"/>
                  </a:lnTo>
                  <a:lnTo>
                    <a:pt x="1639" y="775"/>
                  </a:lnTo>
                  <a:lnTo>
                    <a:pt x="1639" y="790"/>
                  </a:lnTo>
                  <a:lnTo>
                    <a:pt x="1641" y="802"/>
                  </a:lnTo>
                  <a:lnTo>
                    <a:pt x="1643" y="811"/>
                  </a:lnTo>
                  <a:lnTo>
                    <a:pt x="1646" y="821"/>
                  </a:lnTo>
                  <a:lnTo>
                    <a:pt x="1651" y="830"/>
                  </a:lnTo>
                  <a:lnTo>
                    <a:pt x="1663" y="847"/>
                  </a:lnTo>
                  <a:lnTo>
                    <a:pt x="1676" y="865"/>
                  </a:lnTo>
                  <a:lnTo>
                    <a:pt x="1682" y="875"/>
                  </a:lnTo>
                  <a:lnTo>
                    <a:pt x="1687" y="884"/>
                  </a:lnTo>
                  <a:lnTo>
                    <a:pt x="1690" y="888"/>
                  </a:lnTo>
                  <a:lnTo>
                    <a:pt x="1695" y="891"/>
                  </a:lnTo>
                  <a:lnTo>
                    <a:pt x="1699" y="892"/>
                  </a:lnTo>
                  <a:lnTo>
                    <a:pt x="1704" y="894"/>
                  </a:lnTo>
                  <a:lnTo>
                    <a:pt x="1711" y="892"/>
                  </a:lnTo>
                  <a:lnTo>
                    <a:pt x="1716" y="891"/>
                  </a:lnTo>
                  <a:lnTo>
                    <a:pt x="1720" y="888"/>
                  </a:lnTo>
                  <a:lnTo>
                    <a:pt x="1725" y="884"/>
                  </a:lnTo>
                  <a:lnTo>
                    <a:pt x="1728" y="879"/>
                  </a:lnTo>
                  <a:lnTo>
                    <a:pt x="1730" y="873"/>
                  </a:lnTo>
                  <a:lnTo>
                    <a:pt x="1731" y="868"/>
                  </a:lnTo>
                  <a:lnTo>
                    <a:pt x="1732" y="860"/>
                  </a:lnTo>
                  <a:lnTo>
                    <a:pt x="1732" y="845"/>
                  </a:lnTo>
                  <a:lnTo>
                    <a:pt x="1732" y="830"/>
                  </a:lnTo>
                  <a:lnTo>
                    <a:pt x="1730" y="814"/>
                  </a:lnTo>
                  <a:lnTo>
                    <a:pt x="1729" y="798"/>
                  </a:lnTo>
                  <a:lnTo>
                    <a:pt x="1729" y="792"/>
                  </a:lnTo>
                  <a:lnTo>
                    <a:pt x="1730" y="787"/>
                  </a:lnTo>
                  <a:lnTo>
                    <a:pt x="1731" y="781"/>
                  </a:lnTo>
                  <a:lnTo>
                    <a:pt x="1732" y="776"/>
                  </a:lnTo>
                  <a:lnTo>
                    <a:pt x="1737" y="766"/>
                  </a:lnTo>
                  <a:lnTo>
                    <a:pt x="1742" y="757"/>
                  </a:lnTo>
                  <a:lnTo>
                    <a:pt x="1747" y="749"/>
                  </a:lnTo>
                  <a:lnTo>
                    <a:pt x="1752" y="739"/>
                  </a:lnTo>
                  <a:lnTo>
                    <a:pt x="1757" y="728"/>
                  </a:lnTo>
                  <a:lnTo>
                    <a:pt x="1760" y="717"/>
                  </a:lnTo>
                  <a:lnTo>
                    <a:pt x="1765" y="683"/>
                  </a:lnTo>
                  <a:lnTo>
                    <a:pt x="1769" y="648"/>
                  </a:lnTo>
                  <a:lnTo>
                    <a:pt x="1771" y="642"/>
                  </a:lnTo>
                  <a:lnTo>
                    <a:pt x="1773" y="634"/>
                  </a:lnTo>
                  <a:lnTo>
                    <a:pt x="1777" y="629"/>
                  </a:lnTo>
                  <a:lnTo>
                    <a:pt x="1781" y="624"/>
                  </a:lnTo>
                  <a:lnTo>
                    <a:pt x="1785" y="619"/>
                  </a:lnTo>
                  <a:lnTo>
                    <a:pt x="1791" y="616"/>
                  </a:lnTo>
                  <a:lnTo>
                    <a:pt x="1797" y="614"/>
                  </a:lnTo>
                  <a:lnTo>
                    <a:pt x="1805" y="614"/>
                  </a:lnTo>
                  <a:lnTo>
                    <a:pt x="1819" y="615"/>
                  </a:lnTo>
                  <a:lnTo>
                    <a:pt x="1831" y="617"/>
                  </a:lnTo>
                  <a:lnTo>
                    <a:pt x="1842" y="620"/>
                  </a:lnTo>
                  <a:lnTo>
                    <a:pt x="1855" y="621"/>
                  </a:lnTo>
                  <a:lnTo>
                    <a:pt x="1857" y="628"/>
                  </a:lnTo>
                  <a:lnTo>
                    <a:pt x="1859" y="633"/>
                  </a:lnTo>
                  <a:lnTo>
                    <a:pt x="1858" y="652"/>
                  </a:lnTo>
                  <a:lnTo>
                    <a:pt x="1857" y="669"/>
                  </a:lnTo>
                  <a:lnTo>
                    <a:pt x="1854" y="684"/>
                  </a:lnTo>
                  <a:lnTo>
                    <a:pt x="1851" y="699"/>
                  </a:lnTo>
                  <a:lnTo>
                    <a:pt x="1847" y="714"/>
                  </a:lnTo>
                  <a:lnTo>
                    <a:pt x="1841" y="729"/>
                  </a:lnTo>
                  <a:lnTo>
                    <a:pt x="1835" y="746"/>
                  </a:lnTo>
                  <a:lnTo>
                    <a:pt x="1827" y="762"/>
                  </a:lnTo>
                  <a:lnTo>
                    <a:pt x="1835" y="759"/>
                  </a:lnTo>
                  <a:lnTo>
                    <a:pt x="1842" y="755"/>
                  </a:lnTo>
                  <a:lnTo>
                    <a:pt x="1849" y="752"/>
                  </a:lnTo>
                  <a:lnTo>
                    <a:pt x="1854" y="748"/>
                  </a:lnTo>
                  <a:lnTo>
                    <a:pt x="1865" y="739"/>
                  </a:lnTo>
                  <a:lnTo>
                    <a:pt x="1875" y="728"/>
                  </a:lnTo>
                  <a:lnTo>
                    <a:pt x="1891" y="705"/>
                  </a:lnTo>
                  <a:lnTo>
                    <a:pt x="1908" y="678"/>
                  </a:lnTo>
                  <a:lnTo>
                    <a:pt x="1927" y="652"/>
                  </a:lnTo>
                  <a:lnTo>
                    <a:pt x="1942" y="629"/>
                  </a:lnTo>
                  <a:lnTo>
                    <a:pt x="1958" y="606"/>
                  </a:lnTo>
                  <a:lnTo>
                    <a:pt x="1976" y="579"/>
                  </a:lnTo>
                  <a:lnTo>
                    <a:pt x="1986" y="585"/>
                  </a:lnTo>
                  <a:lnTo>
                    <a:pt x="1995" y="591"/>
                  </a:lnTo>
                  <a:lnTo>
                    <a:pt x="2002" y="598"/>
                  </a:lnTo>
                  <a:lnTo>
                    <a:pt x="2010" y="604"/>
                  </a:lnTo>
                  <a:lnTo>
                    <a:pt x="2016" y="611"/>
                  </a:lnTo>
                  <a:lnTo>
                    <a:pt x="2024" y="618"/>
                  </a:lnTo>
                  <a:lnTo>
                    <a:pt x="2033" y="624"/>
                  </a:lnTo>
                  <a:lnTo>
                    <a:pt x="2043" y="630"/>
                  </a:lnTo>
                  <a:lnTo>
                    <a:pt x="2063" y="640"/>
                  </a:lnTo>
                  <a:lnTo>
                    <a:pt x="2080" y="647"/>
                  </a:lnTo>
                  <a:lnTo>
                    <a:pt x="2097" y="654"/>
                  </a:lnTo>
                  <a:lnTo>
                    <a:pt x="2115" y="659"/>
                  </a:lnTo>
                  <a:lnTo>
                    <a:pt x="2149" y="668"/>
                  </a:lnTo>
                  <a:lnTo>
                    <a:pt x="2189" y="678"/>
                  </a:lnTo>
                  <a:lnTo>
                    <a:pt x="2195" y="680"/>
                  </a:lnTo>
                  <a:lnTo>
                    <a:pt x="2199" y="682"/>
                  </a:lnTo>
                  <a:lnTo>
                    <a:pt x="2203" y="685"/>
                  </a:lnTo>
                  <a:lnTo>
                    <a:pt x="2206" y="689"/>
                  </a:lnTo>
                  <a:lnTo>
                    <a:pt x="2214" y="696"/>
                  </a:lnTo>
                  <a:lnTo>
                    <a:pt x="2223" y="703"/>
                  </a:lnTo>
                  <a:lnTo>
                    <a:pt x="2246" y="717"/>
                  </a:lnTo>
                  <a:lnTo>
                    <a:pt x="2268" y="729"/>
                  </a:lnTo>
                  <a:lnTo>
                    <a:pt x="2290" y="740"/>
                  </a:lnTo>
                  <a:lnTo>
                    <a:pt x="2316" y="753"/>
                  </a:lnTo>
                  <a:lnTo>
                    <a:pt x="2330" y="760"/>
                  </a:lnTo>
                  <a:lnTo>
                    <a:pt x="2344" y="764"/>
                  </a:lnTo>
                  <a:lnTo>
                    <a:pt x="2358" y="766"/>
                  </a:lnTo>
                  <a:lnTo>
                    <a:pt x="2371" y="767"/>
                  </a:lnTo>
                  <a:lnTo>
                    <a:pt x="2385" y="768"/>
                  </a:lnTo>
                  <a:lnTo>
                    <a:pt x="2399" y="768"/>
                  </a:lnTo>
                  <a:lnTo>
                    <a:pt x="2414" y="770"/>
                  </a:lnTo>
                  <a:lnTo>
                    <a:pt x="2430" y="773"/>
                  </a:lnTo>
                  <a:lnTo>
                    <a:pt x="2454" y="779"/>
                  </a:lnTo>
                  <a:lnTo>
                    <a:pt x="2474" y="787"/>
                  </a:lnTo>
                  <a:lnTo>
                    <a:pt x="2494" y="795"/>
                  </a:lnTo>
                  <a:lnTo>
                    <a:pt x="2512" y="804"/>
                  </a:lnTo>
                  <a:lnTo>
                    <a:pt x="2530" y="814"/>
                  </a:lnTo>
                  <a:lnTo>
                    <a:pt x="2549" y="822"/>
                  </a:lnTo>
                  <a:lnTo>
                    <a:pt x="2569" y="832"/>
                  </a:lnTo>
                  <a:lnTo>
                    <a:pt x="2592" y="841"/>
                  </a:lnTo>
                  <a:lnTo>
                    <a:pt x="2608" y="847"/>
                  </a:lnTo>
                  <a:lnTo>
                    <a:pt x="2622" y="855"/>
                  </a:lnTo>
                  <a:lnTo>
                    <a:pt x="2630" y="858"/>
                  </a:lnTo>
                  <a:lnTo>
                    <a:pt x="2637" y="860"/>
                  </a:lnTo>
                  <a:lnTo>
                    <a:pt x="2645" y="862"/>
                  </a:lnTo>
                  <a:lnTo>
                    <a:pt x="2655" y="862"/>
                  </a:lnTo>
                  <a:lnTo>
                    <a:pt x="2657" y="862"/>
                  </a:lnTo>
                  <a:lnTo>
                    <a:pt x="2658" y="861"/>
                  </a:lnTo>
                  <a:lnTo>
                    <a:pt x="2660" y="859"/>
                  </a:lnTo>
                  <a:lnTo>
                    <a:pt x="2660" y="856"/>
                  </a:lnTo>
                  <a:lnTo>
                    <a:pt x="2662" y="850"/>
                  </a:lnTo>
                  <a:lnTo>
                    <a:pt x="2665" y="846"/>
                  </a:lnTo>
                  <a:lnTo>
                    <a:pt x="2670" y="843"/>
                  </a:lnTo>
                  <a:lnTo>
                    <a:pt x="2674" y="842"/>
                  </a:lnTo>
                  <a:lnTo>
                    <a:pt x="2678" y="841"/>
                  </a:lnTo>
                  <a:lnTo>
                    <a:pt x="2683" y="840"/>
                  </a:lnTo>
                  <a:lnTo>
                    <a:pt x="2692" y="838"/>
                  </a:lnTo>
                  <a:lnTo>
                    <a:pt x="2702" y="835"/>
                  </a:lnTo>
                  <a:lnTo>
                    <a:pt x="2715" y="827"/>
                  </a:lnTo>
                  <a:lnTo>
                    <a:pt x="2726" y="817"/>
                  </a:lnTo>
                  <a:lnTo>
                    <a:pt x="2731" y="813"/>
                  </a:lnTo>
                  <a:lnTo>
                    <a:pt x="2738" y="809"/>
                  </a:lnTo>
                  <a:lnTo>
                    <a:pt x="2744" y="807"/>
                  </a:lnTo>
                  <a:lnTo>
                    <a:pt x="2752" y="807"/>
                  </a:lnTo>
                  <a:lnTo>
                    <a:pt x="2757" y="807"/>
                  </a:lnTo>
                  <a:lnTo>
                    <a:pt x="2762" y="808"/>
                  </a:lnTo>
                  <a:lnTo>
                    <a:pt x="2766" y="809"/>
                  </a:lnTo>
                  <a:lnTo>
                    <a:pt x="2769" y="811"/>
                  </a:lnTo>
                  <a:lnTo>
                    <a:pt x="2776" y="817"/>
                  </a:lnTo>
                  <a:lnTo>
                    <a:pt x="2781" y="823"/>
                  </a:lnTo>
                  <a:lnTo>
                    <a:pt x="2791" y="838"/>
                  </a:lnTo>
                  <a:lnTo>
                    <a:pt x="2803" y="855"/>
                  </a:lnTo>
                  <a:lnTo>
                    <a:pt x="2817" y="869"/>
                  </a:lnTo>
                  <a:lnTo>
                    <a:pt x="2831" y="881"/>
                  </a:lnTo>
                  <a:lnTo>
                    <a:pt x="2831" y="881"/>
                  </a:lnTo>
                  <a:lnTo>
                    <a:pt x="2823" y="899"/>
                  </a:lnTo>
                  <a:lnTo>
                    <a:pt x="2817" y="917"/>
                  </a:lnTo>
                  <a:lnTo>
                    <a:pt x="2812" y="935"/>
                  </a:lnTo>
                  <a:lnTo>
                    <a:pt x="2808" y="952"/>
                  </a:lnTo>
                  <a:lnTo>
                    <a:pt x="2803" y="968"/>
                  </a:lnTo>
                  <a:lnTo>
                    <a:pt x="2795" y="983"/>
                  </a:lnTo>
                  <a:lnTo>
                    <a:pt x="2791" y="991"/>
                  </a:lnTo>
                  <a:lnTo>
                    <a:pt x="2785" y="998"/>
                  </a:lnTo>
                  <a:lnTo>
                    <a:pt x="2779" y="1005"/>
                  </a:lnTo>
                  <a:lnTo>
                    <a:pt x="2771" y="1011"/>
                  </a:lnTo>
                  <a:lnTo>
                    <a:pt x="2764" y="1017"/>
                  </a:lnTo>
                  <a:lnTo>
                    <a:pt x="2756" y="1021"/>
                  </a:lnTo>
                  <a:lnTo>
                    <a:pt x="2749" y="1024"/>
                  </a:lnTo>
                  <a:lnTo>
                    <a:pt x="2740" y="1026"/>
                  </a:lnTo>
                  <a:lnTo>
                    <a:pt x="2724" y="1029"/>
                  </a:lnTo>
                  <a:lnTo>
                    <a:pt x="2704" y="1031"/>
                  </a:lnTo>
                  <a:lnTo>
                    <a:pt x="2690" y="1033"/>
                  </a:lnTo>
                  <a:lnTo>
                    <a:pt x="2677" y="1035"/>
                  </a:lnTo>
                  <a:lnTo>
                    <a:pt x="2664" y="1037"/>
                  </a:lnTo>
                  <a:lnTo>
                    <a:pt x="2653" y="1041"/>
                  </a:lnTo>
                  <a:lnTo>
                    <a:pt x="2642" y="1046"/>
                  </a:lnTo>
                  <a:lnTo>
                    <a:pt x="2631" y="1051"/>
                  </a:lnTo>
                  <a:lnTo>
                    <a:pt x="2621" y="1060"/>
                  </a:lnTo>
                  <a:lnTo>
                    <a:pt x="2613" y="1070"/>
                  </a:lnTo>
                  <a:lnTo>
                    <a:pt x="2596" y="1095"/>
                  </a:lnTo>
                  <a:lnTo>
                    <a:pt x="2580" y="1118"/>
                  </a:lnTo>
                  <a:lnTo>
                    <a:pt x="2577" y="1124"/>
                  </a:lnTo>
                  <a:lnTo>
                    <a:pt x="2572" y="1128"/>
                  </a:lnTo>
                  <a:lnTo>
                    <a:pt x="2567" y="1132"/>
                  </a:lnTo>
                  <a:lnTo>
                    <a:pt x="2562" y="1137"/>
                  </a:lnTo>
                  <a:lnTo>
                    <a:pt x="2556" y="1139"/>
                  </a:lnTo>
                  <a:lnTo>
                    <a:pt x="2550" y="1141"/>
                  </a:lnTo>
                  <a:lnTo>
                    <a:pt x="2543" y="1143"/>
                  </a:lnTo>
                  <a:lnTo>
                    <a:pt x="2536" y="1143"/>
                  </a:lnTo>
                  <a:lnTo>
                    <a:pt x="2530" y="1142"/>
                  </a:lnTo>
                  <a:lnTo>
                    <a:pt x="2525" y="1141"/>
                  </a:lnTo>
                  <a:lnTo>
                    <a:pt x="2520" y="1139"/>
                  </a:lnTo>
                  <a:lnTo>
                    <a:pt x="2515" y="1135"/>
                  </a:lnTo>
                  <a:lnTo>
                    <a:pt x="2511" y="1133"/>
                  </a:lnTo>
                  <a:lnTo>
                    <a:pt x="2506" y="1131"/>
                  </a:lnTo>
                  <a:lnTo>
                    <a:pt x="2500" y="1130"/>
                  </a:lnTo>
                  <a:lnTo>
                    <a:pt x="2495" y="1129"/>
                  </a:lnTo>
                  <a:lnTo>
                    <a:pt x="2489" y="1129"/>
                  </a:lnTo>
                  <a:lnTo>
                    <a:pt x="2484" y="1130"/>
                  </a:lnTo>
                  <a:lnTo>
                    <a:pt x="2480" y="1132"/>
                  </a:lnTo>
                  <a:lnTo>
                    <a:pt x="2475" y="1134"/>
                  </a:lnTo>
                  <a:lnTo>
                    <a:pt x="2468" y="1140"/>
                  </a:lnTo>
                  <a:lnTo>
                    <a:pt x="2461" y="1147"/>
                  </a:lnTo>
                  <a:lnTo>
                    <a:pt x="2456" y="1157"/>
                  </a:lnTo>
                  <a:lnTo>
                    <a:pt x="2452" y="1167"/>
                  </a:lnTo>
                  <a:lnTo>
                    <a:pt x="2447" y="1176"/>
                  </a:lnTo>
                  <a:lnTo>
                    <a:pt x="2444" y="1187"/>
                  </a:lnTo>
                  <a:lnTo>
                    <a:pt x="2437" y="1213"/>
                  </a:lnTo>
                  <a:lnTo>
                    <a:pt x="2430" y="1236"/>
                  </a:lnTo>
                  <a:lnTo>
                    <a:pt x="2422" y="1257"/>
                  </a:lnTo>
                  <a:lnTo>
                    <a:pt x="2416" y="1283"/>
                  </a:lnTo>
                  <a:lnTo>
                    <a:pt x="2412" y="1296"/>
                  </a:lnTo>
                  <a:lnTo>
                    <a:pt x="2407" y="1307"/>
                  </a:lnTo>
                  <a:lnTo>
                    <a:pt x="2402" y="1318"/>
                  </a:lnTo>
                  <a:lnTo>
                    <a:pt x="2395" y="1328"/>
                  </a:lnTo>
                  <a:lnTo>
                    <a:pt x="2389" y="1337"/>
                  </a:lnTo>
                  <a:lnTo>
                    <a:pt x="2381" y="1346"/>
                  </a:lnTo>
                  <a:lnTo>
                    <a:pt x="2373" y="1355"/>
                  </a:lnTo>
                  <a:lnTo>
                    <a:pt x="2363" y="1364"/>
                  </a:lnTo>
                  <a:lnTo>
                    <a:pt x="2341" y="1381"/>
                  </a:lnTo>
                  <a:lnTo>
                    <a:pt x="2320" y="1395"/>
                  </a:lnTo>
                  <a:lnTo>
                    <a:pt x="2311" y="1402"/>
                  </a:lnTo>
                  <a:lnTo>
                    <a:pt x="2305" y="1411"/>
                  </a:lnTo>
                  <a:lnTo>
                    <a:pt x="2302" y="1416"/>
                  </a:lnTo>
                  <a:lnTo>
                    <a:pt x="2299" y="1422"/>
                  </a:lnTo>
                  <a:lnTo>
                    <a:pt x="2298" y="1428"/>
                  </a:lnTo>
                  <a:lnTo>
                    <a:pt x="2298" y="1435"/>
                  </a:lnTo>
                  <a:lnTo>
                    <a:pt x="2298" y="1438"/>
                  </a:lnTo>
                  <a:lnTo>
                    <a:pt x="2300" y="1440"/>
                  </a:lnTo>
                  <a:lnTo>
                    <a:pt x="2303" y="1442"/>
                  </a:lnTo>
                  <a:lnTo>
                    <a:pt x="2305" y="1443"/>
                  </a:lnTo>
                  <a:lnTo>
                    <a:pt x="2310" y="1446"/>
                  </a:lnTo>
                  <a:lnTo>
                    <a:pt x="2316" y="1451"/>
                  </a:lnTo>
                  <a:lnTo>
                    <a:pt x="2321" y="1459"/>
                  </a:lnTo>
                  <a:lnTo>
                    <a:pt x="2325" y="1467"/>
                  </a:lnTo>
                  <a:lnTo>
                    <a:pt x="2330" y="1476"/>
                  </a:lnTo>
                  <a:lnTo>
                    <a:pt x="2333" y="1483"/>
                  </a:lnTo>
                  <a:lnTo>
                    <a:pt x="2335" y="1492"/>
                  </a:lnTo>
                  <a:lnTo>
                    <a:pt x="2336" y="1500"/>
                  </a:lnTo>
                  <a:lnTo>
                    <a:pt x="2337" y="1510"/>
                  </a:lnTo>
                  <a:lnTo>
                    <a:pt x="2337" y="1520"/>
                  </a:lnTo>
                  <a:lnTo>
                    <a:pt x="2336" y="1533"/>
                  </a:lnTo>
                  <a:lnTo>
                    <a:pt x="2334" y="1545"/>
                  </a:lnTo>
                  <a:lnTo>
                    <a:pt x="2331" y="1556"/>
                  </a:lnTo>
                  <a:lnTo>
                    <a:pt x="2326" y="1565"/>
                  </a:lnTo>
                  <a:lnTo>
                    <a:pt x="2322" y="1576"/>
                  </a:lnTo>
                  <a:lnTo>
                    <a:pt x="2319" y="1587"/>
                  </a:lnTo>
                  <a:lnTo>
                    <a:pt x="2316" y="1598"/>
                  </a:lnTo>
                  <a:lnTo>
                    <a:pt x="2316" y="1611"/>
                  </a:lnTo>
                  <a:lnTo>
                    <a:pt x="2316" y="1615"/>
                  </a:lnTo>
                  <a:lnTo>
                    <a:pt x="2317" y="1618"/>
                  </a:lnTo>
                  <a:lnTo>
                    <a:pt x="2320" y="1621"/>
                  </a:lnTo>
                  <a:lnTo>
                    <a:pt x="2322" y="1625"/>
                  </a:lnTo>
                  <a:lnTo>
                    <a:pt x="2329" y="1630"/>
                  </a:lnTo>
                  <a:lnTo>
                    <a:pt x="2335" y="1637"/>
                  </a:lnTo>
                  <a:lnTo>
                    <a:pt x="2343" y="1650"/>
                  </a:lnTo>
                  <a:lnTo>
                    <a:pt x="2350" y="1661"/>
                  </a:lnTo>
                  <a:lnTo>
                    <a:pt x="2356" y="1674"/>
                  </a:lnTo>
                  <a:lnTo>
                    <a:pt x="2361" y="1686"/>
                  </a:lnTo>
                  <a:lnTo>
                    <a:pt x="2364" y="1699"/>
                  </a:lnTo>
                  <a:lnTo>
                    <a:pt x="2366" y="1713"/>
                  </a:lnTo>
                  <a:lnTo>
                    <a:pt x="2367" y="1727"/>
                  </a:lnTo>
                  <a:lnTo>
                    <a:pt x="2368" y="1742"/>
                  </a:lnTo>
                  <a:lnTo>
                    <a:pt x="2367" y="1768"/>
                  </a:lnTo>
                  <a:lnTo>
                    <a:pt x="2364" y="1791"/>
                  </a:lnTo>
                  <a:lnTo>
                    <a:pt x="2360" y="1812"/>
                  </a:lnTo>
                  <a:lnTo>
                    <a:pt x="2353" y="1832"/>
                  </a:lnTo>
                  <a:lnTo>
                    <a:pt x="2347" y="1853"/>
                  </a:lnTo>
                  <a:lnTo>
                    <a:pt x="2339" y="1873"/>
                  </a:lnTo>
                  <a:lnTo>
                    <a:pt x="2332" y="1896"/>
                  </a:lnTo>
                  <a:lnTo>
                    <a:pt x="2323" y="1920"/>
                  </a:lnTo>
                  <a:lnTo>
                    <a:pt x="2321" y="1925"/>
                  </a:lnTo>
                  <a:lnTo>
                    <a:pt x="2319" y="1929"/>
                  </a:lnTo>
                  <a:lnTo>
                    <a:pt x="2316" y="1934"/>
                  </a:lnTo>
                  <a:lnTo>
                    <a:pt x="2312" y="1938"/>
                  </a:lnTo>
                  <a:lnTo>
                    <a:pt x="2306" y="1945"/>
                  </a:lnTo>
                  <a:lnTo>
                    <a:pt x="2302" y="1955"/>
                  </a:lnTo>
                  <a:lnTo>
                    <a:pt x="2296" y="1969"/>
                  </a:lnTo>
                  <a:lnTo>
                    <a:pt x="2292" y="1982"/>
                  </a:lnTo>
                  <a:lnTo>
                    <a:pt x="2290" y="1989"/>
                  </a:lnTo>
                  <a:lnTo>
                    <a:pt x="2285" y="1994"/>
                  </a:lnTo>
                  <a:lnTo>
                    <a:pt x="2281" y="1998"/>
                  </a:lnTo>
                  <a:lnTo>
                    <a:pt x="2276" y="2004"/>
                  </a:lnTo>
                  <a:lnTo>
                    <a:pt x="2253" y="2018"/>
                  </a:lnTo>
                  <a:lnTo>
                    <a:pt x="2233" y="2033"/>
                  </a:lnTo>
                  <a:lnTo>
                    <a:pt x="2226" y="2042"/>
                  </a:lnTo>
                  <a:lnTo>
                    <a:pt x="2219" y="2051"/>
                  </a:lnTo>
                  <a:lnTo>
                    <a:pt x="2217" y="2057"/>
                  </a:lnTo>
                  <a:lnTo>
                    <a:pt x="2215" y="2062"/>
                  </a:lnTo>
                  <a:lnTo>
                    <a:pt x="2214" y="2069"/>
                  </a:lnTo>
                  <a:lnTo>
                    <a:pt x="2214" y="2075"/>
                  </a:lnTo>
                  <a:lnTo>
                    <a:pt x="2214" y="2091"/>
                  </a:lnTo>
                  <a:lnTo>
                    <a:pt x="2213" y="2104"/>
                  </a:lnTo>
                  <a:lnTo>
                    <a:pt x="2212" y="2117"/>
                  </a:lnTo>
                  <a:lnTo>
                    <a:pt x="2211" y="2133"/>
                  </a:lnTo>
                  <a:lnTo>
                    <a:pt x="2211" y="2142"/>
                  </a:lnTo>
                  <a:lnTo>
                    <a:pt x="2211" y="2151"/>
                  </a:lnTo>
                  <a:lnTo>
                    <a:pt x="2211" y="2158"/>
                  </a:lnTo>
                  <a:lnTo>
                    <a:pt x="2211" y="2168"/>
                  </a:lnTo>
                  <a:lnTo>
                    <a:pt x="2211" y="2181"/>
                  </a:lnTo>
                  <a:lnTo>
                    <a:pt x="2210" y="2192"/>
                  </a:lnTo>
                  <a:lnTo>
                    <a:pt x="2210" y="2197"/>
                  </a:lnTo>
                  <a:lnTo>
                    <a:pt x="2210" y="2202"/>
                  </a:lnTo>
                  <a:lnTo>
                    <a:pt x="2212" y="2208"/>
                  </a:lnTo>
                  <a:lnTo>
                    <a:pt x="2214" y="2213"/>
                  </a:lnTo>
                  <a:lnTo>
                    <a:pt x="2219" y="2221"/>
                  </a:lnTo>
                  <a:lnTo>
                    <a:pt x="2225" y="2228"/>
                  </a:lnTo>
                  <a:lnTo>
                    <a:pt x="2230" y="2235"/>
                  </a:lnTo>
                  <a:lnTo>
                    <a:pt x="2237" y="2240"/>
                  </a:lnTo>
                  <a:lnTo>
                    <a:pt x="2250" y="2252"/>
                  </a:lnTo>
                  <a:lnTo>
                    <a:pt x="2263" y="2262"/>
                  </a:lnTo>
                  <a:lnTo>
                    <a:pt x="2269" y="2267"/>
                  </a:lnTo>
                  <a:lnTo>
                    <a:pt x="2275" y="2273"/>
                  </a:lnTo>
                  <a:lnTo>
                    <a:pt x="2280" y="2279"/>
                  </a:lnTo>
                  <a:lnTo>
                    <a:pt x="2284" y="2286"/>
                  </a:lnTo>
                  <a:lnTo>
                    <a:pt x="2287" y="2292"/>
                  </a:lnTo>
                  <a:lnTo>
                    <a:pt x="2291" y="2300"/>
                  </a:lnTo>
                  <a:lnTo>
                    <a:pt x="2292" y="2307"/>
                  </a:lnTo>
                  <a:lnTo>
                    <a:pt x="2293" y="2317"/>
                  </a:lnTo>
                  <a:lnTo>
                    <a:pt x="2293" y="2332"/>
                  </a:lnTo>
                  <a:lnTo>
                    <a:pt x="2293" y="2345"/>
                  </a:lnTo>
                  <a:lnTo>
                    <a:pt x="2293" y="2359"/>
                  </a:lnTo>
                  <a:lnTo>
                    <a:pt x="2293" y="2374"/>
                  </a:lnTo>
                  <a:lnTo>
                    <a:pt x="2292" y="2382"/>
                  </a:lnTo>
                  <a:lnTo>
                    <a:pt x="2291" y="2389"/>
                  </a:lnTo>
                  <a:lnTo>
                    <a:pt x="2289" y="2397"/>
                  </a:lnTo>
                  <a:lnTo>
                    <a:pt x="2286" y="2403"/>
                  </a:lnTo>
                  <a:lnTo>
                    <a:pt x="2282" y="2416"/>
                  </a:lnTo>
                  <a:lnTo>
                    <a:pt x="2279" y="2433"/>
                  </a:lnTo>
                  <a:lnTo>
                    <a:pt x="2275" y="2455"/>
                  </a:lnTo>
                  <a:lnTo>
                    <a:pt x="2269" y="2478"/>
                  </a:lnTo>
                  <a:lnTo>
                    <a:pt x="2266" y="2490"/>
                  </a:lnTo>
                  <a:lnTo>
                    <a:pt x="2262" y="2499"/>
                  </a:lnTo>
                  <a:lnTo>
                    <a:pt x="2257" y="2510"/>
                  </a:lnTo>
                  <a:lnTo>
                    <a:pt x="2252" y="2520"/>
                  </a:lnTo>
                  <a:lnTo>
                    <a:pt x="2246" y="2529"/>
                  </a:lnTo>
                  <a:lnTo>
                    <a:pt x="2240" y="2536"/>
                  </a:lnTo>
                  <a:lnTo>
                    <a:pt x="2233" y="2544"/>
                  </a:lnTo>
                  <a:lnTo>
                    <a:pt x="2225" y="2549"/>
                  </a:lnTo>
                  <a:lnTo>
                    <a:pt x="2217" y="2555"/>
                  </a:lnTo>
                  <a:lnTo>
                    <a:pt x="2208" y="2558"/>
                  </a:lnTo>
                  <a:lnTo>
                    <a:pt x="2197" y="2560"/>
                  </a:lnTo>
                  <a:lnTo>
                    <a:pt x="2186" y="2561"/>
                  </a:lnTo>
                  <a:lnTo>
                    <a:pt x="2175" y="2560"/>
                  </a:lnTo>
                  <a:lnTo>
                    <a:pt x="2166" y="2558"/>
                  </a:lnTo>
                  <a:lnTo>
                    <a:pt x="2158" y="2553"/>
                  </a:lnTo>
                  <a:lnTo>
                    <a:pt x="2149" y="2548"/>
                  </a:lnTo>
                  <a:lnTo>
                    <a:pt x="2134" y="2536"/>
                  </a:lnTo>
                  <a:lnTo>
                    <a:pt x="2116" y="2524"/>
                  </a:lnTo>
                  <a:lnTo>
                    <a:pt x="2103" y="2518"/>
                  </a:lnTo>
                  <a:lnTo>
                    <a:pt x="2090" y="2514"/>
                  </a:lnTo>
                  <a:lnTo>
                    <a:pt x="2078" y="2509"/>
                  </a:lnTo>
                  <a:lnTo>
                    <a:pt x="2065" y="2506"/>
                  </a:lnTo>
                  <a:lnTo>
                    <a:pt x="2040" y="2501"/>
                  </a:lnTo>
                  <a:lnTo>
                    <a:pt x="2012" y="2494"/>
                  </a:lnTo>
                  <a:lnTo>
                    <a:pt x="1981" y="2483"/>
                  </a:lnTo>
                  <a:lnTo>
                    <a:pt x="1953" y="2474"/>
                  </a:lnTo>
                  <a:lnTo>
                    <a:pt x="1939" y="2469"/>
                  </a:lnTo>
                  <a:lnTo>
                    <a:pt x="1925" y="2466"/>
                  </a:lnTo>
                  <a:lnTo>
                    <a:pt x="1909" y="2464"/>
                  </a:lnTo>
                  <a:lnTo>
                    <a:pt x="1892" y="2463"/>
                  </a:lnTo>
                  <a:lnTo>
                    <a:pt x="1882" y="2464"/>
                  </a:lnTo>
                  <a:lnTo>
                    <a:pt x="1875" y="2467"/>
                  </a:lnTo>
                  <a:lnTo>
                    <a:pt x="1867" y="2471"/>
                  </a:lnTo>
                  <a:lnTo>
                    <a:pt x="1861" y="2476"/>
                  </a:lnTo>
                  <a:lnTo>
                    <a:pt x="1854" y="2481"/>
                  </a:lnTo>
                  <a:lnTo>
                    <a:pt x="1847" y="2487"/>
                  </a:lnTo>
                  <a:lnTo>
                    <a:pt x="1839" y="2491"/>
                  </a:lnTo>
                  <a:lnTo>
                    <a:pt x="1831" y="2494"/>
                  </a:lnTo>
                  <a:lnTo>
                    <a:pt x="1814" y="2497"/>
                  </a:lnTo>
                  <a:lnTo>
                    <a:pt x="1800" y="2502"/>
                  </a:lnTo>
                  <a:lnTo>
                    <a:pt x="1787" y="2505"/>
                  </a:lnTo>
                  <a:lnTo>
                    <a:pt x="1774" y="2510"/>
                  </a:lnTo>
                  <a:lnTo>
                    <a:pt x="1763" y="2516"/>
                  </a:lnTo>
                  <a:lnTo>
                    <a:pt x="1752" y="2523"/>
                  </a:lnTo>
                  <a:lnTo>
                    <a:pt x="1742" y="2533"/>
                  </a:lnTo>
                  <a:lnTo>
                    <a:pt x="1732" y="2544"/>
                  </a:lnTo>
                  <a:lnTo>
                    <a:pt x="1728" y="2551"/>
                  </a:lnTo>
                  <a:lnTo>
                    <a:pt x="1725" y="2559"/>
                  </a:lnTo>
                  <a:lnTo>
                    <a:pt x="1723" y="2566"/>
                  </a:lnTo>
                  <a:lnTo>
                    <a:pt x="1722" y="2574"/>
                  </a:lnTo>
                  <a:lnTo>
                    <a:pt x="1719" y="2580"/>
                  </a:lnTo>
                  <a:lnTo>
                    <a:pt x="1717" y="2588"/>
                  </a:lnTo>
                  <a:lnTo>
                    <a:pt x="1714" y="2596"/>
                  </a:lnTo>
                  <a:lnTo>
                    <a:pt x="1710" y="2603"/>
                  </a:lnTo>
                  <a:lnTo>
                    <a:pt x="1706" y="2606"/>
                  </a:lnTo>
                  <a:lnTo>
                    <a:pt x="1703" y="2610"/>
                  </a:lnTo>
                  <a:lnTo>
                    <a:pt x="1699" y="2613"/>
                  </a:lnTo>
                  <a:lnTo>
                    <a:pt x="1696" y="2614"/>
                  </a:lnTo>
                  <a:lnTo>
                    <a:pt x="1687" y="2617"/>
                  </a:lnTo>
                  <a:lnTo>
                    <a:pt x="1678" y="2618"/>
                  </a:lnTo>
                  <a:lnTo>
                    <a:pt x="1659" y="2619"/>
                  </a:lnTo>
                  <a:lnTo>
                    <a:pt x="1639" y="2623"/>
                  </a:lnTo>
                  <a:lnTo>
                    <a:pt x="1633" y="2625"/>
                  </a:lnTo>
                  <a:lnTo>
                    <a:pt x="1626" y="2628"/>
                  </a:lnTo>
                  <a:lnTo>
                    <a:pt x="1621" y="2631"/>
                  </a:lnTo>
                  <a:lnTo>
                    <a:pt x="1616" y="2636"/>
                  </a:lnTo>
                  <a:lnTo>
                    <a:pt x="1606" y="2644"/>
                  </a:lnTo>
                  <a:lnTo>
                    <a:pt x="1595" y="2654"/>
                  </a:lnTo>
                  <a:lnTo>
                    <a:pt x="1571" y="2671"/>
                  </a:lnTo>
                  <a:lnTo>
                    <a:pt x="1552" y="2687"/>
                  </a:lnTo>
                  <a:lnTo>
                    <a:pt x="1532" y="2704"/>
                  </a:lnTo>
                  <a:lnTo>
                    <a:pt x="1508" y="2721"/>
                  </a:lnTo>
                  <a:lnTo>
                    <a:pt x="1497" y="2721"/>
                  </a:lnTo>
                  <a:lnTo>
                    <a:pt x="1486" y="2721"/>
                  </a:lnTo>
                  <a:lnTo>
                    <a:pt x="1476" y="2721"/>
                  </a:lnTo>
                  <a:lnTo>
                    <a:pt x="1467" y="2723"/>
                  </a:lnTo>
                  <a:lnTo>
                    <a:pt x="1458" y="2724"/>
                  </a:lnTo>
                  <a:lnTo>
                    <a:pt x="1449" y="2727"/>
                  </a:lnTo>
                  <a:lnTo>
                    <a:pt x="1434" y="2734"/>
                  </a:lnTo>
                  <a:lnTo>
                    <a:pt x="1419" y="2741"/>
                  </a:lnTo>
                  <a:lnTo>
                    <a:pt x="1404" y="2749"/>
                  </a:lnTo>
                  <a:lnTo>
                    <a:pt x="1389" y="2757"/>
                  </a:lnTo>
                  <a:lnTo>
                    <a:pt x="1380" y="2759"/>
                  </a:lnTo>
                  <a:lnTo>
                    <a:pt x="1372" y="2761"/>
                  </a:lnTo>
                  <a:lnTo>
                    <a:pt x="1362" y="2762"/>
                  </a:lnTo>
                  <a:lnTo>
                    <a:pt x="1352" y="2763"/>
                  </a:lnTo>
                  <a:lnTo>
                    <a:pt x="1342" y="2762"/>
                  </a:lnTo>
                  <a:lnTo>
                    <a:pt x="1333" y="2761"/>
                  </a:lnTo>
                  <a:lnTo>
                    <a:pt x="1324" y="2759"/>
                  </a:lnTo>
                  <a:lnTo>
                    <a:pt x="1315" y="2758"/>
                  </a:lnTo>
                  <a:lnTo>
                    <a:pt x="1308" y="2755"/>
                  </a:lnTo>
                  <a:lnTo>
                    <a:pt x="1299" y="2753"/>
                  </a:lnTo>
                  <a:lnTo>
                    <a:pt x="1289" y="2752"/>
                  </a:lnTo>
                  <a:lnTo>
                    <a:pt x="1280" y="2751"/>
                  </a:lnTo>
                  <a:lnTo>
                    <a:pt x="1266" y="2751"/>
                  </a:lnTo>
                  <a:lnTo>
                    <a:pt x="1253" y="2752"/>
                  </a:lnTo>
                  <a:lnTo>
                    <a:pt x="1240" y="2753"/>
                  </a:lnTo>
                  <a:lnTo>
                    <a:pt x="1228" y="2755"/>
                  </a:lnTo>
                  <a:lnTo>
                    <a:pt x="1217" y="2759"/>
                  </a:lnTo>
                  <a:lnTo>
                    <a:pt x="1206" y="2764"/>
                  </a:lnTo>
                  <a:lnTo>
                    <a:pt x="1196" y="2771"/>
                  </a:lnTo>
                  <a:lnTo>
                    <a:pt x="1186" y="2779"/>
                  </a:lnTo>
                  <a:lnTo>
                    <a:pt x="1171" y="2792"/>
                  </a:lnTo>
                  <a:lnTo>
                    <a:pt x="1156" y="2804"/>
                  </a:lnTo>
                  <a:lnTo>
                    <a:pt x="1150" y="2811"/>
                  </a:lnTo>
                  <a:lnTo>
                    <a:pt x="1145" y="2817"/>
                  </a:lnTo>
                  <a:lnTo>
                    <a:pt x="1144" y="2821"/>
                  </a:lnTo>
                  <a:lnTo>
                    <a:pt x="1142" y="2826"/>
                  </a:lnTo>
                  <a:lnTo>
                    <a:pt x="1140" y="2830"/>
                  </a:lnTo>
                  <a:lnTo>
                    <a:pt x="1140" y="2835"/>
                  </a:lnTo>
                  <a:lnTo>
                    <a:pt x="1138" y="2863"/>
                  </a:lnTo>
                  <a:lnTo>
                    <a:pt x="1137" y="2889"/>
                  </a:lnTo>
                  <a:lnTo>
                    <a:pt x="1137" y="2901"/>
                  </a:lnTo>
                  <a:lnTo>
                    <a:pt x="1137" y="2914"/>
                  </a:lnTo>
                  <a:lnTo>
                    <a:pt x="1138" y="2928"/>
                  </a:lnTo>
                  <a:lnTo>
                    <a:pt x="1140" y="2942"/>
                  </a:lnTo>
                  <a:lnTo>
                    <a:pt x="1140" y="2948"/>
                  </a:lnTo>
                  <a:lnTo>
                    <a:pt x="1139" y="2952"/>
                  </a:lnTo>
                  <a:lnTo>
                    <a:pt x="1137" y="2955"/>
                  </a:lnTo>
                  <a:lnTo>
                    <a:pt x="1135" y="2960"/>
                  </a:lnTo>
                  <a:lnTo>
                    <a:pt x="1131" y="2967"/>
                  </a:lnTo>
                  <a:lnTo>
                    <a:pt x="1126" y="2976"/>
                  </a:lnTo>
                  <a:lnTo>
                    <a:pt x="1059" y="3250"/>
                  </a:lnTo>
                  <a:lnTo>
                    <a:pt x="1044" y="3249"/>
                  </a:lnTo>
                  <a:lnTo>
                    <a:pt x="1029" y="3248"/>
                  </a:lnTo>
                  <a:lnTo>
                    <a:pt x="1023" y="3248"/>
                  </a:lnTo>
                  <a:lnTo>
                    <a:pt x="1017" y="3249"/>
                  </a:lnTo>
                  <a:lnTo>
                    <a:pt x="1013" y="3251"/>
                  </a:lnTo>
                  <a:lnTo>
                    <a:pt x="1009" y="3254"/>
                  </a:lnTo>
                  <a:lnTo>
                    <a:pt x="999" y="3261"/>
                  </a:lnTo>
                  <a:lnTo>
                    <a:pt x="989" y="3267"/>
                  </a:lnTo>
                  <a:lnTo>
                    <a:pt x="983" y="3270"/>
                  </a:lnTo>
                  <a:lnTo>
                    <a:pt x="976" y="3273"/>
                  </a:lnTo>
                  <a:lnTo>
                    <a:pt x="974" y="3274"/>
                  </a:lnTo>
                  <a:lnTo>
                    <a:pt x="972" y="3276"/>
                  </a:lnTo>
                  <a:lnTo>
                    <a:pt x="970" y="3278"/>
                  </a:lnTo>
                  <a:lnTo>
                    <a:pt x="970" y="3281"/>
                  </a:lnTo>
                  <a:lnTo>
                    <a:pt x="970" y="3295"/>
                  </a:lnTo>
                  <a:lnTo>
                    <a:pt x="972" y="3308"/>
                  </a:lnTo>
                  <a:lnTo>
                    <a:pt x="974" y="3321"/>
                  </a:lnTo>
                  <a:lnTo>
                    <a:pt x="976" y="3333"/>
                  </a:lnTo>
                  <a:lnTo>
                    <a:pt x="979" y="3345"/>
                  </a:lnTo>
                  <a:lnTo>
                    <a:pt x="982" y="3357"/>
                  </a:lnTo>
                  <a:lnTo>
                    <a:pt x="983" y="3370"/>
                  </a:lnTo>
                  <a:lnTo>
                    <a:pt x="984" y="3385"/>
                  </a:lnTo>
                  <a:lnTo>
                    <a:pt x="979" y="3398"/>
                  </a:lnTo>
                  <a:lnTo>
                    <a:pt x="975" y="3410"/>
                  </a:lnTo>
                  <a:lnTo>
                    <a:pt x="976" y="3419"/>
                  </a:lnTo>
                  <a:lnTo>
                    <a:pt x="977" y="3426"/>
                  </a:lnTo>
                  <a:lnTo>
                    <a:pt x="978" y="3434"/>
                  </a:lnTo>
                  <a:lnTo>
                    <a:pt x="982" y="3440"/>
                  </a:lnTo>
                  <a:lnTo>
                    <a:pt x="988" y="3454"/>
                  </a:lnTo>
                  <a:lnTo>
                    <a:pt x="995" y="3466"/>
                  </a:lnTo>
                  <a:lnTo>
                    <a:pt x="1002" y="3479"/>
                  </a:lnTo>
                  <a:lnTo>
                    <a:pt x="1009" y="3492"/>
                  </a:lnTo>
                  <a:lnTo>
                    <a:pt x="1011" y="3498"/>
                  </a:lnTo>
                  <a:lnTo>
                    <a:pt x="1013" y="3506"/>
                  </a:lnTo>
                  <a:lnTo>
                    <a:pt x="1014" y="3514"/>
                  </a:lnTo>
                  <a:lnTo>
                    <a:pt x="1014" y="3522"/>
                  </a:lnTo>
                  <a:lnTo>
                    <a:pt x="1014" y="3543"/>
                  </a:lnTo>
                  <a:lnTo>
                    <a:pt x="1011" y="3562"/>
                  </a:lnTo>
                  <a:lnTo>
                    <a:pt x="1006" y="3579"/>
                  </a:lnTo>
                  <a:lnTo>
                    <a:pt x="1002" y="3597"/>
                  </a:lnTo>
                  <a:lnTo>
                    <a:pt x="990" y="3631"/>
                  </a:lnTo>
                  <a:lnTo>
                    <a:pt x="978" y="3671"/>
                  </a:lnTo>
                  <a:lnTo>
                    <a:pt x="1032" y="3841"/>
                  </a:lnTo>
                  <a:lnTo>
                    <a:pt x="1032" y="3841"/>
                  </a:lnTo>
                  <a:lnTo>
                    <a:pt x="1013" y="3839"/>
                  </a:lnTo>
                  <a:lnTo>
                    <a:pt x="997" y="3837"/>
                  </a:lnTo>
                  <a:lnTo>
                    <a:pt x="982" y="3834"/>
                  </a:lnTo>
                  <a:lnTo>
                    <a:pt x="962" y="3833"/>
                  </a:lnTo>
                  <a:lnTo>
                    <a:pt x="948" y="3832"/>
                  </a:lnTo>
                  <a:lnTo>
                    <a:pt x="936" y="3830"/>
                  </a:lnTo>
                  <a:lnTo>
                    <a:pt x="923" y="3827"/>
                  </a:lnTo>
                  <a:lnTo>
                    <a:pt x="913" y="3822"/>
                  </a:lnTo>
                  <a:lnTo>
                    <a:pt x="902" y="3816"/>
                  </a:lnTo>
                  <a:lnTo>
                    <a:pt x="892" y="3810"/>
                  </a:lnTo>
                  <a:lnTo>
                    <a:pt x="883" y="3801"/>
                  </a:lnTo>
                  <a:lnTo>
                    <a:pt x="875" y="3792"/>
                  </a:lnTo>
                  <a:lnTo>
                    <a:pt x="867" y="3783"/>
                  </a:lnTo>
                  <a:lnTo>
                    <a:pt x="860" y="3772"/>
                  </a:lnTo>
                  <a:lnTo>
                    <a:pt x="854" y="3760"/>
                  </a:lnTo>
                  <a:lnTo>
                    <a:pt x="848" y="3748"/>
                  </a:lnTo>
                  <a:lnTo>
                    <a:pt x="843" y="3736"/>
                  </a:lnTo>
                  <a:lnTo>
                    <a:pt x="839" y="3723"/>
                  </a:lnTo>
                  <a:lnTo>
                    <a:pt x="835" y="3709"/>
                  </a:lnTo>
                  <a:lnTo>
                    <a:pt x="833" y="3696"/>
                  </a:lnTo>
                  <a:lnTo>
                    <a:pt x="826" y="3659"/>
                  </a:lnTo>
                  <a:lnTo>
                    <a:pt x="819" y="3628"/>
                  </a:lnTo>
                  <a:lnTo>
                    <a:pt x="814" y="3612"/>
                  </a:lnTo>
                  <a:lnTo>
                    <a:pt x="809" y="3597"/>
                  </a:lnTo>
                  <a:lnTo>
                    <a:pt x="802" y="3581"/>
                  </a:lnTo>
                  <a:lnTo>
                    <a:pt x="793" y="3564"/>
                  </a:lnTo>
                  <a:lnTo>
                    <a:pt x="782" y="3543"/>
                  </a:lnTo>
                  <a:lnTo>
                    <a:pt x="771" y="3524"/>
                  </a:lnTo>
                  <a:lnTo>
                    <a:pt x="760" y="3507"/>
                  </a:lnTo>
                  <a:lnTo>
                    <a:pt x="749" y="3491"/>
                  </a:lnTo>
                  <a:lnTo>
                    <a:pt x="725" y="3460"/>
                  </a:lnTo>
                  <a:lnTo>
                    <a:pt x="695" y="3424"/>
                  </a:lnTo>
                  <a:lnTo>
                    <a:pt x="680" y="3407"/>
                  </a:lnTo>
                  <a:lnTo>
                    <a:pt x="667" y="3390"/>
                  </a:lnTo>
                  <a:lnTo>
                    <a:pt x="653" y="3375"/>
                  </a:lnTo>
                  <a:lnTo>
                    <a:pt x="636" y="3359"/>
                  </a:lnTo>
                  <a:lnTo>
                    <a:pt x="616" y="3345"/>
                  </a:lnTo>
                  <a:lnTo>
                    <a:pt x="596" y="3333"/>
                  </a:lnTo>
                  <a:lnTo>
                    <a:pt x="587" y="3327"/>
                  </a:lnTo>
                  <a:lnTo>
                    <a:pt x="581" y="3319"/>
                  </a:lnTo>
                  <a:lnTo>
                    <a:pt x="578" y="3314"/>
                  </a:lnTo>
                  <a:lnTo>
                    <a:pt x="577" y="3309"/>
                  </a:lnTo>
                  <a:lnTo>
                    <a:pt x="574" y="3304"/>
                  </a:lnTo>
                  <a:lnTo>
                    <a:pt x="574" y="3298"/>
                  </a:lnTo>
                  <a:lnTo>
                    <a:pt x="574" y="3290"/>
                  </a:lnTo>
                  <a:lnTo>
                    <a:pt x="576" y="3284"/>
                  </a:lnTo>
                  <a:lnTo>
                    <a:pt x="578" y="3277"/>
                  </a:lnTo>
                  <a:lnTo>
                    <a:pt x="580" y="3272"/>
                  </a:lnTo>
                  <a:lnTo>
                    <a:pt x="586" y="3260"/>
                  </a:lnTo>
                  <a:lnTo>
                    <a:pt x="595" y="3250"/>
                  </a:lnTo>
                  <a:lnTo>
                    <a:pt x="614" y="3232"/>
                  </a:lnTo>
                  <a:lnTo>
                    <a:pt x="636" y="3211"/>
                  </a:lnTo>
                  <a:lnTo>
                    <a:pt x="643" y="3203"/>
                  </a:lnTo>
                  <a:lnTo>
                    <a:pt x="648" y="3195"/>
                  </a:lnTo>
                  <a:lnTo>
                    <a:pt x="651" y="3186"/>
                  </a:lnTo>
                  <a:lnTo>
                    <a:pt x="654" y="3178"/>
                  </a:lnTo>
                  <a:lnTo>
                    <a:pt x="658" y="3159"/>
                  </a:lnTo>
                  <a:lnTo>
                    <a:pt x="661" y="3138"/>
                  </a:lnTo>
                  <a:lnTo>
                    <a:pt x="663" y="3126"/>
                  </a:lnTo>
                  <a:lnTo>
                    <a:pt x="665" y="3114"/>
                  </a:lnTo>
                  <a:lnTo>
                    <a:pt x="666" y="3109"/>
                  </a:lnTo>
                  <a:lnTo>
                    <a:pt x="668" y="3103"/>
                  </a:lnTo>
                  <a:lnTo>
                    <a:pt x="672" y="3099"/>
                  </a:lnTo>
                  <a:lnTo>
                    <a:pt x="675" y="3093"/>
                  </a:lnTo>
                  <a:lnTo>
                    <a:pt x="679" y="3090"/>
                  </a:lnTo>
                  <a:lnTo>
                    <a:pt x="684" y="3087"/>
                  </a:lnTo>
                  <a:lnTo>
                    <a:pt x="688" y="3085"/>
                  </a:lnTo>
                  <a:lnTo>
                    <a:pt x="692" y="3083"/>
                  </a:lnTo>
                  <a:lnTo>
                    <a:pt x="702" y="3081"/>
                  </a:lnTo>
                  <a:lnTo>
                    <a:pt x="713" y="3079"/>
                  </a:lnTo>
                  <a:lnTo>
                    <a:pt x="722" y="3078"/>
                  </a:lnTo>
                  <a:lnTo>
                    <a:pt x="732" y="3076"/>
                  </a:lnTo>
                  <a:lnTo>
                    <a:pt x="736" y="3074"/>
                  </a:lnTo>
                  <a:lnTo>
                    <a:pt x="741" y="3072"/>
                  </a:lnTo>
                  <a:lnTo>
                    <a:pt x="744" y="3070"/>
                  </a:lnTo>
                  <a:lnTo>
                    <a:pt x="748" y="3065"/>
                  </a:lnTo>
                  <a:lnTo>
                    <a:pt x="754" y="3059"/>
                  </a:lnTo>
                  <a:lnTo>
                    <a:pt x="757" y="3052"/>
                  </a:lnTo>
                  <a:lnTo>
                    <a:pt x="761" y="3046"/>
                  </a:lnTo>
                  <a:lnTo>
                    <a:pt x="763" y="3039"/>
                  </a:lnTo>
                  <a:lnTo>
                    <a:pt x="766" y="3033"/>
                  </a:lnTo>
                  <a:lnTo>
                    <a:pt x="767" y="3025"/>
                  </a:lnTo>
                  <a:lnTo>
                    <a:pt x="768" y="3018"/>
                  </a:lnTo>
                  <a:lnTo>
                    <a:pt x="768" y="3009"/>
                  </a:lnTo>
                  <a:lnTo>
                    <a:pt x="767" y="2993"/>
                  </a:lnTo>
                  <a:lnTo>
                    <a:pt x="765" y="2978"/>
                  </a:lnTo>
                  <a:lnTo>
                    <a:pt x="762" y="2970"/>
                  </a:lnTo>
                  <a:lnTo>
                    <a:pt x="760" y="2963"/>
                  </a:lnTo>
                  <a:lnTo>
                    <a:pt x="757" y="2955"/>
                  </a:lnTo>
                  <a:lnTo>
                    <a:pt x="754" y="2949"/>
                  </a:lnTo>
                  <a:lnTo>
                    <a:pt x="751" y="2942"/>
                  </a:lnTo>
                  <a:lnTo>
                    <a:pt x="746" y="2937"/>
                  </a:lnTo>
                  <a:lnTo>
                    <a:pt x="741" y="2933"/>
                  </a:lnTo>
                  <a:lnTo>
                    <a:pt x="736" y="2928"/>
                  </a:lnTo>
                  <a:lnTo>
                    <a:pt x="730" y="2924"/>
                  </a:lnTo>
                  <a:lnTo>
                    <a:pt x="724" y="2922"/>
                  </a:lnTo>
                  <a:lnTo>
                    <a:pt x="717" y="2921"/>
                  </a:lnTo>
                  <a:lnTo>
                    <a:pt x="709" y="2920"/>
                  </a:lnTo>
                  <a:lnTo>
                    <a:pt x="691" y="2921"/>
                  </a:lnTo>
                  <a:lnTo>
                    <a:pt x="674" y="2923"/>
                  </a:lnTo>
                  <a:lnTo>
                    <a:pt x="659" y="2925"/>
                  </a:lnTo>
                  <a:lnTo>
                    <a:pt x="644" y="2928"/>
                  </a:lnTo>
                  <a:lnTo>
                    <a:pt x="628" y="2931"/>
                  </a:lnTo>
                  <a:lnTo>
                    <a:pt x="612" y="2934"/>
                  </a:lnTo>
                  <a:lnTo>
                    <a:pt x="596" y="2936"/>
                  </a:lnTo>
                  <a:lnTo>
                    <a:pt x="578" y="2937"/>
                  </a:lnTo>
                  <a:lnTo>
                    <a:pt x="570" y="2936"/>
                  </a:lnTo>
                  <a:lnTo>
                    <a:pt x="565" y="2935"/>
                  </a:lnTo>
                  <a:lnTo>
                    <a:pt x="559" y="2933"/>
                  </a:lnTo>
                  <a:lnTo>
                    <a:pt x="554" y="2929"/>
                  </a:lnTo>
                  <a:lnTo>
                    <a:pt x="550" y="2926"/>
                  </a:lnTo>
                  <a:lnTo>
                    <a:pt x="545" y="2922"/>
                  </a:lnTo>
                  <a:lnTo>
                    <a:pt x="542" y="2917"/>
                  </a:lnTo>
                  <a:lnTo>
                    <a:pt x="538" y="2912"/>
                  </a:lnTo>
                  <a:lnTo>
                    <a:pt x="532" y="2900"/>
                  </a:lnTo>
                  <a:lnTo>
                    <a:pt x="527" y="2887"/>
                  </a:lnTo>
                  <a:lnTo>
                    <a:pt x="523" y="2874"/>
                  </a:lnTo>
                  <a:lnTo>
                    <a:pt x="518" y="2861"/>
                  </a:lnTo>
                  <a:lnTo>
                    <a:pt x="512" y="2841"/>
                  </a:lnTo>
                  <a:lnTo>
                    <a:pt x="506" y="2821"/>
                  </a:lnTo>
                  <a:lnTo>
                    <a:pt x="500" y="2804"/>
                  </a:lnTo>
                  <a:lnTo>
                    <a:pt x="493" y="2788"/>
                  </a:lnTo>
                  <a:lnTo>
                    <a:pt x="485" y="2772"/>
                  </a:lnTo>
                  <a:lnTo>
                    <a:pt x="476" y="2755"/>
                  </a:lnTo>
                  <a:lnTo>
                    <a:pt x="464" y="2740"/>
                  </a:lnTo>
                  <a:lnTo>
                    <a:pt x="451" y="2723"/>
                  </a:lnTo>
                  <a:lnTo>
                    <a:pt x="429" y="2694"/>
                  </a:lnTo>
                  <a:lnTo>
                    <a:pt x="408" y="2667"/>
                  </a:lnTo>
                  <a:lnTo>
                    <a:pt x="398" y="2655"/>
                  </a:lnTo>
                  <a:lnTo>
                    <a:pt x="388" y="2642"/>
                  </a:lnTo>
                  <a:lnTo>
                    <a:pt x="374" y="2631"/>
                  </a:lnTo>
                  <a:lnTo>
                    <a:pt x="358" y="2619"/>
                  </a:lnTo>
                  <a:lnTo>
                    <a:pt x="354" y="2616"/>
                  </a:lnTo>
                  <a:lnTo>
                    <a:pt x="351" y="2611"/>
                  </a:lnTo>
                  <a:lnTo>
                    <a:pt x="350" y="2605"/>
                  </a:lnTo>
                  <a:lnTo>
                    <a:pt x="349" y="2599"/>
                  </a:lnTo>
                  <a:lnTo>
                    <a:pt x="348" y="2586"/>
                  </a:lnTo>
                  <a:lnTo>
                    <a:pt x="344" y="2572"/>
                  </a:lnTo>
                  <a:lnTo>
                    <a:pt x="340" y="2563"/>
                  </a:lnTo>
                  <a:lnTo>
                    <a:pt x="336" y="2556"/>
                  </a:lnTo>
                  <a:lnTo>
                    <a:pt x="330" y="2549"/>
                  </a:lnTo>
                  <a:lnTo>
                    <a:pt x="324" y="2544"/>
                  </a:lnTo>
                  <a:lnTo>
                    <a:pt x="317" y="2539"/>
                  </a:lnTo>
                  <a:lnTo>
                    <a:pt x="309" y="2536"/>
                  </a:lnTo>
                  <a:lnTo>
                    <a:pt x="301" y="2534"/>
                  </a:lnTo>
                  <a:lnTo>
                    <a:pt x="291" y="2533"/>
                  </a:lnTo>
                  <a:lnTo>
                    <a:pt x="289" y="2521"/>
                  </a:lnTo>
                  <a:lnTo>
                    <a:pt x="288" y="2510"/>
                  </a:lnTo>
                  <a:lnTo>
                    <a:pt x="289" y="2503"/>
                  </a:lnTo>
                  <a:lnTo>
                    <a:pt x="290" y="2497"/>
                  </a:lnTo>
                  <a:lnTo>
                    <a:pt x="291" y="2491"/>
                  </a:lnTo>
                  <a:lnTo>
                    <a:pt x="294" y="2487"/>
                  </a:lnTo>
                  <a:lnTo>
                    <a:pt x="300" y="2477"/>
                  </a:lnTo>
                  <a:lnTo>
                    <a:pt x="308" y="2467"/>
                  </a:lnTo>
                  <a:lnTo>
                    <a:pt x="316" y="2458"/>
                  </a:lnTo>
                  <a:lnTo>
                    <a:pt x="325" y="2450"/>
                  </a:lnTo>
                  <a:lnTo>
                    <a:pt x="334" y="2440"/>
                  </a:lnTo>
                  <a:lnTo>
                    <a:pt x="342" y="2429"/>
                  </a:lnTo>
                  <a:lnTo>
                    <a:pt x="348" y="2420"/>
                  </a:lnTo>
                  <a:lnTo>
                    <a:pt x="351" y="2410"/>
                  </a:lnTo>
                  <a:lnTo>
                    <a:pt x="355" y="2401"/>
                  </a:lnTo>
                  <a:lnTo>
                    <a:pt x="357" y="2393"/>
                  </a:lnTo>
                  <a:lnTo>
                    <a:pt x="361" y="2383"/>
                  </a:lnTo>
                  <a:lnTo>
                    <a:pt x="365" y="2374"/>
                  </a:lnTo>
                  <a:lnTo>
                    <a:pt x="369" y="2366"/>
                  </a:lnTo>
                  <a:lnTo>
                    <a:pt x="376" y="2357"/>
                  </a:lnTo>
                  <a:lnTo>
                    <a:pt x="395" y="2331"/>
                  </a:lnTo>
                  <a:lnTo>
                    <a:pt x="414" y="2308"/>
                  </a:lnTo>
                  <a:lnTo>
                    <a:pt x="420" y="2296"/>
                  </a:lnTo>
                  <a:lnTo>
                    <a:pt x="425" y="2283"/>
                  </a:lnTo>
                  <a:lnTo>
                    <a:pt x="428" y="2277"/>
                  </a:lnTo>
                  <a:lnTo>
                    <a:pt x="429" y="2269"/>
                  </a:lnTo>
                  <a:lnTo>
                    <a:pt x="430" y="2262"/>
                  </a:lnTo>
                  <a:lnTo>
                    <a:pt x="430" y="2253"/>
                  </a:lnTo>
                  <a:lnTo>
                    <a:pt x="430" y="2224"/>
                  </a:lnTo>
                  <a:lnTo>
                    <a:pt x="430" y="2198"/>
                  </a:lnTo>
                  <a:lnTo>
                    <a:pt x="430" y="2172"/>
                  </a:lnTo>
                  <a:lnTo>
                    <a:pt x="430" y="2143"/>
                  </a:lnTo>
                  <a:lnTo>
                    <a:pt x="431" y="2132"/>
                  </a:lnTo>
                  <a:lnTo>
                    <a:pt x="432" y="2121"/>
                  </a:lnTo>
                  <a:lnTo>
                    <a:pt x="433" y="2112"/>
                  </a:lnTo>
                  <a:lnTo>
                    <a:pt x="435" y="2102"/>
                  </a:lnTo>
                  <a:lnTo>
                    <a:pt x="441" y="2085"/>
                  </a:lnTo>
                  <a:lnTo>
                    <a:pt x="446" y="2067"/>
                  </a:lnTo>
                  <a:lnTo>
                    <a:pt x="451" y="2050"/>
                  </a:lnTo>
                  <a:lnTo>
                    <a:pt x="457" y="2032"/>
                  </a:lnTo>
                  <a:lnTo>
                    <a:pt x="459" y="2022"/>
                  </a:lnTo>
                  <a:lnTo>
                    <a:pt x="460" y="2012"/>
                  </a:lnTo>
                  <a:lnTo>
                    <a:pt x="461" y="2003"/>
                  </a:lnTo>
                  <a:lnTo>
                    <a:pt x="462" y="1992"/>
                  </a:lnTo>
                  <a:lnTo>
                    <a:pt x="462" y="1968"/>
                  </a:lnTo>
                  <a:lnTo>
                    <a:pt x="462" y="1947"/>
                  </a:lnTo>
                  <a:lnTo>
                    <a:pt x="462" y="1927"/>
                  </a:lnTo>
                  <a:lnTo>
                    <a:pt x="462" y="1908"/>
                  </a:lnTo>
                  <a:lnTo>
                    <a:pt x="462" y="1888"/>
                  </a:lnTo>
                  <a:lnTo>
                    <a:pt x="462" y="1868"/>
                  </a:lnTo>
                  <a:lnTo>
                    <a:pt x="462" y="1847"/>
                  </a:lnTo>
                  <a:lnTo>
                    <a:pt x="462" y="1823"/>
                  </a:lnTo>
                  <a:lnTo>
                    <a:pt x="461" y="1814"/>
                  </a:lnTo>
                  <a:lnTo>
                    <a:pt x="459" y="1805"/>
                  </a:lnTo>
                  <a:lnTo>
                    <a:pt x="456" y="1797"/>
                  </a:lnTo>
                  <a:lnTo>
                    <a:pt x="450" y="1791"/>
                  </a:lnTo>
                  <a:lnTo>
                    <a:pt x="445" y="1786"/>
                  </a:lnTo>
                  <a:lnTo>
                    <a:pt x="438" y="1781"/>
                  </a:lnTo>
                  <a:lnTo>
                    <a:pt x="431" y="1777"/>
                  </a:lnTo>
                  <a:lnTo>
                    <a:pt x="422" y="1773"/>
                  </a:lnTo>
                  <a:lnTo>
                    <a:pt x="405" y="1766"/>
                  </a:lnTo>
                  <a:lnTo>
                    <a:pt x="385" y="1759"/>
                  </a:lnTo>
                  <a:lnTo>
                    <a:pt x="366" y="1752"/>
                  </a:lnTo>
                  <a:lnTo>
                    <a:pt x="348" y="1742"/>
                  </a:lnTo>
                  <a:lnTo>
                    <a:pt x="348" y="1681"/>
                  </a:lnTo>
                  <a:lnTo>
                    <a:pt x="342" y="1658"/>
                  </a:lnTo>
                  <a:lnTo>
                    <a:pt x="327" y="1662"/>
                  </a:lnTo>
                  <a:lnTo>
                    <a:pt x="313" y="1668"/>
                  </a:lnTo>
                  <a:lnTo>
                    <a:pt x="300" y="1672"/>
                  </a:lnTo>
                  <a:lnTo>
                    <a:pt x="288" y="1678"/>
                  </a:lnTo>
                  <a:lnTo>
                    <a:pt x="275" y="1682"/>
                  </a:lnTo>
                  <a:lnTo>
                    <a:pt x="262" y="1686"/>
                  </a:lnTo>
                  <a:lnTo>
                    <a:pt x="248" y="1688"/>
                  </a:lnTo>
                  <a:lnTo>
                    <a:pt x="232" y="1689"/>
                  </a:lnTo>
                  <a:lnTo>
                    <a:pt x="215" y="1689"/>
                  </a:lnTo>
                  <a:lnTo>
                    <a:pt x="199" y="1688"/>
                  </a:lnTo>
                  <a:lnTo>
                    <a:pt x="190" y="1688"/>
                  </a:lnTo>
                  <a:lnTo>
                    <a:pt x="182" y="1686"/>
                  </a:lnTo>
                  <a:lnTo>
                    <a:pt x="174" y="1684"/>
                  </a:lnTo>
                  <a:lnTo>
                    <a:pt x="165" y="1681"/>
                  </a:lnTo>
                  <a:lnTo>
                    <a:pt x="155" y="1675"/>
                  </a:lnTo>
                  <a:lnTo>
                    <a:pt x="146" y="1669"/>
                  </a:lnTo>
                  <a:lnTo>
                    <a:pt x="141" y="1666"/>
                  </a:lnTo>
                  <a:lnTo>
                    <a:pt x="137" y="1664"/>
                  </a:lnTo>
                  <a:lnTo>
                    <a:pt x="132" y="1662"/>
                  </a:lnTo>
                  <a:lnTo>
                    <a:pt x="126" y="1661"/>
                  </a:lnTo>
                  <a:lnTo>
                    <a:pt x="117" y="1662"/>
                  </a:lnTo>
                  <a:lnTo>
                    <a:pt x="108" y="1665"/>
                  </a:lnTo>
                  <a:lnTo>
                    <a:pt x="100" y="1668"/>
                  </a:lnTo>
                  <a:lnTo>
                    <a:pt x="94" y="1671"/>
                  </a:lnTo>
                  <a:lnTo>
                    <a:pt x="80" y="1682"/>
                  </a:lnTo>
                  <a:lnTo>
                    <a:pt x="65" y="1693"/>
                  </a:lnTo>
                  <a:lnTo>
                    <a:pt x="48" y="1702"/>
                  </a:lnTo>
                  <a:lnTo>
                    <a:pt x="32" y="1711"/>
                  </a:lnTo>
                  <a:lnTo>
                    <a:pt x="16" y="1721"/>
                  </a:lnTo>
                  <a:lnTo>
                    <a:pt x="0" y="1732"/>
                  </a:lnTo>
                  <a:lnTo>
                    <a:pt x="0" y="1732"/>
                  </a:lnTo>
                  <a:lnTo>
                    <a:pt x="9" y="1708"/>
                  </a:lnTo>
                  <a:lnTo>
                    <a:pt x="17" y="1687"/>
                  </a:lnTo>
                  <a:lnTo>
                    <a:pt x="27" y="1668"/>
                  </a:lnTo>
                  <a:lnTo>
                    <a:pt x="37" y="1650"/>
                  </a:lnTo>
                  <a:lnTo>
                    <a:pt x="58" y="1614"/>
                  </a:lnTo>
                  <a:lnTo>
                    <a:pt x="84" y="1575"/>
                  </a:lnTo>
                  <a:lnTo>
                    <a:pt x="95" y="1558"/>
                  </a:lnTo>
                  <a:lnTo>
                    <a:pt x="106" y="1543"/>
                  </a:lnTo>
                  <a:lnTo>
                    <a:pt x="117" y="1527"/>
                  </a:lnTo>
                  <a:lnTo>
                    <a:pt x="127" y="1513"/>
                  </a:lnTo>
                  <a:lnTo>
                    <a:pt x="139" y="1499"/>
                  </a:lnTo>
                  <a:lnTo>
                    <a:pt x="151" y="1486"/>
                  </a:lnTo>
                  <a:lnTo>
                    <a:pt x="163" y="1476"/>
                  </a:lnTo>
                  <a:lnTo>
                    <a:pt x="176" y="1465"/>
                  </a:lnTo>
                  <a:lnTo>
                    <a:pt x="190" y="1454"/>
                  </a:lnTo>
                  <a:lnTo>
                    <a:pt x="204" y="1445"/>
                  </a:lnTo>
                  <a:lnTo>
                    <a:pt x="219" y="1438"/>
                  </a:lnTo>
                  <a:lnTo>
                    <a:pt x="234" y="1432"/>
                  </a:lnTo>
                  <a:lnTo>
                    <a:pt x="250" y="1427"/>
                  </a:lnTo>
                  <a:lnTo>
                    <a:pt x="268" y="1424"/>
                  </a:lnTo>
                  <a:lnTo>
                    <a:pt x="286" y="1422"/>
                  </a:lnTo>
                  <a:lnTo>
                    <a:pt x="306" y="1421"/>
                  </a:lnTo>
                  <a:lnTo>
                    <a:pt x="314" y="1422"/>
                  </a:lnTo>
                  <a:lnTo>
                    <a:pt x="322" y="1423"/>
                  </a:lnTo>
                  <a:lnTo>
                    <a:pt x="330" y="1425"/>
                  </a:lnTo>
                  <a:lnTo>
                    <a:pt x="339" y="1426"/>
                  </a:lnTo>
                  <a:lnTo>
                    <a:pt x="345" y="1425"/>
                  </a:lnTo>
                  <a:lnTo>
                    <a:pt x="351" y="1423"/>
                  </a:lnTo>
                  <a:lnTo>
                    <a:pt x="356" y="1421"/>
                  </a:lnTo>
                  <a:lnTo>
                    <a:pt x="361" y="1416"/>
                  </a:lnTo>
                  <a:lnTo>
                    <a:pt x="365" y="1413"/>
                  </a:lnTo>
                  <a:lnTo>
                    <a:pt x="369" y="1409"/>
                  </a:lnTo>
                  <a:lnTo>
                    <a:pt x="375" y="1405"/>
                  </a:lnTo>
                  <a:lnTo>
                    <a:pt x="381" y="1403"/>
                  </a:lnTo>
                  <a:lnTo>
                    <a:pt x="392" y="1400"/>
                  </a:lnTo>
                  <a:lnTo>
                    <a:pt x="401" y="1396"/>
                  </a:lnTo>
                  <a:lnTo>
                    <a:pt x="409" y="1391"/>
                  </a:lnTo>
                  <a:lnTo>
                    <a:pt x="417" y="1386"/>
                  </a:lnTo>
                  <a:lnTo>
                    <a:pt x="424" y="1381"/>
                  </a:lnTo>
                  <a:lnTo>
                    <a:pt x="431" y="1374"/>
                  </a:lnTo>
                  <a:lnTo>
                    <a:pt x="438" y="1367"/>
                  </a:lnTo>
                  <a:lnTo>
                    <a:pt x="446" y="1359"/>
                  </a:lnTo>
                  <a:lnTo>
                    <a:pt x="451" y="1349"/>
                  </a:lnTo>
                  <a:lnTo>
                    <a:pt x="455" y="1340"/>
                  </a:lnTo>
                  <a:lnTo>
                    <a:pt x="457" y="1335"/>
                  </a:lnTo>
                  <a:lnTo>
                    <a:pt x="459" y="1331"/>
                  </a:lnTo>
                  <a:lnTo>
                    <a:pt x="461" y="1327"/>
                  </a:lnTo>
                  <a:lnTo>
                    <a:pt x="465" y="1322"/>
                  </a:lnTo>
                  <a:lnTo>
                    <a:pt x="474" y="1314"/>
                  </a:lnTo>
                  <a:lnTo>
                    <a:pt x="482" y="1304"/>
                  </a:lnTo>
                  <a:lnTo>
                    <a:pt x="488" y="1295"/>
                  </a:lnTo>
                  <a:lnTo>
                    <a:pt x="493" y="1287"/>
                  </a:lnTo>
                  <a:lnTo>
                    <a:pt x="500" y="1279"/>
                  </a:lnTo>
                  <a:lnTo>
                    <a:pt x="508" y="1272"/>
                  </a:lnTo>
                  <a:lnTo>
                    <a:pt x="516" y="1264"/>
                  </a:lnTo>
                  <a:lnTo>
                    <a:pt x="527" y="1257"/>
                  </a:lnTo>
                  <a:lnTo>
                    <a:pt x="539" y="1254"/>
                  </a:lnTo>
                  <a:lnTo>
                    <a:pt x="550" y="1252"/>
                  </a:lnTo>
                  <a:lnTo>
                    <a:pt x="555" y="1251"/>
                  </a:lnTo>
                  <a:lnTo>
                    <a:pt x="560" y="1249"/>
                  </a:lnTo>
                  <a:lnTo>
                    <a:pt x="566" y="1247"/>
                  </a:lnTo>
                  <a:lnTo>
                    <a:pt x="571" y="1243"/>
                  </a:lnTo>
                  <a:lnTo>
                    <a:pt x="580" y="1238"/>
                  </a:lnTo>
                  <a:lnTo>
                    <a:pt x="586" y="1233"/>
                  </a:lnTo>
                  <a:lnTo>
                    <a:pt x="593" y="1226"/>
                  </a:lnTo>
                  <a:lnTo>
                    <a:pt x="598" y="1219"/>
                  </a:lnTo>
                  <a:lnTo>
                    <a:pt x="603" y="1212"/>
                  </a:lnTo>
                  <a:lnTo>
                    <a:pt x="607" y="1205"/>
                  </a:lnTo>
                  <a:lnTo>
                    <a:pt x="610" y="1197"/>
                  </a:lnTo>
                  <a:lnTo>
                    <a:pt x="613" y="1189"/>
                  </a:lnTo>
                  <a:lnTo>
                    <a:pt x="624" y="1156"/>
                  </a:lnTo>
                  <a:lnTo>
                    <a:pt x="639" y="1120"/>
                  </a:lnTo>
                  <a:lnTo>
                    <a:pt x="648" y="1103"/>
                  </a:lnTo>
                  <a:lnTo>
                    <a:pt x="655" y="1088"/>
                  </a:lnTo>
                  <a:lnTo>
                    <a:pt x="664" y="1074"/>
                  </a:lnTo>
                  <a:lnTo>
                    <a:pt x="675" y="1059"/>
                  </a:lnTo>
                  <a:lnTo>
                    <a:pt x="693" y="1040"/>
                  </a:lnTo>
                  <a:lnTo>
                    <a:pt x="712" y="1025"/>
                  </a:lnTo>
                  <a:lnTo>
                    <a:pt x="719" y="1017"/>
                  </a:lnTo>
                  <a:lnTo>
                    <a:pt x="726" y="1007"/>
                  </a:lnTo>
                  <a:lnTo>
                    <a:pt x="728" y="1003"/>
                  </a:lnTo>
                  <a:lnTo>
                    <a:pt x="730" y="997"/>
                  </a:lnTo>
                  <a:lnTo>
                    <a:pt x="731" y="991"/>
                  </a:lnTo>
                  <a:lnTo>
                    <a:pt x="731" y="984"/>
                  </a:lnTo>
                  <a:lnTo>
                    <a:pt x="729" y="968"/>
                  </a:lnTo>
                  <a:lnTo>
                    <a:pt x="726" y="952"/>
                  </a:lnTo>
                  <a:lnTo>
                    <a:pt x="727" y="945"/>
                  </a:lnTo>
                  <a:lnTo>
                    <a:pt x="729" y="939"/>
                  </a:lnTo>
                  <a:lnTo>
                    <a:pt x="733" y="933"/>
                  </a:lnTo>
                  <a:lnTo>
                    <a:pt x="738" y="928"/>
                  </a:lnTo>
                  <a:lnTo>
                    <a:pt x="742" y="923"/>
                  </a:lnTo>
                  <a:lnTo>
                    <a:pt x="746" y="917"/>
                  </a:lnTo>
                  <a:lnTo>
                    <a:pt x="751" y="912"/>
                  </a:lnTo>
                  <a:lnTo>
                    <a:pt x="754" y="904"/>
                  </a:lnTo>
                  <a:lnTo>
                    <a:pt x="760" y="886"/>
                  </a:lnTo>
                  <a:lnTo>
                    <a:pt x="766" y="870"/>
                  </a:lnTo>
                  <a:lnTo>
                    <a:pt x="770" y="854"/>
                  </a:lnTo>
                  <a:lnTo>
                    <a:pt x="776" y="835"/>
                  </a:lnTo>
                  <a:lnTo>
                    <a:pt x="784" y="811"/>
                  </a:lnTo>
                  <a:lnTo>
                    <a:pt x="792" y="792"/>
                  </a:lnTo>
                  <a:lnTo>
                    <a:pt x="800" y="773"/>
                  </a:lnTo>
                  <a:lnTo>
                    <a:pt x="810" y="751"/>
                  </a:lnTo>
                  <a:lnTo>
                    <a:pt x="815" y="734"/>
                  </a:lnTo>
                  <a:lnTo>
                    <a:pt x="820" y="717"/>
                  </a:lnTo>
                  <a:lnTo>
                    <a:pt x="822" y="710"/>
                  </a:lnTo>
                  <a:lnTo>
                    <a:pt x="824" y="702"/>
                  </a:lnTo>
                  <a:lnTo>
                    <a:pt x="829" y="695"/>
                  </a:lnTo>
                  <a:lnTo>
                    <a:pt x="835" y="689"/>
                  </a:lnTo>
                  <a:lnTo>
                    <a:pt x="846" y="682"/>
                  </a:lnTo>
                  <a:lnTo>
                    <a:pt x="855" y="675"/>
                  </a:lnTo>
                  <a:lnTo>
                    <a:pt x="866" y="671"/>
                  </a:lnTo>
                  <a:lnTo>
                    <a:pt x="876" y="666"/>
                  </a:lnTo>
                  <a:lnTo>
                    <a:pt x="886" y="661"/>
                  </a:lnTo>
                  <a:lnTo>
                    <a:pt x="895" y="655"/>
                  </a:lnTo>
                  <a:lnTo>
                    <a:pt x="903" y="648"/>
                  </a:lnTo>
                  <a:lnTo>
                    <a:pt x="910" y="639"/>
                  </a:lnTo>
                  <a:lnTo>
                    <a:pt x="923" y="618"/>
                  </a:lnTo>
                  <a:lnTo>
                    <a:pt x="933" y="598"/>
                  </a:lnTo>
                  <a:lnTo>
                    <a:pt x="941" y="578"/>
                  </a:lnTo>
                  <a:lnTo>
                    <a:pt x="947" y="559"/>
                  </a:lnTo>
                  <a:lnTo>
                    <a:pt x="952" y="539"/>
                  </a:lnTo>
                  <a:lnTo>
                    <a:pt x="959" y="520"/>
                  </a:lnTo>
                  <a:lnTo>
                    <a:pt x="967" y="498"/>
                  </a:lnTo>
                  <a:lnTo>
                    <a:pt x="975" y="476"/>
                  </a:lnTo>
                  <a:lnTo>
                    <a:pt x="983" y="462"/>
                  </a:lnTo>
                  <a:lnTo>
                    <a:pt x="991" y="449"/>
                  </a:lnTo>
                  <a:lnTo>
                    <a:pt x="1000" y="436"/>
                  </a:lnTo>
                  <a:lnTo>
                    <a:pt x="1008" y="425"/>
                  </a:lnTo>
                  <a:lnTo>
                    <a:pt x="1015" y="413"/>
                  </a:lnTo>
                  <a:lnTo>
                    <a:pt x="1021" y="400"/>
                  </a:lnTo>
                  <a:lnTo>
                    <a:pt x="1023" y="392"/>
                  </a:lnTo>
                  <a:lnTo>
                    <a:pt x="1025" y="386"/>
                  </a:lnTo>
                  <a:lnTo>
                    <a:pt x="1025" y="378"/>
                  </a:lnTo>
                  <a:lnTo>
                    <a:pt x="1026" y="370"/>
                  </a:lnTo>
                  <a:lnTo>
                    <a:pt x="1026" y="357"/>
                  </a:lnTo>
                  <a:lnTo>
                    <a:pt x="1027" y="345"/>
                  </a:lnTo>
                  <a:lnTo>
                    <a:pt x="1027" y="339"/>
                  </a:lnTo>
                  <a:lnTo>
                    <a:pt x="1026" y="334"/>
                  </a:lnTo>
                  <a:lnTo>
                    <a:pt x="1025" y="328"/>
                  </a:lnTo>
                  <a:lnTo>
                    <a:pt x="1023" y="322"/>
                  </a:lnTo>
                  <a:lnTo>
                    <a:pt x="1019" y="316"/>
                  </a:lnTo>
                  <a:lnTo>
                    <a:pt x="1014" y="310"/>
                  </a:lnTo>
                  <a:lnTo>
                    <a:pt x="1009" y="306"/>
                  </a:lnTo>
                  <a:lnTo>
                    <a:pt x="1003" y="302"/>
                  </a:lnTo>
                  <a:lnTo>
                    <a:pt x="998" y="297"/>
                  </a:lnTo>
                  <a:lnTo>
                    <a:pt x="994" y="293"/>
                  </a:lnTo>
                  <a:lnTo>
                    <a:pt x="991" y="290"/>
                  </a:lnTo>
                  <a:lnTo>
                    <a:pt x="990" y="287"/>
                  </a:lnTo>
                  <a:lnTo>
                    <a:pt x="989" y="283"/>
                  </a:lnTo>
                  <a:lnTo>
                    <a:pt x="989" y="280"/>
                  </a:lnTo>
                  <a:lnTo>
                    <a:pt x="989" y="274"/>
                  </a:lnTo>
                  <a:lnTo>
                    <a:pt x="990" y="267"/>
                  </a:lnTo>
                  <a:lnTo>
                    <a:pt x="992" y="262"/>
                  </a:lnTo>
                  <a:lnTo>
                    <a:pt x="995" y="256"/>
                  </a:lnTo>
                  <a:lnTo>
                    <a:pt x="1001" y="247"/>
                  </a:lnTo>
                  <a:lnTo>
                    <a:pt x="1008" y="238"/>
                  </a:lnTo>
                  <a:lnTo>
                    <a:pt x="1016" y="229"/>
                  </a:lnTo>
                  <a:lnTo>
                    <a:pt x="1024" y="221"/>
                  </a:lnTo>
                  <a:lnTo>
                    <a:pt x="1031" y="210"/>
                  </a:lnTo>
                  <a:lnTo>
                    <a:pt x="1037" y="198"/>
                  </a:lnTo>
                  <a:lnTo>
                    <a:pt x="1048" y="172"/>
                  </a:lnTo>
                  <a:lnTo>
                    <a:pt x="1055" y="147"/>
                  </a:lnTo>
                  <a:lnTo>
                    <a:pt x="1063" y="123"/>
                  </a:lnTo>
                  <a:lnTo>
                    <a:pt x="1068" y="101"/>
                  </a:lnTo>
                  <a:lnTo>
                    <a:pt x="1075" y="77"/>
                  </a:lnTo>
                  <a:lnTo>
                    <a:pt x="1080" y="53"/>
                  </a:lnTo>
                  <a:lnTo>
                    <a:pt x="1088" y="28"/>
                  </a:lnTo>
                  <a:lnTo>
                    <a:pt x="1096" y="0"/>
                  </a:lnTo>
                  <a:lnTo>
                    <a:pt x="1096" y="0"/>
                  </a:lnTo>
                  <a:close/>
                </a:path>
              </a:pathLst>
            </a:custGeom>
            <a:solidFill>
              <a:srgbClr val="C1EFA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20">
              <a:extLst>
                <a:ext uri="{FF2B5EF4-FFF2-40B4-BE49-F238E27FC236}">
                  <a16:creationId xmlns:a16="http://schemas.microsoft.com/office/drawing/2014/main" id="{BF1A964C-5ACF-4ED1-A821-4F6681FBE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4475" y="1271588"/>
              <a:ext cx="1122363" cy="1524000"/>
            </a:xfrm>
            <a:custGeom>
              <a:avLst/>
              <a:gdLst>
                <a:gd name="T0" fmla="*/ 1259 w 2831"/>
                <a:gd name="T1" fmla="*/ 87 h 3841"/>
                <a:gd name="T2" fmla="*/ 1401 w 2831"/>
                <a:gd name="T3" fmla="*/ 146 h 3841"/>
                <a:gd name="T4" fmla="*/ 1463 w 2831"/>
                <a:gd name="T5" fmla="*/ 212 h 3841"/>
                <a:gd name="T6" fmla="*/ 1616 w 2831"/>
                <a:gd name="T7" fmla="*/ 275 h 3841"/>
                <a:gd name="T8" fmla="*/ 1713 w 2831"/>
                <a:gd name="T9" fmla="*/ 433 h 3841"/>
                <a:gd name="T10" fmla="*/ 1726 w 2831"/>
                <a:gd name="T11" fmla="*/ 506 h 3841"/>
                <a:gd name="T12" fmla="*/ 1687 w 2831"/>
                <a:gd name="T13" fmla="*/ 614 h 3841"/>
                <a:gd name="T14" fmla="*/ 1687 w 2831"/>
                <a:gd name="T15" fmla="*/ 884 h 3841"/>
                <a:gd name="T16" fmla="*/ 1729 w 2831"/>
                <a:gd name="T17" fmla="*/ 792 h 3841"/>
                <a:gd name="T18" fmla="*/ 1791 w 2831"/>
                <a:gd name="T19" fmla="*/ 616 h 3841"/>
                <a:gd name="T20" fmla="*/ 1835 w 2831"/>
                <a:gd name="T21" fmla="*/ 759 h 3841"/>
                <a:gd name="T22" fmla="*/ 2024 w 2831"/>
                <a:gd name="T23" fmla="*/ 618 h 3841"/>
                <a:gd name="T24" fmla="*/ 2290 w 2831"/>
                <a:gd name="T25" fmla="*/ 740 h 3841"/>
                <a:gd name="T26" fmla="*/ 2592 w 2831"/>
                <a:gd name="T27" fmla="*/ 841 h 3841"/>
                <a:gd name="T28" fmla="*/ 2692 w 2831"/>
                <a:gd name="T29" fmla="*/ 838 h 3841"/>
                <a:gd name="T30" fmla="*/ 2831 w 2831"/>
                <a:gd name="T31" fmla="*/ 881 h 3841"/>
                <a:gd name="T32" fmla="*/ 2704 w 2831"/>
                <a:gd name="T33" fmla="*/ 1031 h 3841"/>
                <a:gd name="T34" fmla="*/ 2543 w 2831"/>
                <a:gd name="T35" fmla="*/ 1143 h 3841"/>
                <a:gd name="T36" fmla="*/ 2452 w 2831"/>
                <a:gd name="T37" fmla="*/ 1167 h 3841"/>
                <a:gd name="T38" fmla="*/ 2311 w 2831"/>
                <a:gd name="T39" fmla="*/ 1402 h 3841"/>
                <a:gd name="T40" fmla="*/ 2336 w 2831"/>
                <a:gd name="T41" fmla="*/ 1500 h 3841"/>
                <a:gd name="T42" fmla="*/ 2343 w 2831"/>
                <a:gd name="T43" fmla="*/ 1650 h 3841"/>
                <a:gd name="T44" fmla="*/ 2319 w 2831"/>
                <a:gd name="T45" fmla="*/ 1929 h 3841"/>
                <a:gd name="T46" fmla="*/ 2214 w 2831"/>
                <a:gd name="T47" fmla="*/ 2069 h 3841"/>
                <a:gd name="T48" fmla="*/ 2225 w 2831"/>
                <a:gd name="T49" fmla="*/ 2228 h 3841"/>
                <a:gd name="T50" fmla="*/ 2292 w 2831"/>
                <a:gd name="T51" fmla="*/ 2382 h 3841"/>
                <a:gd name="T52" fmla="*/ 2208 w 2831"/>
                <a:gd name="T53" fmla="*/ 2558 h 3841"/>
                <a:gd name="T54" fmla="*/ 1939 w 2831"/>
                <a:gd name="T55" fmla="*/ 2469 h 3841"/>
                <a:gd name="T56" fmla="*/ 1752 w 2831"/>
                <a:gd name="T57" fmla="*/ 2523 h 3841"/>
                <a:gd name="T58" fmla="*/ 1659 w 2831"/>
                <a:gd name="T59" fmla="*/ 2619 h 3841"/>
                <a:gd name="T60" fmla="*/ 1449 w 2831"/>
                <a:gd name="T61" fmla="*/ 2727 h 3841"/>
                <a:gd name="T62" fmla="*/ 1266 w 2831"/>
                <a:gd name="T63" fmla="*/ 2751 h 3841"/>
                <a:gd name="T64" fmla="*/ 1137 w 2831"/>
                <a:gd name="T65" fmla="*/ 2889 h 3841"/>
                <a:gd name="T66" fmla="*/ 1009 w 2831"/>
                <a:gd name="T67" fmla="*/ 3254 h 3841"/>
                <a:gd name="T68" fmla="*/ 979 w 2831"/>
                <a:gd name="T69" fmla="*/ 3398 h 3841"/>
                <a:gd name="T70" fmla="*/ 1002 w 2831"/>
                <a:gd name="T71" fmla="*/ 3597 h 3841"/>
                <a:gd name="T72" fmla="*/ 867 w 2831"/>
                <a:gd name="T73" fmla="*/ 3783 h 3841"/>
                <a:gd name="T74" fmla="*/ 749 w 2831"/>
                <a:gd name="T75" fmla="*/ 3491 h 3841"/>
                <a:gd name="T76" fmla="*/ 578 w 2831"/>
                <a:gd name="T77" fmla="*/ 3277 h 3841"/>
                <a:gd name="T78" fmla="*/ 675 w 2831"/>
                <a:gd name="T79" fmla="*/ 3093 h 3841"/>
                <a:gd name="T80" fmla="*/ 766 w 2831"/>
                <a:gd name="T81" fmla="*/ 3033 h 3841"/>
                <a:gd name="T82" fmla="*/ 709 w 2831"/>
                <a:gd name="T83" fmla="*/ 2920 h 3841"/>
                <a:gd name="T84" fmla="*/ 532 w 2831"/>
                <a:gd name="T85" fmla="*/ 2900 h 3841"/>
                <a:gd name="T86" fmla="*/ 358 w 2831"/>
                <a:gd name="T87" fmla="*/ 2619 h 3841"/>
                <a:gd name="T88" fmla="*/ 289 w 2831"/>
                <a:gd name="T89" fmla="*/ 2503 h 3841"/>
                <a:gd name="T90" fmla="*/ 376 w 2831"/>
                <a:gd name="T91" fmla="*/ 2357 h 3841"/>
                <a:gd name="T92" fmla="*/ 441 w 2831"/>
                <a:gd name="T93" fmla="*/ 2085 h 3841"/>
                <a:gd name="T94" fmla="*/ 459 w 2831"/>
                <a:gd name="T95" fmla="*/ 1805 h 3841"/>
                <a:gd name="T96" fmla="*/ 275 w 2831"/>
                <a:gd name="T97" fmla="*/ 1682 h 3841"/>
                <a:gd name="T98" fmla="*/ 108 w 2831"/>
                <a:gd name="T99" fmla="*/ 1665 h 3841"/>
                <a:gd name="T100" fmla="*/ 106 w 2831"/>
                <a:gd name="T101" fmla="*/ 1543 h 3841"/>
                <a:gd name="T102" fmla="*/ 330 w 2831"/>
                <a:gd name="T103" fmla="*/ 1425 h 3841"/>
                <a:gd name="T104" fmla="*/ 446 w 2831"/>
                <a:gd name="T105" fmla="*/ 1359 h 3841"/>
                <a:gd name="T106" fmla="*/ 555 w 2831"/>
                <a:gd name="T107" fmla="*/ 1251 h 3841"/>
                <a:gd name="T108" fmla="*/ 675 w 2831"/>
                <a:gd name="T109" fmla="*/ 1059 h 3841"/>
                <a:gd name="T110" fmla="*/ 751 w 2831"/>
                <a:gd name="T111" fmla="*/ 912 h 3841"/>
                <a:gd name="T112" fmla="*/ 855 w 2831"/>
                <a:gd name="T113" fmla="*/ 675 h 3841"/>
                <a:gd name="T114" fmla="*/ 1000 w 2831"/>
                <a:gd name="T115" fmla="*/ 436 h 3841"/>
                <a:gd name="T116" fmla="*/ 1003 w 2831"/>
                <a:gd name="T117" fmla="*/ 302 h 3841"/>
                <a:gd name="T118" fmla="*/ 1048 w 2831"/>
                <a:gd name="T119" fmla="*/ 172 h 3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31" h="3841">
                  <a:moveTo>
                    <a:pt x="1096" y="0"/>
                  </a:moveTo>
                  <a:lnTo>
                    <a:pt x="1108" y="8"/>
                  </a:lnTo>
                  <a:lnTo>
                    <a:pt x="1121" y="15"/>
                  </a:lnTo>
                  <a:lnTo>
                    <a:pt x="1133" y="23"/>
                  </a:lnTo>
                  <a:lnTo>
                    <a:pt x="1146" y="33"/>
                  </a:lnTo>
                  <a:lnTo>
                    <a:pt x="1169" y="53"/>
                  </a:lnTo>
                  <a:lnTo>
                    <a:pt x="1189" y="73"/>
                  </a:lnTo>
                  <a:lnTo>
                    <a:pt x="1200" y="80"/>
                  </a:lnTo>
                  <a:lnTo>
                    <a:pt x="1211" y="87"/>
                  </a:lnTo>
                  <a:lnTo>
                    <a:pt x="1217" y="89"/>
                  </a:lnTo>
                  <a:lnTo>
                    <a:pt x="1224" y="91"/>
                  </a:lnTo>
                  <a:lnTo>
                    <a:pt x="1231" y="92"/>
                  </a:lnTo>
                  <a:lnTo>
                    <a:pt x="1239" y="92"/>
                  </a:lnTo>
                  <a:lnTo>
                    <a:pt x="1245" y="91"/>
                  </a:lnTo>
                  <a:lnTo>
                    <a:pt x="1250" y="90"/>
                  </a:lnTo>
                  <a:lnTo>
                    <a:pt x="1255" y="89"/>
                  </a:lnTo>
                  <a:lnTo>
                    <a:pt x="1259" y="87"/>
                  </a:lnTo>
                  <a:lnTo>
                    <a:pt x="1265" y="85"/>
                  </a:lnTo>
                  <a:lnTo>
                    <a:pt x="1269" y="82"/>
                  </a:lnTo>
                  <a:lnTo>
                    <a:pt x="1274" y="81"/>
                  </a:lnTo>
                  <a:lnTo>
                    <a:pt x="1281" y="81"/>
                  </a:lnTo>
                  <a:lnTo>
                    <a:pt x="1289" y="81"/>
                  </a:lnTo>
                  <a:lnTo>
                    <a:pt x="1297" y="84"/>
                  </a:lnTo>
                  <a:lnTo>
                    <a:pt x="1304" y="87"/>
                  </a:lnTo>
                  <a:lnTo>
                    <a:pt x="1310" y="91"/>
                  </a:lnTo>
                  <a:lnTo>
                    <a:pt x="1323" y="102"/>
                  </a:lnTo>
                  <a:lnTo>
                    <a:pt x="1337" y="112"/>
                  </a:lnTo>
                  <a:lnTo>
                    <a:pt x="1360" y="122"/>
                  </a:lnTo>
                  <a:lnTo>
                    <a:pt x="1381" y="131"/>
                  </a:lnTo>
                  <a:lnTo>
                    <a:pt x="1386" y="133"/>
                  </a:lnTo>
                  <a:lnTo>
                    <a:pt x="1390" y="136"/>
                  </a:lnTo>
                  <a:lnTo>
                    <a:pt x="1394" y="140"/>
                  </a:lnTo>
                  <a:lnTo>
                    <a:pt x="1397" y="143"/>
                  </a:lnTo>
                  <a:lnTo>
                    <a:pt x="1401" y="146"/>
                  </a:lnTo>
                  <a:lnTo>
                    <a:pt x="1403" y="152"/>
                  </a:lnTo>
                  <a:lnTo>
                    <a:pt x="1404" y="156"/>
                  </a:lnTo>
                  <a:lnTo>
                    <a:pt x="1404" y="162"/>
                  </a:lnTo>
                  <a:lnTo>
                    <a:pt x="1403" y="169"/>
                  </a:lnTo>
                  <a:lnTo>
                    <a:pt x="1402" y="174"/>
                  </a:lnTo>
                  <a:lnTo>
                    <a:pt x="1399" y="180"/>
                  </a:lnTo>
                  <a:lnTo>
                    <a:pt x="1395" y="185"/>
                  </a:lnTo>
                  <a:lnTo>
                    <a:pt x="1392" y="189"/>
                  </a:lnTo>
                  <a:lnTo>
                    <a:pt x="1389" y="195"/>
                  </a:lnTo>
                  <a:lnTo>
                    <a:pt x="1386" y="200"/>
                  </a:lnTo>
                  <a:lnTo>
                    <a:pt x="1385" y="207"/>
                  </a:lnTo>
                  <a:lnTo>
                    <a:pt x="1395" y="212"/>
                  </a:lnTo>
                  <a:lnTo>
                    <a:pt x="1412" y="212"/>
                  </a:lnTo>
                  <a:lnTo>
                    <a:pt x="1424" y="212"/>
                  </a:lnTo>
                  <a:lnTo>
                    <a:pt x="1439" y="212"/>
                  </a:lnTo>
                  <a:lnTo>
                    <a:pt x="1454" y="212"/>
                  </a:lnTo>
                  <a:lnTo>
                    <a:pt x="1463" y="212"/>
                  </a:lnTo>
                  <a:lnTo>
                    <a:pt x="1472" y="210"/>
                  </a:lnTo>
                  <a:lnTo>
                    <a:pt x="1481" y="208"/>
                  </a:lnTo>
                  <a:lnTo>
                    <a:pt x="1488" y="206"/>
                  </a:lnTo>
                  <a:lnTo>
                    <a:pt x="1497" y="203"/>
                  </a:lnTo>
                  <a:lnTo>
                    <a:pt x="1504" y="201"/>
                  </a:lnTo>
                  <a:lnTo>
                    <a:pt x="1513" y="199"/>
                  </a:lnTo>
                  <a:lnTo>
                    <a:pt x="1523" y="198"/>
                  </a:lnTo>
                  <a:lnTo>
                    <a:pt x="1529" y="199"/>
                  </a:lnTo>
                  <a:lnTo>
                    <a:pt x="1535" y="200"/>
                  </a:lnTo>
                  <a:lnTo>
                    <a:pt x="1540" y="201"/>
                  </a:lnTo>
                  <a:lnTo>
                    <a:pt x="1544" y="203"/>
                  </a:lnTo>
                  <a:lnTo>
                    <a:pt x="1552" y="209"/>
                  </a:lnTo>
                  <a:lnTo>
                    <a:pt x="1559" y="216"/>
                  </a:lnTo>
                  <a:lnTo>
                    <a:pt x="1574" y="234"/>
                  </a:lnTo>
                  <a:lnTo>
                    <a:pt x="1589" y="252"/>
                  </a:lnTo>
                  <a:lnTo>
                    <a:pt x="1603" y="264"/>
                  </a:lnTo>
                  <a:lnTo>
                    <a:pt x="1616" y="275"/>
                  </a:lnTo>
                  <a:lnTo>
                    <a:pt x="1629" y="285"/>
                  </a:lnTo>
                  <a:lnTo>
                    <a:pt x="1643" y="296"/>
                  </a:lnTo>
                  <a:lnTo>
                    <a:pt x="1652" y="305"/>
                  </a:lnTo>
                  <a:lnTo>
                    <a:pt x="1660" y="314"/>
                  </a:lnTo>
                  <a:lnTo>
                    <a:pt x="1668" y="322"/>
                  </a:lnTo>
                  <a:lnTo>
                    <a:pt x="1674" y="332"/>
                  </a:lnTo>
                  <a:lnTo>
                    <a:pt x="1679" y="342"/>
                  </a:lnTo>
                  <a:lnTo>
                    <a:pt x="1684" y="351"/>
                  </a:lnTo>
                  <a:lnTo>
                    <a:pt x="1688" y="363"/>
                  </a:lnTo>
                  <a:lnTo>
                    <a:pt x="1692" y="375"/>
                  </a:lnTo>
                  <a:lnTo>
                    <a:pt x="1698" y="387"/>
                  </a:lnTo>
                  <a:lnTo>
                    <a:pt x="1704" y="398"/>
                  </a:lnTo>
                  <a:lnTo>
                    <a:pt x="1707" y="403"/>
                  </a:lnTo>
                  <a:lnTo>
                    <a:pt x="1710" y="409"/>
                  </a:lnTo>
                  <a:lnTo>
                    <a:pt x="1712" y="415"/>
                  </a:lnTo>
                  <a:lnTo>
                    <a:pt x="1713" y="422"/>
                  </a:lnTo>
                  <a:lnTo>
                    <a:pt x="1713" y="433"/>
                  </a:lnTo>
                  <a:lnTo>
                    <a:pt x="1713" y="445"/>
                  </a:lnTo>
                  <a:lnTo>
                    <a:pt x="1673" y="449"/>
                  </a:lnTo>
                  <a:lnTo>
                    <a:pt x="1637" y="450"/>
                  </a:lnTo>
                  <a:lnTo>
                    <a:pt x="1629" y="451"/>
                  </a:lnTo>
                  <a:lnTo>
                    <a:pt x="1621" y="452"/>
                  </a:lnTo>
                  <a:lnTo>
                    <a:pt x="1614" y="454"/>
                  </a:lnTo>
                  <a:lnTo>
                    <a:pt x="1606" y="457"/>
                  </a:lnTo>
                  <a:lnTo>
                    <a:pt x="1598" y="460"/>
                  </a:lnTo>
                  <a:lnTo>
                    <a:pt x="1591" y="466"/>
                  </a:lnTo>
                  <a:lnTo>
                    <a:pt x="1584" y="471"/>
                  </a:lnTo>
                  <a:lnTo>
                    <a:pt x="1578" y="479"/>
                  </a:lnTo>
                  <a:lnTo>
                    <a:pt x="1608" y="483"/>
                  </a:lnTo>
                  <a:lnTo>
                    <a:pt x="1635" y="489"/>
                  </a:lnTo>
                  <a:lnTo>
                    <a:pt x="1661" y="494"/>
                  </a:lnTo>
                  <a:lnTo>
                    <a:pt x="1690" y="501"/>
                  </a:lnTo>
                  <a:lnTo>
                    <a:pt x="1707" y="504"/>
                  </a:lnTo>
                  <a:lnTo>
                    <a:pt x="1726" y="506"/>
                  </a:lnTo>
                  <a:lnTo>
                    <a:pt x="1734" y="507"/>
                  </a:lnTo>
                  <a:lnTo>
                    <a:pt x="1740" y="510"/>
                  </a:lnTo>
                  <a:lnTo>
                    <a:pt x="1743" y="512"/>
                  </a:lnTo>
                  <a:lnTo>
                    <a:pt x="1744" y="514"/>
                  </a:lnTo>
                  <a:lnTo>
                    <a:pt x="1745" y="519"/>
                  </a:lnTo>
                  <a:lnTo>
                    <a:pt x="1746" y="522"/>
                  </a:lnTo>
                  <a:lnTo>
                    <a:pt x="1745" y="527"/>
                  </a:lnTo>
                  <a:lnTo>
                    <a:pt x="1745" y="533"/>
                  </a:lnTo>
                  <a:lnTo>
                    <a:pt x="1743" y="537"/>
                  </a:lnTo>
                  <a:lnTo>
                    <a:pt x="1741" y="541"/>
                  </a:lnTo>
                  <a:lnTo>
                    <a:pt x="1736" y="550"/>
                  </a:lnTo>
                  <a:lnTo>
                    <a:pt x="1729" y="557"/>
                  </a:lnTo>
                  <a:lnTo>
                    <a:pt x="1722" y="564"/>
                  </a:lnTo>
                  <a:lnTo>
                    <a:pt x="1714" y="571"/>
                  </a:lnTo>
                  <a:lnTo>
                    <a:pt x="1707" y="579"/>
                  </a:lnTo>
                  <a:lnTo>
                    <a:pt x="1701" y="588"/>
                  </a:lnTo>
                  <a:lnTo>
                    <a:pt x="1687" y="614"/>
                  </a:lnTo>
                  <a:lnTo>
                    <a:pt x="1675" y="639"/>
                  </a:lnTo>
                  <a:lnTo>
                    <a:pt x="1664" y="661"/>
                  </a:lnTo>
                  <a:lnTo>
                    <a:pt x="1656" y="685"/>
                  </a:lnTo>
                  <a:lnTo>
                    <a:pt x="1649" y="709"/>
                  </a:lnTo>
                  <a:lnTo>
                    <a:pt x="1644" y="734"/>
                  </a:lnTo>
                  <a:lnTo>
                    <a:pt x="1642" y="747"/>
                  </a:lnTo>
                  <a:lnTo>
                    <a:pt x="1641" y="761"/>
                  </a:lnTo>
                  <a:lnTo>
                    <a:pt x="1639" y="775"/>
                  </a:lnTo>
                  <a:lnTo>
                    <a:pt x="1639" y="790"/>
                  </a:lnTo>
                  <a:lnTo>
                    <a:pt x="1641" y="802"/>
                  </a:lnTo>
                  <a:lnTo>
                    <a:pt x="1643" y="811"/>
                  </a:lnTo>
                  <a:lnTo>
                    <a:pt x="1646" y="821"/>
                  </a:lnTo>
                  <a:lnTo>
                    <a:pt x="1651" y="830"/>
                  </a:lnTo>
                  <a:lnTo>
                    <a:pt x="1663" y="847"/>
                  </a:lnTo>
                  <a:lnTo>
                    <a:pt x="1676" y="865"/>
                  </a:lnTo>
                  <a:lnTo>
                    <a:pt x="1682" y="875"/>
                  </a:lnTo>
                  <a:lnTo>
                    <a:pt x="1687" y="884"/>
                  </a:lnTo>
                  <a:lnTo>
                    <a:pt x="1690" y="888"/>
                  </a:lnTo>
                  <a:lnTo>
                    <a:pt x="1695" y="891"/>
                  </a:lnTo>
                  <a:lnTo>
                    <a:pt x="1699" y="892"/>
                  </a:lnTo>
                  <a:lnTo>
                    <a:pt x="1704" y="894"/>
                  </a:lnTo>
                  <a:lnTo>
                    <a:pt x="1711" y="892"/>
                  </a:lnTo>
                  <a:lnTo>
                    <a:pt x="1716" y="891"/>
                  </a:lnTo>
                  <a:lnTo>
                    <a:pt x="1720" y="888"/>
                  </a:lnTo>
                  <a:lnTo>
                    <a:pt x="1725" y="884"/>
                  </a:lnTo>
                  <a:lnTo>
                    <a:pt x="1728" y="879"/>
                  </a:lnTo>
                  <a:lnTo>
                    <a:pt x="1730" y="873"/>
                  </a:lnTo>
                  <a:lnTo>
                    <a:pt x="1731" y="868"/>
                  </a:lnTo>
                  <a:lnTo>
                    <a:pt x="1732" y="860"/>
                  </a:lnTo>
                  <a:lnTo>
                    <a:pt x="1732" y="845"/>
                  </a:lnTo>
                  <a:lnTo>
                    <a:pt x="1732" y="830"/>
                  </a:lnTo>
                  <a:lnTo>
                    <a:pt x="1730" y="814"/>
                  </a:lnTo>
                  <a:lnTo>
                    <a:pt x="1729" y="798"/>
                  </a:lnTo>
                  <a:lnTo>
                    <a:pt x="1729" y="792"/>
                  </a:lnTo>
                  <a:lnTo>
                    <a:pt x="1730" y="787"/>
                  </a:lnTo>
                  <a:lnTo>
                    <a:pt x="1731" y="781"/>
                  </a:lnTo>
                  <a:lnTo>
                    <a:pt x="1732" y="776"/>
                  </a:lnTo>
                  <a:lnTo>
                    <a:pt x="1737" y="766"/>
                  </a:lnTo>
                  <a:lnTo>
                    <a:pt x="1742" y="757"/>
                  </a:lnTo>
                  <a:lnTo>
                    <a:pt x="1747" y="749"/>
                  </a:lnTo>
                  <a:lnTo>
                    <a:pt x="1752" y="739"/>
                  </a:lnTo>
                  <a:lnTo>
                    <a:pt x="1757" y="728"/>
                  </a:lnTo>
                  <a:lnTo>
                    <a:pt x="1760" y="717"/>
                  </a:lnTo>
                  <a:lnTo>
                    <a:pt x="1765" y="683"/>
                  </a:lnTo>
                  <a:lnTo>
                    <a:pt x="1769" y="648"/>
                  </a:lnTo>
                  <a:lnTo>
                    <a:pt x="1771" y="642"/>
                  </a:lnTo>
                  <a:lnTo>
                    <a:pt x="1773" y="634"/>
                  </a:lnTo>
                  <a:lnTo>
                    <a:pt x="1777" y="629"/>
                  </a:lnTo>
                  <a:lnTo>
                    <a:pt x="1781" y="624"/>
                  </a:lnTo>
                  <a:lnTo>
                    <a:pt x="1785" y="619"/>
                  </a:lnTo>
                  <a:lnTo>
                    <a:pt x="1791" y="616"/>
                  </a:lnTo>
                  <a:lnTo>
                    <a:pt x="1797" y="614"/>
                  </a:lnTo>
                  <a:lnTo>
                    <a:pt x="1805" y="614"/>
                  </a:lnTo>
                  <a:lnTo>
                    <a:pt x="1819" y="615"/>
                  </a:lnTo>
                  <a:lnTo>
                    <a:pt x="1831" y="617"/>
                  </a:lnTo>
                  <a:lnTo>
                    <a:pt x="1842" y="620"/>
                  </a:lnTo>
                  <a:lnTo>
                    <a:pt x="1855" y="621"/>
                  </a:lnTo>
                  <a:lnTo>
                    <a:pt x="1857" y="628"/>
                  </a:lnTo>
                  <a:lnTo>
                    <a:pt x="1859" y="633"/>
                  </a:lnTo>
                  <a:lnTo>
                    <a:pt x="1858" y="652"/>
                  </a:lnTo>
                  <a:lnTo>
                    <a:pt x="1857" y="669"/>
                  </a:lnTo>
                  <a:lnTo>
                    <a:pt x="1854" y="684"/>
                  </a:lnTo>
                  <a:lnTo>
                    <a:pt x="1851" y="699"/>
                  </a:lnTo>
                  <a:lnTo>
                    <a:pt x="1847" y="714"/>
                  </a:lnTo>
                  <a:lnTo>
                    <a:pt x="1841" y="729"/>
                  </a:lnTo>
                  <a:lnTo>
                    <a:pt x="1835" y="746"/>
                  </a:lnTo>
                  <a:lnTo>
                    <a:pt x="1827" y="762"/>
                  </a:lnTo>
                  <a:lnTo>
                    <a:pt x="1835" y="759"/>
                  </a:lnTo>
                  <a:lnTo>
                    <a:pt x="1842" y="755"/>
                  </a:lnTo>
                  <a:lnTo>
                    <a:pt x="1849" y="752"/>
                  </a:lnTo>
                  <a:lnTo>
                    <a:pt x="1854" y="748"/>
                  </a:lnTo>
                  <a:lnTo>
                    <a:pt x="1865" y="739"/>
                  </a:lnTo>
                  <a:lnTo>
                    <a:pt x="1875" y="728"/>
                  </a:lnTo>
                  <a:lnTo>
                    <a:pt x="1891" y="705"/>
                  </a:lnTo>
                  <a:lnTo>
                    <a:pt x="1908" y="678"/>
                  </a:lnTo>
                  <a:lnTo>
                    <a:pt x="1927" y="652"/>
                  </a:lnTo>
                  <a:lnTo>
                    <a:pt x="1942" y="629"/>
                  </a:lnTo>
                  <a:lnTo>
                    <a:pt x="1958" y="606"/>
                  </a:lnTo>
                  <a:lnTo>
                    <a:pt x="1976" y="579"/>
                  </a:lnTo>
                  <a:lnTo>
                    <a:pt x="1986" y="585"/>
                  </a:lnTo>
                  <a:lnTo>
                    <a:pt x="1995" y="591"/>
                  </a:lnTo>
                  <a:lnTo>
                    <a:pt x="2002" y="598"/>
                  </a:lnTo>
                  <a:lnTo>
                    <a:pt x="2010" y="604"/>
                  </a:lnTo>
                  <a:lnTo>
                    <a:pt x="2016" y="611"/>
                  </a:lnTo>
                  <a:lnTo>
                    <a:pt x="2024" y="618"/>
                  </a:lnTo>
                  <a:lnTo>
                    <a:pt x="2033" y="624"/>
                  </a:lnTo>
                  <a:lnTo>
                    <a:pt x="2043" y="630"/>
                  </a:lnTo>
                  <a:lnTo>
                    <a:pt x="2063" y="640"/>
                  </a:lnTo>
                  <a:lnTo>
                    <a:pt x="2080" y="647"/>
                  </a:lnTo>
                  <a:lnTo>
                    <a:pt x="2097" y="654"/>
                  </a:lnTo>
                  <a:lnTo>
                    <a:pt x="2115" y="659"/>
                  </a:lnTo>
                  <a:lnTo>
                    <a:pt x="2149" y="668"/>
                  </a:lnTo>
                  <a:lnTo>
                    <a:pt x="2189" y="678"/>
                  </a:lnTo>
                  <a:lnTo>
                    <a:pt x="2195" y="680"/>
                  </a:lnTo>
                  <a:lnTo>
                    <a:pt x="2199" y="682"/>
                  </a:lnTo>
                  <a:lnTo>
                    <a:pt x="2203" y="685"/>
                  </a:lnTo>
                  <a:lnTo>
                    <a:pt x="2206" y="689"/>
                  </a:lnTo>
                  <a:lnTo>
                    <a:pt x="2214" y="696"/>
                  </a:lnTo>
                  <a:lnTo>
                    <a:pt x="2223" y="703"/>
                  </a:lnTo>
                  <a:lnTo>
                    <a:pt x="2246" y="717"/>
                  </a:lnTo>
                  <a:lnTo>
                    <a:pt x="2268" y="729"/>
                  </a:lnTo>
                  <a:lnTo>
                    <a:pt x="2290" y="740"/>
                  </a:lnTo>
                  <a:lnTo>
                    <a:pt x="2316" y="753"/>
                  </a:lnTo>
                  <a:lnTo>
                    <a:pt x="2330" y="760"/>
                  </a:lnTo>
                  <a:lnTo>
                    <a:pt x="2344" y="764"/>
                  </a:lnTo>
                  <a:lnTo>
                    <a:pt x="2358" y="766"/>
                  </a:lnTo>
                  <a:lnTo>
                    <a:pt x="2371" y="767"/>
                  </a:lnTo>
                  <a:lnTo>
                    <a:pt x="2385" y="768"/>
                  </a:lnTo>
                  <a:lnTo>
                    <a:pt x="2399" y="768"/>
                  </a:lnTo>
                  <a:lnTo>
                    <a:pt x="2414" y="770"/>
                  </a:lnTo>
                  <a:lnTo>
                    <a:pt x="2430" y="773"/>
                  </a:lnTo>
                  <a:lnTo>
                    <a:pt x="2454" y="779"/>
                  </a:lnTo>
                  <a:lnTo>
                    <a:pt x="2474" y="787"/>
                  </a:lnTo>
                  <a:lnTo>
                    <a:pt x="2494" y="795"/>
                  </a:lnTo>
                  <a:lnTo>
                    <a:pt x="2512" y="804"/>
                  </a:lnTo>
                  <a:lnTo>
                    <a:pt x="2530" y="814"/>
                  </a:lnTo>
                  <a:lnTo>
                    <a:pt x="2549" y="822"/>
                  </a:lnTo>
                  <a:lnTo>
                    <a:pt x="2569" y="832"/>
                  </a:lnTo>
                  <a:lnTo>
                    <a:pt x="2592" y="841"/>
                  </a:lnTo>
                  <a:lnTo>
                    <a:pt x="2608" y="847"/>
                  </a:lnTo>
                  <a:lnTo>
                    <a:pt x="2622" y="855"/>
                  </a:lnTo>
                  <a:lnTo>
                    <a:pt x="2630" y="858"/>
                  </a:lnTo>
                  <a:lnTo>
                    <a:pt x="2637" y="860"/>
                  </a:lnTo>
                  <a:lnTo>
                    <a:pt x="2645" y="862"/>
                  </a:lnTo>
                  <a:lnTo>
                    <a:pt x="2655" y="862"/>
                  </a:lnTo>
                  <a:lnTo>
                    <a:pt x="2657" y="862"/>
                  </a:lnTo>
                  <a:lnTo>
                    <a:pt x="2658" y="861"/>
                  </a:lnTo>
                  <a:lnTo>
                    <a:pt x="2660" y="859"/>
                  </a:lnTo>
                  <a:lnTo>
                    <a:pt x="2660" y="856"/>
                  </a:lnTo>
                  <a:lnTo>
                    <a:pt x="2662" y="850"/>
                  </a:lnTo>
                  <a:lnTo>
                    <a:pt x="2665" y="846"/>
                  </a:lnTo>
                  <a:lnTo>
                    <a:pt x="2670" y="843"/>
                  </a:lnTo>
                  <a:lnTo>
                    <a:pt x="2674" y="842"/>
                  </a:lnTo>
                  <a:lnTo>
                    <a:pt x="2678" y="841"/>
                  </a:lnTo>
                  <a:lnTo>
                    <a:pt x="2683" y="840"/>
                  </a:lnTo>
                  <a:lnTo>
                    <a:pt x="2692" y="838"/>
                  </a:lnTo>
                  <a:lnTo>
                    <a:pt x="2702" y="835"/>
                  </a:lnTo>
                  <a:lnTo>
                    <a:pt x="2715" y="827"/>
                  </a:lnTo>
                  <a:lnTo>
                    <a:pt x="2726" y="817"/>
                  </a:lnTo>
                  <a:lnTo>
                    <a:pt x="2731" y="813"/>
                  </a:lnTo>
                  <a:lnTo>
                    <a:pt x="2738" y="809"/>
                  </a:lnTo>
                  <a:lnTo>
                    <a:pt x="2744" y="807"/>
                  </a:lnTo>
                  <a:lnTo>
                    <a:pt x="2752" y="807"/>
                  </a:lnTo>
                  <a:lnTo>
                    <a:pt x="2757" y="807"/>
                  </a:lnTo>
                  <a:lnTo>
                    <a:pt x="2762" y="808"/>
                  </a:lnTo>
                  <a:lnTo>
                    <a:pt x="2766" y="809"/>
                  </a:lnTo>
                  <a:lnTo>
                    <a:pt x="2769" y="811"/>
                  </a:lnTo>
                  <a:lnTo>
                    <a:pt x="2776" y="817"/>
                  </a:lnTo>
                  <a:lnTo>
                    <a:pt x="2781" y="823"/>
                  </a:lnTo>
                  <a:lnTo>
                    <a:pt x="2791" y="838"/>
                  </a:lnTo>
                  <a:lnTo>
                    <a:pt x="2803" y="855"/>
                  </a:lnTo>
                  <a:lnTo>
                    <a:pt x="2817" y="869"/>
                  </a:lnTo>
                  <a:lnTo>
                    <a:pt x="2831" y="881"/>
                  </a:lnTo>
                  <a:lnTo>
                    <a:pt x="2831" y="881"/>
                  </a:lnTo>
                  <a:lnTo>
                    <a:pt x="2823" y="899"/>
                  </a:lnTo>
                  <a:lnTo>
                    <a:pt x="2817" y="917"/>
                  </a:lnTo>
                  <a:lnTo>
                    <a:pt x="2812" y="935"/>
                  </a:lnTo>
                  <a:lnTo>
                    <a:pt x="2808" y="952"/>
                  </a:lnTo>
                  <a:lnTo>
                    <a:pt x="2803" y="968"/>
                  </a:lnTo>
                  <a:lnTo>
                    <a:pt x="2795" y="983"/>
                  </a:lnTo>
                  <a:lnTo>
                    <a:pt x="2791" y="991"/>
                  </a:lnTo>
                  <a:lnTo>
                    <a:pt x="2785" y="998"/>
                  </a:lnTo>
                  <a:lnTo>
                    <a:pt x="2779" y="1005"/>
                  </a:lnTo>
                  <a:lnTo>
                    <a:pt x="2771" y="1011"/>
                  </a:lnTo>
                  <a:lnTo>
                    <a:pt x="2764" y="1017"/>
                  </a:lnTo>
                  <a:lnTo>
                    <a:pt x="2756" y="1021"/>
                  </a:lnTo>
                  <a:lnTo>
                    <a:pt x="2749" y="1024"/>
                  </a:lnTo>
                  <a:lnTo>
                    <a:pt x="2740" y="1026"/>
                  </a:lnTo>
                  <a:lnTo>
                    <a:pt x="2724" y="1029"/>
                  </a:lnTo>
                  <a:lnTo>
                    <a:pt x="2704" y="1031"/>
                  </a:lnTo>
                  <a:lnTo>
                    <a:pt x="2690" y="1033"/>
                  </a:lnTo>
                  <a:lnTo>
                    <a:pt x="2677" y="1035"/>
                  </a:lnTo>
                  <a:lnTo>
                    <a:pt x="2664" y="1037"/>
                  </a:lnTo>
                  <a:lnTo>
                    <a:pt x="2653" y="1041"/>
                  </a:lnTo>
                  <a:lnTo>
                    <a:pt x="2642" y="1046"/>
                  </a:lnTo>
                  <a:lnTo>
                    <a:pt x="2631" y="1051"/>
                  </a:lnTo>
                  <a:lnTo>
                    <a:pt x="2621" y="1060"/>
                  </a:lnTo>
                  <a:lnTo>
                    <a:pt x="2613" y="1070"/>
                  </a:lnTo>
                  <a:lnTo>
                    <a:pt x="2596" y="1095"/>
                  </a:lnTo>
                  <a:lnTo>
                    <a:pt x="2580" y="1118"/>
                  </a:lnTo>
                  <a:lnTo>
                    <a:pt x="2577" y="1124"/>
                  </a:lnTo>
                  <a:lnTo>
                    <a:pt x="2572" y="1128"/>
                  </a:lnTo>
                  <a:lnTo>
                    <a:pt x="2567" y="1132"/>
                  </a:lnTo>
                  <a:lnTo>
                    <a:pt x="2562" y="1137"/>
                  </a:lnTo>
                  <a:lnTo>
                    <a:pt x="2556" y="1139"/>
                  </a:lnTo>
                  <a:lnTo>
                    <a:pt x="2550" y="1141"/>
                  </a:lnTo>
                  <a:lnTo>
                    <a:pt x="2543" y="1143"/>
                  </a:lnTo>
                  <a:lnTo>
                    <a:pt x="2536" y="1143"/>
                  </a:lnTo>
                  <a:lnTo>
                    <a:pt x="2530" y="1142"/>
                  </a:lnTo>
                  <a:lnTo>
                    <a:pt x="2525" y="1141"/>
                  </a:lnTo>
                  <a:lnTo>
                    <a:pt x="2520" y="1139"/>
                  </a:lnTo>
                  <a:lnTo>
                    <a:pt x="2515" y="1135"/>
                  </a:lnTo>
                  <a:lnTo>
                    <a:pt x="2511" y="1133"/>
                  </a:lnTo>
                  <a:lnTo>
                    <a:pt x="2506" y="1131"/>
                  </a:lnTo>
                  <a:lnTo>
                    <a:pt x="2500" y="1130"/>
                  </a:lnTo>
                  <a:lnTo>
                    <a:pt x="2495" y="1129"/>
                  </a:lnTo>
                  <a:lnTo>
                    <a:pt x="2489" y="1129"/>
                  </a:lnTo>
                  <a:lnTo>
                    <a:pt x="2484" y="1130"/>
                  </a:lnTo>
                  <a:lnTo>
                    <a:pt x="2480" y="1132"/>
                  </a:lnTo>
                  <a:lnTo>
                    <a:pt x="2475" y="1134"/>
                  </a:lnTo>
                  <a:lnTo>
                    <a:pt x="2468" y="1140"/>
                  </a:lnTo>
                  <a:lnTo>
                    <a:pt x="2461" y="1147"/>
                  </a:lnTo>
                  <a:lnTo>
                    <a:pt x="2456" y="1157"/>
                  </a:lnTo>
                  <a:lnTo>
                    <a:pt x="2452" y="1167"/>
                  </a:lnTo>
                  <a:lnTo>
                    <a:pt x="2447" y="1176"/>
                  </a:lnTo>
                  <a:lnTo>
                    <a:pt x="2444" y="1187"/>
                  </a:lnTo>
                  <a:lnTo>
                    <a:pt x="2437" y="1213"/>
                  </a:lnTo>
                  <a:lnTo>
                    <a:pt x="2430" y="1236"/>
                  </a:lnTo>
                  <a:lnTo>
                    <a:pt x="2422" y="1257"/>
                  </a:lnTo>
                  <a:lnTo>
                    <a:pt x="2416" y="1283"/>
                  </a:lnTo>
                  <a:lnTo>
                    <a:pt x="2412" y="1296"/>
                  </a:lnTo>
                  <a:lnTo>
                    <a:pt x="2407" y="1307"/>
                  </a:lnTo>
                  <a:lnTo>
                    <a:pt x="2402" y="1318"/>
                  </a:lnTo>
                  <a:lnTo>
                    <a:pt x="2395" y="1328"/>
                  </a:lnTo>
                  <a:lnTo>
                    <a:pt x="2389" y="1337"/>
                  </a:lnTo>
                  <a:lnTo>
                    <a:pt x="2381" y="1346"/>
                  </a:lnTo>
                  <a:lnTo>
                    <a:pt x="2373" y="1355"/>
                  </a:lnTo>
                  <a:lnTo>
                    <a:pt x="2363" y="1364"/>
                  </a:lnTo>
                  <a:lnTo>
                    <a:pt x="2341" y="1381"/>
                  </a:lnTo>
                  <a:lnTo>
                    <a:pt x="2320" y="1395"/>
                  </a:lnTo>
                  <a:lnTo>
                    <a:pt x="2311" y="1402"/>
                  </a:lnTo>
                  <a:lnTo>
                    <a:pt x="2305" y="1411"/>
                  </a:lnTo>
                  <a:lnTo>
                    <a:pt x="2302" y="1416"/>
                  </a:lnTo>
                  <a:lnTo>
                    <a:pt x="2299" y="1422"/>
                  </a:lnTo>
                  <a:lnTo>
                    <a:pt x="2298" y="1428"/>
                  </a:lnTo>
                  <a:lnTo>
                    <a:pt x="2298" y="1435"/>
                  </a:lnTo>
                  <a:lnTo>
                    <a:pt x="2298" y="1438"/>
                  </a:lnTo>
                  <a:lnTo>
                    <a:pt x="2300" y="1440"/>
                  </a:lnTo>
                  <a:lnTo>
                    <a:pt x="2303" y="1442"/>
                  </a:lnTo>
                  <a:lnTo>
                    <a:pt x="2305" y="1443"/>
                  </a:lnTo>
                  <a:lnTo>
                    <a:pt x="2310" y="1446"/>
                  </a:lnTo>
                  <a:lnTo>
                    <a:pt x="2316" y="1451"/>
                  </a:lnTo>
                  <a:lnTo>
                    <a:pt x="2321" y="1459"/>
                  </a:lnTo>
                  <a:lnTo>
                    <a:pt x="2325" y="1467"/>
                  </a:lnTo>
                  <a:lnTo>
                    <a:pt x="2330" y="1476"/>
                  </a:lnTo>
                  <a:lnTo>
                    <a:pt x="2333" y="1483"/>
                  </a:lnTo>
                  <a:lnTo>
                    <a:pt x="2335" y="1492"/>
                  </a:lnTo>
                  <a:lnTo>
                    <a:pt x="2336" y="1500"/>
                  </a:lnTo>
                  <a:lnTo>
                    <a:pt x="2337" y="1510"/>
                  </a:lnTo>
                  <a:lnTo>
                    <a:pt x="2337" y="1520"/>
                  </a:lnTo>
                  <a:lnTo>
                    <a:pt x="2336" y="1533"/>
                  </a:lnTo>
                  <a:lnTo>
                    <a:pt x="2334" y="1545"/>
                  </a:lnTo>
                  <a:lnTo>
                    <a:pt x="2331" y="1556"/>
                  </a:lnTo>
                  <a:lnTo>
                    <a:pt x="2326" y="1565"/>
                  </a:lnTo>
                  <a:lnTo>
                    <a:pt x="2322" y="1576"/>
                  </a:lnTo>
                  <a:lnTo>
                    <a:pt x="2319" y="1587"/>
                  </a:lnTo>
                  <a:lnTo>
                    <a:pt x="2316" y="1598"/>
                  </a:lnTo>
                  <a:lnTo>
                    <a:pt x="2316" y="1611"/>
                  </a:lnTo>
                  <a:lnTo>
                    <a:pt x="2316" y="1615"/>
                  </a:lnTo>
                  <a:lnTo>
                    <a:pt x="2317" y="1618"/>
                  </a:lnTo>
                  <a:lnTo>
                    <a:pt x="2320" y="1621"/>
                  </a:lnTo>
                  <a:lnTo>
                    <a:pt x="2322" y="1625"/>
                  </a:lnTo>
                  <a:lnTo>
                    <a:pt x="2329" y="1630"/>
                  </a:lnTo>
                  <a:lnTo>
                    <a:pt x="2335" y="1637"/>
                  </a:lnTo>
                  <a:lnTo>
                    <a:pt x="2343" y="1650"/>
                  </a:lnTo>
                  <a:lnTo>
                    <a:pt x="2350" y="1661"/>
                  </a:lnTo>
                  <a:lnTo>
                    <a:pt x="2356" y="1674"/>
                  </a:lnTo>
                  <a:lnTo>
                    <a:pt x="2361" y="1686"/>
                  </a:lnTo>
                  <a:lnTo>
                    <a:pt x="2364" y="1699"/>
                  </a:lnTo>
                  <a:lnTo>
                    <a:pt x="2366" y="1713"/>
                  </a:lnTo>
                  <a:lnTo>
                    <a:pt x="2367" y="1727"/>
                  </a:lnTo>
                  <a:lnTo>
                    <a:pt x="2368" y="1742"/>
                  </a:lnTo>
                  <a:lnTo>
                    <a:pt x="2367" y="1768"/>
                  </a:lnTo>
                  <a:lnTo>
                    <a:pt x="2364" y="1791"/>
                  </a:lnTo>
                  <a:lnTo>
                    <a:pt x="2360" y="1812"/>
                  </a:lnTo>
                  <a:lnTo>
                    <a:pt x="2353" y="1832"/>
                  </a:lnTo>
                  <a:lnTo>
                    <a:pt x="2347" y="1853"/>
                  </a:lnTo>
                  <a:lnTo>
                    <a:pt x="2339" y="1873"/>
                  </a:lnTo>
                  <a:lnTo>
                    <a:pt x="2332" y="1896"/>
                  </a:lnTo>
                  <a:lnTo>
                    <a:pt x="2323" y="1920"/>
                  </a:lnTo>
                  <a:lnTo>
                    <a:pt x="2321" y="1925"/>
                  </a:lnTo>
                  <a:lnTo>
                    <a:pt x="2319" y="1929"/>
                  </a:lnTo>
                  <a:lnTo>
                    <a:pt x="2316" y="1934"/>
                  </a:lnTo>
                  <a:lnTo>
                    <a:pt x="2312" y="1938"/>
                  </a:lnTo>
                  <a:lnTo>
                    <a:pt x="2306" y="1945"/>
                  </a:lnTo>
                  <a:lnTo>
                    <a:pt x="2302" y="1955"/>
                  </a:lnTo>
                  <a:lnTo>
                    <a:pt x="2296" y="1969"/>
                  </a:lnTo>
                  <a:lnTo>
                    <a:pt x="2292" y="1982"/>
                  </a:lnTo>
                  <a:lnTo>
                    <a:pt x="2290" y="1989"/>
                  </a:lnTo>
                  <a:lnTo>
                    <a:pt x="2285" y="1994"/>
                  </a:lnTo>
                  <a:lnTo>
                    <a:pt x="2281" y="1998"/>
                  </a:lnTo>
                  <a:lnTo>
                    <a:pt x="2276" y="2004"/>
                  </a:lnTo>
                  <a:lnTo>
                    <a:pt x="2253" y="2018"/>
                  </a:lnTo>
                  <a:lnTo>
                    <a:pt x="2233" y="2033"/>
                  </a:lnTo>
                  <a:lnTo>
                    <a:pt x="2226" y="2042"/>
                  </a:lnTo>
                  <a:lnTo>
                    <a:pt x="2219" y="2051"/>
                  </a:lnTo>
                  <a:lnTo>
                    <a:pt x="2217" y="2057"/>
                  </a:lnTo>
                  <a:lnTo>
                    <a:pt x="2215" y="2062"/>
                  </a:lnTo>
                  <a:lnTo>
                    <a:pt x="2214" y="2069"/>
                  </a:lnTo>
                  <a:lnTo>
                    <a:pt x="2214" y="2075"/>
                  </a:lnTo>
                  <a:lnTo>
                    <a:pt x="2214" y="2091"/>
                  </a:lnTo>
                  <a:lnTo>
                    <a:pt x="2213" y="2104"/>
                  </a:lnTo>
                  <a:lnTo>
                    <a:pt x="2212" y="2117"/>
                  </a:lnTo>
                  <a:lnTo>
                    <a:pt x="2211" y="2133"/>
                  </a:lnTo>
                  <a:lnTo>
                    <a:pt x="2211" y="2142"/>
                  </a:lnTo>
                  <a:lnTo>
                    <a:pt x="2211" y="2151"/>
                  </a:lnTo>
                  <a:lnTo>
                    <a:pt x="2211" y="2158"/>
                  </a:lnTo>
                  <a:lnTo>
                    <a:pt x="2211" y="2168"/>
                  </a:lnTo>
                  <a:lnTo>
                    <a:pt x="2211" y="2181"/>
                  </a:lnTo>
                  <a:lnTo>
                    <a:pt x="2210" y="2192"/>
                  </a:lnTo>
                  <a:lnTo>
                    <a:pt x="2210" y="2197"/>
                  </a:lnTo>
                  <a:lnTo>
                    <a:pt x="2210" y="2202"/>
                  </a:lnTo>
                  <a:lnTo>
                    <a:pt x="2212" y="2208"/>
                  </a:lnTo>
                  <a:lnTo>
                    <a:pt x="2214" y="2213"/>
                  </a:lnTo>
                  <a:lnTo>
                    <a:pt x="2219" y="2221"/>
                  </a:lnTo>
                  <a:lnTo>
                    <a:pt x="2225" y="2228"/>
                  </a:lnTo>
                  <a:lnTo>
                    <a:pt x="2230" y="2235"/>
                  </a:lnTo>
                  <a:lnTo>
                    <a:pt x="2237" y="2240"/>
                  </a:lnTo>
                  <a:lnTo>
                    <a:pt x="2250" y="2252"/>
                  </a:lnTo>
                  <a:lnTo>
                    <a:pt x="2263" y="2262"/>
                  </a:lnTo>
                  <a:lnTo>
                    <a:pt x="2269" y="2267"/>
                  </a:lnTo>
                  <a:lnTo>
                    <a:pt x="2275" y="2273"/>
                  </a:lnTo>
                  <a:lnTo>
                    <a:pt x="2280" y="2279"/>
                  </a:lnTo>
                  <a:lnTo>
                    <a:pt x="2284" y="2286"/>
                  </a:lnTo>
                  <a:lnTo>
                    <a:pt x="2287" y="2292"/>
                  </a:lnTo>
                  <a:lnTo>
                    <a:pt x="2291" y="2300"/>
                  </a:lnTo>
                  <a:lnTo>
                    <a:pt x="2292" y="2307"/>
                  </a:lnTo>
                  <a:lnTo>
                    <a:pt x="2293" y="2317"/>
                  </a:lnTo>
                  <a:lnTo>
                    <a:pt x="2293" y="2332"/>
                  </a:lnTo>
                  <a:lnTo>
                    <a:pt x="2293" y="2345"/>
                  </a:lnTo>
                  <a:lnTo>
                    <a:pt x="2293" y="2359"/>
                  </a:lnTo>
                  <a:lnTo>
                    <a:pt x="2293" y="2374"/>
                  </a:lnTo>
                  <a:lnTo>
                    <a:pt x="2292" y="2382"/>
                  </a:lnTo>
                  <a:lnTo>
                    <a:pt x="2291" y="2389"/>
                  </a:lnTo>
                  <a:lnTo>
                    <a:pt x="2289" y="2397"/>
                  </a:lnTo>
                  <a:lnTo>
                    <a:pt x="2286" y="2403"/>
                  </a:lnTo>
                  <a:lnTo>
                    <a:pt x="2282" y="2416"/>
                  </a:lnTo>
                  <a:lnTo>
                    <a:pt x="2279" y="2433"/>
                  </a:lnTo>
                  <a:lnTo>
                    <a:pt x="2275" y="2455"/>
                  </a:lnTo>
                  <a:lnTo>
                    <a:pt x="2269" y="2478"/>
                  </a:lnTo>
                  <a:lnTo>
                    <a:pt x="2266" y="2490"/>
                  </a:lnTo>
                  <a:lnTo>
                    <a:pt x="2262" y="2499"/>
                  </a:lnTo>
                  <a:lnTo>
                    <a:pt x="2257" y="2510"/>
                  </a:lnTo>
                  <a:lnTo>
                    <a:pt x="2252" y="2520"/>
                  </a:lnTo>
                  <a:lnTo>
                    <a:pt x="2246" y="2529"/>
                  </a:lnTo>
                  <a:lnTo>
                    <a:pt x="2240" y="2536"/>
                  </a:lnTo>
                  <a:lnTo>
                    <a:pt x="2233" y="2544"/>
                  </a:lnTo>
                  <a:lnTo>
                    <a:pt x="2225" y="2549"/>
                  </a:lnTo>
                  <a:lnTo>
                    <a:pt x="2217" y="2555"/>
                  </a:lnTo>
                  <a:lnTo>
                    <a:pt x="2208" y="2558"/>
                  </a:lnTo>
                  <a:lnTo>
                    <a:pt x="2197" y="2560"/>
                  </a:lnTo>
                  <a:lnTo>
                    <a:pt x="2186" y="2561"/>
                  </a:lnTo>
                  <a:lnTo>
                    <a:pt x="2175" y="2560"/>
                  </a:lnTo>
                  <a:lnTo>
                    <a:pt x="2166" y="2558"/>
                  </a:lnTo>
                  <a:lnTo>
                    <a:pt x="2158" y="2553"/>
                  </a:lnTo>
                  <a:lnTo>
                    <a:pt x="2149" y="2548"/>
                  </a:lnTo>
                  <a:lnTo>
                    <a:pt x="2134" y="2536"/>
                  </a:lnTo>
                  <a:lnTo>
                    <a:pt x="2116" y="2524"/>
                  </a:lnTo>
                  <a:lnTo>
                    <a:pt x="2103" y="2518"/>
                  </a:lnTo>
                  <a:lnTo>
                    <a:pt x="2090" y="2514"/>
                  </a:lnTo>
                  <a:lnTo>
                    <a:pt x="2078" y="2509"/>
                  </a:lnTo>
                  <a:lnTo>
                    <a:pt x="2065" y="2506"/>
                  </a:lnTo>
                  <a:lnTo>
                    <a:pt x="2040" y="2501"/>
                  </a:lnTo>
                  <a:lnTo>
                    <a:pt x="2012" y="2494"/>
                  </a:lnTo>
                  <a:lnTo>
                    <a:pt x="1981" y="2483"/>
                  </a:lnTo>
                  <a:lnTo>
                    <a:pt x="1953" y="2474"/>
                  </a:lnTo>
                  <a:lnTo>
                    <a:pt x="1939" y="2469"/>
                  </a:lnTo>
                  <a:lnTo>
                    <a:pt x="1925" y="2466"/>
                  </a:lnTo>
                  <a:lnTo>
                    <a:pt x="1909" y="2464"/>
                  </a:lnTo>
                  <a:lnTo>
                    <a:pt x="1892" y="2463"/>
                  </a:lnTo>
                  <a:lnTo>
                    <a:pt x="1882" y="2464"/>
                  </a:lnTo>
                  <a:lnTo>
                    <a:pt x="1875" y="2467"/>
                  </a:lnTo>
                  <a:lnTo>
                    <a:pt x="1867" y="2471"/>
                  </a:lnTo>
                  <a:lnTo>
                    <a:pt x="1861" y="2476"/>
                  </a:lnTo>
                  <a:lnTo>
                    <a:pt x="1854" y="2481"/>
                  </a:lnTo>
                  <a:lnTo>
                    <a:pt x="1847" y="2487"/>
                  </a:lnTo>
                  <a:lnTo>
                    <a:pt x="1839" y="2491"/>
                  </a:lnTo>
                  <a:lnTo>
                    <a:pt x="1831" y="2494"/>
                  </a:lnTo>
                  <a:lnTo>
                    <a:pt x="1814" y="2497"/>
                  </a:lnTo>
                  <a:lnTo>
                    <a:pt x="1800" y="2502"/>
                  </a:lnTo>
                  <a:lnTo>
                    <a:pt x="1787" y="2505"/>
                  </a:lnTo>
                  <a:lnTo>
                    <a:pt x="1774" y="2510"/>
                  </a:lnTo>
                  <a:lnTo>
                    <a:pt x="1763" y="2516"/>
                  </a:lnTo>
                  <a:lnTo>
                    <a:pt x="1752" y="2523"/>
                  </a:lnTo>
                  <a:lnTo>
                    <a:pt x="1742" y="2533"/>
                  </a:lnTo>
                  <a:lnTo>
                    <a:pt x="1732" y="2544"/>
                  </a:lnTo>
                  <a:lnTo>
                    <a:pt x="1728" y="2551"/>
                  </a:lnTo>
                  <a:lnTo>
                    <a:pt x="1725" y="2559"/>
                  </a:lnTo>
                  <a:lnTo>
                    <a:pt x="1723" y="2566"/>
                  </a:lnTo>
                  <a:lnTo>
                    <a:pt x="1722" y="2574"/>
                  </a:lnTo>
                  <a:lnTo>
                    <a:pt x="1719" y="2580"/>
                  </a:lnTo>
                  <a:lnTo>
                    <a:pt x="1717" y="2588"/>
                  </a:lnTo>
                  <a:lnTo>
                    <a:pt x="1714" y="2596"/>
                  </a:lnTo>
                  <a:lnTo>
                    <a:pt x="1710" y="2603"/>
                  </a:lnTo>
                  <a:lnTo>
                    <a:pt x="1706" y="2606"/>
                  </a:lnTo>
                  <a:lnTo>
                    <a:pt x="1703" y="2610"/>
                  </a:lnTo>
                  <a:lnTo>
                    <a:pt x="1699" y="2613"/>
                  </a:lnTo>
                  <a:lnTo>
                    <a:pt x="1696" y="2614"/>
                  </a:lnTo>
                  <a:lnTo>
                    <a:pt x="1687" y="2617"/>
                  </a:lnTo>
                  <a:lnTo>
                    <a:pt x="1678" y="2618"/>
                  </a:lnTo>
                  <a:lnTo>
                    <a:pt x="1659" y="2619"/>
                  </a:lnTo>
                  <a:lnTo>
                    <a:pt x="1639" y="2623"/>
                  </a:lnTo>
                  <a:lnTo>
                    <a:pt x="1633" y="2625"/>
                  </a:lnTo>
                  <a:lnTo>
                    <a:pt x="1626" y="2628"/>
                  </a:lnTo>
                  <a:lnTo>
                    <a:pt x="1621" y="2631"/>
                  </a:lnTo>
                  <a:lnTo>
                    <a:pt x="1616" y="2636"/>
                  </a:lnTo>
                  <a:lnTo>
                    <a:pt x="1606" y="2644"/>
                  </a:lnTo>
                  <a:lnTo>
                    <a:pt x="1595" y="2654"/>
                  </a:lnTo>
                  <a:lnTo>
                    <a:pt x="1571" y="2671"/>
                  </a:lnTo>
                  <a:lnTo>
                    <a:pt x="1552" y="2687"/>
                  </a:lnTo>
                  <a:lnTo>
                    <a:pt x="1532" y="2704"/>
                  </a:lnTo>
                  <a:lnTo>
                    <a:pt x="1508" y="2721"/>
                  </a:lnTo>
                  <a:lnTo>
                    <a:pt x="1497" y="2721"/>
                  </a:lnTo>
                  <a:lnTo>
                    <a:pt x="1486" y="2721"/>
                  </a:lnTo>
                  <a:lnTo>
                    <a:pt x="1476" y="2721"/>
                  </a:lnTo>
                  <a:lnTo>
                    <a:pt x="1467" y="2723"/>
                  </a:lnTo>
                  <a:lnTo>
                    <a:pt x="1458" y="2724"/>
                  </a:lnTo>
                  <a:lnTo>
                    <a:pt x="1449" y="2727"/>
                  </a:lnTo>
                  <a:lnTo>
                    <a:pt x="1434" y="2734"/>
                  </a:lnTo>
                  <a:lnTo>
                    <a:pt x="1419" y="2741"/>
                  </a:lnTo>
                  <a:lnTo>
                    <a:pt x="1404" y="2749"/>
                  </a:lnTo>
                  <a:lnTo>
                    <a:pt x="1389" y="2757"/>
                  </a:lnTo>
                  <a:lnTo>
                    <a:pt x="1380" y="2759"/>
                  </a:lnTo>
                  <a:lnTo>
                    <a:pt x="1372" y="2761"/>
                  </a:lnTo>
                  <a:lnTo>
                    <a:pt x="1362" y="2762"/>
                  </a:lnTo>
                  <a:lnTo>
                    <a:pt x="1352" y="2763"/>
                  </a:lnTo>
                  <a:lnTo>
                    <a:pt x="1342" y="2762"/>
                  </a:lnTo>
                  <a:lnTo>
                    <a:pt x="1333" y="2761"/>
                  </a:lnTo>
                  <a:lnTo>
                    <a:pt x="1324" y="2759"/>
                  </a:lnTo>
                  <a:lnTo>
                    <a:pt x="1315" y="2758"/>
                  </a:lnTo>
                  <a:lnTo>
                    <a:pt x="1308" y="2755"/>
                  </a:lnTo>
                  <a:lnTo>
                    <a:pt x="1299" y="2753"/>
                  </a:lnTo>
                  <a:lnTo>
                    <a:pt x="1289" y="2752"/>
                  </a:lnTo>
                  <a:lnTo>
                    <a:pt x="1280" y="2751"/>
                  </a:lnTo>
                  <a:lnTo>
                    <a:pt x="1266" y="2751"/>
                  </a:lnTo>
                  <a:lnTo>
                    <a:pt x="1253" y="2752"/>
                  </a:lnTo>
                  <a:lnTo>
                    <a:pt x="1240" y="2753"/>
                  </a:lnTo>
                  <a:lnTo>
                    <a:pt x="1228" y="2755"/>
                  </a:lnTo>
                  <a:lnTo>
                    <a:pt x="1217" y="2759"/>
                  </a:lnTo>
                  <a:lnTo>
                    <a:pt x="1206" y="2764"/>
                  </a:lnTo>
                  <a:lnTo>
                    <a:pt x="1196" y="2771"/>
                  </a:lnTo>
                  <a:lnTo>
                    <a:pt x="1186" y="2779"/>
                  </a:lnTo>
                  <a:lnTo>
                    <a:pt x="1171" y="2792"/>
                  </a:lnTo>
                  <a:lnTo>
                    <a:pt x="1156" y="2804"/>
                  </a:lnTo>
                  <a:lnTo>
                    <a:pt x="1150" y="2811"/>
                  </a:lnTo>
                  <a:lnTo>
                    <a:pt x="1145" y="2817"/>
                  </a:lnTo>
                  <a:lnTo>
                    <a:pt x="1144" y="2821"/>
                  </a:lnTo>
                  <a:lnTo>
                    <a:pt x="1142" y="2826"/>
                  </a:lnTo>
                  <a:lnTo>
                    <a:pt x="1140" y="2830"/>
                  </a:lnTo>
                  <a:lnTo>
                    <a:pt x="1140" y="2835"/>
                  </a:lnTo>
                  <a:lnTo>
                    <a:pt x="1138" y="2863"/>
                  </a:lnTo>
                  <a:lnTo>
                    <a:pt x="1137" y="2889"/>
                  </a:lnTo>
                  <a:lnTo>
                    <a:pt x="1137" y="2901"/>
                  </a:lnTo>
                  <a:lnTo>
                    <a:pt x="1137" y="2914"/>
                  </a:lnTo>
                  <a:lnTo>
                    <a:pt x="1138" y="2928"/>
                  </a:lnTo>
                  <a:lnTo>
                    <a:pt x="1140" y="2942"/>
                  </a:lnTo>
                  <a:lnTo>
                    <a:pt x="1140" y="2948"/>
                  </a:lnTo>
                  <a:lnTo>
                    <a:pt x="1139" y="2952"/>
                  </a:lnTo>
                  <a:lnTo>
                    <a:pt x="1137" y="2955"/>
                  </a:lnTo>
                  <a:lnTo>
                    <a:pt x="1135" y="2960"/>
                  </a:lnTo>
                  <a:lnTo>
                    <a:pt x="1131" y="2967"/>
                  </a:lnTo>
                  <a:lnTo>
                    <a:pt x="1126" y="2976"/>
                  </a:lnTo>
                  <a:lnTo>
                    <a:pt x="1059" y="3250"/>
                  </a:lnTo>
                  <a:lnTo>
                    <a:pt x="1044" y="3249"/>
                  </a:lnTo>
                  <a:lnTo>
                    <a:pt x="1029" y="3248"/>
                  </a:lnTo>
                  <a:lnTo>
                    <a:pt x="1023" y="3248"/>
                  </a:lnTo>
                  <a:lnTo>
                    <a:pt x="1017" y="3249"/>
                  </a:lnTo>
                  <a:lnTo>
                    <a:pt x="1013" y="3251"/>
                  </a:lnTo>
                  <a:lnTo>
                    <a:pt x="1009" y="3254"/>
                  </a:lnTo>
                  <a:lnTo>
                    <a:pt x="999" y="3261"/>
                  </a:lnTo>
                  <a:lnTo>
                    <a:pt x="989" y="3267"/>
                  </a:lnTo>
                  <a:lnTo>
                    <a:pt x="983" y="3270"/>
                  </a:lnTo>
                  <a:lnTo>
                    <a:pt x="976" y="3273"/>
                  </a:lnTo>
                  <a:lnTo>
                    <a:pt x="974" y="3274"/>
                  </a:lnTo>
                  <a:lnTo>
                    <a:pt x="972" y="3276"/>
                  </a:lnTo>
                  <a:lnTo>
                    <a:pt x="970" y="3278"/>
                  </a:lnTo>
                  <a:lnTo>
                    <a:pt x="970" y="3281"/>
                  </a:lnTo>
                  <a:lnTo>
                    <a:pt x="970" y="3295"/>
                  </a:lnTo>
                  <a:lnTo>
                    <a:pt x="972" y="3308"/>
                  </a:lnTo>
                  <a:lnTo>
                    <a:pt x="974" y="3321"/>
                  </a:lnTo>
                  <a:lnTo>
                    <a:pt x="976" y="3333"/>
                  </a:lnTo>
                  <a:lnTo>
                    <a:pt x="979" y="3345"/>
                  </a:lnTo>
                  <a:lnTo>
                    <a:pt x="982" y="3357"/>
                  </a:lnTo>
                  <a:lnTo>
                    <a:pt x="983" y="3370"/>
                  </a:lnTo>
                  <a:lnTo>
                    <a:pt x="984" y="3385"/>
                  </a:lnTo>
                  <a:lnTo>
                    <a:pt x="979" y="3398"/>
                  </a:lnTo>
                  <a:lnTo>
                    <a:pt x="975" y="3410"/>
                  </a:lnTo>
                  <a:lnTo>
                    <a:pt x="976" y="3419"/>
                  </a:lnTo>
                  <a:lnTo>
                    <a:pt x="977" y="3426"/>
                  </a:lnTo>
                  <a:lnTo>
                    <a:pt x="978" y="3434"/>
                  </a:lnTo>
                  <a:lnTo>
                    <a:pt x="982" y="3440"/>
                  </a:lnTo>
                  <a:lnTo>
                    <a:pt x="988" y="3454"/>
                  </a:lnTo>
                  <a:lnTo>
                    <a:pt x="995" y="3466"/>
                  </a:lnTo>
                  <a:lnTo>
                    <a:pt x="1002" y="3479"/>
                  </a:lnTo>
                  <a:lnTo>
                    <a:pt x="1009" y="3492"/>
                  </a:lnTo>
                  <a:lnTo>
                    <a:pt x="1011" y="3498"/>
                  </a:lnTo>
                  <a:lnTo>
                    <a:pt x="1013" y="3506"/>
                  </a:lnTo>
                  <a:lnTo>
                    <a:pt x="1014" y="3514"/>
                  </a:lnTo>
                  <a:lnTo>
                    <a:pt x="1014" y="3522"/>
                  </a:lnTo>
                  <a:lnTo>
                    <a:pt x="1014" y="3543"/>
                  </a:lnTo>
                  <a:lnTo>
                    <a:pt x="1011" y="3562"/>
                  </a:lnTo>
                  <a:lnTo>
                    <a:pt x="1006" y="3579"/>
                  </a:lnTo>
                  <a:lnTo>
                    <a:pt x="1002" y="3597"/>
                  </a:lnTo>
                  <a:lnTo>
                    <a:pt x="990" y="3631"/>
                  </a:lnTo>
                  <a:lnTo>
                    <a:pt x="978" y="3671"/>
                  </a:lnTo>
                  <a:lnTo>
                    <a:pt x="1032" y="3841"/>
                  </a:lnTo>
                  <a:lnTo>
                    <a:pt x="1032" y="3841"/>
                  </a:lnTo>
                  <a:lnTo>
                    <a:pt x="1013" y="3839"/>
                  </a:lnTo>
                  <a:lnTo>
                    <a:pt x="997" y="3837"/>
                  </a:lnTo>
                  <a:lnTo>
                    <a:pt x="982" y="3834"/>
                  </a:lnTo>
                  <a:lnTo>
                    <a:pt x="962" y="3833"/>
                  </a:lnTo>
                  <a:lnTo>
                    <a:pt x="948" y="3832"/>
                  </a:lnTo>
                  <a:lnTo>
                    <a:pt x="936" y="3830"/>
                  </a:lnTo>
                  <a:lnTo>
                    <a:pt x="923" y="3827"/>
                  </a:lnTo>
                  <a:lnTo>
                    <a:pt x="913" y="3822"/>
                  </a:lnTo>
                  <a:lnTo>
                    <a:pt x="902" y="3816"/>
                  </a:lnTo>
                  <a:lnTo>
                    <a:pt x="892" y="3810"/>
                  </a:lnTo>
                  <a:lnTo>
                    <a:pt x="883" y="3801"/>
                  </a:lnTo>
                  <a:lnTo>
                    <a:pt x="875" y="3792"/>
                  </a:lnTo>
                  <a:lnTo>
                    <a:pt x="867" y="3783"/>
                  </a:lnTo>
                  <a:lnTo>
                    <a:pt x="860" y="3772"/>
                  </a:lnTo>
                  <a:lnTo>
                    <a:pt x="854" y="3760"/>
                  </a:lnTo>
                  <a:lnTo>
                    <a:pt x="848" y="3748"/>
                  </a:lnTo>
                  <a:lnTo>
                    <a:pt x="843" y="3736"/>
                  </a:lnTo>
                  <a:lnTo>
                    <a:pt x="839" y="3723"/>
                  </a:lnTo>
                  <a:lnTo>
                    <a:pt x="835" y="3709"/>
                  </a:lnTo>
                  <a:lnTo>
                    <a:pt x="833" y="3696"/>
                  </a:lnTo>
                  <a:lnTo>
                    <a:pt x="826" y="3659"/>
                  </a:lnTo>
                  <a:lnTo>
                    <a:pt x="819" y="3628"/>
                  </a:lnTo>
                  <a:lnTo>
                    <a:pt x="814" y="3612"/>
                  </a:lnTo>
                  <a:lnTo>
                    <a:pt x="809" y="3597"/>
                  </a:lnTo>
                  <a:lnTo>
                    <a:pt x="802" y="3581"/>
                  </a:lnTo>
                  <a:lnTo>
                    <a:pt x="793" y="3564"/>
                  </a:lnTo>
                  <a:lnTo>
                    <a:pt x="782" y="3543"/>
                  </a:lnTo>
                  <a:lnTo>
                    <a:pt x="771" y="3524"/>
                  </a:lnTo>
                  <a:lnTo>
                    <a:pt x="760" y="3507"/>
                  </a:lnTo>
                  <a:lnTo>
                    <a:pt x="749" y="3491"/>
                  </a:lnTo>
                  <a:lnTo>
                    <a:pt x="725" y="3460"/>
                  </a:lnTo>
                  <a:lnTo>
                    <a:pt x="695" y="3424"/>
                  </a:lnTo>
                  <a:lnTo>
                    <a:pt x="680" y="3407"/>
                  </a:lnTo>
                  <a:lnTo>
                    <a:pt x="667" y="3390"/>
                  </a:lnTo>
                  <a:lnTo>
                    <a:pt x="653" y="3375"/>
                  </a:lnTo>
                  <a:lnTo>
                    <a:pt x="636" y="3359"/>
                  </a:lnTo>
                  <a:lnTo>
                    <a:pt x="616" y="3345"/>
                  </a:lnTo>
                  <a:lnTo>
                    <a:pt x="596" y="3333"/>
                  </a:lnTo>
                  <a:lnTo>
                    <a:pt x="587" y="3327"/>
                  </a:lnTo>
                  <a:lnTo>
                    <a:pt x="581" y="3319"/>
                  </a:lnTo>
                  <a:lnTo>
                    <a:pt x="578" y="3314"/>
                  </a:lnTo>
                  <a:lnTo>
                    <a:pt x="577" y="3309"/>
                  </a:lnTo>
                  <a:lnTo>
                    <a:pt x="574" y="3304"/>
                  </a:lnTo>
                  <a:lnTo>
                    <a:pt x="574" y="3298"/>
                  </a:lnTo>
                  <a:lnTo>
                    <a:pt x="574" y="3290"/>
                  </a:lnTo>
                  <a:lnTo>
                    <a:pt x="576" y="3284"/>
                  </a:lnTo>
                  <a:lnTo>
                    <a:pt x="578" y="3277"/>
                  </a:lnTo>
                  <a:lnTo>
                    <a:pt x="580" y="3272"/>
                  </a:lnTo>
                  <a:lnTo>
                    <a:pt x="586" y="3260"/>
                  </a:lnTo>
                  <a:lnTo>
                    <a:pt x="595" y="3250"/>
                  </a:lnTo>
                  <a:lnTo>
                    <a:pt x="614" y="3232"/>
                  </a:lnTo>
                  <a:lnTo>
                    <a:pt x="636" y="3211"/>
                  </a:lnTo>
                  <a:lnTo>
                    <a:pt x="643" y="3203"/>
                  </a:lnTo>
                  <a:lnTo>
                    <a:pt x="648" y="3195"/>
                  </a:lnTo>
                  <a:lnTo>
                    <a:pt x="651" y="3186"/>
                  </a:lnTo>
                  <a:lnTo>
                    <a:pt x="654" y="3178"/>
                  </a:lnTo>
                  <a:lnTo>
                    <a:pt x="658" y="3159"/>
                  </a:lnTo>
                  <a:lnTo>
                    <a:pt x="661" y="3138"/>
                  </a:lnTo>
                  <a:lnTo>
                    <a:pt x="663" y="3126"/>
                  </a:lnTo>
                  <a:lnTo>
                    <a:pt x="665" y="3114"/>
                  </a:lnTo>
                  <a:lnTo>
                    <a:pt x="666" y="3109"/>
                  </a:lnTo>
                  <a:lnTo>
                    <a:pt x="668" y="3103"/>
                  </a:lnTo>
                  <a:lnTo>
                    <a:pt x="672" y="3099"/>
                  </a:lnTo>
                  <a:lnTo>
                    <a:pt x="675" y="3093"/>
                  </a:lnTo>
                  <a:lnTo>
                    <a:pt x="679" y="3090"/>
                  </a:lnTo>
                  <a:lnTo>
                    <a:pt x="684" y="3087"/>
                  </a:lnTo>
                  <a:lnTo>
                    <a:pt x="688" y="3085"/>
                  </a:lnTo>
                  <a:lnTo>
                    <a:pt x="692" y="3083"/>
                  </a:lnTo>
                  <a:lnTo>
                    <a:pt x="702" y="3081"/>
                  </a:lnTo>
                  <a:lnTo>
                    <a:pt x="713" y="3079"/>
                  </a:lnTo>
                  <a:lnTo>
                    <a:pt x="722" y="3078"/>
                  </a:lnTo>
                  <a:lnTo>
                    <a:pt x="732" y="3076"/>
                  </a:lnTo>
                  <a:lnTo>
                    <a:pt x="736" y="3074"/>
                  </a:lnTo>
                  <a:lnTo>
                    <a:pt x="741" y="3072"/>
                  </a:lnTo>
                  <a:lnTo>
                    <a:pt x="744" y="3070"/>
                  </a:lnTo>
                  <a:lnTo>
                    <a:pt x="748" y="3065"/>
                  </a:lnTo>
                  <a:lnTo>
                    <a:pt x="754" y="3059"/>
                  </a:lnTo>
                  <a:lnTo>
                    <a:pt x="757" y="3052"/>
                  </a:lnTo>
                  <a:lnTo>
                    <a:pt x="761" y="3046"/>
                  </a:lnTo>
                  <a:lnTo>
                    <a:pt x="763" y="3039"/>
                  </a:lnTo>
                  <a:lnTo>
                    <a:pt x="766" y="3033"/>
                  </a:lnTo>
                  <a:lnTo>
                    <a:pt x="767" y="3025"/>
                  </a:lnTo>
                  <a:lnTo>
                    <a:pt x="768" y="3018"/>
                  </a:lnTo>
                  <a:lnTo>
                    <a:pt x="768" y="3009"/>
                  </a:lnTo>
                  <a:lnTo>
                    <a:pt x="767" y="2993"/>
                  </a:lnTo>
                  <a:lnTo>
                    <a:pt x="765" y="2978"/>
                  </a:lnTo>
                  <a:lnTo>
                    <a:pt x="762" y="2970"/>
                  </a:lnTo>
                  <a:lnTo>
                    <a:pt x="760" y="2963"/>
                  </a:lnTo>
                  <a:lnTo>
                    <a:pt x="757" y="2955"/>
                  </a:lnTo>
                  <a:lnTo>
                    <a:pt x="754" y="2949"/>
                  </a:lnTo>
                  <a:lnTo>
                    <a:pt x="751" y="2942"/>
                  </a:lnTo>
                  <a:lnTo>
                    <a:pt x="746" y="2937"/>
                  </a:lnTo>
                  <a:lnTo>
                    <a:pt x="741" y="2933"/>
                  </a:lnTo>
                  <a:lnTo>
                    <a:pt x="736" y="2928"/>
                  </a:lnTo>
                  <a:lnTo>
                    <a:pt x="730" y="2924"/>
                  </a:lnTo>
                  <a:lnTo>
                    <a:pt x="724" y="2922"/>
                  </a:lnTo>
                  <a:lnTo>
                    <a:pt x="717" y="2921"/>
                  </a:lnTo>
                  <a:lnTo>
                    <a:pt x="709" y="2920"/>
                  </a:lnTo>
                  <a:lnTo>
                    <a:pt x="691" y="2921"/>
                  </a:lnTo>
                  <a:lnTo>
                    <a:pt x="674" y="2923"/>
                  </a:lnTo>
                  <a:lnTo>
                    <a:pt x="659" y="2925"/>
                  </a:lnTo>
                  <a:lnTo>
                    <a:pt x="644" y="2928"/>
                  </a:lnTo>
                  <a:lnTo>
                    <a:pt x="628" y="2931"/>
                  </a:lnTo>
                  <a:lnTo>
                    <a:pt x="612" y="2934"/>
                  </a:lnTo>
                  <a:lnTo>
                    <a:pt x="596" y="2936"/>
                  </a:lnTo>
                  <a:lnTo>
                    <a:pt x="578" y="2937"/>
                  </a:lnTo>
                  <a:lnTo>
                    <a:pt x="570" y="2936"/>
                  </a:lnTo>
                  <a:lnTo>
                    <a:pt x="565" y="2935"/>
                  </a:lnTo>
                  <a:lnTo>
                    <a:pt x="559" y="2933"/>
                  </a:lnTo>
                  <a:lnTo>
                    <a:pt x="554" y="2929"/>
                  </a:lnTo>
                  <a:lnTo>
                    <a:pt x="550" y="2926"/>
                  </a:lnTo>
                  <a:lnTo>
                    <a:pt x="545" y="2922"/>
                  </a:lnTo>
                  <a:lnTo>
                    <a:pt x="542" y="2917"/>
                  </a:lnTo>
                  <a:lnTo>
                    <a:pt x="538" y="2912"/>
                  </a:lnTo>
                  <a:lnTo>
                    <a:pt x="532" y="2900"/>
                  </a:lnTo>
                  <a:lnTo>
                    <a:pt x="527" y="2887"/>
                  </a:lnTo>
                  <a:lnTo>
                    <a:pt x="523" y="2874"/>
                  </a:lnTo>
                  <a:lnTo>
                    <a:pt x="518" y="2861"/>
                  </a:lnTo>
                  <a:lnTo>
                    <a:pt x="512" y="2841"/>
                  </a:lnTo>
                  <a:lnTo>
                    <a:pt x="506" y="2821"/>
                  </a:lnTo>
                  <a:lnTo>
                    <a:pt x="500" y="2804"/>
                  </a:lnTo>
                  <a:lnTo>
                    <a:pt x="493" y="2788"/>
                  </a:lnTo>
                  <a:lnTo>
                    <a:pt x="485" y="2772"/>
                  </a:lnTo>
                  <a:lnTo>
                    <a:pt x="476" y="2755"/>
                  </a:lnTo>
                  <a:lnTo>
                    <a:pt x="464" y="2740"/>
                  </a:lnTo>
                  <a:lnTo>
                    <a:pt x="451" y="2723"/>
                  </a:lnTo>
                  <a:lnTo>
                    <a:pt x="429" y="2694"/>
                  </a:lnTo>
                  <a:lnTo>
                    <a:pt x="408" y="2667"/>
                  </a:lnTo>
                  <a:lnTo>
                    <a:pt x="398" y="2655"/>
                  </a:lnTo>
                  <a:lnTo>
                    <a:pt x="388" y="2642"/>
                  </a:lnTo>
                  <a:lnTo>
                    <a:pt x="374" y="2631"/>
                  </a:lnTo>
                  <a:lnTo>
                    <a:pt x="358" y="2619"/>
                  </a:lnTo>
                  <a:lnTo>
                    <a:pt x="354" y="2616"/>
                  </a:lnTo>
                  <a:lnTo>
                    <a:pt x="351" y="2611"/>
                  </a:lnTo>
                  <a:lnTo>
                    <a:pt x="350" y="2605"/>
                  </a:lnTo>
                  <a:lnTo>
                    <a:pt x="349" y="2599"/>
                  </a:lnTo>
                  <a:lnTo>
                    <a:pt x="348" y="2586"/>
                  </a:lnTo>
                  <a:lnTo>
                    <a:pt x="344" y="2572"/>
                  </a:lnTo>
                  <a:lnTo>
                    <a:pt x="340" y="2563"/>
                  </a:lnTo>
                  <a:lnTo>
                    <a:pt x="336" y="2556"/>
                  </a:lnTo>
                  <a:lnTo>
                    <a:pt x="330" y="2549"/>
                  </a:lnTo>
                  <a:lnTo>
                    <a:pt x="324" y="2544"/>
                  </a:lnTo>
                  <a:lnTo>
                    <a:pt x="317" y="2539"/>
                  </a:lnTo>
                  <a:lnTo>
                    <a:pt x="309" y="2536"/>
                  </a:lnTo>
                  <a:lnTo>
                    <a:pt x="301" y="2534"/>
                  </a:lnTo>
                  <a:lnTo>
                    <a:pt x="291" y="2533"/>
                  </a:lnTo>
                  <a:lnTo>
                    <a:pt x="289" y="2521"/>
                  </a:lnTo>
                  <a:lnTo>
                    <a:pt x="288" y="2510"/>
                  </a:lnTo>
                  <a:lnTo>
                    <a:pt x="289" y="2503"/>
                  </a:lnTo>
                  <a:lnTo>
                    <a:pt x="290" y="2497"/>
                  </a:lnTo>
                  <a:lnTo>
                    <a:pt x="291" y="2491"/>
                  </a:lnTo>
                  <a:lnTo>
                    <a:pt x="294" y="2487"/>
                  </a:lnTo>
                  <a:lnTo>
                    <a:pt x="300" y="2477"/>
                  </a:lnTo>
                  <a:lnTo>
                    <a:pt x="308" y="2467"/>
                  </a:lnTo>
                  <a:lnTo>
                    <a:pt x="316" y="2458"/>
                  </a:lnTo>
                  <a:lnTo>
                    <a:pt x="325" y="2450"/>
                  </a:lnTo>
                  <a:lnTo>
                    <a:pt x="334" y="2440"/>
                  </a:lnTo>
                  <a:lnTo>
                    <a:pt x="342" y="2429"/>
                  </a:lnTo>
                  <a:lnTo>
                    <a:pt x="348" y="2420"/>
                  </a:lnTo>
                  <a:lnTo>
                    <a:pt x="351" y="2410"/>
                  </a:lnTo>
                  <a:lnTo>
                    <a:pt x="355" y="2401"/>
                  </a:lnTo>
                  <a:lnTo>
                    <a:pt x="357" y="2393"/>
                  </a:lnTo>
                  <a:lnTo>
                    <a:pt x="361" y="2383"/>
                  </a:lnTo>
                  <a:lnTo>
                    <a:pt x="365" y="2374"/>
                  </a:lnTo>
                  <a:lnTo>
                    <a:pt x="369" y="2366"/>
                  </a:lnTo>
                  <a:lnTo>
                    <a:pt x="376" y="2357"/>
                  </a:lnTo>
                  <a:lnTo>
                    <a:pt x="395" y="2331"/>
                  </a:lnTo>
                  <a:lnTo>
                    <a:pt x="414" y="2308"/>
                  </a:lnTo>
                  <a:lnTo>
                    <a:pt x="420" y="2296"/>
                  </a:lnTo>
                  <a:lnTo>
                    <a:pt x="425" y="2283"/>
                  </a:lnTo>
                  <a:lnTo>
                    <a:pt x="428" y="2277"/>
                  </a:lnTo>
                  <a:lnTo>
                    <a:pt x="429" y="2269"/>
                  </a:lnTo>
                  <a:lnTo>
                    <a:pt x="430" y="2262"/>
                  </a:lnTo>
                  <a:lnTo>
                    <a:pt x="430" y="2253"/>
                  </a:lnTo>
                  <a:lnTo>
                    <a:pt x="430" y="2224"/>
                  </a:lnTo>
                  <a:lnTo>
                    <a:pt x="430" y="2198"/>
                  </a:lnTo>
                  <a:lnTo>
                    <a:pt x="430" y="2172"/>
                  </a:lnTo>
                  <a:lnTo>
                    <a:pt x="430" y="2143"/>
                  </a:lnTo>
                  <a:lnTo>
                    <a:pt x="431" y="2132"/>
                  </a:lnTo>
                  <a:lnTo>
                    <a:pt x="432" y="2121"/>
                  </a:lnTo>
                  <a:lnTo>
                    <a:pt x="433" y="2112"/>
                  </a:lnTo>
                  <a:lnTo>
                    <a:pt x="435" y="2102"/>
                  </a:lnTo>
                  <a:lnTo>
                    <a:pt x="441" y="2085"/>
                  </a:lnTo>
                  <a:lnTo>
                    <a:pt x="446" y="2067"/>
                  </a:lnTo>
                  <a:lnTo>
                    <a:pt x="451" y="2050"/>
                  </a:lnTo>
                  <a:lnTo>
                    <a:pt x="457" y="2032"/>
                  </a:lnTo>
                  <a:lnTo>
                    <a:pt x="459" y="2022"/>
                  </a:lnTo>
                  <a:lnTo>
                    <a:pt x="460" y="2012"/>
                  </a:lnTo>
                  <a:lnTo>
                    <a:pt x="461" y="2003"/>
                  </a:lnTo>
                  <a:lnTo>
                    <a:pt x="462" y="1992"/>
                  </a:lnTo>
                  <a:lnTo>
                    <a:pt x="462" y="1968"/>
                  </a:lnTo>
                  <a:lnTo>
                    <a:pt x="462" y="1947"/>
                  </a:lnTo>
                  <a:lnTo>
                    <a:pt x="462" y="1927"/>
                  </a:lnTo>
                  <a:lnTo>
                    <a:pt x="462" y="1908"/>
                  </a:lnTo>
                  <a:lnTo>
                    <a:pt x="462" y="1888"/>
                  </a:lnTo>
                  <a:lnTo>
                    <a:pt x="462" y="1868"/>
                  </a:lnTo>
                  <a:lnTo>
                    <a:pt x="462" y="1847"/>
                  </a:lnTo>
                  <a:lnTo>
                    <a:pt x="462" y="1823"/>
                  </a:lnTo>
                  <a:lnTo>
                    <a:pt x="461" y="1814"/>
                  </a:lnTo>
                  <a:lnTo>
                    <a:pt x="459" y="1805"/>
                  </a:lnTo>
                  <a:lnTo>
                    <a:pt x="456" y="1797"/>
                  </a:lnTo>
                  <a:lnTo>
                    <a:pt x="450" y="1791"/>
                  </a:lnTo>
                  <a:lnTo>
                    <a:pt x="445" y="1786"/>
                  </a:lnTo>
                  <a:lnTo>
                    <a:pt x="438" y="1781"/>
                  </a:lnTo>
                  <a:lnTo>
                    <a:pt x="431" y="1777"/>
                  </a:lnTo>
                  <a:lnTo>
                    <a:pt x="422" y="1773"/>
                  </a:lnTo>
                  <a:lnTo>
                    <a:pt x="405" y="1766"/>
                  </a:lnTo>
                  <a:lnTo>
                    <a:pt x="385" y="1759"/>
                  </a:lnTo>
                  <a:lnTo>
                    <a:pt x="366" y="1752"/>
                  </a:lnTo>
                  <a:lnTo>
                    <a:pt x="348" y="1742"/>
                  </a:lnTo>
                  <a:lnTo>
                    <a:pt x="348" y="1681"/>
                  </a:lnTo>
                  <a:lnTo>
                    <a:pt x="342" y="1658"/>
                  </a:lnTo>
                  <a:lnTo>
                    <a:pt x="327" y="1662"/>
                  </a:lnTo>
                  <a:lnTo>
                    <a:pt x="313" y="1668"/>
                  </a:lnTo>
                  <a:lnTo>
                    <a:pt x="300" y="1672"/>
                  </a:lnTo>
                  <a:lnTo>
                    <a:pt x="288" y="1678"/>
                  </a:lnTo>
                  <a:lnTo>
                    <a:pt x="275" y="1682"/>
                  </a:lnTo>
                  <a:lnTo>
                    <a:pt x="262" y="1686"/>
                  </a:lnTo>
                  <a:lnTo>
                    <a:pt x="248" y="1688"/>
                  </a:lnTo>
                  <a:lnTo>
                    <a:pt x="232" y="1689"/>
                  </a:lnTo>
                  <a:lnTo>
                    <a:pt x="215" y="1689"/>
                  </a:lnTo>
                  <a:lnTo>
                    <a:pt x="199" y="1688"/>
                  </a:lnTo>
                  <a:lnTo>
                    <a:pt x="190" y="1688"/>
                  </a:lnTo>
                  <a:lnTo>
                    <a:pt x="182" y="1686"/>
                  </a:lnTo>
                  <a:lnTo>
                    <a:pt x="174" y="1684"/>
                  </a:lnTo>
                  <a:lnTo>
                    <a:pt x="165" y="1681"/>
                  </a:lnTo>
                  <a:lnTo>
                    <a:pt x="155" y="1675"/>
                  </a:lnTo>
                  <a:lnTo>
                    <a:pt x="146" y="1669"/>
                  </a:lnTo>
                  <a:lnTo>
                    <a:pt x="141" y="1666"/>
                  </a:lnTo>
                  <a:lnTo>
                    <a:pt x="137" y="1664"/>
                  </a:lnTo>
                  <a:lnTo>
                    <a:pt x="132" y="1662"/>
                  </a:lnTo>
                  <a:lnTo>
                    <a:pt x="126" y="1661"/>
                  </a:lnTo>
                  <a:lnTo>
                    <a:pt x="117" y="1662"/>
                  </a:lnTo>
                  <a:lnTo>
                    <a:pt x="108" y="1665"/>
                  </a:lnTo>
                  <a:lnTo>
                    <a:pt x="100" y="1668"/>
                  </a:lnTo>
                  <a:lnTo>
                    <a:pt x="94" y="1671"/>
                  </a:lnTo>
                  <a:lnTo>
                    <a:pt x="80" y="1682"/>
                  </a:lnTo>
                  <a:lnTo>
                    <a:pt x="65" y="1693"/>
                  </a:lnTo>
                  <a:lnTo>
                    <a:pt x="48" y="1702"/>
                  </a:lnTo>
                  <a:lnTo>
                    <a:pt x="32" y="1711"/>
                  </a:lnTo>
                  <a:lnTo>
                    <a:pt x="16" y="1721"/>
                  </a:lnTo>
                  <a:lnTo>
                    <a:pt x="0" y="1732"/>
                  </a:lnTo>
                  <a:lnTo>
                    <a:pt x="0" y="1732"/>
                  </a:lnTo>
                  <a:lnTo>
                    <a:pt x="9" y="1708"/>
                  </a:lnTo>
                  <a:lnTo>
                    <a:pt x="17" y="1687"/>
                  </a:lnTo>
                  <a:lnTo>
                    <a:pt x="27" y="1668"/>
                  </a:lnTo>
                  <a:lnTo>
                    <a:pt x="37" y="1650"/>
                  </a:lnTo>
                  <a:lnTo>
                    <a:pt x="58" y="1614"/>
                  </a:lnTo>
                  <a:lnTo>
                    <a:pt x="84" y="1575"/>
                  </a:lnTo>
                  <a:lnTo>
                    <a:pt x="95" y="1558"/>
                  </a:lnTo>
                  <a:lnTo>
                    <a:pt x="106" y="1543"/>
                  </a:lnTo>
                  <a:lnTo>
                    <a:pt x="117" y="1527"/>
                  </a:lnTo>
                  <a:lnTo>
                    <a:pt x="127" y="1513"/>
                  </a:lnTo>
                  <a:lnTo>
                    <a:pt x="139" y="1499"/>
                  </a:lnTo>
                  <a:lnTo>
                    <a:pt x="151" y="1486"/>
                  </a:lnTo>
                  <a:lnTo>
                    <a:pt x="163" y="1476"/>
                  </a:lnTo>
                  <a:lnTo>
                    <a:pt x="176" y="1465"/>
                  </a:lnTo>
                  <a:lnTo>
                    <a:pt x="190" y="1454"/>
                  </a:lnTo>
                  <a:lnTo>
                    <a:pt x="204" y="1445"/>
                  </a:lnTo>
                  <a:lnTo>
                    <a:pt x="219" y="1438"/>
                  </a:lnTo>
                  <a:lnTo>
                    <a:pt x="234" y="1432"/>
                  </a:lnTo>
                  <a:lnTo>
                    <a:pt x="250" y="1427"/>
                  </a:lnTo>
                  <a:lnTo>
                    <a:pt x="268" y="1424"/>
                  </a:lnTo>
                  <a:lnTo>
                    <a:pt x="286" y="1422"/>
                  </a:lnTo>
                  <a:lnTo>
                    <a:pt x="306" y="1421"/>
                  </a:lnTo>
                  <a:lnTo>
                    <a:pt x="314" y="1422"/>
                  </a:lnTo>
                  <a:lnTo>
                    <a:pt x="322" y="1423"/>
                  </a:lnTo>
                  <a:lnTo>
                    <a:pt x="330" y="1425"/>
                  </a:lnTo>
                  <a:lnTo>
                    <a:pt x="339" y="1426"/>
                  </a:lnTo>
                  <a:lnTo>
                    <a:pt x="345" y="1425"/>
                  </a:lnTo>
                  <a:lnTo>
                    <a:pt x="351" y="1423"/>
                  </a:lnTo>
                  <a:lnTo>
                    <a:pt x="356" y="1421"/>
                  </a:lnTo>
                  <a:lnTo>
                    <a:pt x="361" y="1416"/>
                  </a:lnTo>
                  <a:lnTo>
                    <a:pt x="365" y="1413"/>
                  </a:lnTo>
                  <a:lnTo>
                    <a:pt x="369" y="1409"/>
                  </a:lnTo>
                  <a:lnTo>
                    <a:pt x="375" y="1405"/>
                  </a:lnTo>
                  <a:lnTo>
                    <a:pt x="381" y="1403"/>
                  </a:lnTo>
                  <a:lnTo>
                    <a:pt x="392" y="1400"/>
                  </a:lnTo>
                  <a:lnTo>
                    <a:pt x="401" y="1396"/>
                  </a:lnTo>
                  <a:lnTo>
                    <a:pt x="409" y="1391"/>
                  </a:lnTo>
                  <a:lnTo>
                    <a:pt x="417" y="1386"/>
                  </a:lnTo>
                  <a:lnTo>
                    <a:pt x="424" y="1381"/>
                  </a:lnTo>
                  <a:lnTo>
                    <a:pt x="431" y="1374"/>
                  </a:lnTo>
                  <a:lnTo>
                    <a:pt x="438" y="1367"/>
                  </a:lnTo>
                  <a:lnTo>
                    <a:pt x="446" y="1359"/>
                  </a:lnTo>
                  <a:lnTo>
                    <a:pt x="451" y="1349"/>
                  </a:lnTo>
                  <a:lnTo>
                    <a:pt x="455" y="1340"/>
                  </a:lnTo>
                  <a:lnTo>
                    <a:pt x="457" y="1335"/>
                  </a:lnTo>
                  <a:lnTo>
                    <a:pt x="459" y="1331"/>
                  </a:lnTo>
                  <a:lnTo>
                    <a:pt x="461" y="1327"/>
                  </a:lnTo>
                  <a:lnTo>
                    <a:pt x="465" y="1322"/>
                  </a:lnTo>
                  <a:lnTo>
                    <a:pt x="474" y="1314"/>
                  </a:lnTo>
                  <a:lnTo>
                    <a:pt x="482" y="1304"/>
                  </a:lnTo>
                  <a:lnTo>
                    <a:pt x="488" y="1295"/>
                  </a:lnTo>
                  <a:lnTo>
                    <a:pt x="493" y="1287"/>
                  </a:lnTo>
                  <a:lnTo>
                    <a:pt x="500" y="1279"/>
                  </a:lnTo>
                  <a:lnTo>
                    <a:pt x="508" y="1272"/>
                  </a:lnTo>
                  <a:lnTo>
                    <a:pt x="516" y="1264"/>
                  </a:lnTo>
                  <a:lnTo>
                    <a:pt x="527" y="1257"/>
                  </a:lnTo>
                  <a:lnTo>
                    <a:pt x="539" y="1254"/>
                  </a:lnTo>
                  <a:lnTo>
                    <a:pt x="550" y="1252"/>
                  </a:lnTo>
                  <a:lnTo>
                    <a:pt x="555" y="1251"/>
                  </a:lnTo>
                  <a:lnTo>
                    <a:pt x="560" y="1249"/>
                  </a:lnTo>
                  <a:lnTo>
                    <a:pt x="566" y="1247"/>
                  </a:lnTo>
                  <a:lnTo>
                    <a:pt x="571" y="1243"/>
                  </a:lnTo>
                  <a:lnTo>
                    <a:pt x="580" y="1238"/>
                  </a:lnTo>
                  <a:lnTo>
                    <a:pt x="586" y="1233"/>
                  </a:lnTo>
                  <a:lnTo>
                    <a:pt x="593" y="1226"/>
                  </a:lnTo>
                  <a:lnTo>
                    <a:pt x="598" y="1219"/>
                  </a:lnTo>
                  <a:lnTo>
                    <a:pt x="603" y="1212"/>
                  </a:lnTo>
                  <a:lnTo>
                    <a:pt x="607" y="1205"/>
                  </a:lnTo>
                  <a:lnTo>
                    <a:pt x="610" y="1197"/>
                  </a:lnTo>
                  <a:lnTo>
                    <a:pt x="613" y="1189"/>
                  </a:lnTo>
                  <a:lnTo>
                    <a:pt x="624" y="1156"/>
                  </a:lnTo>
                  <a:lnTo>
                    <a:pt x="639" y="1120"/>
                  </a:lnTo>
                  <a:lnTo>
                    <a:pt x="648" y="1103"/>
                  </a:lnTo>
                  <a:lnTo>
                    <a:pt x="655" y="1088"/>
                  </a:lnTo>
                  <a:lnTo>
                    <a:pt x="664" y="1074"/>
                  </a:lnTo>
                  <a:lnTo>
                    <a:pt x="675" y="1059"/>
                  </a:lnTo>
                  <a:lnTo>
                    <a:pt x="693" y="1040"/>
                  </a:lnTo>
                  <a:lnTo>
                    <a:pt x="712" y="1025"/>
                  </a:lnTo>
                  <a:lnTo>
                    <a:pt x="719" y="1017"/>
                  </a:lnTo>
                  <a:lnTo>
                    <a:pt x="726" y="1007"/>
                  </a:lnTo>
                  <a:lnTo>
                    <a:pt x="728" y="1003"/>
                  </a:lnTo>
                  <a:lnTo>
                    <a:pt x="730" y="997"/>
                  </a:lnTo>
                  <a:lnTo>
                    <a:pt x="731" y="991"/>
                  </a:lnTo>
                  <a:lnTo>
                    <a:pt x="731" y="984"/>
                  </a:lnTo>
                  <a:lnTo>
                    <a:pt x="729" y="968"/>
                  </a:lnTo>
                  <a:lnTo>
                    <a:pt x="726" y="952"/>
                  </a:lnTo>
                  <a:lnTo>
                    <a:pt x="727" y="945"/>
                  </a:lnTo>
                  <a:lnTo>
                    <a:pt x="729" y="939"/>
                  </a:lnTo>
                  <a:lnTo>
                    <a:pt x="733" y="933"/>
                  </a:lnTo>
                  <a:lnTo>
                    <a:pt x="738" y="928"/>
                  </a:lnTo>
                  <a:lnTo>
                    <a:pt x="742" y="923"/>
                  </a:lnTo>
                  <a:lnTo>
                    <a:pt x="746" y="917"/>
                  </a:lnTo>
                  <a:lnTo>
                    <a:pt x="751" y="912"/>
                  </a:lnTo>
                  <a:lnTo>
                    <a:pt x="754" y="904"/>
                  </a:lnTo>
                  <a:lnTo>
                    <a:pt x="760" y="886"/>
                  </a:lnTo>
                  <a:lnTo>
                    <a:pt x="766" y="870"/>
                  </a:lnTo>
                  <a:lnTo>
                    <a:pt x="770" y="854"/>
                  </a:lnTo>
                  <a:lnTo>
                    <a:pt x="776" y="835"/>
                  </a:lnTo>
                  <a:lnTo>
                    <a:pt x="784" y="811"/>
                  </a:lnTo>
                  <a:lnTo>
                    <a:pt x="792" y="792"/>
                  </a:lnTo>
                  <a:lnTo>
                    <a:pt x="800" y="773"/>
                  </a:lnTo>
                  <a:lnTo>
                    <a:pt x="810" y="751"/>
                  </a:lnTo>
                  <a:lnTo>
                    <a:pt x="815" y="734"/>
                  </a:lnTo>
                  <a:lnTo>
                    <a:pt x="820" y="717"/>
                  </a:lnTo>
                  <a:lnTo>
                    <a:pt x="822" y="710"/>
                  </a:lnTo>
                  <a:lnTo>
                    <a:pt x="824" y="702"/>
                  </a:lnTo>
                  <a:lnTo>
                    <a:pt x="829" y="695"/>
                  </a:lnTo>
                  <a:lnTo>
                    <a:pt x="835" y="689"/>
                  </a:lnTo>
                  <a:lnTo>
                    <a:pt x="846" y="682"/>
                  </a:lnTo>
                  <a:lnTo>
                    <a:pt x="855" y="675"/>
                  </a:lnTo>
                  <a:lnTo>
                    <a:pt x="866" y="671"/>
                  </a:lnTo>
                  <a:lnTo>
                    <a:pt x="876" y="666"/>
                  </a:lnTo>
                  <a:lnTo>
                    <a:pt x="886" y="661"/>
                  </a:lnTo>
                  <a:lnTo>
                    <a:pt x="895" y="655"/>
                  </a:lnTo>
                  <a:lnTo>
                    <a:pt x="903" y="648"/>
                  </a:lnTo>
                  <a:lnTo>
                    <a:pt x="910" y="639"/>
                  </a:lnTo>
                  <a:lnTo>
                    <a:pt x="923" y="618"/>
                  </a:lnTo>
                  <a:lnTo>
                    <a:pt x="933" y="598"/>
                  </a:lnTo>
                  <a:lnTo>
                    <a:pt x="941" y="578"/>
                  </a:lnTo>
                  <a:lnTo>
                    <a:pt x="947" y="559"/>
                  </a:lnTo>
                  <a:lnTo>
                    <a:pt x="952" y="539"/>
                  </a:lnTo>
                  <a:lnTo>
                    <a:pt x="959" y="520"/>
                  </a:lnTo>
                  <a:lnTo>
                    <a:pt x="967" y="498"/>
                  </a:lnTo>
                  <a:lnTo>
                    <a:pt x="975" y="476"/>
                  </a:lnTo>
                  <a:lnTo>
                    <a:pt x="983" y="462"/>
                  </a:lnTo>
                  <a:lnTo>
                    <a:pt x="991" y="449"/>
                  </a:lnTo>
                  <a:lnTo>
                    <a:pt x="1000" y="436"/>
                  </a:lnTo>
                  <a:lnTo>
                    <a:pt x="1008" y="425"/>
                  </a:lnTo>
                  <a:lnTo>
                    <a:pt x="1015" y="413"/>
                  </a:lnTo>
                  <a:lnTo>
                    <a:pt x="1021" y="400"/>
                  </a:lnTo>
                  <a:lnTo>
                    <a:pt x="1023" y="392"/>
                  </a:lnTo>
                  <a:lnTo>
                    <a:pt x="1025" y="386"/>
                  </a:lnTo>
                  <a:lnTo>
                    <a:pt x="1025" y="378"/>
                  </a:lnTo>
                  <a:lnTo>
                    <a:pt x="1026" y="370"/>
                  </a:lnTo>
                  <a:lnTo>
                    <a:pt x="1026" y="357"/>
                  </a:lnTo>
                  <a:lnTo>
                    <a:pt x="1027" y="345"/>
                  </a:lnTo>
                  <a:lnTo>
                    <a:pt x="1027" y="339"/>
                  </a:lnTo>
                  <a:lnTo>
                    <a:pt x="1026" y="334"/>
                  </a:lnTo>
                  <a:lnTo>
                    <a:pt x="1025" y="328"/>
                  </a:lnTo>
                  <a:lnTo>
                    <a:pt x="1023" y="322"/>
                  </a:lnTo>
                  <a:lnTo>
                    <a:pt x="1019" y="316"/>
                  </a:lnTo>
                  <a:lnTo>
                    <a:pt x="1014" y="310"/>
                  </a:lnTo>
                  <a:lnTo>
                    <a:pt x="1009" y="306"/>
                  </a:lnTo>
                  <a:lnTo>
                    <a:pt x="1003" y="302"/>
                  </a:lnTo>
                  <a:lnTo>
                    <a:pt x="998" y="297"/>
                  </a:lnTo>
                  <a:lnTo>
                    <a:pt x="994" y="293"/>
                  </a:lnTo>
                  <a:lnTo>
                    <a:pt x="991" y="290"/>
                  </a:lnTo>
                  <a:lnTo>
                    <a:pt x="990" y="287"/>
                  </a:lnTo>
                  <a:lnTo>
                    <a:pt x="989" y="283"/>
                  </a:lnTo>
                  <a:lnTo>
                    <a:pt x="989" y="280"/>
                  </a:lnTo>
                  <a:lnTo>
                    <a:pt x="989" y="274"/>
                  </a:lnTo>
                  <a:lnTo>
                    <a:pt x="990" y="267"/>
                  </a:lnTo>
                  <a:lnTo>
                    <a:pt x="992" y="262"/>
                  </a:lnTo>
                  <a:lnTo>
                    <a:pt x="995" y="256"/>
                  </a:lnTo>
                  <a:lnTo>
                    <a:pt x="1001" y="247"/>
                  </a:lnTo>
                  <a:lnTo>
                    <a:pt x="1008" y="238"/>
                  </a:lnTo>
                  <a:lnTo>
                    <a:pt x="1016" y="229"/>
                  </a:lnTo>
                  <a:lnTo>
                    <a:pt x="1024" y="221"/>
                  </a:lnTo>
                  <a:lnTo>
                    <a:pt x="1031" y="210"/>
                  </a:lnTo>
                  <a:lnTo>
                    <a:pt x="1037" y="198"/>
                  </a:lnTo>
                  <a:lnTo>
                    <a:pt x="1048" y="172"/>
                  </a:lnTo>
                  <a:lnTo>
                    <a:pt x="1055" y="147"/>
                  </a:lnTo>
                  <a:lnTo>
                    <a:pt x="1063" y="123"/>
                  </a:lnTo>
                  <a:lnTo>
                    <a:pt x="1068" y="101"/>
                  </a:lnTo>
                  <a:lnTo>
                    <a:pt x="1075" y="77"/>
                  </a:lnTo>
                  <a:lnTo>
                    <a:pt x="1080" y="53"/>
                  </a:lnTo>
                  <a:lnTo>
                    <a:pt x="1088" y="28"/>
                  </a:lnTo>
                  <a:lnTo>
                    <a:pt x="1096" y="0"/>
                  </a:lnTo>
                  <a:lnTo>
                    <a:pt x="1096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21">
              <a:extLst>
                <a:ext uri="{FF2B5EF4-FFF2-40B4-BE49-F238E27FC236}">
                  <a16:creationId xmlns:a16="http://schemas.microsoft.com/office/drawing/2014/main" id="{1E6C9933-DA5E-4A7C-BD1E-E48954552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00300" y="1620838"/>
              <a:ext cx="912813" cy="1279525"/>
            </a:xfrm>
            <a:custGeom>
              <a:avLst/>
              <a:gdLst>
                <a:gd name="T0" fmla="*/ 2031 w 2300"/>
                <a:gd name="T1" fmla="*/ 88 h 3221"/>
                <a:gd name="T2" fmla="*/ 2077 w 2300"/>
                <a:gd name="T3" fmla="*/ 111 h 3221"/>
                <a:gd name="T4" fmla="*/ 2065 w 2300"/>
                <a:gd name="T5" fmla="*/ 291 h 3221"/>
                <a:gd name="T6" fmla="*/ 2196 w 2300"/>
                <a:gd name="T7" fmla="*/ 425 h 3221"/>
                <a:gd name="T8" fmla="*/ 2191 w 2300"/>
                <a:gd name="T9" fmla="*/ 564 h 3221"/>
                <a:gd name="T10" fmla="*/ 2121 w 2300"/>
                <a:gd name="T11" fmla="*/ 652 h 3221"/>
                <a:gd name="T12" fmla="*/ 2075 w 2300"/>
                <a:gd name="T13" fmla="*/ 874 h 3221"/>
                <a:gd name="T14" fmla="*/ 2085 w 2300"/>
                <a:gd name="T15" fmla="*/ 981 h 3221"/>
                <a:gd name="T16" fmla="*/ 2028 w 2300"/>
                <a:gd name="T17" fmla="*/ 1247 h 3221"/>
                <a:gd name="T18" fmla="*/ 2077 w 2300"/>
                <a:gd name="T19" fmla="*/ 1429 h 3221"/>
                <a:gd name="T20" fmla="*/ 2079 w 2300"/>
                <a:gd name="T21" fmla="*/ 1616 h 3221"/>
                <a:gd name="T22" fmla="*/ 2135 w 2300"/>
                <a:gd name="T23" fmla="*/ 1704 h 3221"/>
                <a:gd name="T24" fmla="*/ 2278 w 2300"/>
                <a:gd name="T25" fmla="*/ 1758 h 3221"/>
                <a:gd name="T26" fmla="*/ 2291 w 2300"/>
                <a:gd name="T27" fmla="*/ 1945 h 3221"/>
                <a:gd name="T28" fmla="*/ 2189 w 2300"/>
                <a:gd name="T29" fmla="*/ 2057 h 3221"/>
                <a:gd name="T30" fmla="*/ 2228 w 2300"/>
                <a:gd name="T31" fmla="*/ 2190 h 3221"/>
                <a:gd name="T32" fmla="*/ 2189 w 2300"/>
                <a:gd name="T33" fmla="*/ 2305 h 3221"/>
                <a:gd name="T34" fmla="*/ 2021 w 2300"/>
                <a:gd name="T35" fmla="*/ 2465 h 3221"/>
                <a:gd name="T36" fmla="*/ 1870 w 2300"/>
                <a:gd name="T37" fmla="*/ 2551 h 3221"/>
                <a:gd name="T38" fmla="*/ 1780 w 2300"/>
                <a:gd name="T39" fmla="*/ 2651 h 3221"/>
                <a:gd name="T40" fmla="*/ 1569 w 2300"/>
                <a:gd name="T41" fmla="*/ 2721 h 3221"/>
                <a:gd name="T42" fmla="*/ 1378 w 2300"/>
                <a:gd name="T43" fmla="*/ 2737 h 3221"/>
                <a:gd name="T44" fmla="*/ 1268 w 2300"/>
                <a:gd name="T45" fmla="*/ 2765 h 3221"/>
                <a:gd name="T46" fmla="*/ 1082 w 2300"/>
                <a:gd name="T47" fmla="*/ 2700 h 3221"/>
                <a:gd name="T48" fmla="*/ 987 w 2300"/>
                <a:gd name="T49" fmla="*/ 2655 h 3221"/>
                <a:gd name="T50" fmla="*/ 837 w 2300"/>
                <a:gd name="T51" fmla="*/ 2702 h 3221"/>
                <a:gd name="T52" fmla="*/ 890 w 2300"/>
                <a:gd name="T53" fmla="*/ 2857 h 3221"/>
                <a:gd name="T54" fmla="*/ 864 w 2300"/>
                <a:gd name="T55" fmla="*/ 3007 h 3221"/>
                <a:gd name="T56" fmla="*/ 712 w 2300"/>
                <a:gd name="T57" fmla="*/ 3140 h 3221"/>
                <a:gd name="T58" fmla="*/ 496 w 2300"/>
                <a:gd name="T59" fmla="*/ 3221 h 3221"/>
                <a:gd name="T60" fmla="*/ 346 w 2300"/>
                <a:gd name="T61" fmla="*/ 3114 h 3221"/>
                <a:gd name="T62" fmla="*/ 123 w 2300"/>
                <a:gd name="T63" fmla="*/ 3014 h 3221"/>
                <a:gd name="T64" fmla="*/ 44 w 2300"/>
                <a:gd name="T65" fmla="*/ 2641 h 3221"/>
                <a:gd name="T66" fmla="*/ 5 w 2300"/>
                <a:gd name="T67" fmla="*/ 2529 h 3221"/>
                <a:gd name="T68" fmla="*/ 2 w 2300"/>
                <a:gd name="T69" fmla="*/ 2395 h 3221"/>
                <a:gd name="T70" fmla="*/ 89 w 2300"/>
                <a:gd name="T71" fmla="*/ 2369 h 3221"/>
                <a:gd name="T72" fmla="*/ 168 w 2300"/>
                <a:gd name="T73" fmla="*/ 1982 h 3221"/>
                <a:gd name="T74" fmla="*/ 247 w 2300"/>
                <a:gd name="T75" fmla="*/ 1878 h 3221"/>
                <a:gd name="T76" fmla="*/ 372 w 2300"/>
                <a:gd name="T77" fmla="*/ 1881 h 3221"/>
                <a:gd name="T78" fmla="*/ 506 w 2300"/>
                <a:gd name="T79" fmla="*/ 1840 h 3221"/>
                <a:gd name="T80" fmla="*/ 663 w 2300"/>
                <a:gd name="T81" fmla="*/ 1744 h 3221"/>
                <a:gd name="T82" fmla="*/ 749 w 2300"/>
                <a:gd name="T83" fmla="*/ 1699 h 3221"/>
                <a:gd name="T84" fmla="*/ 844 w 2300"/>
                <a:gd name="T85" fmla="*/ 1616 h 3221"/>
                <a:gd name="T86" fmla="*/ 969 w 2300"/>
                <a:gd name="T87" fmla="*/ 1588 h 3221"/>
                <a:gd name="T88" fmla="*/ 1188 w 2300"/>
                <a:gd name="T89" fmla="*/ 1672 h 3221"/>
                <a:gd name="T90" fmla="*/ 1287 w 2300"/>
                <a:gd name="T91" fmla="*/ 1629 h 3221"/>
                <a:gd name="T92" fmla="*/ 1323 w 2300"/>
                <a:gd name="T93" fmla="*/ 1478 h 3221"/>
                <a:gd name="T94" fmla="*/ 1280 w 2300"/>
                <a:gd name="T95" fmla="*/ 1371 h 3221"/>
                <a:gd name="T96" fmla="*/ 1241 w 2300"/>
                <a:gd name="T97" fmla="*/ 1277 h 3221"/>
                <a:gd name="T98" fmla="*/ 1256 w 2300"/>
                <a:gd name="T99" fmla="*/ 1161 h 3221"/>
                <a:gd name="T100" fmla="*/ 1346 w 2300"/>
                <a:gd name="T101" fmla="*/ 1053 h 3221"/>
                <a:gd name="T102" fmla="*/ 1397 w 2300"/>
                <a:gd name="T103" fmla="*/ 846 h 3221"/>
                <a:gd name="T104" fmla="*/ 1346 w 2300"/>
                <a:gd name="T105" fmla="*/ 734 h 3221"/>
                <a:gd name="T106" fmla="*/ 1365 w 2300"/>
                <a:gd name="T107" fmla="*/ 611 h 3221"/>
                <a:gd name="T108" fmla="*/ 1328 w 2300"/>
                <a:gd name="T109" fmla="*/ 547 h 3221"/>
                <a:gd name="T110" fmla="*/ 1432 w 2300"/>
                <a:gd name="T111" fmla="*/ 437 h 3221"/>
                <a:gd name="T112" fmla="*/ 1498 w 2300"/>
                <a:gd name="T113" fmla="*/ 259 h 3221"/>
                <a:gd name="T114" fmla="*/ 1560 w 2300"/>
                <a:gd name="T115" fmla="*/ 261 h 3221"/>
                <a:gd name="T116" fmla="*/ 1651 w 2300"/>
                <a:gd name="T117" fmla="*/ 179 h 3221"/>
                <a:gd name="T118" fmla="*/ 1794 w 2300"/>
                <a:gd name="T119" fmla="*/ 136 h 3221"/>
                <a:gd name="T120" fmla="*/ 1861 w 2300"/>
                <a:gd name="T121" fmla="*/ 0 h 3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00" h="3221">
                  <a:moveTo>
                    <a:pt x="1861" y="0"/>
                  </a:moveTo>
                  <a:lnTo>
                    <a:pt x="1872" y="8"/>
                  </a:lnTo>
                  <a:lnTo>
                    <a:pt x="1883" y="16"/>
                  </a:lnTo>
                  <a:lnTo>
                    <a:pt x="1896" y="24"/>
                  </a:lnTo>
                  <a:lnTo>
                    <a:pt x="1912" y="32"/>
                  </a:lnTo>
                  <a:lnTo>
                    <a:pt x="1944" y="52"/>
                  </a:lnTo>
                  <a:lnTo>
                    <a:pt x="1974" y="70"/>
                  </a:lnTo>
                  <a:lnTo>
                    <a:pt x="1988" y="77"/>
                  </a:lnTo>
                  <a:lnTo>
                    <a:pt x="2004" y="83"/>
                  </a:lnTo>
                  <a:lnTo>
                    <a:pt x="2013" y="85"/>
                  </a:lnTo>
                  <a:lnTo>
                    <a:pt x="2022" y="87"/>
                  </a:lnTo>
                  <a:lnTo>
                    <a:pt x="2031" y="88"/>
                  </a:lnTo>
                  <a:lnTo>
                    <a:pt x="2041" y="88"/>
                  </a:lnTo>
                  <a:lnTo>
                    <a:pt x="2047" y="88"/>
                  </a:lnTo>
                  <a:lnTo>
                    <a:pt x="2051" y="86"/>
                  </a:lnTo>
                  <a:lnTo>
                    <a:pt x="2054" y="85"/>
                  </a:lnTo>
                  <a:lnTo>
                    <a:pt x="2058" y="83"/>
                  </a:lnTo>
                  <a:lnTo>
                    <a:pt x="2062" y="81"/>
                  </a:lnTo>
                  <a:lnTo>
                    <a:pt x="2066" y="78"/>
                  </a:lnTo>
                  <a:lnTo>
                    <a:pt x="2070" y="77"/>
                  </a:lnTo>
                  <a:lnTo>
                    <a:pt x="2076" y="77"/>
                  </a:lnTo>
                  <a:lnTo>
                    <a:pt x="2076" y="77"/>
                  </a:lnTo>
                  <a:lnTo>
                    <a:pt x="2077" y="95"/>
                  </a:lnTo>
                  <a:lnTo>
                    <a:pt x="2077" y="111"/>
                  </a:lnTo>
                  <a:lnTo>
                    <a:pt x="2076" y="128"/>
                  </a:lnTo>
                  <a:lnTo>
                    <a:pt x="2076" y="145"/>
                  </a:lnTo>
                  <a:lnTo>
                    <a:pt x="2075" y="164"/>
                  </a:lnTo>
                  <a:lnTo>
                    <a:pt x="2074" y="181"/>
                  </a:lnTo>
                  <a:lnTo>
                    <a:pt x="2071" y="197"/>
                  </a:lnTo>
                  <a:lnTo>
                    <a:pt x="2069" y="213"/>
                  </a:lnTo>
                  <a:lnTo>
                    <a:pt x="2067" y="229"/>
                  </a:lnTo>
                  <a:lnTo>
                    <a:pt x="2065" y="245"/>
                  </a:lnTo>
                  <a:lnTo>
                    <a:pt x="2063" y="263"/>
                  </a:lnTo>
                  <a:lnTo>
                    <a:pt x="2063" y="281"/>
                  </a:lnTo>
                  <a:lnTo>
                    <a:pt x="2063" y="287"/>
                  </a:lnTo>
                  <a:lnTo>
                    <a:pt x="2065" y="291"/>
                  </a:lnTo>
                  <a:lnTo>
                    <a:pt x="2068" y="294"/>
                  </a:lnTo>
                  <a:lnTo>
                    <a:pt x="2071" y="298"/>
                  </a:lnTo>
                  <a:lnTo>
                    <a:pt x="2079" y="304"/>
                  </a:lnTo>
                  <a:lnTo>
                    <a:pt x="2085" y="313"/>
                  </a:lnTo>
                  <a:lnTo>
                    <a:pt x="2093" y="328"/>
                  </a:lnTo>
                  <a:lnTo>
                    <a:pt x="2103" y="341"/>
                  </a:lnTo>
                  <a:lnTo>
                    <a:pt x="2111" y="354"/>
                  </a:lnTo>
                  <a:lnTo>
                    <a:pt x="2122" y="365"/>
                  </a:lnTo>
                  <a:lnTo>
                    <a:pt x="2145" y="384"/>
                  </a:lnTo>
                  <a:lnTo>
                    <a:pt x="2172" y="405"/>
                  </a:lnTo>
                  <a:lnTo>
                    <a:pt x="2185" y="414"/>
                  </a:lnTo>
                  <a:lnTo>
                    <a:pt x="2196" y="425"/>
                  </a:lnTo>
                  <a:lnTo>
                    <a:pt x="2200" y="432"/>
                  </a:lnTo>
                  <a:lnTo>
                    <a:pt x="2203" y="437"/>
                  </a:lnTo>
                  <a:lnTo>
                    <a:pt x="2204" y="445"/>
                  </a:lnTo>
                  <a:lnTo>
                    <a:pt x="2205" y="452"/>
                  </a:lnTo>
                  <a:lnTo>
                    <a:pt x="2205" y="462"/>
                  </a:lnTo>
                  <a:lnTo>
                    <a:pt x="2203" y="472"/>
                  </a:lnTo>
                  <a:lnTo>
                    <a:pt x="2202" y="479"/>
                  </a:lnTo>
                  <a:lnTo>
                    <a:pt x="2199" y="488"/>
                  </a:lnTo>
                  <a:lnTo>
                    <a:pt x="2194" y="504"/>
                  </a:lnTo>
                  <a:lnTo>
                    <a:pt x="2191" y="522"/>
                  </a:lnTo>
                  <a:lnTo>
                    <a:pt x="2191" y="545"/>
                  </a:lnTo>
                  <a:lnTo>
                    <a:pt x="2191" y="564"/>
                  </a:lnTo>
                  <a:lnTo>
                    <a:pt x="2190" y="574"/>
                  </a:lnTo>
                  <a:lnTo>
                    <a:pt x="2188" y="584"/>
                  </a:lnTo>
                  <a:lnTo>
                    <a:pt x="2184" y="592"/>
                  </a:lnTo>
                  <a:lnTo>
                    <a:pt x="2177" y="601"/>
                  </a:lnTo>
                  <a:lnTo>
                    <a:pt x="2170" y="609"/>
                  </a:lnTo>
                  <a:lnTo>
                    <a:pt x="2162" y="614"/>
                  </a:lnTo>
                  <a:lnTo>
                    <a:pt x="2155" y="619"/>
                  </a:lnTo>
                  <a:lnTo>
                    <a:pt x="2146" y="624"/>
                  </a:lnTo>
                  <a:lnTo>
                    <a:pt x="2138" y="629"/>
                  </a:lnTo>
                  <a:lnTo>
                    <a:pt x="2132" y="635"/>
                  </a:lnTo>
                  <a:lnTo>
                    <a:pt x="2125" y="642"/>
                  </a:lnTo>
                  <a:lnTo>
                    <a:pt x="2121" y="652"/>
                  </a:lnTo>
                  <a:lnTo>
                    <a:pt x="2113" y="675"/>
                  </a:lnTo>
                  <a:lnTo>
                    <a:pt x="2107" y="695"/>
                  </a:lnTo>
                  <a:lnTo>
                    <a:pt x="2103" y="716"/>
                  </a:lnTo>
                  <a:lnTo>
                    <a:pt x="2098" y="735"/>
                  </a:lnTo>
                  <a:lnTo>
                    <a:pt x="2095" y="756"/>
                  </a:lnTo>
                  <a:lnTo>
                    <a:pt x="2093" y="776"/>
                  </a:lnTo>
                  <a:lnTo>
                    <a:pt x="2091" y="798"/>
                  </a:lnTo>
                  <a:lnTo>
                    <a:pt x="2088" y="823"/>
                  </a:lnTo>
                  <a:lnTo>
                    <a:pt x="2085" y="837"/>
                  </a:lnTo>
                  <a:lnTo>
                    <a:pt x="2082" y="851"/>
                  </a:lnTo>
                  <a:lnTo>
                    <a:pt x="2079" y="862"/>
                  </a:lnTo>
                  <a:lnTo>
                    <a:pt x="2075" y="874"/>
                  </a:lnTo>
                  <a:lnTo>
                    <a:pt x="2071" y="886"/>
                  </a:lnTo>
                  <a:lnTo>
                    <a:pt x="2068" y="898"/>
                  </a:lnTo>
                  <a:lnTo>
                    <a:pt x="2066" y="911"/>
                  </a:lnTo>
                  <a:lnTo>
                    <a:pt x="2065" y="926"/>
                  </a:lnTo>
                  <a:lnTo>
                    <a:pt x="2066" y="934"/>
                  </a:lnTo>
                  <a:lnTo>
                    <a:pt x="2068" y="941"/>
                  </a:lnTo>
                  <a:lnTo>
                    <a:pt x="2071" y="948"/>
                  </a:lnTo>
                  <a:lnTo>
                    <a:pt x="2076" y="954"/>
                  </a:lnTo>
                  <a:lnTo>
                    <a:pt x="2079" y="960"/>
                  </a:lnTo>
                  <a:lnTo>
                    <a:pt x="2082" y="966"/>
                  </a:lnTo>
                  <a:lnTo>
                    <a:pt x="2084" y="974"/>
                  </a:lnTo>
                  <a:lnTo>
                    <a:pt x="2085" y="981"/>
                  </a:lnTo>
                  <a:lnTo>
                    <a:pt x="2085" y="1001"/>
                  </a:lnTo>
                  <a:lnTo>
                    <a:pt x="2085" y="1017"/>
                  </a:lnTo>
                  <a:lnTo>
                    <a:pt x="2085" y="1034"/>
                  </a:lnTo>
                  <a:lnTo>
                    <a:pt x="2085" y="1053"/>
                  </a:lnTo>
                  <a:lnTo>
                    <a:pt x="2084" y="1072"/>
                  </a:lnTo>
                  <a:lnTo>
                    <a:pt x="2082" y="1090"/>
                  </a:lnTo>
                  <a:lnTo>
                    <a:pt x="2079" y="1108"/>
                  </a:lnTo>
                  <a:lnTo>
                    <a:pt x="2075" y="1125"/>
                  </a:lnTo>
                  <a:lnTo>
                    <a:pt x="2064" y="1155"/>
                  </a:lnTo>
                  <a:lnTo>
                    <a:pt x="2051" y="1185"/>
                  </a:lnTo>
                  <a:lnTo>
                    <a:pt x="2039" y="1216"/>
                  </a:lnTo>
                  <a:lnTo>
                    <a:pt x="2028" y="1247"/>
                  </a:lnTo>
                  <a:lnTo>
                    <a:pt x="2024" y="1263"/>
                  </a:lnTo>
                  <a:lnTo>
                    <a:pt x="2021" y="1280"/>
                  </a:lnTo>
                  <a:lnTo>
                    <a:pt x="2018" y="1299"/>
                  </a:lnTo>
                  <a:lnTo>
                    <a:pt x="2017" y="1318"/>
                  </a:lnTo>
                  <a:lnTo>
                    <a:pt x="2018" y="1330"/>
                  </a:lnTo>
                  <a:lnTo>
                    <a:pt x="2021" y="1341"/>
                  </a:lnTo>
                  <a:lnTo>
                    <a:pt x="2024" y="1352"/>
                  </a:lnTo>
                  <a:lnTo>
                    <a:pt x="2028" y="1361"/>
                  </a:lnTo>
                  <a:lnTo>
                    <a:pt x="2040" y="1379"/>
                  </a:lnTo>
                  <a:lnTo>
                    <a:pt x="2053" y="1396"/>
                  </a:lnTo>
                  <a:lnTo>
                    <a:pt x="2066" y="1412"/>
                  </a:lnTo>
                  <a:lnTo>
                    <a:pt x="2077" y="1429"/>
                  </a:lnTo>
                  <a:lnTo>
                    <a:pt x="2081" y="1439"/>
                  </a:lnTo>
                  <a:lnTo>
                    <a:pt x="2084" y="1450"/>
                  </a:lnTo>
                  <a:lnTo>
                    <a:pt x="2086" y="1461"/>
                  </a:lnTo>
                  <a:lnTo>
                    <a:pt x="2088" y="1473"/>
                  </a:lnTo>
                  <a:lnTo>
                    <a:pt x="2086" y="1490"/>
                  </a:lnTo>
                  <a:lnTo>
                    <a:pt x="2083" y="1506"/>
                  </a:lnTo>
                  <a:lnTo>
                    <a:pt x="2081" y="1521"/>
                  </a:lnTo>
                  <a:lnTo>
                    <a:pt x="2079" y="1540"/>
                  </a:lnTo>
                  <a:lnTo>
                    <a:pt x="2079" y="1560"/>
                  </a:lnTo>
                  <a:lnTo>
                    <a:pt x="2079" y="1577"/>
                  </a:lnTo>
                  <a:lnTo>
                    <a:pt x="2079" y="1596"/>
                  </a:lnTo>
                  <a:lnTo>
                    <a:pt x="2079" y="1616"/>
                  </a:lnTo>
                  <a:lnTo>
                    <a:pt x="2079" y="1628"/>
                  </a:lnTo>
                  <a:lnTo>
                    <a:pt x="2080" y="1640"/>
                  </a:lnTo>
                  <a:lnTo>
                    <a:pt x="2080" y="1652"/>
                  </a:lnTo>
                  <a:lnTo>
                    <a:pt x="2082" y="1663"/>
                  </a:lnTo>
                  <a:lnTo>
                    <a:pt x="2085" y="1672"/>
                  </a:lnTo>
                  <a:lnTo>
                    <a:pt x="2091" y="1681"/>
                  </a:lnTo>
                  <a:lnTo>
                    <a:pt x="2094" y="1685"/>
                  </a:lnTo>
                  <a:lnTo>
                    <a:pt x="2097" y="1689"/>
                  </a:lnTo>
                  <a:lnTo>
                    <a:pt x="2103" y="1692"/>
                  </a:lnTo>
                  <a:lnTo>
                    <a:pt x="2107" y="1694"/>
                  </a:lnTo>
                  <a:lnTo>
                    <a:pt x="2122" y="1699"/>
                  </a:lnTo>
                  <a:lnTo>
                    <a:pt x="2135" y="1704"/>
                  </a:lnTo>
                  <a:lnTo>
                    <a:pt x="2149" y="1707"/>
                  </a:lnTo>
                  <a:lnTo>
                    <a:pt x="2161" y="1709"/>
                  </a:lnTo>
                  <a:lnTo>
                    <a:pt x="2188" y="1715"/>
                  </a:lnTo>
                  <a:lnTo>
                    <a:pt x="2217" y="1722"/>
                  </a:lnTo>
                  <a:lnTo>
                    <a:pt x="2229" y="1726"/>
                  </a:lnTo>
                  <a:lnTo>
                    <a:pt x="2241" y="1731"/>
                  </a:lnTo>
                  <a:lnTo>
                    <a:pt x="2252" y="1736"/>
                  </a:lnTo>
                  <a:lnTo>
                    <a:pt x="2263" y="1743"/>
                  </a:lnTo>
                  <a:lnTo>
                    <a:pt x="2267" y="1746"/>
                  </a:lnTo>
                  <a:lnTo>
                    <a:pt x="2271" y="1749"/>
                  </a:lnTo>
                  <a:lnTo>
                    <a:pt x="2274" y="1753"/>
                  </a:lnTo>
                  <a:lnTo>
                    <a:pt x="2278" y="1758"/>
                  </a:lnTo>
                  <a:lnTo>
                    <a:pt x="2281" y="1763"/>
                  </a:lnTo>
                  <a:lnTo>
                    <a:pt x="2282" y="1769"/>
                  </a:lnTo>
                  <a:lnTo>
                    <a:pt x="2283" y="1774"/>
                  </a:lnTo>
                  <a:lnTo>
                    <a:pt x="2284" y="1780"/>
                  </a:lnTo>
                  <a:lnTo>
                    <a:pt x="2284" y="1811"/>
                  </a:lnTo>
                  <a:lnTo>
                    <a:pt x="2284" y="1837"/>
                  </a:lnTo>
                  <a:lnTo>
                    <a:pt x="2284" y="1864"/>
                  </a:lnTo>
                  <a:lnTo>
                    <a:pt x="2284" y="1894"/>
                  </a:lnTo>
                  <a:lnTo>
                    <a:pt x="2284" y="1908"/>
                  </a:lnTo>
                  <a:lnTo>
                    <a:pt x="2286" y="1921"/>
                  </a:lnTo>
                  <a:lnTo>
                    <a:pt x="2287" y="1934"/>
                  </a:lnTo>
                  <a:lnTo>
                    <a:pt x="2291" y="1945"/>
                  </a:lnTo>
                  <a:lnTo>
                    <a:pt x="2296" y="1969"/>
                  </a:lnTo>
                  <a:lnTo>
                    <a:pt x="2300" y="1996"/>
                  </a:lnTo>
                  <a:lnTo>
                    <a:pt x="2300" y="1996"/>
                  </a:lnTo>
                  <a:lnTo>
                    <a:pt x="2286" y="2001"/>
                  </a:lnTo>
                  <a:lnTo>
                    <a:pt x="2272" y="2004"/>
                  </a:lnTo>
                  <a:lnTo>
                    <a:pt x="2258" y="2006"/>
                  </a:lnTo>
                  <a:lnTo>
                    <a:pt x="2245" y="2007"/>
                  </a:lnTo>
                  <a:lnTo>
                    <a:pt x="2218" y="2008"/>
                  </a:lnTo>
                  <a:lnTo>
                    <a:pt x="2189" y="2008"/>
                  </a:lnTo>
                  <a:lnTo>
                    <a:pt x="2189" y="2026"/>
                  </a:lnTo>
                  <a:lnTo>
                    <a:pt x="2189" y="2041"/>
                  </a:lnTo>
                  <a:lnTo>
                    <a:pt x="2189" y="2057"/>
                  </a:lnTo>
                  <a:lnTo>
                    <a:pt x="2189" y="2074"/>
                  </a:lnTo>
                  <a:lnTo>
                    <a:pt x="2189" y="2088"/>
                  </a:lnTo>
                  <a:lnTo>
                    <a:pt x="2191" y="2100"/>
                  </a:lnTo>
                  <a:lnTo>
                    <a:pt x="2193" y="2112"/>
                  </a:lnTo>
                  <a:lnTo>
                    <a:pt x="2197" y="2124"/>
                  </a:lnTo>
                  <a:lnTo>
                    <a:pt x="2204" y="2146"/>
                  </a:lnTo>
                  <a:lnTo>
                    <a:pt x="2214" y="2170"/>
                  </a:lnTo>
                  <a:lnTo>
                    <a:pt x="2217" y="2177"/>
                  </a:lnTo>
                  <a:lnTo>
                    <a:pt x="2223" y="2182"/>
                  </a:lnTo>
                  <a:lnTo>
                    <a:pt x="2225" y="2184"/>
                  </a:lnTo>
                  <a:lnTo>
                    <a:pt x="2226" y="2187"/>
                  </a:lnTo>
                  <a:lnTo>
                    <a:pt x="2228" y="2190"/>
                  </a:lnTo>
                  <a:lnTo>
                    <a:pt x="2228" y="2193"/>
                  </a:lnTo>
                  <a:lnTo>
                    <a:pt x="2228" y="2208"/>
                  </a:lnTo>
                  <a:lnTo>
                    <a:pt x="2228" y="2221"/>
                  </a:lnTo>
                  <a:lnTo>
                    <a:pt x="2228" y="2234"/>
                  </a:lnTo>
                  <a:lnTo>
                    <a:pt x="2228" y="2248"/>
                  </a:lnTo>
                  <a:lnTo>
                    <a:pt x="2227" y="2255"/>
                  </a:lnTo>
                  <a:lnTo>
                    <a:pt x="2225" y="2261"/>
                  </a:lnTo>
                  <a:lnTo>
                    <a:pt x="2221" y="2266"/>
                  </a:lnTo>
                  <a:lnTo>
                    <a:pt x="2218" y="2271"/>
                  </a:lnTo>
                  <a:lnTo>
                    <a:pt x="2209" y="2281"/>
                  </a:lnTo>
                  <a:lnTo>
                    <a:pt x="2200" y="2291"/>
                  </a:lnTo>
                  <a:lnTo>
                    <a:pt x="2189" y="2305"/>
                  </a:lnTo>
                  <a:lnTo>
                    <a:pt x="2178" y="2318"/>
                  </a:lnTo>
                  <a:lnTo>
                    <a:pt x="2167" y="2330"/>
                  </a:lnTo>
                  <a:lnTo>
                    <a:pt x="2155" y="2344"/>
                  </a:lnTo>
                  <a:lnTo>
                    <a:pt x="2130" y="2374"/>
                  </a:lnTo>
                  <a:lnTo>
                    <a:pt x="2109" y="2404"/>
                  </a:lnTo>
                  <a:lnTo>
                    <a:pt x="2098" y="2417"/>
                  </a:lnTo>
                  <a:lnTo>
                    <a:pt x="2086" y="2430"/>
                  </a:lnTo>
                  <a:lnTo>
                    <a:pt x="2079" y="2435"/>
                  </a:lnTo>
                  <a:lnTo>
                    <a:pt x="2071" y="2440"/>
                  </a:lnTo>
                  <a:lnTo>
                    <a:pt x="2063" y="2446"/>
                  </a:lnTo>
                  <a:lnTo>
                    <a:pt x="2054" y="2451"/>
                  </a:lnTo>
                  <a:lnTo>
                    <a:pt x="2021" y="2465"/>
                  </a:lnTo>
                  <a:lnTo>
                    <a:pt x="1990" y="2477"/>
                  </a:lnTo>
                  <a:lnTo>
                    <a:pt x="1976" y="2485"/>
                  </a:lnTo>
                  <a:lnTo>
                    <a:pt x="1963" y="2493"/>
                  </a:lnTo>
                  <a:lnTo>
                    <a:pt x="1958" y="2500"/>
                  </a:lnTo>
                  <a:lnTo>
                    <a:pt x="1953" y="2505"/>
                  </a:lnTo>
                  <a:lnTo>
                    <a:pt x="1947" y="2513"/>
                  </a:lnTo>
                  <a:lnTo>
                    <a:pt x="1942" y="2520"/>
                  </a:lnTo>
                  <a:lnTo>
                    <a:pt x="1942" y="2520"/>
                  </a:lnTo>
                  <a:lnTo>
                    <a:pt x="1915" y="2529"/>
                  </a:lnTo>
                  <a:lnTo>
                    <a:pt x="1892" y="2539"/>
                  </a:lnTo>
                  <a:lnTo>
                    <a:pt x="1880" y="2544"/>
                  </a:lnTo>
                  <a:lnTo>
                    <a:pt x="1870" y="2551"/>
                  </a:lnTo>
                  <a:lnTo>
                    <a:pt x="1860" y="2558"/>
                  </a:lnTo>
                  <a:lnTo>
                    <a:pt x="1850" y="2569"/>
                  </a:lnTo>
                  <a:lnTo>
                    <a:pt x="1842" y="2578"/>
                  </a:lnTo>
                  <a:lnTo>
                    <a:pt x="1836" y="2587"/>
                  </a:lnTo>
                  <a:lnTo>
                    <a:pt x="1831" y="2597"/>
                  </a:lnTo>
                  <a:lnTo>
                    <a:pt x="1826" y="2607"/>
                  </a:lnTo>
                  <a:lnTo>
                    <a:pt x="1821" y="2616"/>
                  </a:lnTo>
                  <a:lnTo>
                    <a:pt x="1815" y="2625"/>
                  </a:lnTo>
                  <a:lnTo>
                    <a:pt x="1808" y="2634"/>
                  </a:lnTo>
                  <a:lnTo>
                    <a:pt x="1799" y="2641"/>
                  </a:lnTo>
                  <a:lnTo>
                    <a:pt x="1789" y="2647"/>
                  </a:lnTo>
                  <a:lnTo>
                    <a:pt x="1780" y="2651"/>
                  </a:lnTo>
                  <a:lnTo>
                    <a:pt x="1770" y="2653"/>
                  </a:lnTo>
                  <a:lnTo>
                    <a:pt x="1760" y="2655"/>
                  </a:lnTo>
                  <a:lnTo>
                    <a:pt x="1740" y="2655"/>
                  </a:lnTo>
                  <a:lnTo>
                    <a:pt x="1717" y="2655"/>
                  </a:lnTo>
                  <a:lnTo>
                    <a:pt x="1691" y="2655"/>
                  </a:lnTo>
                  <a:lnTo>
                    <a:pt x="1668" y="2655"/>
                  </a:lnTo>
                  <a:lnTo>
                    <a:pt x="1646" y="2655"/>
                  </a:lnTo>
                  <a:lnTo>
                    <a:pt x="1620" y="2655"/>
                  </a:lnTo>
                  <a:lnTo>
                    <a:pt x="1599" y="2684"/>
                  </a:lnTo>
                  <a:lnTo>
                    <a:pt x="1580" y="2710"/>
                  </a:lnTo>
                  <a:lnTo>
                    <a:pt x="1576" y="2716"/>
                  </a:lnTo>
                  <a:lnTo>
                    <a:pt x="1569" y="2721"/>
                  </a:lnTo>
                  <a:lnTo>
                    <a:pt x="1564" y="2725"/>
                  </a:lnTo>
                  <a:lnTo>
                    <a:pt x="1557" y="2729"/>
                  </a:lnTo>
                  <a:lnTo>
                    <a:pt x="1551" y="2732"/>
                  </a:lnTo>
                  <a:lnTo>
                    <a:pt x="1543" y="2734"/>
                  </a:lnTo>
                  <a:lnTo>
                    <a:pt x="1536" y="2736"/>
                  </a:lnTo>
                  <a:lnTo>
                    <a:pt x="1527" y="2736"/>
                  </a:lnTo>
                  <a:lnTo>
                    <a:pt x="1490" y="2736"/>
                  </a:lnTo>
                  <a:lnTo>
                    <a:pt x="1459" y="2736"/>
                  </a:lnTo>
                  <a:lnTo>
                    <a:pt x="1427" y="2736"/>
                  </a:lnTo>
                  <a:lnTo>
                    <a:pt x="1391" y="2736"/>
                  </a:lnTo>
                  <a:lnTo>
                    <a:pt x="1384" y="2737"/>
                  </a:lnTo>
                  <a:lnTo>
                    <a:pt x="1378" y="2737"/>
                  </a:lnTo>
                  <a:lnTo>
                    <a:pt x="1373" y="2740"/>
                  </a:lnTo>
                  <a:lnTo>
                    <a:pt x="1367" y="2742"/>
                  </a:lnTo>
                  <a:lnTo>
                    <a:pt x="1357" y="2746"/>
                  </a:lnTo>
                  <a:lnTo>
                    <a:pt x="1348" y="2751"/>
                  </a:lnTo>
                  <a:lnTo>
                    <a:pt x="1339" y="2758"/>
                  </a:lnTo>
                  <a:lnTo>
                    <a:pt x="1329" y="2762"/>
                  </a:lnTo>
                  <a:lnTo>
                    <a:pt x="1324" y="2764"/>
                  </a:lnTo>
                  <a:lnTo>
                    <a:pt x="1319" y="2767"/>
                  </a:lnTo>
                  <a:lnTo>
                    <a:pt x="1312" y="2767"/>
                  </a:lnTo>
                  <a:lnTo>
                    <a:pt x="1306" y="2768"/>
                  </a:lnTo>
                  <a:lnTo>
                    <a:pt x="1286" y="2767"/>
                  </a:lnTo>
                  <a:lnTo>
                    <a:pt x="1268" y="2765"/>
                  </a:lnTo>
                  <a:lnTo>
                    <a:pt x="1251" y="2763"/>
                  </a:lnTo>
                  <a:lnTo>
                    <a:pt x="1234" y="2760"/>
                  </a:lnTo>
                  <a:lnTo>
                    <a:pt x="1218" y="2756"/>
                  </a:lnTo>
                  <a:lnTo>
                    <a:pt x="1201" y="2750"/>
                  </a:lnTo>
                  <a:lnTo>
                    <a:pt x="1184" y="2744"/>
                  </a:lnTo>
                  <a:lnTo>
                    <a:pt x="1165" y="2736"/>
                  </a:lnTo>
                  <a:lnTo>
                    <a:pt x="1142" y="2728"/>
                  </a:lnTo>
                  <a:lnTo>
                    <a:pt x="1122" y="2721"/>
                  </a:lnTo>
                  <a:lnTo>
                    <a:pt x="1112" y="2717"/>
                  </a:lnTo>
                  <a:lnTo>
                    <a:pt x="1101" y="2713"/>
                  </a:lnTo>
                  <a:lnTo>
                    <a:pt x="1092" y="2707"/>
                  </a:lnTo>
                  <a:lnTo>
                    <a:pt x="1082" y="2700"/>
                  </a:lnTo>
                  <a:lnTo>
                    <a:pt x="1073" y="2693"/>
                  </a:lnTo>
                  <a:lnTo>
                    <a:pt x="1067" y="2686"/>
                  </a:lnTo>
                  <a:lnTo>
                    <a:pt x="1060" y="2678"/>
                  </a:lnTo>
                  <a:lnTo>
                    <a:pt x="1055" y="2670"/>
                  </a:lnTo>
                  <a:lnTo>
                    <a:pt x="1049" y="2663"/>
                  </a:lnTo>
                  <a:lnTo>
                    <a:pt x="1041" y="2657"/>
                  </a:lnTo>
                  <a:lnTo>
                    <a:pt x="1037" y="2655"/>
                  </a:lnTo>
                  <a:lnTo>
                    <a:pt x="1032" y="2654"/>
                  </a:lnTo>
                  <a:lnTo>
                    <a:pt x="1028" y="2653"/>
                  </a:lnTo>
                  <a:lnTo>
                    <a:pt x="1023" y="2652"/>
                  </a:lnTo>
                  <a:lnTo>
                    <a:pt x="1004" y="2653"/>
                  </a:lnTo>
                  <a:lnTo>
                    <a:pt x="987" y="2655"/>
                  </a:lnTo>
                  <a:lnTo>
                    <a:pt x="972" y="2657"/>
                  </a:lnTo>
                  <a:lnTo>
                    <a:pt x="957" y="2662"/>
                  </a:lnTo>
                  <a:lnTo>
                    <a:pt x="925" y="2670"/>
                  </a:lnTo>
                  <a:lnTo>
                    <a:pt x="891" y="2680"/>
                  </a:lnTo>
                  <a:lnTo>
                    <a:pt x="879" y="2682"/>
                  </a:lnTo>
                  <a:lnTo>
                    <a:pt x="867" y="2682"/>
                  </a:lnTo>
                  <a:lnTo>
                    <a:pt x="862" y="2682"/>
                  </a:lnTo>
                  <a:lnTo>
                    <a:pt x="856" y="2683"/>
                  </a:lnTo>
                  <a:lnTo>
                    <a:pt x="851" y="2686"/>
                  </a:lnTo>
                  <a:lnTo>
                    <a:pt x="847" y="2689"/>
                  </a:lnTo>
                  <a:lnTo>
                    <a:pt x="840" y="2695"/>
                  </a:lnTo>
                  <a:lnTo>
                    <a:pt x="837" y="2702"/>
                  </a:lnTo>
                  <a:lnTo>
                    <a:pt x="835" y="2708"/>
                  </a:lnTo>
                  <a:lnTo>
                    <a:pt x="834" y="2716"/>
                  </a:lnTo>
                  <a:lnTo>
                    <a:pt x="835" y="2732"/>
                  </a:lnTo>
                  <a:lnTo>
                    <a:pt x="835" y="2749"/>
                  </a:lnTo>
                  <a:lnTo>
                    <a:pt x="836" y="2760"/>
                  </a:lnTo>
                  <a:lnTo>
                    <a:pt x="838" y="2771"/>
                  </a:lnTo>
                  <a:lnTo>
                    <a:pt x="841" y="2781"/>
                  </a:lnTo>
                  <a:lnTo>
                    <a:pt x="845" y="2790"/>
                  </a:lnTo>
                  <a:lnTo>
                    <a:pt x="855" y="2808"/>
                  </a:lnTo>
                  <a:lnTo>
                    <a:pt x="867" y="2824"/>
                  </a:lnTo>
                  <a:lnTo>
                    <a:pt x="879" y="2840"/>
                  </a:lnTo>
                  <a:lnTo>
                    <a:pt x="890" y="2857"/>
                  </a:lnTo>
                  <a:lnTo>
                    <a:pt x="893" y="2866"/>
                  </a:lnTo>
                  <a:lnTo>
                    <a:pt x="896" y="2876"/>
                  </a:lnTo>
                  <a:lnTo>
                    <a:pt x="898" y="2886"/>
                  </a:lnTo>
                  <a:lnTo>
                    <a:pt x="899" y="2897"/>
                  </a:lnTo>
                  <a:lnTo>
                    <a:pt x="898" y="2913"/>
                  </a:lnTo>
                  <a:lnTo>
                    <a:pt x="897" y="2930"/>
                  </a:lnTo>
                  <a:lnTo>
                    <a:pt x="894" y="2944"/>
                  </a:lnTo>
                  <a:lnTo>
                    <a:pt x="890" y="2958"/>
                  </a:lnTo>
                  <a:lnTo>
                    <a:pt x="885" y="2971"/>
                  </a:lnTo>
                  <a:lnTo>
                    <a:pt x="879" y="2984"/>
                  </a:lnTo>
                  <a:lnTo>
                    <a:pt x="872" y="2995"/>
                  </a:lnTo>
                  <a:lnTo>
                    <a:pt x="864" y="3007"/>
                  </a:lnTo>
                  <a:lnTo>
                    <a:pt x="855" y="3018"/>
                  </a:lnTo>
                  <a:lnTo>
                    <a:pt x="847" y="3029"/>
                  </a:lnTo>
                  <a:lnTo>
                    <a:pt x="836" y="3040"/>
                  </a:lnTo>
                  <a:lnTo>
                    <a:pt x="825" y="3049"/>
                  </a:lnTo>
                  <a:lnTo>
                    <a:pt x="801" y="3070"/>
                  </a:lnTo>
                  <a:lnTo>
                    <a:pt x="776" y="3089"/>
                  </a:lnTo>
                  <a:lnTo>
                    <a:pt x="759" y="3103"/>
                  </a:lnTo>
                  <a:lnTo>
                    <a:pt x="746" y="3118"/>
                  </a:lnTo>
                  <a:lnTo>
                    <a:pt x="739" y="3124"/>
                  </a:lnTo>
                  <a:lnTo>
                    <a:pt x="731" y="3130"/>
                  </a:lnTo>
                  <a:lnTo>
                    <a:pt x="722" y="3136"/>
                  </a:lnTo>
                  <a:lnTo>
                    <a:pt x="712" y="3140"/>
                  </a:lnTo>
                  <a:lnTo>
                    <a:pt x="693" y="3149"/>
                  </a:lnTo>
                  <a:lnTo>
                    <a:pt x="676" y="3156"/>
                  </a:lnTo>
                  <a:lnTo>
                    <a:pt x="660" y="3163"/>
                  </a:lnTo>
                  <a:lnTo>
                    <a:pt x="645" y="3168"/>
                  </a:lnTo>
                  <a:lnTo>
                    <a:pt x="613" y="3179"/>
                  </a:lnTo>
                  <a:lnTo>
                    <a:pt x="577" y="3191"/>
                  </a:lnTo>
                  <a:lnTo>
                    <a:pt x="556" y="3200"/>
                  </a:lnTo>
                  <a:lnTo>
                    <a:pt x="538" y="3209"/>
                  </a:lnTo>
                  <a:lnTo>
                    <a:pt x="528" y="3215"/>
                  </a:lnTo>
                  <a:lnTo>
                    <a:pt x="518" y="3218"/>
                  </a:lnTo>
                  <a:lnTo>
                    <a:pt x="507" y="3220"/>
                  </a:lnTo>
                  <a:lnTo>
                    <a:pt x="496" y="3221"/>
                  </a:lnTo>
                  <a:lnTo>
                    <a:pt x="487" y="3221"/>
                  </a:lnTo>
                  <a:lnTo>
                    <a:pt x="478" y="3220"/>
                  </a:lnTo>
                  <a:lnTo>
                    <a:pt x="471" y="3219"/>
                  </a:lnTo>
                  <a:lnTo>
                    <a:pt x="462" y="3217"/>
                  </a:lnTo>
                  <a:lnTo>
                    <a:pt x="448" y="3210"/>
                  </a:lnTo>
                  <a:lnTo>
                    <a:pt x="435" y="3203"/>
                  </a:lnTo>
                  <a:lnTo>
                    <a:pt x="423" y="3194"/>
                  </a:lnTo>
                  <a:lnTo>
                    <a:pt x="411" y="3184"/>
                  </a:lnTo>
                  <a:lnTo>
                    <a:pt x="400" y="3174"/>
                  </a:lnTo>
                  <a:lnTo>
                    <a:pt x="391" y="3162"/>
                  </a:lnTo>
                  <a:lnTo>
                    <a:pt x="369" y="3137"/>
                  </a:lnTo>
                  <a:lnTo>
                    <a:pt x="346" y="3114"/>
                  </a:lnTo>
                  <a:lnTo>
                    <a:pt x="334" y="3103"/>
                  </a:lnTo>
                  <a:lnTo>
                    <a:pt x="319" y="3094"/>
                  </a:lnTo>
                  <a:lnTo>
                    <a:pt x="305" y="3085"/>
                  </a:lnTo>
                  <a:lnTo>
                    <a:pt x="288" y="3079"/>
                  </a:lnTo>
                  <a:lnTo>
                    <a:pt x="249" y="3068"/>
                  </a:lnTo>
                  <a:lnTo>
                    <a:pt x="215" y="3059"/>
                  </a:lnTo>
                  <a:lnTo>
                    <a:pt x="199" y="3055"/>
                  </a:lnTo>
                  <a:lnTo>
                    <a:pt x="181" y="3049"/>
                  </a:lnTo>
                  <a:lnTo>
                    <a:pt x="164" y="3041"/>
                  </a:lnTo>
                  <a:lnTo>
                    <a:pt x="146" y="3031"/>
                  </a:lnTo>
                  <a:lnTo>
                    <a:pt x="134" y="3022"/>
                  </a:lnTo>
                  <a:lnTo>
                    <a:pt x="123" y="3014"/>
                  </a:lnTo>
                  <a:lnTo>
                    <a:pt x="113" y="3005"/>
                  </a:lnTo>
                  <a:lnTo>
                    <a:pt x="103" y="2997"/>
                  </a:lnTo>
                  <a:lnTo>
                    <a:pt x="84" y="2977"/>
                  </a:lnTo>
                  <a:lnTo>
                    <a:pt x="62" y="2960"/>
                  </a:lnTo>
                  <a:lnTo>
                    <a:pt x="62" y="2960"/>
                  </a:lnTo>
                  <a:lnTo>
                    <a:pt x="8" y="2790"/>
                  </a:lnTo>
                  <a:lnTo>
                    <a:pt x="20" y="2750"/>
                  </a:lnTo>
                  <a:lnTo>
                    <a:pt x="32" y="2716"/>
                  </a:lnTo>
                  <a:lnTo>
                    <a:pt x="36" y="2698"/>
                  </a:lnTo>
                  <a:lnTo>
                    <a:pt x="41" y="2681"/>
                  </a:lnTo>
                  <a:lnTo>
                    <a:pt x="44" y="2662"/>
                  </a:lnTo>
                  <a:lnTo>
                    <a:pt x="44" y="2641"/>
                  </a:lnTo>
                  <a:lnTo>
                    <a:pt x="44" y="2633"/>
                  </a:lnTo>
                  <a:lnTo>
                    <a:pt x="43" y="2625"/>
                  </a:lnTo>
                  <a:lnTo>
                    <a:pt x="41" y="2617"/>
                  </a:lnTo>
                  <a:lnTo>
                    <a:pt x="39" y="2611"/>
                  </a:lnTo>
                  <a:lnTo>
                    <a:pt x="32" y="2598"/>
                  </a:lnTo>
                  <a:lnTo>
                    <a:pt x="25" y="2585"/>
                  </a:lnTo>
                  <a:lnTo>
                    <a:pt x="18" y="2573"/>
                  </a:lnTo>
                  <a:lnTo>
                    <a:pt x="12" y="2559"/>
                  </a:lnTo>
                  <a:lnTo>
                    <a:pt x="8" y="2553"/>
                  </a:lnTo>
                  <a:lnTo>
                    <a:pt x="7" y="2545"/>
                  </a:lnTo>
                  <a:lnTo>
                    <a:pt x="6" y="2538"/>
                  </a:lnTo>
                  <a:lnTo>
                    <a:pt x="5" y="2529"/>
                  </a:lnTo>
                  <a:lnTo>
                    <a:pt x="9" y="2517"/>
                  </a:lnTo>
                  <a:lnTo>
                    <a:pt x="14" y="2504"/>
                  </a:lnTo>
                  <a:lnTo>
                    <a:pt x="13" y="2489"/>
                  </a:lnTo>
                  <a:lnTo>
                    <a:pt x="12" y="2476"/>
                  </a:lnTo>
                  <a:lnTo>
                    <a:pt x="9" y="2464"/>
                  </a:lnTo>
                  <a:lnTo>
                    <a:pt x="6" y="2452"/>
                  </a:lnTo>
                  <a:lnTo>
                    <a:pt x="4" y="2440"/>
                  </a:lnTo>
                  <a:lnTo>
                    <a:pt x="2" y="2427"/>
                  </a:lnTo>
                  <a:lnTo>
                    <a:pt x="0" y="2414"/>
                  </a:lnTo>
                  <a:lnTo>
                    <a:pt x="0" y="2400"/>
                  </a:lnTo>
                  <a:lnTo>
                    <a:pt x="0" y="2397"/>
                  </a:lnTo>
                  <a:lnTo>
                    <a:pt x="2" y="2395"/>
                  </a:lnTo>
                  <a:lnTo>
                    <a:pt x="4" y="2393"/>
                  </a:lnTo>
                  <a:lnTo>
                    <a:pt x="6" y="2392"/>
                  </a:lnTo>
                  <a:lnTo>
                    <a:pt x="13" y="2389"/>
                  </a:lnTo>
                  <a:lnTo>
                    <a:pt x="19" y="2386"/>
                  </a:lnTo>
                  <a:lnTo>
                    <a:pt x="29" y="2380"/>
                  </a:lnTo>
                  <a:lnTo>
                    <a:pt x="39" y="2373"/>
                  </a:lnTo>
                  <a:lnTo>
                    <a:pt x="43" y="2370"/>
                  </a:lnTo>
                  <a:lnTo>
                    <a:pt x="47" y="2368"/>
                  </a:lnTo>
                  <a:lnTo>
                    <a:pt x="53" y="2367"/>
                  </a:lnTo>
                  <a:lnTo>
                    <a:pt x="59" y="2367"/>
                  </a:lnTo>
                  <a:lnTo>
                    <a:pt x="74" y="2368"/>
                  </a:lnTo>
                  <a:lnTo>
                    <a:pt x="89" y="2369"/>
                  </a:lnTo>
                  <a:lnTo>
                    <a:pt x="156" y="2095"/>
                  </a:lnTo>
                  <a:lnTo>
                    <a:pt x="161" y="2086"/>
                  </a:lnTo>
                  <a:lnTo>
                    <a:pt x="165" y="2079"/>
                  </a:lnTo>
                  <a:lnTo>
                    <a:pt x="167" y="2074"/>
                  </a:lnTo>
                  <a:lnTo>
                    <a:pt x="169" y="2071"/>
                  </a:lnTo>
                  <a:lnTo>
                    <a:pt x="170" y="2067"/>
                  </a:lnTo>
                  <a:lnTo>
                    <a:pt x="170" y="2061"/>
                  </a:lnTo>
                  <a:lnTo>
                    <a:pt x="168" y="2047"/>
                  </a:lnTo>
                  <a:lnTo>
                    <a:pt x="167" y="2033"/>
                  </a:lnTo>
                  <a:lnTo>
                    <a:pt x="167" y="2020"/>
                  </a:lnTo>
                  <a:lnTo>
                    <a:pt x="167" y="2008"/>
                  </a:lnTo>
                  <a:lnTo>
                    <a:pt x="168" y="1982"/>
                  </a:lnTo>
                  <a:lnTo>
                    <a:pt x="170" y="1954"/>
                  </a:lnTo>
                  <a:lnTo>
                    <a:pt x="170" y="1949"/>
                  </a:lnTo>
                  <a:lnTo>
                    <a:pt x="172" y="1945"/>
                  </a:lnTo>
                  <a:lnTo>
                    <a:pt x="174" y="1940"/>
                  </a:lnTo>
                  <a:lnTo>
                    <a:pt x="175" y="1936"/>
                  </a:lnTo>
                  <a:lnTo>
                    <a:pt x="180" y="1930"/>
                  </a:lnTo>
                  <a:lnTo>
                    <a:pt x="186" y="1923"/>
                  </a:lnTo>
                  <a:lnTo>
                    <a:pt x="201" y="1911"/>
                  </a:lnTo>
                  <a:lnTo>
                    <a:pt x="216" y="1898"/>
                  </a:lnTo>
                  <a:lnTo>
                    <a:pt x="226" y="1890"/>
                  </a:lnTo>
                  <a:lnTo>
                    <a:pt x="236" y="1883"/>
                  </a:lnTo>
                  <a:lnTo>
                    <a:pt x="247" y="1878"/>
                  </a:lnTo>
                  <a:lnTo>
                    <a:pt x="258" y="1874"/>
                  </a:lnTo>
                  <a:lnTo>
                    <a:pt x="270" y="1872"/>
                  </a:lnTo>
                  <a:lnTo>
                    <a:pt x="283" y="1871"/>
                  </a:lnTo>
                  <a:lnTo>
                    <a:pt x="296" y="1870"/>
                  </a:lnTo>
                  <a:lnTo>
                    <a:pt x="310" y="1870"/>
                  </a:lnTo>
                  <a:lnTo>
                    <a:pt x="319" y="1871"/>
                  </a:lnTo>
                  <a:lnTo>
                    <a:pt x="329" y="1872"/>
                  </a:lnTo>
                  <a:lnTo>
                    <a:pt x="338" y="1874"/>
                  </a:lnTo>
                  <a:lnTo>
                    <a:pt x="345" y="1877"/>
                  </a:lnTo>
                  <a:lnTo>
                    <a:pt x="354" y="1878"/>
                  </a:lnTo>
                  <a:lnTo>
                    <a:pt x="363" y="1880"/>
                  </a:lnTo>
                  <a:lnTo>
                    <a:pt x="372" y="1881"/>
                  </a:lnTo>
                  <a:lnTo>
                    <a:pt x="382" y="1882"/>
                  </a:lnTo>
                  <a:lnTo>
                    <a:pt x="392" y="1881"/>
                  </a:lnTo>
                  <a:lnTo>
                    <a:pt x="402" y="1880"/>
                  </a:lnTo>
                  <a:lnTo>
                    <a:pt x="410" y="1878"/>
                  </a:lnTo>
                  <a:lnTo>
                    <a:pt x="419" y="1876"/>
                  </a:lnTo>
                  <a:lnTo>
                    <a:pt x="434" y="1868"/>
                  </a:lnTo>
                  <a:lnTo>
                    <a:pt x="449" y="1860"/>
                  </a:lnTo>
                  <a:lnTo>
                    <a:pt x="464" y="1853"/>
                  </a:lnTo>
                  <a:lnTo>
                    <a:pt x="479" y="1846"/>
                  </a:lnTo>
                  <a:lnTo>
                    <a:pt x="488" y="1843"/>
                  </a:lnTo>
                  <a:lnTo>
                    <a:pt x="497" y="1842"/>
                  </a:lnTo>
                  <a:lnTo>
                    <a:pt x="506" y="1840"/>
                  </a:lnTo>
                  <a:lnTo>
                    <a:pt x="516" y="1840"/>
                  </a:lnTo>
                  <a:lnTo>
                    <a:pt x="527" y="1840"/>
                  </a:lnTo>
                  <a:lnTo>
                    <a:pt x="538" y="1840"/>
                  </a:lnTo>
                  <a:lnTo>
                    <a:pt x="562" y="1823"/>
                  </a:lnTo>
                  <a:lnTo>
                    <a:pt x="582" y="1806"/>
                  </a:lnTo>
                  <a:lnTo>
                    <a:pt x="601" y="1790"/>
                  </a:lnTo>
                  <a:lnTo>
                    <a:pt x="625" y="1773"/>
                  </a:lnTo>
                  <a:lnTo>
                    <a:pt x="636" y="1763"/>
                  </a:lnTo>
                  <a:lnTo>
                    <a:pt x="646" y="1755"/>
                  </a:lnTo>
                  <a:lnTo>
                    <a:pt x="651" y="1750"/>
                  </a:lnTo>
                  <a:lnTo>
                    <a:pt x="656" y="1747"/>
                  </a:lnTo>
                  <a:lnTo>
                    <a:pt x="663" y="1744"/>
                  </a:lnTo>
                  <a:lnTo>
                    <a:pt x="669" y="1742"/>
                  </a:lnTo>
                  <a:lnTo>
                    <a:pt x="689" y="1738"/>
                  </a:lnTo>
                  <a:lnTo>
                    <a:pt x="708" y="1737"/>
                  </a:lnTo>
                  <a:lnTo>
                    <a:pt x="717" y="1736"/>
                  </a:lnTo>
                  <a:lnTo>
                    <a:pt x="726" y="1733"/>
                  </a:lnTo>
                  <a:lnTo>
                    <a:pt x="729" y="1732"/>
                  </a:lnTo>
                  <a:lnTo>
                    <a:pt x="733" y="1729"/>
                  </a:lnTo>
                  <a:lnTo>
                    <a:pt x="736" y="1725"/>
                  </a:lnTo>
                  <a:lnTo>
                    <a:pt x="740" y="1722"/>
                  </a:lnTo>
                  <a:lnTo>
                    <a:pt x="744" y="1715"/>
                  </a:lnTo>
                  <a:lnTo>
                    <a:pt x="747" y="1707"/>
                  </a:lnTo>
                  <a:lnTo>
                    <a:pt x="749" y="1699"/>
                  </a:lnTo>
                  <a:lnTo>
                    <a:pt x="752" y="1693"/>
                  </a:lnTo>
                  <a:lnTo>
                    <a:pt x="753" y="1685"/>
                  </a:lnTo>
                  <a:lnTo>
                    <a:pt x="755" y="1678"/>
                  </a:lnTo>
                  <a:lnTo>
                    <a:pt x="758" y="1670"/>
                  </a:lnTo>
                  <a:lnTo>
                    <a:pt x="762" y="1663"/>
                  </a:lnTo>
                  <a:lnTo>
                    <a:pt x="772" y="1652"/>
                  </a:lnTo>
                  <a:lnTo>
                    <a:pt x="782" y="1642"/>
                  </a:lnTo>
                  <a:lnTo>
                    <a:pt x="793" y="1635"/>
                  </a:lnTo>
                  <a:lnTo>
                    <a:pt x="804" y="1629"/>
                  </a:lnTo>
                  <a:lnTo>
                    <a:pt x="817" y="1624"/>
                  </a:lnTo>
                  <a:lnTo>
                    <a:pt x="830" y="1621"/>
                  </a:lnTo>
                  <a:lnTo>
                    <a:pt x="844" y="1616"/>
                  </a:lnTo>
                  <a:lnTo>
                    <a:pt x="861" y="1613"/>
                  </a:lnTo>
                  <a:lnTo>
                    <a:pt x="869" y="1610"/>
                  </a:lnTo>
                  <a:lnTo>
                    <a:pt x="877" y="1606"/>
                  </a:lnTo>
                  <a:lnTo>
                    <a:pt x="884" y="1600"/>
                  </a:lnTo>
                  <a:lnTo>
                    <a:pt x="891" y="1595"/>
                  </a:lnTo>
                  <a:lnTo>
                    <a:pt x="897" y="1590"/>
                  </a:lnTo>
                  <a:lnTo>
                    <a:pt x="905" y="1586"/>
                  </a:lnTo>
                  <a:lnTo>
                    <a:pt x="912" y="1583"/>
                  </a:lnTo>
                  <a:lnTo>
                    <a:pt x="922" y="1582"/>
                  </a:lnTo>
                  <a:lnTo>
                    <a:pt x="939" y="1583"/>
                  </a:lnTo>
                  <a:lnTo>
                    <a:pt x="955" y="1585"/>
                  </a:lnTo>
                  <a:lnTo>
                    <a:pt x="969" y="1588"/>
                  </a:lnTo>
                  <a:lnTo>
                    <a:pt x="983" y="1593"/>
                  </a:lnTo>
                  <a:lnTo>
                    <a:pt x="1011" y="1602"/>
                  </a:lnTo>
                  <a:lnTo>
                    <a:pt x="1042" y="1613"/>
                  </a:lnTo>
                  <a:lnTo>
                    <a:pt x="1070" y="1620"/>
                  </a:lnTo>
                  <a:lnTo>
                    <a:pt x="1095" y="1625"/>
                  </a:lnTo>
                  <a:lnTo>
                    <a:pt x="1108" y="1628"/>
                  </a:lnTo>
                  <a:lnTo>
                    <a:pt x="1120" y="1633"/>
                  </a:lnTo>
                  <a:lnTo>
                    <a:pt x="1133" y="1637"/>
                  </a:lnTo>
                  <a:lnTo>
                    <a:pt x="1146" y="1643"/>
                  </a:lnTo>
                  <a:lnTo>
                    <a:pt x="1164" y="1655"/>
                  </a:lnTo>
                  <a:lnTo>
                    <a:pt x="1179" y="1667"/>
                  </a:lnTo>
                  <a:lnTo>
                    <a:pt x="1188" y="1672"/>
                  </a:lnTo>
                  <a:lnTo>
                    <a:pt x="1196" y="1677"/>
                  </a:lnTo>
                  <a:lnTo>
                    <a:pt x="1205" y="1679"/>
                  </a:lnTo>
                  <a:lnTo>
                    <a:pt x="1216" y="1680"/>
                  </a:lnTo>
                  <a:lnTo>
                    <a:pt x="1227" y="1679"/>
                  </a:lnTo>
                  <a:lnTo>
                    <a:pt x="1238" y="1677"/>
                  </a:lnTo>
                  <a:lnTo>
                    <a:pt x="1247" y="1674"/>
                  </a:lnTo>
                  <a:lnTo>
                    <a:pt x="1255" y="1668"/>
                  </a:lnTo>
                  <a:lnTo>
                    <a:pt x="1263" y="1663"/>
                  </a:lnTo>
                  <a:lnTo>
                    <a:pt x="1270" y="1655"/>
                  </a:lnTo>
                  <a:lnTo>
                    <a:pt x="1276" y="1648"/>
                  </a:lnTo>
                  <a:lnTo>
                    <a:pt x="1282" y="1639"/>
                  </a:lnTo>
                  <a:lnTo>
                    <a:pt x="1287" y="1629"/>
                  </a:lnTo>
                  <a:lnTo>
                    <a:pt x="1292" y="1618"/>
                  </a:lnTo>
                  <a:lnTo>
                    <a:pt x="1296" y="1609"/>
                  </a:lnTo>
                  <a:lnTo>
                    <a:pt x="1299" y="1597"/>
                  </a:lnTo>
                  <a:lnTo>
                    <a:pt x="1305" y="1574"/>
                  </a:lnTo>
                  <a:lnTo>
                    <a:pt x="1309" y="1552"/>
                  </a:lnTo>
                  <a:lnTo>
                    <a:pt x="1312" y="1535"/>
                  </a:lnTo>
                  <a:lnTo>
                    <a:pt x="1316" y="1522"/>
                  </a:lnTo>
                  <a:lnTo>
                    <a:pt x="1319" y="1516"/>
                  </a:lnTo>
                  <a:lnTo>
                    <a:pt x="1321" y="1508"/>
                  </a:lnTo>
                  <a:lnTo>
                    <a:pt x="1322" y="1501"/>
                  </a:lnTo>
                  <a:lnTo>
                    <a:pt x="1323" y="1493"/>
                  </a:lnTo>
                  <a:lnTo>
                    <a:pt x="1323" y="1478"/>
                  </a:lnTo>
                  <a:lnTo>
                    <a:pt x="1323" y="1464"/>
                  </a:lnTo>
                  <a:lnTo>
                    <a:pt x="1323" y="1451"/>
                  </a:lnTo>
                  <a:lnTo>
                    <a:pt x="1323" y="1436"/>
                  </a:lnTo>
                  <a:lnTo>
                    <a:pt x="1322" y="1426"/>
                  </a:lnTo>
                  <a:lnTo>
                    <a:pt x="1321" y="1419"/>
                  </a:lnTo>
                  <a:lnTo>
                    <a:pt x="1317" y="1411"/>
                  </a:lnTo>
                  <a:lnTo>
                    <a:pt x="1314" y="1405"/>
                  </a:lnTo>
                  <a:lnTo>
                    <a:pt x="1310" y="1398"/>
                  </a:lnTo>
                  <a:lnTo>
                    <a:pt x="1305" y="1392"/>
                  </a:lnTo>
                  <a:lnTo>
                    <a:pt x="1299" y="1386"/>
                  </a:lnTo>
                  <a:lnTo>
                    <a:pt x="1293" y="1381"/>
                  </a:lnTo>
                  <a:lnTo>
                    <a:pt x="1280" y="1371"/>
                  </a:lnTo>
                  <a:lnTo>
                    <a:pt x="1267" y="1359"/>
                  </a:lnTo>
                  <a:lnTo>
                    <a:pt x="1260" y="1354"/>
                  </a:lnTo>
                  <a:lnTo>
                    <a:pt x="1255" y="1347"/>
                  </a:lnTo>
                  <a:lnTo>
                    <a:pt x="1249" y="1340"/>
                  </a:lnTo>
                  <a:lnTo>
                    <a:pt x="1244" y="1332"/>
                  </a:lnTo>
                  <a:lnTo>
                    <a:pt x="1242" y="1327"/>
                  </a:lnTo>
                  <a:lnTo>
                    <a:pt x="1240" y="1321"/>
                  </a:lnTo>
                  <a:lnTo>
                    <a:pt x="1240" y="1316"/>
                  </a:lnTo>
                  <a:lnTo>
                    <a:pt x="1240" y="1311"/>
                  </a:lnTo>
                  <a:lnTo>
                    <a:pt x="1241" y="1300"/>
                  </a:lnTo>
                  <a:lnTo>
                    <a:pt x="1241" y="1287"/>
                  </a:lnTo>
                  <a:lnTo>
                    <a:pt x="1241" y="1277"/>
                  </a:lnTo>
                  <a:lnTo>
                    <a:pt x="1241" y="1270"/>
                  </a:lnTo>
                  <a:lnTo>
                    <a:pt x="1241" y="1261"/>
                  </a:lnTo>
                  <a:lnTo>
                    <a:pt x="1241" y="1252"/>
                  </a:lnTo>
                  <a:lnTo>
                    <a:pt x="1242" y="1236"/>
                  </a:lnTo>
                  <a:lnTo>
                    <a:pt x="1243" y="1223"/>
                  </a:lnTo>
                  <a:lnTo>
                    <a:pt x="1244" y="1210"/>
                  </a:lnTo>
                  <a:lnTo>
                    <a:pt x="1244" y="1194"/>
                  </a:lnTo>
                  <a:lnTo>
                    <a:pt x="1244" y="1188"/>
                  </a:lnTo>
                  <a:lnTo>
                    <a:pt x="1245" y="1181"/>
                  </a:lnTo>
                  <a:lnTo>
                    <a:pt x="1247" y="1176"/>
                  </a:lnTo>
                  <a:lnTo>
                    <a:pt x="1249" y="1170"/>
                  </a:lnTo>
                  <a:lnTo>
                    <a:pt x="1256" y="1161"/>
                  </a:lnTo>
                  <a:lnTo>
                    <a:pt x="1263" y="1152"/>
                  </a:lnTo>
                  <a:lnTo>
                    <a:pt x="1283" y="1137"/>
                  </a:lnTo>
                  <a:lnTo>
                    <a:pt x="1306" y="1123"/>
                  </a:lnTo>
                  <a:lnTo>
                    <a:pt x="1311" y="1117"/>
                  </a:lnTo>
                  <a:lnTo>
                    <a:pt x="1315" y="1113"/>
                  </a:lnTo>
                  <a:lnTo>
                    <a:pt x="1320" y="1108"/>
                  </a:lnTo>
                  <a:lnTo>
                    <a:pt x="1322" y="1101"/>
                  </a:lnTo>
                  <a:lnTo>
                    <a:pt x="1326" y="1088"/>
                  </a:lnTo>
                  <a:lnTo>
                    <a:pt x="1332" y="1074"/>
                  </a:lnTo>
                  <a:lnTo>
                    <a:pt x="1336" y="1064"/>
                  </a:lnTo>
                  <a:lnTo>
                    <a:pt x="1342" y="1057"/>
                  </a:lnTo>
                  <a:lnTo>
                    <a:pt x="1346" y="1053"/>
                  </a:lnTo>
                  <a:lnTo>
                    <a:pt x="1349" y="1048"/>
                  </a:lnTo>
                  <a:lnTo>
                    <a:pt x="1351" y="1044"/>
                  </a:lnTo>
                  <a:lnTo>
                    <a:pt x="1353" y="1039"/>
                  </a:lnTo>
                  <a:lnTo>
                    <a:pt x="1362" y="1015"/>
                  </a:lnTo>
                  <a:lnTo>
                    <a:pt x="1369" y="992"/>
                  </a:lnTo>
                  <a:lnTo>
                    <a:pt x="1377" y="972"/>
                  </a:lnTo>
                  <a:lnTo>
                    <a:pt x="1383" y="951"/>
                  </a:lnTo>
                  <a:lnTo>
                    <a:pt x="1390" y="931"/>
                  </a:lnTo>
                  <a:lnTo>
                    <a:pt x="1394" y="910"/>
                  </a:lnTo>
                  <a:lnTo>
                    <a:pt x="1397" y="887"/>
                  </a:lnTo>
                  <a:lnTo>
                    <a:pt x="1398" y="861"/>
                  </a:lnTo>
                  <a:lnTo>
                    <a:pt x="1397" y="846"/>
                  </a:lnTo>
                  <a:lnTo>
                    <a:pt x="1396" y="832"/>
                  </a:lnTo>
                  <a:lnTo>
                    <a:pt x="1394" y="818"/>
                  </a:lnTo>
                  <a:lnTo>
                    <a:pt x="1391" y="805"/>
                  </a:lnTo>
                  <a:lnTo>
                    <a:pt x="1386" y="793"/>
                  </a:lnTo>
                  <a:lnTo>
                    <a:pt x="1380" y="780"/>
                  </a:lnTo>
                  <a:lnTo>
                    <a:pt x="1373" y="769"/>
                  </a:lnTo>
                  <a:lnTo>
                    <a:pt x="1365" y="756"/>
                  </a:lnTo>
                  <a:lnTo>
                    <a:pt x="1359" y="749"/>
                  </a:lnTo>
                  <a:lnTo>
                    <a:pt x="1352" y="744"/>
                  </a:lnTo>
                  <a:lnTo>
                    <a:pt x="1350" y="740"/>
                  </a:lnTo>
                  <a:lnTo>
                    <a:pt x="1347" y="737"/>
                  </a:lnTo>
                  <a:lnTo>
                    <a:pt x="1346" y="734"/>
                  </a:lnTo>
                  <a:lnTo>
                    <a:pt x="1346" y="730"/>
                  </a:lnTo>
                  <a:lnTo>
                    <a:pt x="1346" y="717"/>
                  </a:lnTo>
                  <a:lnTo>
                    <a:pt x="1349" y="706"/>
                  </a:lnTo>
                  <a:lnTo>
                    <a:pt x="1352" y="695"/>
                  </a:lnTo>
                  <a:lnTo>
                    <a:pt x="1356" y="684"/>
                  </a:lnTo>
                  <a:lnTo>
                    <a:pt x="1361" y="675"/>
                  </a:lnTo>
                  <a:lnTo>
                    <a:pt x="1364" y="664"/>
                  </a:lnTo>
                  <a:lnTo>
                    <a:pt x="1366" y="652"/>
                  </a:lnTo>
                  <a:lnTo>
                    <a:pt x="1367" y="639"/>
                  </a:lnTo>
                  <a:lnTo>
                    <a:pt x="1367" y="629"/>
                  </a:lnTo>
                  <a:lnTo>
                    <a:pt x="1366" y="619"/>
                  </a:lnTo>
                  <a:lnTo>
                    <a:pt x="1365" y="611"/>
                  </a:lnTo>
                  <a:lnTo>
                    <a:pt x="1363" y="602"/>
                  </a:lnTo>
                  <a:lnTo>
                    <a:pt x="1360" y="595"/>
                  </a:lnTo>
                  <a:lnTo>
                    <a:pt x="1355" y="586"/>
                  </a:lnTo>
                  <a:lnTo>
                    <a:pt x="1351" y="578"/>
                  </a:lnTo>
                  <a:lnTo>
                    <a:pt x="1346" y="570"/>
                  </a:lnTo>
                  <a:lnTo>
                    <a:pt x="1340" y="565"/>
                  </a:lnTo>
                  <a:lnTo>
                    <a:pt x="1335" y="562"/>
                  </a:lnTo>
                  <a:lnTo>
                    <a:pt x="1333" y="561"/>
                  </a:lnTo>
                  <a:lnTo>
                    <a:pt x="1330" y="559"/>
                  </a:lnTo>
                  <a:lnTo>
                    <a:pt x="1328" y="557"/>
                  </a:lnTo>
                  <a:lnTo>
                    <a:pt x="1328" y="554"/>
                  </a:lnTo>
                  <a:lnTo>
                    <a:pt x="1328" y="547"/>
                  </a:lnTo>
                  <a:lnTo>
                    <a:pt x="1329" y="541"/>
                  </a:lnTo>
                  <a:lnTo>
                    <a:pt x="1332" y="535"/>
                  </a:lnTo>
                  <a:lnTo>
                    <a:pt x="1335" y="530"/>
                  </a:lnTo>
                  <a:lnTo>
                    <a:pt x="1341" y="521"/>
                  </a:lnTo>
                  <a:lnTo>
                    <a:pt x="1350" y="514"/>
                  </a:lnTo>
                  <a:lnTo>
                    <a:pt x="1371" y="500"/>
                  </a:lnTo>
                  <a:lnTo>
                    <a:pt x="1393" y="483"/>
                  </a:lnTo>
                  <a:lnTo>
                    <a:pt x="1403" y="474"/>
                  </a:lnTo>
                  <a:lnTo>
                    <a:pt x="1411" y="465"/>
                  </a:lnTo>
                  <a:lnTo>
                    <a:pt x="1419" y="456"/>
                  </a:lnTo>
                  <a:lnTo>
                    <a:pt x="1425" y="447"/>
                  </a:lnTo>
                  <a:lnTo>
                    <a:pt x="1432" y="437"/>
                  </a:lnTo>
                  <a:lnTo>
                    <a:pt x="1437" y="426"/>
                  </a:lnTo>
                  <a:lnTo>
                    <a:pt x="1442" y="415"/>
                  </a:lnTo>
                  <a:lnTo>
                    <a:pt x="1446" y="402"/>
                  </a:lnTo>
                  <a:lnTo>
                    <a:pt x="1452" y="376"/>
                  </a:lnTo>
                  <a:lnTo>
                    <a:pt x="1460" y="355"/>
                  </a:lnTo>
                  <a:lnTo>
                    <a:pt x="1467" y="332"/>
                  </a:lnTo>
                  <a:lnTo>
                    <a:pt x="1474" y="306"/>
                  </a:lnTo>
                  <a:lnTo>
                    <a:pt x="1477" y="295"/>
                  </a:lnTo>
                  <a:lnTo>
                    <a:pt x="1482" y="286"/>
                  </a:lnTo>
                  <a:lnTo>
                    <a:pt x="1486" y="276"/>
                  </a:lnTo>
                  <a:lnTo>
                    <a:pt x="1491" y="266"/>
                  </a:lnTo>
                  <a:lnTo>
                    <a:pt x="1498" y="259"/>
                  </a:lnTo>
                  <a:lnTo>
                    <a:pt x="1505" y="253"/>
                  </a:lnTo>
                  <a:lnTo>
                    <a:pt x="1510" y="251"/>
                  </a:lnTo>
                  <a:lnTo>
                    <a:pt x="1514" y="249"/>
                  </a:lnTo>
                  <a:lnTo>
                    <a:pt x="1519" y="248"/>
                  </a:lnTo>
                  <a:lnTo>
                    <a:pt x="1525" y="248"/>
                  </a:lnTo>
                  <a:lnTo>
                    <a:pt x="1530" y="249"/>
                  </a:lnTo>
                  <a:lnTo>
                    <a:pt x="1536" y="250"/>
                  </a:lnTo>
                  <a:lnTo>
                    <a:pt x="1541" y="252"/>
                  </a:lnTo>
                  <a:lnTo>
                    <a:pt x="1545" y="254"/>
                  </a:lnTo>
                  <a:lnTo>
                    <a:pt x="1550" y="258"/>
                  </a:lnTo>
                  <a:lnTo>
                    <a:pt x="1555" y="260"/>
                  </a:lnTo>
                  <a:lnTo>
                    <a:pt x="1560" y="261"/>
                  </a:lnTo>
                  <a:lnTo>
                    <a:pt x="1566" y="262"/>
                  </a:lnTo>
                  <a:lnTo>
                    <a:pt x="1573" y="262"/>
                  </a:lnTo>
                  <a:lnTo>
                    <a:pt x="1580" y="260"/>
                  </a:lnTo>
                  <a:lnTo>
                    <a:pt x="1586" y="258"/>
                  </a:lnTo>
                  <a:lnTo>
                    <a:pt x="1592" y="256"/>
                  </a:lnTo>
                  <a:lnTo>
                    <a:pt x="1597" y="251"/>
                  </a:lnTo>
                  <a:lnTo>
                    <a:pt x="1602" y="247"/>
                  </a:lnTo>
                  <a:lnTo>
                    <a:pt x="1607" y="243"/>
                  </a:lnTo>
                  <a:lnTo>
                    <a:pt x="1610" y="237"/>
                  </a:lnTo>
                  <a:lnTo>
                    <a:pt x="1626" y="214"/>
                  </a:lnTo>
                  <a:lnTo>
                    <a:pt x="1643" y="189"/>
                  </a:lnTo>
                  <a:lnTo>
                    <a:pt x="1651" y="179"/>
                  </a:lnTo>
                  <a:lnTo>
                    <a:pt x="1661" y="170"/>
                  </a:lnTo>
                  <a:lnTo>
                    <a:pt x="1672" y="165"/>
                  </a:lnTo>
                  <a:lnTo>
                    <a:pt x="1683" y="160"/>
                  </a:lnTo>
                  <a:lnTo>
                    <a:pt x="1694" y="156"/>
                  </a:lnTo>
                  <a:lnTo>
                    <a:pt x="1707" y="154"/>
                  </a:lnTo>
                  <a:lnTo>
                    <a:pt x="1720" y="152"/>
                  </a:lnTo>
                  <a:lnTo>
                    <a:pt x="1734" y="150"/>
                  </a:lnTo>
                  <a:lnTo>
                    <a:pt x="1754" y="148"/>
                  </a:lnTo>
                  <a:lnTo>
                    <a:pt x="1770" y="145"/>
                  </a:lnTo>
                  <a:lnTo>
                    <a:pt x="1779" y="143"/>
                  </a:lnTo>
                  <a:lnTo>
                    <a:pt x="1786" y="140"/>
                  </a:lnTo>
                  <a:lnTo>
                    <a:pt x="1794" y="136"/>
                  </a:lnTo>
                  <a:lnTo>
                    <a:pt x="1801" y="130"/>
                  </a:lnTo>
                  <a:lnTo>
                    <a:pt x="1809" y="124"/>
                  </a:lnTo>
                  <a:lnTo>
                    <a:pt x="1815" y="117"/>
                  </a:lnTo>
                  <a:lnTo>
                    <a:pt x="1821" y="110"/>
                  </a:lnTo>
                  <a:lnTo>
                    <a:pt x="1825" y="102"/>
                  </a:lnTo>
                  <a:lnTo>
                    <a:pt x="1833" y="87"/>
                  </a:lnTo>
                  <a:lnTo>
                    <a:pt x="1838" y="71"/>
                  </a:lnTo>
                  <a:lnTo>
                    <a:pt x="1842" y="54"/>
                  </a:lnTo>
                  <a:lnTo>
                    <a:pt x="1847" y="36"/>
                  </a:lnTo>
                  <a:lnTo>
                    <a:pt x="1853" y="18"/>
                  </a:lnTo>
                  <a:lnTo>
                    <a:pt x="1861" y="0"/>
                  </a:lnTo>
                  <a:lnTo>
                    <a:pt x="1861" y="0"/>
                  </a:lnTo>
                  <a:close/>
                </a:path>
              </a:pathLst>
            </a:custGeom>
            <a:solidFill>
              <a:srgbClr val="9DC87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22">
              <a:extLst>
                <a:ext uri="{FF2B5EF4-FFF2-40B4-BE49-F238E27FC236}">
                  <a16:creationId xmlns:a16="http://schemas.microsoft.com/office/drawing/2014/main" id="{8A1C93BB-E3B4-4D0B-B6A6-F92394AA3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00300" y="1620838"/>
              <a:ext cx="912813" cy="1279525"/>
            </a:xfrm>
            <a:custGeom>
              <a:avLst/>
              <a:gdLst>
                <a:gd name="T0" fmla="*/ 2031 w 2300"/>
                <a:gd name="T1" fmla="*/ 88 h 3221"/>
                <a:gd name="T2" fmla="*/ 2077 w 2300"/>
                <a:gd name="T3" fmla="*/ 111 h 3221"/>
                <a:gd name="T4" fmla="*/ 2065 w 2300"/>
                <a:gd name="T5" fmla="*/ 291 h 3221"/>
                <a:gd name="T6" fmla="*/ 2196 w 2300"/>
                <a:gd name="T7" fmla="*/ 425 h 3221"/>
                <a:gd name="T8" fmla="*/ 2191 w 2300"/>
                <a:gd name="T9" fmla="*/ 564 h 3221"/>
                <a:gd name="T10" fmla="*/ 2121 w 2300"/>
                <a:gd name="T11" fmla="*/ 652 h 3221"/>
                <a:gd name="T12" fmla="*/ 2075 w 2300"/>
                <a:gd name="T13" fmla="*/ 874 h 3221"/>
                <a:gd name="T14" fmla="*/ 2085 w 2300"/>
                <a:gd name="T15" fmla="*/ 981 h 3221"/>
                <a:gd name="T16" fmla="*/ 2028 w 2300"/>
                <a:gd name="T17" fmla="*/ 1247 h 3221"/>
                <a:gd name="T18" fmla="*/ 2077 w 2300"/>
                <a:gd name="T19" fmla="*/ 1429 h 3221"/>
                <a:gd name="T20" fmla="*/ 2079 w 2300"/>
                <a:gd name="T21" fmla="*/ 1616 h 3221"/>
                <a:gd name="T22" fmla="*/ 2135 w 2300"/>
                <a:gd name="T23" fmla="*/ 1704 h 3221"/>
                <a:gd name="T24" fmla="*/ 2278 w 2300"/>
                <a:gd name="T25" fmla="*/ 1758 h 3221"/>
                <a:gd name="T26" fmla="*/ 2291 w 2300"/>
                <a:gd name="T27" fmla="*/ 1945 h 3221"/>
                <a:gd name="T28" fmla="*/ 2189 w 2300"/>
                <a:gd name="T29" fmla="*/ 2057 h 3221"/>
                <a:gd name="T30" fmla="*/ 2228 w 2300"/>
                <a:gd name="T31" fmla="*/ 2190 h 3221"/>
                <a:gd name="T32" fmla="*/ 2189 w 2300"/>
                <a:gd name="T33" fmla="*/ 2305 h 3221"/>
                <a:gd name="T34" fmla="*/ 2021 w 2300"/>
                <a:gd name="T35" fmla="*/ 2465 h 3221"/>
                <a:gd name="T36" fmla="*/ 1870 w 2300"/>
                <a:gd name="T37" fmla="*/ 2551 h 3221"/>
                <a:gd name="T38" fmla="*/ 1780 w 2300"/>
                <a:gd name="T39" fmla="*/ 2651 h 3221"/>
                <a:gd name="T40" fmla="*/ 1569 w 2300"/>
                <a:gd name="T41" fmla="*/ 2721 h 3221"/>
                <a:gd name="T42" fmla="*/ 1378 w 2300"/>
                <a:gd name="T43" fmla="*/ 2737 h 3221"/>
                <a:gd name="T44" fmla="*/ 1268 w 2300"/>
                <a:gd name="T45" fmla="*/ 2765 h 3221"/>
                <a:gd name="T46" fmla="*/ 1082 w 2300"/>
                <a:gd name="T47" fmla="*/ 2700 h 3221"/>
                <a:gd name="T48" fmla="*/ 987 w 2300"/>
                <a:gd name="T49" fmla="*/ 2655 h 3221"/>
                <a:gd name="T50" fmla="*/ 837 w 2300"/>
                <a:gd name="T51" fmla="*/ 2702 h 3221"/>
                <a:gd name="T52" fmla="*/ 890 w 2300"/>
                <a:gd name="T53" fmla="*/ 2857 h 3221"/>
                <a:gd name="T54" fmla="*/ 864 w 2300"/>
                <a:gd name="T55" fmla="*/ 3007 h 3221"/>
                <a:gd name="T56" fmla="*/ 712 w 2300"/>
                <a:gd name="T57" fmla="*/ 3140 h 3221"/>
                <a:gd name="T58" fmla="*/ 496 w 2300"/>
                <a:gd name="T59" fmla="*/ 3221 h 3221"/>
                <a:gd name="T60" fmla="*/ 346 w 2300"/>
                <a:gd name="T61" fmla="*/ 3114 h 3221"/>
                <a:gd name="T62" fmla="*/ 123 w 2300"/>
                <a:gd name="T63" fmla="*/ 3014 h 3221"/>
                <a:gd name="T64" fmla="*/ 44 w 2300"/>
                <a:gd name="T65" fmla="*/ 2641 h 3221"/>
                <a:gd name="T66" fmla="*/ 5 w 2300"/>
                <a:gd name="T67" fmla="*/ 2529 h 3221"/>
                <a:gd name="T68" fmla="*/ 2 w 2300"/>
                <a:gd name="T69" fmla="*/ 2395 h 3221"/>
                <a:gd name="T70" fmla="*/ 89 w 2300"/>
                <a:gd name="T71" fmla="*/ 2369 h 3221"/>
                <a:gd name="T72" fmla="*/ 168 w 2300"/>
                <a:gd name="T73" fmla="*/ 1982 h 3221"/>
                <a:gd name="T74" fmla="*/ 247 w 2300"/>
                <a:gd name="T75" fmla="*/ 1878 h 3221"/>
                <a:gd name="T76" fmla="*/ 372 w 2300"/>
                <a:gd name="T77" fmla="*/ 1881 h 3221"/>
                <a:gd name="T78" fmla="*/ 506 w 2300"/>
                <a:gd name="T79" fmla="*/ 1840 h 3221"/>
                <a:gd name="T80" fmla="*/ 663 w 2300"/>
                <a:gd name="T81" fmla="*/ 1744 h 3221"/>
                <a:gd name="T82" fmla="*/ 749 w 2300"/>
                <a:gd name="T83" fmla="*/ 1699 h 3221"/>
                <a:gd name="T84" fmla="*/ 844 w 2300"/>
                <a:gd name="T85" fmla="*/ 1616 h 3221"/>
                <a:gd name="T86" fmla="*/ 969 w 2300"/>
                <a:gd name="T87" fmla="*/ 1588 h 3221"/>
                <a:gd name="T88" fmla="*/ 1188 w 2300"/>
                <a:gd name="T89" fmla="*/ 1672 h 3221"/>
                <a:gd name="T90" fmla="*/ 1287 w 2300"/>
                <a:gd name="T91" fmla="*/ 1629 h 3221"/>
                <a:gd name="T92" fmla="*/ 1323 w 2300"/>
                <a:gd name="T93" fmla="*/ 1478 h 3221"/>
                <a:gd name="T94" fmla="*/ 1280 w 2300"/>
                <a:gd name="T95" fmla="*/ 1371 h 3221"/>
                <a:gd name="T96" fmla="*/ 1241 w 2300"/>
                <a:gd name="T97" fmla="*/ 1277 h 3221"/>
                <a:gd name="T98" fmla="*/ 1256 w 2300"/>
                <a:gd name="T99" fmla="*/ 1161 h 3221"/>
                <a:gd name="T100" fmla="*/ 1346 w 2300"/>
                <a:gd name="T101" fmla="*/ 1053 h 3221"/>
                <a:gd name="T102" fmla="*/ 1397 w 2300"/>
                <a:gd name="T103" fmla="*/ 846 h 3221"/>
                <a:gd name="T104" fmla="*/ 1346 w 2300"/>
                <a:gd name="T105" fmla="*/ 734 h 3221"/>
                <a:gd name="T106" fmla="*/ 1365 w 2300"/>
                <a:gd name="T107" fmla="*/ 611 h 3221"/>
                <a:gd name="T108" fmla="*/ 1328 w 2300"/>
                <a:gd name="T109" fmla="*/ 547 h 3221"/>
                <a:gd name="T110" fmla="*/ 1432 w 2300"/>
                <a:gd name="T111" fmla="*/ 437 h 3221"/>
                <a:gd name="T112" fmla="*/ 1498 w 2300"/>
                <a:gd name="T113" fmla="*/ 259 h 3221"/>
                <a:gd name="T114" fmla="*/ 1560 w 2300"/>
                <a:gd name="T115" fmla="*/ 261 h 3221"/>
                <a:gd name="T116" fmla="*/ 1651 w 2300"/>
                <a:gd name="T117" fmla="*/ 179 h 3221"/>
                <a:gd name="T118" fmla="*/ 1794 w 2300"/>
                <a:gd name="T119" fmla="*/ 136 h 3221"/>
                <a:gd name="T120" fmla="*/ 1861 w 2300"/>
                <a:gd name="T121" fmla="*/ 0 h 3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00" h="3221">
                  <a:moveTo>
                    <a:pt x="1861" y="0"/>
                  </a:moveTo>
                  <a:lnTo>
                    <a:pt x="1872" y="8"/>
                  </a:lnTo>
                  <a:lnTo>
                    <a:pt x="1883" y="16"/>
                  </a:lnTo>
                  <a:lnTo>
                    <a:pt x="1896" y="24"/>
                  </a:lnTo>
                  <a:lnTo>
                    <a:pt x="1912" y="32"/>
                  </a:lnTo>
                  <a:lnTo>
                    <a:pt x="1944" y="52"/>
                  </a:lnTo>
                  <a:lnTo>
                    <a:pt x="1974" y="70"/>
                  </a:lnTo>
                  <a:lnTo>
                    <a:pt x="1988" y="77"/>
                  </a:lnTo>
                  <a:lnTo>
                    <a:pt x="2004" y="83"/>
                  </a:lnTo>
                  <a:lnTo>
                    <a:pt x="2013" y="85"/>
                  </a:lnTo>
                  <a:lnTo>
                    <a:pt x="2022" y="87"/>
                  </a:lnTo>
                  <a:lnTo>
                    <a:pt x="2031" y="88"/>
                  </a:lnTo>
                  <a:lnTo>
                    <a:pt x="2041" y="88"/>
                  </a:lnTo>
                  <a:lnTo>
                    <a:pt x="2047" y="88"/>
                  </a:lnTo>
                  <a:lnTo>
                    <a:pt x="2051" y="86"/>
                  </a:lnTo>
                  <a:lnTo>
                    <a:pt x="2054" y="85"/>
                  </a:lnTo>
                  <a:lnTo>
                    <a:pt x="2058" y="83"/>
                  </a:lnTo>
                  <a:lnTo>
                    <a:pt x="2062" y="81"/>
                  </a:lnTo>
                  <a:lnTo>
                    <a:pt x="2066" y="78"/>
                  </a:lnTo>
                  <a:lnTo>
                    <a:pt x="2070" y="77"/>
                  </a:lnTo>
                  <a:lnTo>
                    <a:pt x="2076" y="77"/>
                  </a:lnTo>
                  <a:lnTo>
                    <a:pt x="2076" y="77"/>
                  </a:lnTo>
                  <a:lnTo>
                    <a:pt x="2077" y="95"/>
                  </a:lnTo>
                  <a:lnTo>
                    <a:pt x="2077" y="111"/>
                  </a:lnTo>
                  <a:lnTo>
                    <a:pt x="2076" y="128"/>
                  </a:lnTo>
                  <a:lnTo>
                    <a:pt x="2076" y="145"/>
                  </a:lnTo>
                  <a:lnTo>
                    <a:pt x="2075" y="164"/>
                  </a:lnTo>
                  <a:lnTo>
                    <a:pt x="2074" y="181"/>
                  </a:lnTo>
                  <a:lnTo>
                    <a:pt x="2071" y="197"/>
                  </a:lnTo>
                  <a:lnTo>
                    <a:pt x="2069" y="213"/>
                  </a:lnTo>
                  <a:lnTo>
                    <a:pt x="2067" y="229"/>
                  </a:lnTo>
                  <a:lnTo>
                    <a:pt x="2065" y="245"/>
                  </a:lnTo>
                  <a:lnTo>
                    <a:pt x="2063" y="263"/>
                  </a:lnTo>
                  <a:lnTo>
                    <a:pt x="2063" y="281"/>
                  </a:lnTo>
                  <a:lnTo>
                    <a:pt x="2063" y="287"/>
                  </a:lnTo>
                  <a:lnTo>
                    <a:pt x="2065" y="291"/>
                  </a:lnTo>
                  <a:lnTo>
                    <a:pt x="2068" y="294"/>
                  </a:lnTo>
                  <a:lnTo>
                    <a:pt x="2071" y="298"/>
                  </a:lnTo>
                  <a:lnTo>
                    <a:pt x="2079" y="304"/>
                  </a:lnTo>
                  <a:lnTo>
                    <a:pt x="2085" y="313"/>
                  </a:lnTo>
                  <a:lnTo>
                    <a:pt x="2093" y="328"/>
                  </a:lnTo>
                  <a:lnTo>
                    <a:pt x="2103" y="341"/>
                  </a:lnTo>
                  <a:lnTo>
                    <a:pt x="2111" y="354"/>
                  </a:lnTo>
                  <a:lnTo>
                    <a:pt x="2122" y="365"/>
                  </a:lnTo>
                  <a:lnTo>
                    <a:pt x="2145" y="384"/>
                  </a:lnTo>
                  <a:lnTo>
                    <a:pt x="2172" y="405"/>
                  </a:lnTo>
                  <a:lnTo>
                    <a:pt x="2185" y="414"/>
                  </a:lnTo>
                  <a:lnTo>
                    <a:pt x="2196" y="425"/>
                  </a:lnTo>
                  <a:lnTo>
                    <a:pt x="2200" y="432"/>
                  </a:lnTo>
                  <a:lnTo>
                    <a:pt x="2203" y="437"/>
                  </a:lnTo>
                  <a:lnTo>
                    <a:pt x="2204" y="445"/>
                  </a:lnTo>
                  <a:lnTo>
                    <a:pt x="2205" y="452"/>
                  </a:lnTo>
                  <a:lnTo>
                    <a:pt x="2205" y="462"/>
                  </a:lnTo>
                  <a:lnTo>
                    <a:pt x="2203" y="472"/>
                  </a:lnTo>
                  <a:lnTo>
                    <a:pt x="2202" y="479"/>
                  </a:lnTo>
                  <a:lnTo>
                    <a:pt x="2199" y="488"/>
                  </a:lnTo>
                  <a:lnTo>
                    <a:pt x="2194" y="504"/>
                  </a:lnTo>
                  <a:lnTo>
                    <a:pt x="2191" y="522"/>
                  </a:lnTo>
                  <a:lnTo>
                    <a:pt x="2191" y="545"/>
                  </a:lnTo>
                  <a:lnTo>
                    <a:pt x="2191" y="564"/>
                  </a:lnTo>
                  <a:lnTo>
                    <a:pt x="2190" y="574"/>
                  </a:lnTo>
                  <a:lnTo>
                    <a:pt x="2188" y="584"/>
                  </a:lnTo>
                  <a:lnTo>
                    <a:pt x="2184" y="592"/>
                  </a:lnTo>
                  <a:lnTo>
                    <a:pt x="2177" y="601"/>
                  </a:lnTo>
                  <a:lnTo>
                    <a:pt x="2170" y="609"/>
                  </a:lnTo>
                  <a:lnTo>
                    <a:pt x="2162" y="614"/>
                  </a:lnTo>
                  <a:lnTo>
                    <a:pt x="2155" y="619"/>
                  </a:lnTo>
                  <a:lnTo>
                    <a:pt x="2146" y="624"/>
                  </a:lnTo>
                  <a:lnTo>
                    <a:pt x="2138" y="629"/>
                  </a:lnTo>
                  <a:lnTo>
                    <a:pt x="2132" y="635"/>
                  </a:lnTo>
                  <a:lnTo>
                    <a:pt x="2125" y="642"/>
                  </a:lnTo>
                  <a:lnTo>
                    <a:pt x="2121" y="652"/>
                  </a:lnTo>
                  <a:lnTo>
                    <a:pt x="2113" y="675"/>
                  </a:lnTo>
                  <a:lnTo>
                    <a:pt x="2107" y="695"/>
                  </a:lnTo>
                  <a:lnTo>
                    <a:pt x="2103" y="716"/>
                  </a:lnTo>
                  <a:lnTo>
                    <a:pt x="2098" y="735"/>
                  </a:lnTo>
                  <a:lnTo>
                    <a:pt x="2095" y="756"/>
                  </a:lnTo>
                  <a:lnTo>
                    <a:pt x="2093" y="776"/>
                  </a:lnTo>
                  <a:lnTo>
                    <a:pt x="2091" y="798"/>
                  </a:lnTo>
                  <a:lnTo>
                    <a:pt x="2088" y="823"/>
                  </a:lnTo>
                  <a:lnTo>
                    <a:pt x="2085" y="837"/>
                  </a:lnTo>
                  <a:lnTo>
                    <a:pt x="2082" y="851"/>
                  </a:lnTo>
                  <a:lnTo>
                    <a:pt x="2079" y="862"/>
                  </a:lnTo>
                  <a:lnTo>
                    <a:pt x="2075" y="874"/>
                  </a:lnTo>
                  <a:lnTo>
                    <a:pt x="2071" y="886"/>
                  </a:lnTo>
                  <a:lnTo>
                    <a:pt x="2068" y="898"/>
                  </a:lnTo>
                  <a:lnTo>
                    <a:pt x="2066" y="911"/>
                  </a:lnTo>
                  <a:lnTo>
                    <a:pt x="2065" y="926"/>
                  </a:lnTo>
                  <a:lnTo>
                    <a:pt x="2066" y="934"/>
                  </a:lnTo>
                  <a:lnTo>
                    <a:pt x="2068" y="941"/>
                  </a:lnTo>
                  <a:lnTo>
                    <a:pt x="2071" y="948"/>
                  </a:lnTo>
                  <a:lnTo>
                    <a:pt x="2076" y="954"/>
                  </a:lnTo>
                  <a:lnTo>
                    <a:pt x="2079" y="960"/>
                  </a:lnTo>
                  <a:lnTo>
                    <a:pt x="2082" y="966"/>
                  </a:lnTo>
                  <a:lnTo>
                    <a:pt x="2084" y="974"/>
                  </a:lnTo>
                  <a:lnTo>
                    <a:pt x="2085" y="981"/>
                  </a:lnTo>
                  <a:lnTo>
                    <a:pt x="2085" y="1001"/>
                  </a:lnTo>
                  <a:lnTo>
                    <a:pt x="2085" y="1017"/>
                  </a:lnTo>
                  <a:lnTo>
                    <a:pt x="2085" y="1034"/>
                  </a:lnTo>
                  <a:lnTo>
                    <a:pt x="2085" y="1053"/>
                  </a:lnTo>
                  <a:lnTo>
                    <a:pt x="2084" y="1072"/>
                  </a:lnTo>
                  <a:lnTo>
                    <a:pt x="2082" y="1090"/>
                  </a:lnTo>
                  <a:lnTo>
                    <a:pt x="2079" y="1108"/>
                  </a:lnTo>
                  <a:lnTo>
                    <a:pt x="2075" y="1125"/>
                  </a:lnTo>
                  <a:lnTo>
                    <a:pt x="2064" y="1155"/>
                  </a:lnTo>
                  <a:lnTo>
                    <a:pt x="2051" y="1185"/>
                  </a:lnTo>
                  <a:lnTo>
                    <a:pt x="2039" y="1216"/>
                  </a:lnTo>
                  <a:lnTo>
                    <a:pt x="2028" y="1247"/>
                  </a:lnTo>
                  <a:lnTo>
                    <a:pt x="2024" y="1263"/>
                  </a:lnTo>
                  <a:lnTo>
                    <a:pt x="2021" y="1280"/>
                  </a:lnTo>
                  <a:lnTo>
                    <a:pt x="2018" y="1299"/>
                  </a:lnTo>
                  <a:lnTo>
                    <a:pt x="2017" y="1318"/>
                  </a:lnTo>
                  <a:lnTo>
                    <a:pt x="2018" y="1330"/>
                  </a:lnTo>
                  <a:lnTo>
                    <a:pt x="2021" y="1341"/>
                  </a:lnTo>
                  <a:lnTo>
                    <a:pt x="2024" y="1352"/>
                  </a:lnTo>
                  <a:lnTo>
                    <a:pt x="2028" y="1361"/>
                  </a:lnTo>
                  <a:lnTo>
                    <a:pt x="2040" y="1379"/>
                  </a:lnTo>
                  <a:lnTo>
                    <a:pt x="2053" y="1396"/>
                  </a:lnTo>
                  <a:lnTo>
                    <a:pt x="2066" y="1412"/>
                  </a:lnTo>
                  <a:lnTo>
                    <a:pt x="2077" y="1429"/>
                  </a:lnTo>
                  <a:lnTo>
                    <a:pt x="2081" y="1439"/>
                  </a:lnTo>
                  <a:lnTo>
                    <a:pt x="2084" y="1450"/>
                  </a:lnTo>
                  <a:lnTo>
                    <a:pt x="2086" y="1461"/>
                  </a:lnTo>
                  <a:lnTo>
                    <a:pt x="2088" y="1473"/>
                  </a:lnTo>
                  <a:lnTo>
                    <a:pt x="2086" y="1490"/>
                  </a:lnTo>
                  <a:lnTo>
                    <a:pt x="2083" y="1506"/>
                  </a:lnTo>
                  <a:lnTo>
                    <a:pt x="2081" y="1521"/>
                  </a:lnTo>
                  <a:lnTo>
                    <a:pt x="2079" y="1540"/>
                  </a:lnTo>
                  <a:lnTo>
                    <a:pt x="2079" y="1560"/>
                  </a:lnTo>
                  <a:lnTo>
                    <a:pt x="2079" y="1577"/>
                  </a:lnTo>
                  <a:lnTo>
                    <a:pt x="2079" y="1596"/>
                  </a:lnTo>
                  <a:lnTo>
                    <a:pt x="2079" y="1616"/>
                  </a:lnTo>
                  <a:lnTo>
                    <a:pt x="2079" y="1628"/>
                  </a:lnTo>
                  <a:lnTo>
                    <a:pt x="2080" y="1640"/>
                  </a:lnTo>
                  <a:lnTo>
                    <a:pt x="2080" y="1652"/>
                  </a:lnTo>
                  <a:lnTo>
                    <a:pt x="2082" y="1663"/>
                  </a:lnTo>
                  <a:lnTo>
                    <a:pt x="2085" y="1672"/>
                  </a:lnTo>
                  <a:lnTo>
                    <a:pt x="2091" y="1681"/>
                  </a:lnTo>
                  <a:lnTo>
                    <a:pt x="2094" y="1685"/>
                  </a:lnTo>
                  <a:lnTo>
                    <a:pt x="2097" y="1689"/>
                  </a:lnTo>
                  <a:lnTo>
                    <a:pt x="2103" y="1692"/>
                  </a:lnTo>
                  <a:lnTo>
                    <a:pt x="2107" y="1694"/>
                  </a:lnTo>
                  <a:lnTo>
                    <a:pt x="2122" y="1699"/>
                  </a:lnTo>
                  <a:lnTo>
                    <a:pt x="2135" y="1704"/>
                  </a:lnTo>
                  <a:lnTo>
                    <a:pt x="2149" y="1707"/>
                  </a:lnTo>
                  <a:lnTo>
                    <a:pt x="2161" y="1709"/>
                  </a:lnTo>
                  <a:lnTo>
                    <a:pt x="2188" y="1715"/>
                  </a:lnTo>
                  <a:lnTo>
                    <a:pt x="2217" y="1722"/>
                  </a:lnTo>
                  <a:lnTo>
                    <a:pt x="2229" y="1726"/>
                  </a:lnTo>
                  <a:lnTo>
                    <a:pt x="2241" y="1731"/>
                  </a:lnTo>
                  <a:lnTo>
                    <a:pt x="2252" y="1736"/>
                  </a:lnTo>
                  <a:lnTo>
                    <a:pt x="2263" y="1743"/>
                  </a:lnTo>
                  <a:lnTo>
                    <a:pt x="2267" y="1746"/>
                  </a:lnTo>
                  <a:lnTo>
                    <a:pt x="2271" y="1749"/>
                  </a:lnTo>
                  <a:lnTo>
                    <a:pt x="2274" y="1753"/>
                  </a:lnTo>
                  <a:lnTo>
                    <a:pt x="2278" y="1758"/>
                  </a:lnTo>
                  <a:lnTo>
                    <a:pt x="2281" y="1763"/>
                  </a:lnTo>
                  <a:lnTo>
                    <a:pt x="2282" y="1769"/>
                  </a:lnTo>
                  <a:lnTo>
                    <a:pt x="2283" y="1774"/>
                  </a:lnTo>
                  <a:lnTo>
                    <a:pt x="2284" y="1780"/>
                  </a:lnTo>
                  <a:lnTo>
                    <a:pt x="2284" y="1811"/>
                  </a:lnTo>
                  <a:lnTo>
                    <a:pt x="2284" y="1837"/>
                  </a:lnTo>
                  <a:lnTo>
                    <a:pt x="2284" y="1864"/>
                  </a:lnTo>
                  <a:lnTo>
                    <a:pt x="2284" y="1894"/>
                  </a:lnTo>
                  <a:lnTo>
                    <a:pt x="2284" y="1908"/>
                  </a:lnTo>
                  <a:lnTo>
                    <a:pt x="2286" y="1921"/>
                  </a:lnTo>
                  <a:lnTo>
                    <a:pt x="2287" y="1934"/>
                  </a:lnTo>
                  <a:lnTo>
                    <a:pt x="2291" y="1945"/>
                  </a:lnTo>
                  <a:lnTo>
                    <a:pt x="2296" y="1969"/>
                  </a:lnTo>
                  <a:lnTo>
                    <a:pt x="2300" y="1996"/>
                  </a:lnTo>
                  <a:lnTo>
                    <a:pt x="2300" y="1996"/>
                  </a:lnTo>
                  <a:lnTo>
                    <a:pt x="2286" y="2001"/>
                  </a:lnTo>
                  <a:lnTo>
                    <a:pt x="2272" y="2004"/>
                  </a:lnTo>
                  <a:lnTo>
                    <a:pt x="2258" y="2006"/>
                  </a:lnTo>
                  <a:lnTo>
                    <a:pt x="2245" y="2007"/>
                  </a:lnTo>
                  <a:lnTo>
                    <a:pt x="2218" y="2008"/>
                  </a:lnTo>
                  <a:lnTo>
                    <a:pt x="2189" y="2008"/>
                  </a:lnTo>
                  <a:lnTo>
                    <a:pt x="2189" y="2026"/>
                  </a:lnTo>
                  <a:lnTo>
                    <a:pt x="2189" y="2041"/>
                  </a:lnTo>
                  <a:lnTo>
                    <a:pt x="2189" y="2057"/>
                  </a:lnTo>
                  <a:lnTo>
                    <a:pt x="2189" y="2074"/>
                  </a:lnTo>
                  <a:lnTo>
                    <a:pt x="2189" y="2088"/>
                  </a:lnTo>
                  <a:lnTo>
                    <a:pt x="2191" y="2100"/>
                  </a:lnTo>
                  <a:lnTo>
                    <a:pt x="2193" y="2112"/>
                  </a:lnTo>
                  <a:lnTo>
                    <a:pt x="2197" y="2124"/>
                  </a:lnTo>
                  <a:lnTo>
                    <a:pt x="2204" y="2146"/>
                  </a:lnTo>
                  <a:lnTo>
                    <a:pt x="2214" y="2170"/>
                  </a:lnTo>
                  <a:lnTo>
                    <a:pt x="2217" y="2177"/>
                  </a:lnTo>
                  <a:lnTo>
                    <a:pt x="2223" y="2182"/>
                  </a:lnTo>
                  <a:lnTo>
                    <a:pt x="2225" y="2184"/>
                  </a:lnTo>
                  <a:lnTo>
                    <a:pt x="2226" y="2187"/>
                  </a:lnTo>
                  <a:lnTo>
                    <a:pt x="2228" y="2190"/>
                  </a:lnTo>
                  <a:lnTo>
                    <a:pt x="2228" y="2193"/>
                  </a:lnTo>
                  <a:lnTo>
                    <a:pt x="2228" y="2208"/>
                  </a:lnTo>
                  <a:lnTo>
                    <a:pt x="2228" y="2221"/>
                  </a:lnTo>
                  <a:lnTo>
                    <a:pt x="2228" y="2234"/>
                  </a:lnTo>
                  <a:lnTo>
                    <a:pt x="2228" y="2248"/>
                  </a:lnTo>
                  <a:lnTo>
                    <a:pt x="2227" y="2255"/>
                  </a:lnTo>
                  <a:lnTo>
                    <a:pt x="2225" y="2261"/>
                  </a:lnTo>
                  <a:lnTo>
                    <a:pt x="2221" y="2266"/>
                  </a:lnTo>
                  <a:lnTo>
                    <a:pt x="2218" y="2271"/>
                  </a:lnTo>
                  <a:lnTo>
                    <a:pt x="2209" y="2281"/>
                  </a:lnTo>
                  <a:lnTo>
                    <a:pt x="2200" y="2291"/>
                  </a:lnTo>
                  <a:lnTo>
                    <a:pt x="2189" y="2305"/>
                  </a:lnTo>
                  <a:lnTo>
                    <a:pt x="2178" y="2318"/>
                  </a:lnTo>
                  <a:lnTo>
                    <a:pt x="2167" y="2330"/>
                  </a:lnTo>
                  <a:lnTo>
                    <a:pt x="2155" y="2344"/>
                  </a:lnTo>
                  <a:lnTo>
                    <a:pt x="2130" y="2374"/>
                  </a:lnTo>
                  <a:lnTo>
                    <a:pt x="2109" y="2404"/>
                  </a:lnTo>
                  <a:lnTo>
                    <a:pt x="2098" y="2417"/>
                  </a:lnTo>
                  <a:lnTo>
                    <a:pt x="2086" y="2430"/>
                  </a:lnTo>
                  <a:lnTo>
                    <a:pt x="2079" y="2435"/>
                  </a:lnTo>
                  <a:lnTo>
                    <a:pt x="2071" y="2440"/>
                  </a:lnTo>
                  <a:lnTo>
                    <a:pt x="2063" y="2446"/>
                  </a:lnTo>
                  <a:lnTo>
                    <a:pt x="2054" y="2451"/>
                  </a:lnTo>
                  <a:lnTo>
                    <a:pt x="2021" y="2465"/>
                  </a:lnTo>
                  <a:lnTo>
                    <a:pt x="1990" y="2477"/>
                  </a:lnTo>
                  <a:lnTo>
                    <a:pt x="1976" y="2485"/>
                  </a:lnTo>
                  <a:lnTo>
                    <a:pt x="1963" y="2493"/>
                  </a:lnTo>
                  <a:lnTo>
                    <a:pt x="1958" y="2500"/>
                  </a:lnTo>
                  <a:lnTo>
                    <a:pt x="1953" y="2505"/>
                  </a:lnTo>
                  <a:lnTo>
                    <a:pt x="1947" y="2513"/>
                  </a:lnTo>
                  <a:lnTo>
                    <a:pt x="1942" y="2520"/>
                  </a:lnTo>
                  <a:lnTo>
                    <a:pt x="1942" y="2520"/>
                  </a:lnTo>
                  <a:lnTo>
                    <a:pt x="1915" y="2529"/>
                  </a:lnTo>
                  <a:lnTo>
                    <a:pt x="1892" y="2539"/>
                  </a:lnTo>
                  <a:lnTo>
                    <a:pt x="1880" y="2544"/>
                  </a:lnTo>
                  <a:lnTo>
                    <a:pt x="1870" y="2551"/>
                  </a:lnTo>
                  <a:lnTo>
                    <a:pt x="1860" y="2558"/>
                  </a:lnTo>
                  <a:lnTo>
                    <a:pt x="1850" y="2569"/>
                  </a:lnTo>
                  <a:lnTo>
                    <a:pt x="1842" y="2578"/>
                  </a:lnTo>
                  <a:lnTo>
                    <a:pt x="1836" y="2587"/>
                  </a:lnTo>
                  <a:lnTo>
                    <a:pt x="1831" y="2597"/>
                  </a:lnTo>
                  <a:lnTo>
                    <a:pt x="1826" y="2607"/>
                  </a:lnTo>
                  <a:lnTo>
                    <a:pt x="1821" y="2616"/>
                  </a:lnTo>
                  <a:lnTo>
                    <a:pt x="1815" y="2625"/>
                  </a:lnTo>
                  <a:lnTo>
                    <a:pt x="1808" y="2634"/>
                  </a:lnTo>
                  <a:lnTo>
                    <a:pt x="1799" y="2641"/>
                  </a:lnTo>
                  <a:lnTo>
                    <a:pt x="1789" y="2647"/>
                  </a:lnTo>
                  <a:lnTo>
                    <a:pt x="1780" y="2651"/>
                  </a:lnTo>
                  <a:lnTo>
                    <a:pt x="1770" y="2653"/>
                  </a:lnTo>
                  <a:lnTo>
                    <a:pt x="1760" y="2655"/>
                  </a:lnTo>
                  <a:lnTo>
                    <a:pt x="1740" y="2655"/>
                  </a:lnTo>
                  <a:lnTo>
                    <a:pt x="1717" y="2655"/>
                  </a:lnTo>
                  <a:lnTo>
                    <a:pt x="1691" y="2655"/>
                  </a:lnTo>
                  <a:lnTo>
                    <a:pt x="1668" y="2655"/>
                  </a:lnTo>
                  <a:lnTo>
                    <a:pt x="1646" y="2655"/>
                  </a:lnTo>
                  <a:lnTo>
                    <a:pt x="1620" y="2655"/>
                  </a:lnTo>
                  <a:lnTo>
                    <a:pt x="1599" y="2684"/>
                  </a:lnTo>
                  <a:lnTo>
                    <a:pt x="1580" y="2710"/>
                  </a:lnTo>
                  <a:lnTo>
                    <a:pt x="1576" y="2716"/>
                  </a:lnTo>
                  <a:lnTo>
                    <a:pt x="1569" y="2721"/>
                  </a:lnTo>
                  <a:lnTo>
                    <a:pt x="1564" y="2725"/>
                  </a:lnTo>
                  <a:lnTo>
                    <a:pt x="1557" y="2729"/>
                  </a:lnTo>
                  <a:lnTo>
                    <a:pt x="1551" y="2732"/>
                  </a:lnTo>
                  <a:lnTo>
                    <a:pt x="1543" y="2734"/>
                  </a:lnTo>
                  <a:lnTo>
                    <a:pt x="1536" y="2736"/>
                  </a:lnTo>
                  <a:lnTo>
                    <a:pt x="1527" y="2736"/>
                  </a:lnTo>
                  <a:lnTo>
                    <a:pt x="1490" y="2736"/>
                  </a:lnTo>
                  <a:lnTo>
                    <a:pt x="1459" y="2736"/>
                  </a:lnTo>
                  <a:lnTo>
                    <a:pt x="1427" y="2736"/>
                  </a:lnTo>
                  <a:lnTo>
                    <a:pt x="1391" y="2736"/>
                  </a:lnTo>
                  <a:lnTo>
                    <a:pt x="1384" y="2737"/>
                  </a:lnTo>
                  <a:lnTo>
                    <a:pt x="1378" y="2737"/>
                  </a:lnTo>
                  <a:lnTo>
                    <a:pt x="1373" y="2740"/>
                  </a:lnTo>
                  <a:lnTo>
                    <a:pt x="1367" y="2742"/>
                  </a:lnTo>
                  <a:lnTo>
                    <a:pt x="1357" y="2746"/>
                  </a:lnTo>
                  <a:lnTo>
                    <a:pt x="1348" y="2751"/>
                  </a:lnTo>
                  <a:lnTo>
                    <a:pt x="1339" y="2758"/>
                  </a:lnTo>
                  <a:lnTo>
                    <a:pt x="1329" y="2762"/>
                  </a:lnTo>
                  <a:lnTo>
                    <a:pt x="1324" y="2764"/>
                  </a:lnTo>
                  <a:lnTo>
                    <a:pt x="1319" y="2767"/>
                  </a:lnTo>
                  <a:lnTo>
                    <a:pt x="1312" y="2767"/>
                  </a:lnTo>
                  <a:lnTo>
                    <a:pt x="1306" y="2768"/>
                  </a:lnTo>
                  <a:lnTo>
                    <a:pt x="1286" y="2767"/>
                  </a:lnTo>
                  <a:lnTo>
                    <a:pt x="1268" y="2765"/>
                  </a:lnTo>
                  <a:lnTo>
                    <a:pt x="1251" y="2763"/>
                  </a:lnTo>
                  <a:lnTo>
                    <a:pt x="1234" y="2760"/>
                  </a:lnTo>
                  <a:lnTo>
                    <a:pt x="1218" y="2756"/>
                  </a:lnTo>
                  <a:lnTo>
                    <a:pt x="1201" y="2750"/>
                  </a:lnTo>
                  <a:lnTo>
                    <a:pt x="1184" y="2744"/>
                  </a:lnTo>
                  <a:lnTo>
                    <a:pt x="1165" y="2736"/>
                  </a:lnTo>
                  <a:lnTo>
                    <a:pt x="1142" y="2728"/>
                  </a:lnTo>
                  <a:lnTo>
                    <a:pt x="1122" y="2721"/>
                  </a:lnTo>
                  <a:lnTo>
                    <a:pt x="1112" y="2717"/>
                  </a:lnTo>
                  <a:lnTo>
                    <a:pt x="1101" y="2713"/>
                  </a:lnTo>
                  <a:lnTo>
                    <a:pt x="1092" y="2707"/>
                  </a:lnTo>
                  <a:lnTo>
                    <a:pt x="1082" y="2700"/>
                  </a:lnTo>
                  <a:lnTo>
                    <a:pt x="1073" y="2693"/>
                  </a:lnTo>
                  <a:lnTo>
                    <a:pt x="1067" y="2686"/>
                  </a:lnTo>
                  <a:lnTo>
                    <a:pt x="1060" y="2678"/>
                  </a:lnTo>
                  <a:lnTo>
                    <a:pt x="1055" y="2670"/>
                  </a:lnTo>
                  <a:lnTo>
                    <a:pt x="1049" y="2663"/>
                  </a:lnTo>
                  <a:lnTo>
                    <a:pt x="1041" y="2657"/>
                  </a:lnTo>
                  <a:lnTo>
                    <a:pt x="1037" y="2655"/>
                  </a:lnTo>
                  <a:lnTo>
                    <a:pt x="1032" y="2654"/>
                  </a:lnTo>
                  <a:lnTo>
                    <a:pt x="1028" y="2653"/>
                  </a:lnTo>
                  <a:lnTo>
                    <a:pt x="1023" y="2652"/>
                  </a:lnTo>
                  <a:lnTo>
                    <a:pt x="1004" y="2653"/>
                  </a:lnTo>
                  <a:lnTo>
                    <a:pt x="987" y="2655"/>
                  </a:lnTo>
                  <a:lnTo>
                    <a:pt x="972" y="2657"/>
                  </a:lnTo>
                  <a:lnTo>
                    <a:pt x="957" y="2662"/>
                  </a:lnTo>
                  <a:lnTo>
                    <a:pt x="925" y="2670"/>
                  </a:lnTo>
                  <a:lnTo>
                    <a:pt x="891" y="2680"/>
                  </a:lnTo>
                  <a:lnTo>
                    <a:pt x="879" y="2682"/>
                  </a:lnTo>
                  <a:lnTo>
                    <a:pt x="867" y="2682"/>
                  </a:lnTo>
                  <a:lnTo>
                    <a:pt x="862" y="2682"/>
                  </a:lnTo>
                  <a:lnTo>
                    <a:pt x="856" y="2683"/>
                  </a:lnTo>
                  <a:lnTo>
                    <a:pt x="851" y="2686"/>
                  </a:lnTo>
                  <a:lnTo>
                    <a:pt x="847" y="2689"/>
                  </a:lnTo>
                  <a:lnTo>
                    <a:pt x="840" y="2695"/>
                  </a:lnTo>
                  <a:lnTo>
                    <a:pt x="837" y="2702"/>
                  </a:lnTo>
                  <a:lnTo>
                    <a:pt x="835" y="2708"/>
                  </a:lnTo>
                  <a:lnTo>
                    <a:pt x="834" y="2716"/>
                  </a:lnTo>
                  <a:lnTo>
                    <a:pt x="835" y="2732"/>
                  </a:lnTo>
                  <a:lnTo>
                    <a:pt x="835" y="2749"/>
                  </a:lnTo>
                  <a:lnTo>
                    <a:pt x="836" y="2760"/>
                  </a:lnTo>
                  <a:lnTo>
                    <a:pt x="838" y="2771"/>
                  </a:lnTo>
                  <a:lnTo>
                    <a:pt x="841" y="2781"/>
                  </a:lnTo>
                  <a:lnTo>
                    <a:pt x="845" y="2790"/>
                  </a:lnTo>
                  <a:lnTo>
                    <a:pt x="855" y="2808"/>
                  </a:lnTo>
                  <a:lnTo>
                    <a:pt x="867" y="2824"/>
                  </a:lnTo>
                  <a:lnTo>
                    <a:pt x="879" y="2840"/>
                  </a:lnTo>
                  <a:lnTo>
                    <a:pt x="890" y="2857"/>
                  </a:lnTo>
                  <a:lnTo>
                    <a:pt x="893" y="2866"/>
                  </a:lnTo>
                  <a:lnTo>
                    <a:pt x="896" y="2876"/>
                  </a:lnTo>
                  <a:lnTo>
                    <a:pt x="898" y="2886"/>
                  </a:lnTo>
                  <a:lnTo>
                    <a:pt x="899" y="2897"/>
                  </a:lnTo>
                  <a:lnTo>
                    <a:pt x="898" y="2913"/>
                  </a:lnTo>
                  <a:lnTo>
                    <a:pt x="897" y="2930"/>
                  </a:lnTo>
                  <a:lnTo>
                    <a:pt x="894" y="2944"/>
                  </a:lnTo>
                  <a:lnTo>
                    <a:pt x="890" y="2958"/>
                  </a:lnTo>
                  <a:lnTo>
                    <a:pt x="885" y="2971"/>
                  </a:lnTo>
                  <a:lnTo>
                    <a:pt x="879" y="2984"/>
                  </a:lnTo>
                  <a:lnTo>
                    <a:pt x="872" y="2995"/>
                  </a:lnTo>
                  <a:lnTo>
                    <a:pt x="864" y="3007"/>
                  </a:lnTo>
                  <a:lnTo>
                    <a:pt x="855" y="3018"/>
                  </a:lnTo>
                  <a:lnTo>
                    <a:pt x="847" y="3029"/>
                  </a:lnTo>
                  <a:lnTo>
                    <a:pt x="836" y="3040"/>
                  </a:lnTo>
                  <a:lnTo>
                    <a:pt x="825" y="3049"/>
                  </a:lnTo>
                  <a:lnTo>
                    <a:pt x="801" y="3070"/>
                  </a:lnTo>
                  <a:lnTo>
                    <a:pt x="776" y="3089"/>
                  </a:lnTo>
                  <a:lnTo>
                    <a:pt x="759" y="3103"/>
                  </a:lnTo>
                  <a:lnTo>
                    <a:pt x="746" y="3118"/>
                  </a:lnTo>
                  <a:lnTo>
                    <a:pt x="739" y="3124"/>
                  </a:lnTo>
                  <a:lnTo>
                    <a:pt x="731" y="3130"/>
                  </a:lnTo>
                  <a:lnTo>
                    <a:pt x="722" y="3136"/>
                  </a:lnTo>
                  <a:lnTo>
                    <a:pt x="712" y="3140"/>
                  </a:lnTo>
                  <a:lnTo>
                    <a:pt x="693" y="3149"/>
                  </a:lnTo>
                  <a:lnTo>
                    <a:pt x="676" y="3156"/>
                  </a:lnTo>
                  <a:lnTo>
                    <a:pt x="660" y="3163"/>
                  </a:lnTo>
                  <a:lnTo>
                    <a:pt x="645" y="3168"/>
                  </a:lnTo>
                  <a:lnTo>
                    <a:pt x="613" y="3179"/>
                  </a:lnTo>
                  <a:lnTo>
                    <a:pt x="577" y="3191"/>
                  </a:lnTo>
                  <a:lnTo>
                    <a:pt x="556" y="3200"/>
                  </a:lnTo>
                  <a:lnTo>
                    <a:pt x="538" y="3209"/>
                  </a:lnTo>
                  <a:lnTo>
                    <a:pt x="528" y="3215"/>
                  </a:lnTo>
                  <a:lnTo>
                    <a:pt x="518" y="3218"/>
                  </a:lnTo>
                  <a:lnTo>
                    <a:pt x="507" y="3220"/>
                  </a:lnTo>
                  <a:lnTo>
                    <a:pt x="496" y="3221"/>
                  </a:lnTo>
                  <a:lnTo>
                    <a:pt x="487" y="3221"/>
                  </a:lnTo>
                  <a:lnTo>
                    <a:pt x="478" y="3220"/>
                  </a:lnTo>
                  <a:lnTo>
                    <a:pt x="471" y="3219"/>
                  </a:lnTo>
                  <a:lnTo>
                    <a:pt x="462" y="3217"/>
                  </a:lnTo>
                  <a:lnTo>
                    <a:pt x="448" y="3210"/>
                  </a:lnTo>
                  <a:lnTo>
                    <a:pt x="435" y="3203"/>
                  </a:lnTo>
                  <a:lnTo>
                    <a:pt x="423" y="3194"/>
                  </a:lnTo>
                  <a:lnTo>
                    <a:pt x="411" y="3184"/>
                  </a:lnTo>
                  <a:lnTo>
                    <a:pt x="400" y="3174"/>
                  </a:lnTo>
                  <a:lnTo>
                    <a:pt x="391" y="3162"/>
                  </a:lnTo>
                  <a:lnTo>
                    <a:pt x="369" y="3137"/>
                  </a:lnTo>
                  <a:lnTo>
                    <a:pt x="346" y="3114"/>
                  </a:lnTo>
                  <a:lnTo>
                    <a:pt x="334" y="3103"/>
                  </a:lnTo>
                  <a:lnTo>
                    <a:pt x="319" y="3094"/>
                  </a:lnTo>
                  <a:lnTo>
                    <a:pt x="305" y="3085"/>
                  </a:lnTo>
                  <a:lnTo>
                    <a:pt x="288" y="3079"/>
                  </a:lnTo>
                  <a:lnTo>
                    <a:pt x="249" y="3068"/>
                  </a:lnTo>
                  <a:lnTo>
                    <a:pt x="215" y="3059"/>
                  </a:lnTo>
                  <a:lnTo>
                    <a:pt x="199" y="3055"/>
                  </a:lnTo>
                  <a:lnTo>
                    <a:pt x="181" y="3049"/>
                  </a:lnTo>
                  <a:lnTo>
                    <a:pt x="164" y="3041"/>
                  </a:lnTo>
                  <a:lnTo>
                    <a:pt x="146" y="3031"/>
                  </a:lnTo>
                  <a:lnTo>
                    <a:pt x="134" y="3022"/>
                  </a:lnTo>
                  <a:lnTo>
                    <a:pt x="123" y="3014"/>
                  </a:lnTo>
                  <a:lnTo>
                    <a:pt x="113" y="3005"/>
                  </a:lnTo>
                  <a:lnTo>
                    <a:pt x="103" y="2997"/>
                  </a:lnTo>
                  <a:lnTo>
                    <a:pt x="84" y="2977"/>
                  </a:lnTo>
                  <a:lnTo>
                    <a:pt x="62" y="2960"/>
                  </a:lnTo>
                  <a:lnTo>
                    <a:pt x="62" y="2960"/>
                  </a:lnTo>
                  <a:lnTo>
                    <a:pt x="8" y="2790"/>
                  </a:lnTo>
                  <a:lnTo>
                    <a:pt x="20" y="2750"/>
                  </a:lnTo>
                  <a:lnTo>
                    <a:pt x="32" y="2716"/>
                  </a:lnTo>
                  <a:lnTo>
                    <a:pt x="36" y="2698"/>
                  </a:lnTo>
                  <a:lnTo>
                    <a:pt x="41" y="2681"/>
                  </a:lnTo>
                  <a:lnTo>
                    <a:pt x="44" y="2662"/>
                  </a:lnTo>
                  <a:lnTo>
                    <a:pt x="44" y="2641"/>
                  </a:lnTo>
                  <a:lnTo>
                    <a:pt x="44" y="2633"/>
                  </a:lnTo>
                  <a:lnTo>
                    <a:pt x="43" y="2625"/>
                  </a:lnTo>
                  <a:lnTo>
                    <a:pt x="41" y="2617"/>
                  </a:lnTo>
                  <a:lnTo>
                    <a:pt x="39" y="2611"/>
                  </a:lnTo>
                  <a:lnTo>
                    <a:pt x="32" y="2598"/>
                  </a:lnTo>
                  <a:lnTo>
                    <a:pt x="25" y="2585"/>
                  </a:lnTo>
                  <a:lnTo>
                    <a:pt x="18" y="2573"/>
                  </a:lnTo>
                  <a:lnTo>
                    <a:pt x="12" y="2559"/>
                  </a:lnTo>
                  <a:lnTo>
                    <a:pt x="8" y="2553"/>
                  </a:lnTo>
                  <a:lnTo>
                    <a:pt x="7" y="2545"/>
                  </a:lnTo>
                  <a:lnTo>
                    <a:pt x="6" y="2538"/>
                  </a:lnTo>
                  <a:lnTo>
                    <a:pt x="5" y="2529"/>
                  </a:lnTo>
                  <a:lnTo>
                    <a:pt x="9" y="2517"/>
                  </a:lnTo>
                  <a:lnTo>
                    <a:pt x="14" y="2504"/>
                  </a:lnTo>
                  <a:lnTo>
                    <a:pt x="13" y="2489"/>
                  </a:lnTo>
                  <a:lnTo>
                    <a:pt x="12" y="2476"/>
                  </a:lnTo>
                  <a:lnTo>
                    <a:pt x="9" y="2464"/>
                  </a:lnTo>
                  <a:lnTo>
                    <a:pt x="6" y="2452"/>
                  </a:lnTo>
                  <a:lnTo>
                    <a:pt x="4" y="2440"/>
                  </a:lnTo>
                  <a:lnTo>
                    <a:pt x="2" y="2427"/>
                  </a:lnTo>
                  <a:lnTo>
                    <a:pt x="0" y="2414"/>
                  </a:lnTo>
                  <a:lnTo>
                    <a:pt x="0" y="2400"/>
                  </a:lnTo>
                  <a:lnTo>
                    <a:pt x="0" y="2397"/>
                  </a:lnTo>
                  <a:lnTo>
                    <a:pt x="2" y="2395"/>
                  </a:lnTo>
                  <a:lnTo>
                    <a:pt x="4" y="2393"/>
                  </a:lnTo>
                  <a:lnTo>
                    <a:pt x="6" y="2392"/>
                  </a:lnTo>
                  <a:lnTo>
                    <a:pt x="13" y="2389"/>
                  </a:lnTo>
                  <a:lnTo>
                    <a:pt x="19" y="2386"/>
                  </a:lnTo>
                  <a:lnTo>
                    <a:pt x="29" y="2380"/>
                  </a:lnTo>
                  <a:lnTo>
                    <a:pt x="39" y="2373"/>
                  </a:lnTo>
                  <a:lnTo>
                    <a:pt x="43" y="2370"/>
                  </a:lnTo>
                  <a:lnTo>
                    <a:pt x="47" y="2368"/>
                  </a:lnTo>
                  <a:lnTo>
                    <a:pt x="53" y="2367"/>
                  </a:lnTo>
                  <a:lnTo>
                    <a:pt x="59" y="2367"/>
                  </a:lnTo>
                  <a:lnTo>
                    <a:pt x="74" y="2368"/>
                  </a:lnTo>
                  <a:lnTo>
                    <a:pt x="89" y="2369"/>
                  </a:lnTo>
                  <a:lnTo>
                    <a:pt x="156" y="2095"/>
                  </a:lnTo>
                  <a:lnTo>
                    <a:pt x="161" y="2086"/>
                  </a:lnTo>
                  <a:lnTo>
                    <a:pt x="165" y="2079"/>
                  </a:lnTo>
                  <a:lnTo>
                    <a:pt x="167" y="2074"/>
                  </a:lnTo>
                  <a:lnTo>
                    <a:pt x="169" y="2071"/>
                  </a:lnTo>
                  <a:lnTo>
                    <a:pt x="170" y="2067"/>
                  </a:lnTo>
                  <a:lnTo>
                    <a:pt x="170" y="2061"/>
                  </a:lnTo>
                  <a:lnTo>
                    <a:pt x="168" y="2047"/>
                  </a:lnTo>
                  <a:lnTo>
                    <a:pt x="167" y="2033"/>
                  </a:lnTo>
                  <a:lnTo>
                    <a:pt x="167" y="2020"/>
                  </a:lnTo>
                  <a:lnTo>
                    <a:pt x="167" y="2008"/>
                  </a:lnTo>
                  <a:lnTo>
                    <a:pt x="168" y="1982"/>
                  </a:lnTo>
                  <a:lnTo>
                    <a:pt x="170" y="1954"/>
                  </a:lnTo>
                  <a:lnTo>
                    <a:pt x="170" y="1949"/>
                  </a:lnTo>
                  <a:lnTo>
                    <a:pt x="172" y="1945"/>
                  </a:lnTo>
                  <a:lnTo>
                    <a:pt x="174" y="1940"/>
                  </a:lnTo>
                  <a:lnTo>
                    <a:pt x="175" y="1936"/>
                  </a:lnTo>
                  <a:lnTo>
                    <a:pt x="180" y="1930"/>
                  </a:lnTo>
                  <a:lnTo>
                    <a:pt x="186" y="1923"/>
                  </a:lnTo>
                  <a:lnTo>
                    <a:pt x="201" y="1911"/>
                  </a:lnTo>
                  <a:lnTo>
                    <a:pt x="216" y="1898"/>
                  </a:lnTo>
                  <a:lnTo>
                    <a:pt x="226" y="1890"/>
                  </a:lnTo>
                  <a:lnTo>
                    <a:pt x="236" y="1883"/>
                  </a:lnTo>
                  <a:lnTo>
                    <a:pt x="247" y="1878"/>
                  </a:lnTo>
                  <a:lnTo>
                    <a:pt x="258" y="1874"/>
                  </a:lnTo>
                  <a:lnTo>
                    <a:pt x="270" y="1872"/>
                  </a:lnTo>
                  <a:lnTo>
                    <a:pt x="283" y="1871"/>
                  </a:lnTo>
                  <a:lnTo>
                    <a:pt x="296" y="1870"/>
                  </a:lnTo>
                  <a:lnTo>
                    <a:pt x="310" y="1870"/>
                  </a:lnTo>
                  <a:lnTo>
                    <a:pt x="319" y="1871"/>
                  </a:lnTo>
                  <a:lnTo>
                    <a:pt x="329" y="1872"/>
                  </a:lnTo>
                  <a:lnTo>
                    <a:pt x="338" y="1874"/>
                  </a:lnTo>
                  <a:lnTo>
                    <a:pt x="345" y="1877"/>
                  </a:lnTo>
                  <a:lnTo>
                    <a:pt x="354" y="1878"/>
                  </a:lnTo>
                  <a:lnTo>
                    <a:pt x="363" y="1880"/>
                  </a:lnTo>
                  <a:lnTo>
                    <a:pt x="372" y="1881"/>
                  </a:lnTo>
                  <a:lnTo>
                    <a:pt x="382" y="1882"/>
                  </a:lnTo>
                  <a:lnTo>
                    <a:pt x="392" y="1881"/>
                  </a:lnTo>
                  <a:lnTo>
                    <a:pt x="402" y="1880"/>
                  </a:lnTo>
                  <a:lnTo>
                    <a:pt x="410" y="1878"/>
                  </a:lnTo>
                  <a:lnTo>
                    <a:pt x="419" y="1876"/>
                  </a:lnTo>
                  <a:lnTo>
                    <a:pt x="434" y="1868"/>
                  </a:lnTo>
                  <a:lnTo>
                    <a:pt x="449" y="1860"/>
                  </a:lnTo>
                  <a:lnTo>
                    <a:pt x="464" y="1853"/>
                  </a:lnTo>
                  <a:lnTo>
                    <a:pt x="479" y="1846"/>
                  </a:lnTo>
                  <a:lnTo>
                    <a:pt x="488" y="1843"/>
                  </a:lnTo>
                  <a:lnTo>
                    <a:pt x="497" y="1842"/>
                  </a:lnTo>
                  <a:lnTo>
                    <a:pt x="506" y="1840"/>
                  </a:lnTo>
                  <a:lnTo>
                    <a:pt x="516" y="1840"/>
                  </a:lnTo>
                  <a:lnTo>
                    <a:pt x="527" y="1840"/>
                  </a:lnTo>
                  <a:lnTo>
                    <a:pt x="538" y="1840"/>
                  </a:lnTo>
                  <a:lnTo>
                    <a:pt x="562" y="1823"/>
                  </a:lnTo>
                  <a:lnTo>
                    <a:pt x="582" y="1806"/>
                  </a:lnTo>
                  <a:lnTo>
                    <a:pt x="601" y="1790"/>
                  </a:lnTo>
                  <a:lnTo>
                    <a:pt x="625" y="1773"/>
                  </a:lnTo>
                  <a:lnTo>
                    <a:pt x="636" y="1763"/>
                  </a:lnTo>
                  <a:lnTo>
                    <a:pt x="646" y="1755"/>
                  </a:lnTo>
                  <a:lnTo>
                    <a:pt x="651" y="1750"/>
                  </a:lnTo>
                  <a:lnTo>
                    <a:pt x="656" y="1747"/>
                  </a:lnTo>
                  <a:lnTo>
                    <a:pt x="663" y="1744"/>
                  </a:lnTo>
                  <a:lnTo>
                    <a:pt x="669" y="1742"/>
                  </a:lnTo>
                  <a:lnTo>
                    <a:pt x="689" y="1738"/>
                  </a:lnTo>
                  <a:lnTo>
                    <a:pt x="708" y="1737"/>
                  </a:lnTo>
                  <a:lnTo>
                    <a:pt x="717" y="1736"/>
                  </a:lnTo>
                  <a:lnTo>
                    <a:pt x="726" y="1733"/>
                  </a:lnTo>
                  <a:lnTo>
                    <a:pt x="729" y="1732"/>
                  </a:lnTo>
                  <a:lnTo>
                    <a:pt x="733" y="1729"/>
                  </a:lnTo>
                  <a:lnTo>
                    <a:pt x="736" y="1725"/>
                  </a:lnTo>
                  <a:lnTo>
                    <a:pt x="740" y="1722"/>
                  </a:lnTo>
                  <a:lnTo>
                    <a:pt x="744" y="1715"/>
                  </a:lnTo>
                  <a:lnTo>
                    <a:pt x="747" y="1707"/>
                  </a:lnTo>
                  <a:lnTo>
                    <a:pt x="749" y="1699"/>
                  </a:lnTo>
                  <a:lnTo>
                    <a:pt x="752" y="1693"/>
                  </a:lnTo>
                  <a:lnTo>
                    <a:pt x="753" y="1685"/>
                  </a:lnTo>
                  <a:lnTo>
                    <a:pt x="755" y="1678"/>
                  </a:lnTo>
                  <a:lnTo>
                    <a:pt x="758" y="1670"/>
                  </a:lnTo>
                  <a:lnTo>
                    <a:pt x="762" y="1663"/>
                  </a:lnTo>
                  <a:lnTo>
                    <a:pt x="772" y="1652"/>
                  </a:lnTo>
                  <a:lnTo>
                    <a:pt x="782" y="1642"/>
                  </a:lnTo>
                  <a:lnTo>
                    <a:pt x="793" y="1635"/>
                  </a:lnTo>
                  <a:lnTo>
                    <a:pt x="804" y="1629"/>
                  </a:lnTo>
                  <a:lnTo>
                    <a:pt x="817" y="1624"/>
                  </a:lnTo>
                  <a:lnTo>
                    <a:pt x="830" y="1621"/>
                  </a:lnTo>
                  <a:lnTo>
                    <a:pt x="844" y="1616"/>
                  </a:lnTo>
                  <a:lnTo>
                    <a:pt x="861" y="1613"/>
                  </a:lnTo>
                  <a:lnTo>
                    <a:pt x="869" y="1610"/>
                  </a:lnTo>
                  <a:lnTo>
                    <a:pt x="877" y="1606"/>
                  </a:lnTo>
                  <a:lnTo>
                    <a:pt x="884" y="1600"/>
                  </a:lnTo>
                  <a:lnTo>
                    <a:pt x="891" y="1595"/>
                  </a:lnTo>
                  <a:lnTo>
                    <a:pt x="897" y="1590"/>
                  </a:lnTo>
                  <a:lnTo>
                    <a:pt x="905" y="1586"/>
                  </a:lnTo>
                  <a:lnTo>
                    <a:pt x="912" y="1583"/>
                  </a:lnTo>
                  <a:lnTo>
                    <a:pt x="922" y="1582"/>
                  </a:lnTo>
                  <a:lnTo>
                    <a:pt x="939" y="1583"/>
                  </a:lnTo>
                  <a:lnTo>
                    <a:pt x="955" y="1585"/>
                  </a:lnTo>
                  <a:lnTo>
                    <a:pt x="969" y="1588"/>
                  </a:lnTo>
                  <a:lnTo>
                    <a:pt x="983" y="1593"/>
                  </a:lnTo>
                  <a:lnTo>
                    <a:pt x="1011" y="1602"/>
                  </a:lnTo>
                  <a:lnTo>
                    <a:pt x="1042" y="1613"/>
                  </a:lnTo>
                  <a:lnTo>
                    <a:pt x="1070" y="1620"/>
                  </a:lnTo>
                  <a:lnTo>
                    <a:pt x="1095" y="1625"/>
                  </a:lnTo>
                  <a:lnTo>
                    <a:pt x="1108" y="1628"/>
                  </a:lnTo>
                  <a:lnTo>
                    <a:pt x="1120" y="1633"/>
                  </a:lnTo>
                  <a:lnTo>
                    <a:pt x="1133" y="1637"/>
                  </a:lnTo>
                  <a:lnTo>
                    <a:pt x="1146" y="1643"/>
                  </a:lnTo>
                  <a:lnTo>
                    <a:pt x="1164" y="1655"/>
                  </a:lnTo>
                  <a:lnTo>
                    <a:pt x="1179" y="1667"/>
                  </a:lnTo>
                  <a:lnTo>
                    <a:pt x="1188" y="1672"/>
                  </a:lnTo>
                  <a:lnTo>
                    <a:pt x="1196" y="1677"/>
                  </a:lnTo>
                  <a:lnTo>
                    <a:pt x="1205" y="1679"/>
                  </a:lnTo>
                  <a:lnTo>
                    <a:pt x="1216" y="1680"/>
                  </a:lnTo>
                  <a:lnTo>
                    <a:pt x="1227" y="1679"/>
                  </a:lnTo>
                  <a:lnTo>
                    <a:pt x="1238" y="1677"/>
                  </a:lnTo>
                  <a:lnTo>
                    <a:pt x="1247" y="1674"/>
                  </a:lnTo>
                  <a:lnTo>
                    <a:pt x="1255" y="1668"/>
                  </a:lnTo>
                  <a:lnTo>
                    <a:pt x="1263" y="1663"/>
                  </a:lnTo>
                  <a:lnTo>
                    <a:pt x="1270" y="1655"/>
                  </a:lnTo>
                  <a:lnTo>
                    <a:pt x="1276" y="1648"/>
                  </a:lnTo>
                  <a:lnTo>
                    <a:pt x="1282" y="1639"/>
                  </a:lnTo>
                  <a:lnTo>
                    <a:pt x="1287" y="1629"/>
                  </a:lnTo>
                  <a:lnTo>
                    <a:pt x="1292" y="1618"/>
                  </a:lnTo>
                  <a:lnTo>
                    <a:pt x="1296" y="1609"/>
                  </a:lnTo>
                  <a:lnTo>
                    <a:pt x="1299" y="1597"/>
                  </a:lnTo>
                  <a:lnTo>
                    <a:pt x="1305" y="1574"/>
                  </a:lnTo>
                  <a:lnTo>
                    <a:pt x="1309" y="1552"/>
                  </a:lnTo>
                  <a:lnTo>
                    <a:pt x="1312" y="1535"/>
                  </a:lnTo>
                  <a:lnTo>
                    <a:pt x="1316" y="1522"/>
                  </a:lnTo>
                  <a:lnTo>
                    <a:pt x="1319" y="1516"/>
                  </a:lnTo>
                  <a:lnTo>
                    <a:pt x="1321" y="1508"/>
                  </a:lnTo>
                  <a:lnTo>
                    <a:pt x="1322" y="1501"/>
                  </a:lnTo>
                  <a:lnTo>
                    <a:pt x="1323" y="1493"/>
                  </a:lnTo>
                  <a:lnTo>
                    <a:pt x="1323" y="1478"/>
                  </a:lnTo>
                  <a:lnTo>
                    <a:pt x="1323" y="1464"/>
                  </a:lnTo>
                  <a:lnTo>
                    <a:pt x="1323" y="1451"/>
                  </a:lnTo>
                  <a:lnTo>
                    <a:pt x="1323" y="1436"/>
                  </a:lnTo>
                  <a:lnTo>
                    <a:pt x="1322" y="1426"/>
                  </a:lnTo>
                  <a:lnTo>
                    <a:pt x="1321" y="1419"/>
                  </a:lnTo>
                  <a:lnTo>
                    <a:pt x="1317" y="1411"/>
                  </a:lnTo>
                  <a:lnTo>
                    <a:pt x="1314" y="1405"/>
                  </a:lnTo>
                  <a:lnTo>
                    <a:pt x="1310" y="1398"/>
                  </a:lnTo>
                  <a:lnTo>
                    <a:pt x="1305" y="1392"/>
                  </a:lnTo>
                  <a:lnTo>
                    <a:pt x="1299" y="1386"/>
                  </a:lnTo>
                  <a:lnTo>
                    <a:pt x="1293" y="1381"/>
                  </a:lnTo>
                  <a:lnTo>
                    <a:pt x="1280" y="1371"/>
                  </a:lnTo>
                  <a:lnTo>
                    <a:pt x="1267" y="1359"/>
                  </a:lnTo>
                  <a:lnTo>
                    <a:pt x="1260" y="1354"/>
                  </a:lnTo>
                  <a:lnTo>
                    <a:pt x="1255" y="1347"/>
                  </a:lnTo>
                  <a:lnTo>
                    <a:pt x="1249" y="1340"/>
                  </a:lnTo>
                  <a:lnTo>
                    <a:pt x="1244" y="1332"/>
                  </a:lnTo>
                  <a:lnTo>
                    <a:pt x="1242" y="1327"/>
                  </a:lnTo>
                  <a:lnTo>
                    <a:pt x="1240" y="1321"/>
                  </a:lnTo>
                  <a:lnTo>
                    <a:pt x="1240" y="1316"/>
                  </a:lnTo>
                  <a:lnTo>
                    <a:pt x="1240" y="1311"/>
                  </a:lnTo>
                  <a:lnTo>
                    <a:pt x="1241" y="1300"/>
                  </a:lnTo>
                  <a:lnTo>
                    <a:pt x="1241" y="1287"/>
                  </a:lnTo>
                  <a:lnTo>
                    <a:pt x="1241" y="1277"/>
                  </a:lnTo>
                  <a:lnTo>
                    <a:pt x="1241" y="1270"/>
                  </a:lnTo>
                  <a:lnTo>
                    <a:pt x="1241" y="1261"/>
                  </a:lnTo>
                  <a:lnTo>
                    <a:pt x="1241" y="1252"/>
                  </a:lnTo>
                  <a:lnTo>
                    <a:pt x="1242" y="1236"/>
                  </a:lnTo>
                  <a:lnTo>
                    <a:pt x="1243" y="1223"/>
                  </a:lnTo>
                  <a:lnTo>
                    <a:pt x="1244" y="1210"/>
                  </a:lnTo>
                  <a:lnTo>
                    <a:pt x="1244" y="1194"/>
                  </a:lnTo>
                  <a:lnTo>
                    <a:pt x="1244" y="1188"/>
                  </a:lnTo>
                  <a:lnTo>
                    <a:pt x="1245" y="1181"/>
                  </a:lnTo>
                  <a:lnTo>
                    <a:pt x="1247" y="1176"/>
                  </a:lnTo>
                  <a:lnTo>
                    <a:pt x="1249" y="1170"/>
                  </a:lnTo>
                  <a:lnTo>
                    <a:pt x="1256" y="1161"/>
                  </a:lnTo>
                  <a:lnTo>
                    <a:pt x="1263" y="1152"/>
                  </a:lnTo>
                  <a:lnTo>
                    <a:pt x="1283" y="1137"/>
                  </a:lnTo>
                  <a:lnTo>
                    <a:pt x="1306" y="1123"/>
                  </a:lnTo>
                  <a:lnTo>
                    <a:pt x="1311" y="1117"/>
                  </a:lnTo>
                  <a:lnTo>
                    <a:pt x="1315" y="1113"/>
                  </a:lnTo>
                  <a:lnTo>
                    <a:pt x="1320" y="1108"/>
                  </a:lnTo>
                  <a:lnTo>
                    <a:pt x="1322" y="1101"/>
                  </a:lnTo>
                  <a:lnTo>
                    <a:pt x="1326" y="1088"/>
                  </a:lnTo>
                  <a:lnTo>
                    <a:pt x="1332" y="1074"/>
                  </a:lnTo>
                  <a:lnTo>
                    <a:pt x="1336" y="1064"/>
                  </a:lnTo>
                  <a:lnTo>
                    <a:pt x="1342" y="1057"/>
                  </a:lnTo>
                  <a:lnTo>
                    <a:pt x="1346" y="1053"/>
                  </a:lnTo>
                  <a:lnTo>
                    <a:pt x="1349" y="1048"/>
                  </a:lnTo>
                  <a:lnTo>
                    <a:pt x="1351" y="1044"/>
                  </a:lnTo>
                  <a:lnTo>
                    <a:pt x="1353" y="1039"/>
                  </a:lnTo>
                  <a:lnTo>
                    <a:pt x="1362" y="1015"/>
                  </a:lnTo>
                  <a:lnTo>
                    <a:pt x="1369" y="992"/>
                  </a:lnTo>
                  <a:lnTo>
                    <a:pt x="1377" y="972"/>
                  </a:lnTo>
                  <a:lnTo>
                    <a:pt x="1383" y="951"/>
                  </a:lnTo>
                  <a:lnTo>
                    <a:pt x="1390" y="931"/>
                  </a:lnTo>
                  <a:lnTo>
                    <a:pt x="1394" y="910"/>
                  </a:lnTo>
                  <a:lnTo>
                    <a:pt x="1397" y="887"/>
                  </a:lnTo>
                  <a:lnTo>
                    <a:pt x="1398" y="861"/>
                  </a:lnTo>
                  <a:lnTo>
                    <a:pt x="1397" y="846"/>
                  </a:lnTo>
                  <a:lnTo>
                    <a:pt x="1396" y="832"/>
                  </a:lnTo>
                  <a:lnTo>
                    <a:pt x="1394" y="818"/>
                  </a:lnTo>
                  <a:lnTo>
                    <a:pt x="1391" y="805"/>
                  </a:lnTo>
                  <a:lnTo>
                    <a:pt x="1386" y="793"/>
                  </a:lnTo>
                  <a:lnTo>
                    <a:pt x="1380" y="780"/>
                  </a:lnTo>
                  <a:lnTo>
                    <a:pt x="1373" y="769"/>
                  </a:lnTo>
                  <a:lnTo>
                    <a:pt x="1365" y="756"/>
                  </a:lnTo>
                  <a:lnTo>
                    <a:pt x="1359" y="749"/>
                  </a:lnTo>
                  <a:lnTo>
                    <a:pt x="1352" y="744"/>
                  </a:lnTo>
                  <a:lnTo>
                    <a:pt x="1350" y="740"/>
                  </a:lnTo>
                  <a:lnTo>
                    <a:pt x="1347" y="737"/>
                  </a:lnTo>
                  <a:lnTo>
                    <a:pt x="1346" y="734"/>
                  </a:lnTo>
                  <a:lnTo>
                    <a:pt x="1346" y="730"/>
                  </a:lnTo>
                  <a:lnTo>
                    <a:pt x="1346" y="717"/>
                  </a:lnTo>
                  <a:lnTo>
                    <a:pt x="1349" y="706"/>
                  </a:lnTo>
                  <a:lnTo>
                    <a:pt x="1352" y="695"/>
                  </a:lnTo>
                  <a:lnTo>
                    <a:pt x="1356" y="684"/>
                  </a:lnTo>
                  <a:lnTo>
                    <a:pt x="1361" y="675"/>
                  </a:lnTo>
                  <a:lnTo>
                    <a:pt x="1364" y="664"/>
                  </a:lnTo>
                  <a:lnTo>
                    <a:pt x="1366" y="652"/>
                  </a:lnTo>
                  <a:lnTo>
                    <a:pt x="1367" y="639"/>
                  </a:lnTo>
                  <a:lnTo>
                    <a:pt x="1367" y="629"/>
                  </a:lnTo>
                  <a:lnTo>
                    <a:pt x="1366" y="619"/>
                  </a:lnTo>
                  <a:lnTo>
                    <a:pt x="1365" y="611"/>
                  </a:lnTo>
                  <a:lnTo>
                    <a:pt x="1363" y="602"/>
                  </a:lnTo>
                  <a:lnTo>
                    <a:pt x="1360" y="595"/>
                  </a:lnTo>
                  <a:lnTo>
                    <a:pt x="1355" y="586"/>
                  </a:lnTo>
                  <a:lnTo>
                    <a:pt x="1351" y="578"/>
                  </a:lnTo>
                  <a:lnTo>
                    <a:pt x="1346" y="570"/>
                  </a:lnTo>
                  <a:lnTo>
                    <a:pt x="1340" y="565"/>
                  </a:lnTo>
                  <a:lnTo>
                    <a:pt x="1335" y="562"/>
                  </a:lnTo>
                  <a:lnTo>
                    <a:pt x="1333" y="561"/>
                  </a:lnTo>
                  <a:lnTo>
                    <a:pt x="1330" y="559"/>
                  </a:lnTo>
                  <a:lnTo>
                    <a:pt x="1328" y="557"/>
                  </a:lnTo>
                  <a:lnTo>
                    <a:pt x="1328" y="554"/>
                  </a:lnTo>
                  <a:lnTo>
                    <a:pt x="1328" y="547"/>
                  </a:lnTo>
                  <a:lnTo>
                    <a:pt x="1329" y="541"/>
                  </a:lnTo>
                  <a:lnTo>
                    <a:pt x="1332" y="535"/>
                  </a:lnTo>
                  <a:lnTo>
                    <a:pt x="1335" y="530"/>
                  </a:lnTo>
                  <a:lnTo>
                    <a:pt x="1341" y="521"/>
                  </a:lnTo>
                  <a:lnTo>
                    <a:pt x="1350" y="514"/>
                  </a:lnTo>
                  <a:lnTo>
                    <a:pt x="1371" y="500"/>
                  </a:lnTo>
                  <a:lnTo>
                    <a:pt x="1393" y="483"/>
                  </a:lnTo>
                  <a:lnTo>
                    <a:pt x="1403" y="474"/>
                  </a:lnTo>
                  <a:lnTo>
                    <a:pt x="1411" y="465"/>
                  </a:lnTo>
                  <a:lnTo>
                    <a:pt x="1419" y="456"/>
                  </a:lnTo>
                  <a:lnTo>
                    <a:pt x="1425" y="447"/>
                  </a:lnTo>
                  <a:lnTo>
                    <a:pt x="1432" y="437"/>
                  </a:lnTo>
                  <a:lnTo>
                    <a:pt x="1437" y="426"/>
                  </a:lnTo>
                  <a:lnTo>
                    <a:pt x="1442" y="415"/>
                  </a:lnTo>
                  <a:lnTo>
                    <a:pt x="1446" y="402"/>
                  </a:lnTo>
                  <a:lnTo>
                    <a:pt x="1452" y="376"/>
                  </a:lnTo>
                  <a:lnTo>
                    <a:pt x="1460" y="355"/>
                  </a:lnTo>
                  <a:lnTo>
                    <a:pt x="1467" y="332"/>
                  </a:lnTo>
                  <a:lnTo>
                    <a:pt x="1474" y="306"/>
                  </a:lnTo>
                  <a:lnTo>
                    <a:pt x="1477" y="295"/>
                  </a:lnTo>
                  <a:lnTo>
                    <a:pt x="1482" y="286"/>
                  </a:lnTo>
                  <a:lnTo>
                    <a:pt x="1486" y="276"/>
                  </a:lnTo>
                  <a:lnTo>
                    <a:pt x="1491" y="266"/>
                  </a:lnTo>
                  <a:lnTo>
                    <a:pt x="1498" y="259"/>
                  </a:lnTo>
                  <a:lnTo>
                    <a:pt x="1505" y="253"/>
                  </a:lnTo>
                  <a:lnTo>
                    <a:pt x="1510" y="251"/>
                  </a:lnTo>
                  <a:lnTo>
                    <a:pt x="1514" y="249"/>
                  </a:lnTo>
                  <a:lnTo>
                    <a:pt x="1519" y="248"/>
                  </a:lnTo>
                  <a:lnTo>
                    <a:pt x="1525" y="248"/>
                  </a:lnTo>
                  <a:lnTo>
                    <a:pt x="1530" y="249"/>
                  </a:lnTo>
                  <a:lnTo>
                    <a:pt x="1536" y="250"/>
                  </a:lnTo>
                  <a:lnTo>
                    <a:pt x="1541" y="252"/>
                  </a:lnTo>
                  <a:lnTo>
                    <a:pt x="1545" y="254"/>
                  </a:lnTo>
                  <a:lnTo>
                    <a:pt x="1550" y="258"/>
                  </a:lnTo>
                  <a:lnTo>
                    <a:pt x="1555" y="260"/>
                  </a:lnTo>
                  <a:lnTo>
                    <a:pt x="1560" y="261"/>
                  </a:lnTo>
                  <a:lnTo>
                    <a:pt x="1566" y="262"/>
                  </a:lnTo>
                  <a:lnTo>
                    <a:pt x="1573" y="262"/>
                  </a:lnTo>
                  <a:lnTo>
                    <a:pt x="1580" y="260"/>
                  </a:lnTo>
                  <a:lnTo>
                    <a:pt x="1586" y="258"/>
                  </a:lnTo>
                  <a:lnTo>
                    <a:pt x="1592" y="256"/>
                  </a:lnTo>
                  <a:lnTo>
                    <a:pt x="1597" y="251"/>
                  </a:lnTo>
                  <a:lnTo>
                    <a:pt x="1602" y="247"/>
                  </a:lnTo>
                  <a:lnTo>
                    <a:pt x="1607" y="243"/>
                  </a:lnTo>
                  <a:lnTo>
                    <a:pt x="1610" y="237"/>
                  </a:lnTo>
                  <a:lnTo>
                    <a:pt x="1626" y="214"/>
                  </a:lnTo>
                  <a:lnTo>
                    <a:pt x="1643" y="189"/>
                  </a:lnTo>
                  <a:lnTo>
                    <a:pt x="1651" y="179"/>
                  </a:lnTo>
                  <a:lnTo>
                    <a:pt x="1661" y="170"/>
                  </a:lnTo>
                  <a:lnTo>
                    <a:pt x="1672" y="165"/>
                  </a:lnTo>
                  <a:lnTo>
                    <a:pt x="1683" y="160"/>
                  </a:lnTo>
                  <a:lnTo>
                    <a:pt x="1694" y="156"/>
                  </a:lnTo>
                  <a:lnTo>
                    <a:pt x="1707" y="154"/>
                  </a:lnTo>
                  <a:lnTo>
                    <a:pt x="1720" y="152"/>
                  </a:lnTo>
                  <a:lnTo>
                    <a:pt x="1734" y="150"/>
                  </a:lnTo>
                  <a:lnTo>
                    <a:pt x="1754" y="148"/>
                  </a:lnTo>
                  <a:lnTo>
                    <a:pt x="1770" y="145"/>
                  </a:lnTo>
                  <a:lnTo>
                    <a:pt x="1779" y="143"/>
                  </a:lnTo>
                  <a:lnTo>
                    <a:pt x="1786" y="140"/>
                  </a:lnTo>
                  <a:lnTo>
                    <a:pt x="1794" y="136"/>
                  </a:lnTo>
                  <a:lnTo>
                    <a:pt x="1801" y="130"/>
                  </a:lnTo>
                  <a:lnTo>
                    <a:pt x="1809" y="124"/>
                  </a:lnTo>
                  <a:lnTo>
                    <a:pt x="1815" y="117"/>
                  </a:lnTo>
                  <a:lnTo>
                    <a:pt x="1821" y="110"/>
                  </a:lnTo>
                  <a:lnTo>
                    <a:pt x="1825" y="102"/>
                  </a:lnTo>
                  <a:lnTo>
                    <a:pt x="1833" y="87"/>
                  </a:lnTo>
                  <a:lnTo>
                    <a:pt x="1838" y="71"/>
                  </a:lnTo>
                  <a:lnTo>
                    <a:pt x="1842" y="54"/>
                  </a:lnTo>
                  <a:lnTo>
                    <a:pt x="1847" y="36"/>
                  </a:lnTo>
                  <a:lnTo>
                    <a:pt x="1853" y="18"/>
                  </a:lnTo>
                  <a:lnTo>
                    <a:pt x="1861" y="0"/>
                  </a:lnTo>
                  <a:lnTo>
                    <a:pt x="1861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23">
              <a:extLst>
                <a:ext uri="{FF2B5EF4-FFF2-40B4-BE49-F238E27FC236}">
                  <a16:creationId xmlns:a16="http://schemas.microsoft.com/office/drawing/2014/main" id="{BBF84517-F9DA-4C87-B195-9D30B517B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84750" y="2244726"/>
              <a:ext cx="1912938" cy="1754188"/>
            </a:xfrm>
            <a:custGeom>
              <a:avLst/>
              <a:gdLst>
                <a:gd name="T0" fmla="*/ 4815 w 4820"/>
                <a:gd name="T1" fmla="*/ 1320 h 4421"/>
                <a:gd name="T2" fmla="*/ 4759 w 4820"/>
                <a:gd name="T3" fmla="*/ 1610 h 4421"/>
                <a:gd name="T4" fmla="*/ 4777 w 4820"/>
                <a:gd name="T5" fmla="*/ 1838 h 4421"/>
                <a:gd name="T6" fmla="*/ 4723 w 4820"/>
                <a:gd name="T7" fmla="*/ 2035 h 4421"/>
                <a:gd name="T8" fmla="*/ 4623 w 4820"/>
                <a:gd name="T9" fmla="*/ 2260 h 4421"/>
                <a:gd name="T10" fmla="*/ 4508 w 4820"/>
                <a:gd name="T11" fmla="*/ 2527 h 4421"/>
                <a:gd name="T12" fmla="*/ 4424 w 4820"/>
                <a:gd name="T13" fmla="*/ 2757 h 4421"/>
                <a:gd name="T14" fmla="*/ 4385 w 4820"/>
                <a:gd name="T15" fmla="*/ 2926 h 4421"/>
                <a:gd name="T16" fmla="*/ 4335 w 4820"/>
                <a:gd name="T17" fmla="*/ 3110 h 4421"/>
                <a:gd name="T18" fmla="*/ 4271 w 4820"/>
                <a:gd name="T19" fmla="*/ 3240 h 4421"/>
                <a:gd name="T20" fmla="*/ 4192 w 4820"/>
                <a:gd name="T21" fmla="*/ 3337 h 4421"/>
                <a:gd name="T22" fmla="*/ 4097 w 4820"/>
                <a:gd name="T23" fmla="*/ 3344 h 4421"/>
                <a:gd name="T24" fmla="*/ 4008 w 4820"/>
                <a:gd name="T25" fmla="*/ 3512 h 4421"/>
                <a:gd name="T26" fmla="*/ 3954 w 4820"/>
                <a:gd name="T27" fmla="*/ 3660 h 4421"/>
                <a:gd name="T28" fmla="*/ 3756 w 4820"/>
                <a:gd name="T29" fmla="*/ 3681 h 4421"/>
                <a:gd name="T30" fmla="*/ 3647 w 4820"/>
                <a:gd name="T31" fmla="*/ 3756 h 4421"/>
                <a:gd name="T32" fmla="*/ 3618 w 4820"/>
                <a:gd name="T33" fmla="*/ 3887 h 4421"/>
                <a:gd name="T34" fmla="*/ 3412 w 4820"/>
                <a:gd name="T35" fmla="*/ 4104 h 4421"/>
                <a:gd name="T36" fmla="*/ 3352 w 4820"/>
                <a:gd name="T37" fmla="*/ 4240 h 4421"/>
                <a:gd name="T38" fmla="*/ 3345 w 4820"/>
                <a:gd name="T39" fmla="*/ 4361 h 4421"/>
                <a:gd name="T40" fmla="*/ 3265 w 4820"/>
                <a:gd name="T41" fmla="*/ 4285 h 4421"/>
                <a:gd name="T42" fmla="*/ 3114 w 4820"/>
                <a:gd name="T43" fmla="*/ 4247 h 4421"/>
                <a:gd name="T44" fmla="*/ 2914 w 4820"/>
                <a:gd name="T45" fmla="*/ 4235 h 4421"/>
                <a:gd name="T46" fmla="*/ 2683 w 4820"/>
                <a:gd name="T47" fmla="*/ 4211 h 4421"/>
                <a:gd name="T48" fmla="*/ 2547 w 4820"/>
                <a:gd name="T49" fmla="*/ 4302 h 4421"/>
                <a:gd name="T50" fmla="*/ 2412 w 4820"/>
                <a:gd name="T51" fmla="*/ 4321 h 4421"/>
                <a:gd name="T52" fmla="*/ 2273 w 4820"/>
                <a:gd name="T53" fmla="*/ 4223 h 4421"/>
                <a:gd name="T54" fmla="*/ 2077 w 4820"/>
                <a:gd name="T55" fmla="*/ 4269 h 4421"/>
                <a:gd name="T56" fmla="*/ 2015 w 4820"/>
                <a:gd name="T57" fmla="*/ 4343 h 4421"/>
                <a:gd name="T58" fmla="*/ 1865 w 4820"/>
                <a:gd name="T59" fmla="*/ 4390 h 4421"/>
                <a:gd name="T60" fmla="*/ 1705 w 4820"/>
                <a:gd name="T61" fmla="*/ 4393 h 4421"/>
                <a:gd name="T62" fmla="*/ 1585 w 4820"/>
                <a:gd name="T63" fmla="*/ 4259 h 4421"/>
                <a:gd name="T64" fmla="*/ 1521 w 4820"/>
                <a:gd name="T65" fmla="*/ 4197 h 4421"/>
                <a:gd name="T66" fmla="*/ 1342 w 4820"/>
                <a:gd name="T67" fmla="*/ 4073 h 4421"/>
                <a:gd name="T68" fmla="*/ 1311 w 4820"/>
                <a:gd name="T69" fmla="*/ 3903 h 4421"/>
                <a:gd name="T70" fmla="*/ 1392 w 4820"/>
                <a:gd name="T71" fmla="*/ 3708 h 4421"/>
                <a:gd name="T72" fmla="*/ 1295 w 4820"/>
                <a:gd name="T73" fmla="*/ 3685 h 4421"/>
                <a:gd name="T74" fmla="*/ 433 w 4820"/>
                <a:gd name="T75" fmla="*/ 3197 h 4421"/>
                <a:gd name="T76" fmla="*/ 577 w 4820"/>
                <a:gd name="T77" fmla="*/ 3070 h 4421"/>
                <a:gd name="T78" fmla="*/ 597 w 4820"/>
                <a:gd name="T79" fmla="*/ 2872 h 4421"/>
                <a:gd name="T80" fmla="*/ 521 w 4820"/>
                <a:gd name="T81" fmla="*/ 2668 h 4421"/>
                <a:gd name="T82" fmla="*/ 401 w 4820"/>
                <a:gd name="T83" fmla="*/ 2554 h 4421"/>
                <a:gd name="T84" fmla="*/ 549 w 4820"/>
                <a:gd name="T85" fmla="*/ 2319 h 4421"/>
                <a:gd name="T86" fmla="*/ 686 w 4820"/>
                <a:gd name="T87" fmla="*/ 2109 h 4421"/>
                <a:gd name="T88" fmla="*/ 767 w 4820"/>
                <a:gd name="T89" fmla="*/ 1905 h 4421"/>
                <a:gd name="T90" fmla="*/ 708 w 4820"/>
                <a:gd name="T91" fmla="*/ 1780 h 4421"/>
                <a:gd name="T92" fmla="*/ 764 w 4820"/>
                <a:gd name="T93" fmla="*/ 1646 h 4421"/>
                <a:gd name="T94" fmla="*/ 667 w 4820"/>
                <a:gd name="T95" fmla="*/ 1518 h 4421"/>
                <a:gd name="T96" fmla="*/ 441 w 4820"/>
                <a:gd name="T97" fmla="*/ 1462 h 4421"/>
                <a:gd name="T98" fmla="*/ 293 w 4820"/>
                <a:gd name="T99" fmla="*/ 1383 h 4421"/>
                <a:gd name="T100" fmla="*/ 148 w 4820"/>
                <a:gd name="T101" fmla="*/ 996 h 4421"/>
                <a:gd name="T102" fmla="*/ 95 w 4820"/>
                <a:gd name="T103" fmla="*/ 623 h 4421"/>
                <a:gd name="T104" fmla="*/ 1600 w 4820"/>
                <a:gd name="T105" fmla="*/ 433 h 4421"/>
                <a:gd name="T106" fmla="*/ 1675 w 4820"/>
                <a:gd name="T107" fmla="*/ 284 h 4421"/>
                <a:gd name="T108" fmla="*/ 1678 w 4820"/>
                <a:gd name="T109" fmla="*/ 137 h 4421"/>
                <a:gd name="T110" fmla="*/ 1840 w 4820"/>
                <a:gd name="T111" fmla="*/ 104 h 4421"/>
                <a:gd name="T112" fmla="*/ 1879 w 4820"/>
                <a:gd name="T113" fmla="*/ 285 h 4421"/>
                <a:gd name="T114" fmla="*/ 1900 w 4820"/>
                <a:gd name="T115" fmla="*/ 444 h 4421"/>
                <a:gd name="T116" fmla="*/ 2025 w 4820"/>
                <a:gd name="T117" fmla="*/ 622 h 4421"/>
                <a:gd name="T118" fmla="*/ 2180 w 4820"/>
                <a:gd name="T119" fmla="*/ 767 h 4421"/>
                <a:gd name="T120" fmla="*/ 2244 w 4820"/>
                <a:gd name="T121" fmla="*/ 843 h 4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20" h="4421">
                  <a:moveTo>
                    <a:pt x="4755" y="1140"/>
                  </a:moveTo>
                  <a:lnTo>
                    <a:pt x="4768" y="1158"/>
                  </a:lnTo>
                  <a:lnTo>
                    <a:pt x="4780" y="1174"/>
                  </a:lnTo>
                  <a:lnTo>
                    <a:pt x="4791" y="1190"/>
                  </a:lnTo>
                  <a:lnTo>
                    <a:pt x="4801" y="1206"/>
                  </a:lnTo>
                  <a:lnTo>
                    <a:pt x="4808" y="1224"/>
                  </a:lnTo>
                  <a:lnTo>
                    <a:pt x="4815" y="1242"/>
                  </a:lnTo>
                  <a:lnTo>
                    <a:pt x="4817" y="1251"/>
                  </a:lnTo>
                  <a:lnTo>
                    <a:pt x="4818" y="1260"/>
                  </a:lnTo>
                  <a:lnTo>
                    <a:pt x="4819" y="1271"/>
                  </a:lnTo>
                  <a:lnTo>
                    <a:pt x="4820" y="1282"/>
                  </a:lnTo>
                  <a:lnTo>
                    <a:pt x="4819" y="1296"/>
                  </a:lnTo>
                  <a:lnTo>
                    <a:pt x="4817" y="1308"/>
                  </a:lnTo>
                  <a:lnTo>
                    <a:pt x="4815" y="1320"/>
                  </a:lnTo>
                  <a:lnTo>
                    <a:pt x="4813" y="1331"/>
                  </a:lnTo>
                  <a:lnTo>
                    <a:pt x="4806" y="1353"/>
                  </a:lnTo>
                  <a:lnTo>
                    <a:pt x="4800" y="1378"/>
                  </a:lnTo>
                  <a:lnTo>
                    <a:pt x="4795" y="1419"/>
                  </a:lnTo>
                  <a:lnTo>
                    <a:pt x="4793" y="1455"/>
                  </a:lnTo>
                  <a:lnTo>
                    <a:pt x="4792" y="1472"/>
                  </a:lnTo>
                  <a:lnTo>
                    <a:pt x="4790" y="1490"/>
                  </a:lnTo>
                  <a:lnTo>
                    <a:pt x="4786" y="1510"/>
                  </a:lnTo>
                  <a:lnTo>
                    <a:pt x="4780" y="1530"/>
                  </a:lnTo>
                  <a:lnTo>
                    <a:pt x="4773" y="1554"/>
                  </a:lnTo>
                  <a:lnTo>
                    <a:pt x="4765" y="1576"/>
                  </a:lnTo>
                  <a:lnTo>
                    <a:pt x="4762" y="1586"/>
                  </a:lnTo>
                  <a:lnTo>
                    <a:pt x="4760" y="1598"/>
                  </a:lnTo>
                  <a:lnTo>
                    <a:pt x="4759" y="1610"/>
                  </a:lnTo>
                  <a:lnTo>
                    <a:pt x="4758" y="1623"/>
                  </a:lnTo>
                  <a:lnTo>
                    <a:pt x="4759" y="1642"/>
                  </a:lnTo>
                  <a:lnTo>
                    <a:pt x="4761" y="1658"/>
                  </a:lnTo>
                  <a:lnTo>
                    <a:pt x="4764" y="1673"/>
                  </a:lnTo>
                  <a:lnTo>
                    <a:pt x="4768" y="1687"/>
                  </a:lnTo>
                  <a:lnTo>
                    <a:pt x="4772" y="1702"/>
                  </a:lnTo>
                  <a:lnTo>
                    <a:pt x="4775" y="1717"/>
                  </a:lnTo>
                  <a:lnTo>
                    <a:pt x="4777" y="1732"/>
                  </a:lnTo>
                  <a:lnTo>
                    <a:pt x="4778" y="1751"/>
                  </a:lnTo>
                  <a:lnTo>
                    <a:pt x="4778" y="1770"/>
                  </a:lnTo>
                  <a:lnTo>
                    <a:pt x="4778" y="1787"/>
                  </a:lnTo>
                  <a:lnTo>
                    <a:pt x="4778" y="1805"/>
                  </a:lnTo>
                  <a:lnTo>
                    <a:pt x="4778" y="1825"/>
                  </a:lnTo>
                  <a:lnTo>
                    <a:pt x="4777" y="1838"/>
                  </a:lnTo>
                  <a:lnTo>
                    <a:pt x="4776" y="1850"/>
                  </a:lnTo>
                  <a:lnTo>
                    <a:pt x="4774" y="1861"/>
                  </a:lnTo>
                  <a:lnTo>
                    <a:pt x="4772" y="1872"/>
                  </a:lnTo>
                  <a:lnTo>
                    <a:pt x="4764" y="1893"/>
                  </a:lnTo>
                  <a:lnTo>
                    <a:pt x="4755" y="1917"/>
                  </a:lnTo>
                  <a:lnTo>
                    <a:pt x="4751" y="1929"/>
                  </a:lnTo>
                  <a:lnTo>
                    <a:pt x="4748" y="1941"/>
                  </a:lnTo>
                  <a:lnTo>
                    <a:pt x="4746" y="1952"/>
                  </a:lnTo>
                  <a:lnTo>
                    <a:pt x="4744" y="1962"/>
                  </a:lnTo>
                  <a:lnTo>
                    <a:pt x="4743" y="1974"/>
                  </a:lnTo>
                  <a:lnTo>
                    <a:pt x="4740" y="1985"/>
                  </a:lnTo>
                  <a:lnTo>
                    <a:pt x="4737" y="1997"/>
                  </a:lnTo>
                  <a:lnTo>
                    <a:pt x="4733" y="2009"/>
                  </a:lnTo>
                  <a:lnTo>
                    <a:pt x="4723" y="2035"/>
                  </a:lnTo>
                  <a:lnTo>
                    <a:pt x="4714" y="2057"/>
                  </a:lnTo>
                  <a:lnTo>
                    <a:pt x="4707" y="2079"/>
                  </a:lnTo>
                  <a:lnTo>
                    <a:pt x="4699" y="2099"/>
                  </a:lnTo>
                  <a:lnTo>
                    <a:pt x="4693" y="2120"/>
                  </a:lnTo>
                  <a:lnTo>
                    <a:pt x="4686" y="2142"/>
                  </a:lnTo>
                  <a:lnTo>
                    <a:pt x="4680" y="2165"/>
                  </a:lnTo>
                  <a:lnTo>
                    <a:pt x="4673" y="2192"/>
                  </a:lnTo>
                  <a:lnTo>
                    <a:pt x="4673" y="2192"/>
                  </a:lnTo>
                  <a:lnTo>
                    <a:pt x="4662" y="2204"/>
                  </a:lnTo>
                  <a:lnTo>
                    <a:pt x="4652" y="2215"/>
                  </a:lnTo>
                  <a:lnTo>
                    <a:pt x="4643" y="2226"/>
                  </a:lnTo>
                  <a:lnTo>
                    <a:pt x="4636" y="2238"/>
                  </a:lnTo>
                  <a:lnTo>
                    <a:pt x="4629" y="2249"/>
                  </a:lnTo>
                  <a:lnTo>
                    <a:pt x="4623" y="2260"/>
                  </a:lnTo>
                  <a:lnTo>
                    <a:pt x="4617" y="2272"/>
                  </a:lnTo>
                  <a:lnTo>
                    <a:pt x="4612" y="2283"/>
                  </a:lnTo>
                  <a:lnTo>
                    <a:pt x="4603" y="2308"/>
                  </a:lnTo>
                  <a:lnTo>
                    <a:pt x="4595" y="2334"/>
                  </a:lnTo>
                  <a:lnTo>
                    <a:pt x="4587" y="2361"/>
                  </a:lnTo>
                  <a:lnTo>
                    <a:pt x="4578" y="2390"/>
                  </a:lnTo>
                  <a:lnTo>
                    <a:pt x="4572" y="2411"/>
                  </a:lnTo>
                  <a:lnTo>
                    <a:pt x="4564" y="2428"/>
                  </a:lnTo>
                  <a:lnTo>
                    <a:pt x="4555" y="2444"/>
                  </a:lnTo>
                  <a:lnTo>
                    <a:pt x="4546" y="2459"/>
                  </a:lnTo>
                  <a:lnTo>
                    <a:pt x="4536" y="2474"/>
                  </a:lnTo>
                  <a:lnTo>
                    <a:pt x="4527" y="2490"/>
                  </a:lnTo>
                  <a:lnTo>
                    <a:pt x="4517" y="2508"/>
                  </a:lnTo>
                  <a:lnTo>
                    <a:pt x="4508" y="2527"/>
                  </a:lnTo>
                  <a:lnTo>
                    <a:pt x="4500" y="2555"/>
                  </a:lnTo>
                  <a:lnTo>
                    <a:pt x="4494" y="2580"/>
                  </a:lnTo>
                  <a:lnTo>
                    <a:pt x="4491" y="2593"/>
                  </a:lnTo>
                  <a:lnTo>
                    <a:pt x="4487" y="2605"/>
                  </a:lnTo>
                  <a:lnTo>
                    <a:pt x="4481" y="2618"/>
                  </a:lnTo>
                  <a:lnTo>
                    <a:pt x="4475" y="2631"/>
                  </a:lnTo>
                  <a:lnTo>
                    <a:pt x="4468" y="2645"/>
                  </a:lnTo>
                  <a:lnTo>
                    <a:pt x="4463" y="2658"/>
                  </a:lnTo>
                  <a:lnTo>
                    <a:pt x="4457" y="2670"/>
                  </a:lnTo>
                  <a:lnTo>
                    <a:pt x="4453" y="2682"/>
                  </a:lnTo>
                  <a:lnTo>
                    <a:pt x="4446" y="2706"/>
                  </a:lnTo>
                  <a:lnTo>
                    <a:pt x="4436" y="2735"/>
                  </a:lnTo>
                  <a:lnTo>
                    <a:pt x="4430" y="2746"/>
                  </a:lnTo>
                  <a:lnTo>
                    <a:pt x="4424" y="2757"/>
                  </a:lnTo>
                  <a:lnTo>
                    <a:pt x="4417" y="2767"/>
                  </a:lnTo>
                  <a:lnTo>
                    <a:pt x="4411" y="2777"/>
                  </a:lnTo>
                  <a:lnTo>
                    <a:pt x="4404" y="2785"/>
                  </a:lnTo>
                  <a:lnTo>
                    <a:pt x="4398" y="2795"/>
                  </a:lnTo>
                  <a:lnTo>
                    <a:pt x="4394" y="2806"/>
                  </a:lnTo>
                  <a:lnTo>
                    <a:pt x="4390" y="2819"/>
                  </a:lnTo>
                  <a:lnTo>
                    <a:pt x="4389" y="2834"/>
                  </a:lnTo>
                  <a:lnTo>
                    <a:pt x="4388" y="2847"/>
                  </a:lnTo>
                  <a:lnTo>
                    <a:pt x="4388" y="2860"/>
                  </a:lnTo>
                  <a:lnTo>
                    <a:pt x="4389" y="2872"/>
                  </a:lnTo>
                  <a:lnTo>
                    <a:pt x="4389" y="2885"/>
                  </a:lnTo>
                  <a:lnTo>
                    <a:pt x="4388" y="2898"/>
                  </a:lnTo>
                  <a:lnTo>
                    <a:pt x="4387" y="2911"/>
                  </a:lnTo>
                  <a:lnTo>
                    <a:pt x="4385" y="2926"/>
                  </a:lnTo>
                  <a:lnTo>
                    <a:pt x="4383" y="2936"/>
                  </a:lnTo>
                  <a:lnTo>
                    <a:pt x="4380" y="2946"/>
                  </a:lnTo>
                  <a:lnTo>
                    <a:pt x="4376" y="2956"/>
                  </a:lnTo>
                  <a:lnTo>
                    <a:pt x="4372" y="2966"/>
                  </a:lnTo>
                  <a:lnTo>
                    <a:pt x="4365" y="2983"/>
                  </a:lnTo>
                  <a:lnTo>
                    <a:pt x="4356" y="2999"/>
                  </a:lnTo>
                  <a:lnTo>
                    <a:pt x="4347" y="3015"/>
                  </a:lnTo>
                  <a:lnTo>
                    <a:pt x="4341" y="3033"/>
                  </a:lnTo>
                  <a:lnTo>
                    <a:pt x="4339" y="3042"/>
                  </a:lnTo>
                  <a:lnTo>
                    <a:pt x="4336" y="3052"/>
                  </a:lnTo>
                  <a:lnTo>
                    <a:pt x="4335" y="3062"/>
                  </a:lnTo>
                  <a:lnTo>
                    <a:pt x="4335" y="3074"/>
                  </a:lnTo>
                  <a:lnTo>
                    <a:pt x="4335" y="3093"/>
                  </a:lnTo>
                  <a:lnTo>
                    <a:pt x="4335" y="3110"/>
                  </a:lnTo>
                  <a:lnTo>
                    <a:pt x="4335" y="3128"/>
                  </a:lnTo>
                  <a:lnTo>
                    <a:pt x="4335" y="3147"/>
                  </a:lnTo>
                  <a:lnTo>
                    <a:pt x="4334" y="3157"/>
                  </a:lnTo>
                  <a:lnTo>
                    <a:pt x="4332" y="3165"/>
                  </a:lnTo>
                  <a:lnTo>
                    <a:pt x="4330" y="3173"/>
                  </a:lnTo>
                  <a:lnTo>
                    <a:pt x="4327" y="3179"/>
                  </a:lnTo>
                  <a:lnTo>
                    <a:pt x="4322" y="3186"/>
                  </a:lnTo>
                  <a:lnTo>
                    <a:pt x="4317" y="3191"/>
                  </a:lnTo>
                  <a:lnTo>
                    <a:pt x="4312" y="3198"/>
                  </a:lnTo>
                  <a:lnTo>
                    <a:pt x="4306" y="3203"/>
                  </a:lnTo>
                  <a:lnTo>
                    <a:pt x="4293" y="3214"/>
                  </a:lnTo>
                  <a:lnTo>
                    <a:pt x="4281" y="3226"/>
                  </a:lnTo>
                  <a:lnTo>
                    <a:pt x="4276" y="3232"/>
                  </a:lnTo>
                  <a:lnTo>
                    <a:pt x="4271" y="3240"/>
                  </a:lnTo>
                  <a:lnTo>
                    <a:pt x="4266" y="3248"/>
                  </a:lnTo>
                  <a:lnTo>
                    <a:pt x="4262" y="3256"/>
                  </a:lnTo>
                  <a:lnTo>
                    <a:pt x="4257" y="3270"/>
                  </a:lnTo>
                  <a:lnTo>
                    <a:pt x="4250" y="3285"/>
                  </a:lnTo>
                  <a:lnTo>
                    <a:pt x="4245" y="3298"/>
                  </a:lnTo>
                  <a:lnTo>
                    <a:pt x="4237" y="3311"/>
                  </a:lnTo>
                  <a:lnTo>
                    <a:pt x="4233" y="3317"/>
                  </a:lnTo>
                  <a:lnTo>
                    <a:pt x="4228" y="3322"/>
                  </a:lnTo>
                  <a:lnTo>
                    <a:pt x="4224" y="3326"/>
                  </a:lnTo>
                  <a:lnTo>
                    <a:pt x="4219" y="3330"/>
                  </a:lnTo>
                  <a:lnTo>
                    <a:pt x="4212" y="3333"/>
                  </a:lnTo>
                  <a:lnTo>
                    <a:pt x="4207" y="3335"/>
                  </a:lnTo>
                  <a:lnTo>
                    <a:pt x="4199" y="3337"/>
                  </a:lnTo>
                  <a:lnTo>
                    <a:pt x="4192" y="3337"/>
                  </a:lnTo>
                  <a:lnTo>
                    <a:pt x="4183" y="3337"/>
                  </a:lnTo>
                  <a:lnTo>
                    <a:pt x="4175" y="3336"/>
                  </a:lnTo>
                  <a:lnTo>
                    <a:pt x="4168" y="3334"/>
                  </a:lnTo>
                  <a:lnTo>
                    <a:pt x="4161" y="3332"/>
                  </a:lnTo>
                  <a:lnTo>
                    <a:pt x="4154" y="3330"/>
                  </a:lnTo>
                  <a:lnTo>
                    <a:pt x="4146" y="3327"/>
                  </a:lnTo>
                  <a:lnTo>
                    <a:pt x="4139" y="3326"/>
                  </a:lnTo>
                  <a:lnTo>
                    <a:pt x="4130" y="3326"/>
                  </a:lnTo>
                  <a:lnTo>
                    <a:pt x="4125" y="3326"/>
                  </a:lnTo>
                  <a:lnTo>
                    <a:pt x="4120" y="3327"/>
                  </a:lnTo>
                  <a:lnTo>
                    <a:pt x="4115" y="3329"/>
                  </a:lnTo>
                  <a:lnTo>
                    <a:pt x="4111" y="3331"/>
                  </a:lnTo>
                  <a:lnTo>
                    <a:pt x="4103" y="3336"/>
                  </a:lnTo>
                  <a:lnTo>
                    <a:pt x="4097" y="3344"/>
                  </a:lnTo>
                  <a:lnTo>
                    <a:pt x="4085" y="3360"/>
                  </a:lnTo>
                  <a:lnTo>
                    <a:pt x="4072" y="3377"/>
                  </a:lnTo>
                  <a:lnTo>
                    <a:pt x="4046" y="3403"/>
                  </a:lnTo>
                  <a:lnTo>
                    <a:pt x="4024" y="3429"/>
                  </a:lnTo>
                  <a:lnTo>
                    <a:pt x="4020" y="3435"/>
                  </a:lnTo>
                  <a:lnTo>
                    <a:pt x="4017" y="3442"/>
                  </a:lnTo>
                  <a:lnTo>
                    <a:pt x="4012" y="3449"/>
                  </a:lnTo>
                  <a:lnTo>
                    <a:pt x="4010" y="3457"/>
                  </a:lnTo>
                  <a:lnTo>
                    <a:pt x="4007" y="3465"/>
                  </a:lnTo>
                  <a:lnTo>
                    <a:pt x="4006" y="3473"/>
                  </a:lnTo>
                  <a:lnTo>
                    <a:pt x="4005" y="3482"/>
                  </a:lnTo>
                  <a:lnTo>
                    <a:pt x="4004" y="3492"/>
                  </a:lnTo>
                  <a:lnTo>
                    <a:pt x="4006" y="3502"/>
                  </a:lnTo>
                  <a:lnTo>
                    <a:pt x="4008" y="3512"/>
                  </a:lnTo>
                  <a:lnTo>
                    <a:pt x="4011" y="3521"/>
                  </a:lnTo>
                  <a:lnTo>
                    <a:pt x="4012" y="3533"/>
                  </a:lnTo>
                  <a:lnTo>
                    <a:pt x="4012" y="3552"/>
                  </a:lnTo>
                  <a:lnTo>
                    <a:pt x="4009" y="3570"/>
                  </a:lnTo>
                  <a:lnTo>
                    <a:pt x="4006" y="3589"/>
                  </a:lnTo>
                  <a:lnTo>
                    <a:pt x="3999" y="3605"/>
                  </a:lnTo>
                  <a:lnTo>
                    <a:pt x="3996" y="3613"/>
                  </a:lnTo>
                  <a:lnTo>
                    <a:pt x="3992" y="3620"/>
                  </a:lnTo>
                  <a:lnTo>
                    <a:pt x="3988" y="3628"/>
                  </a:lnTo>
                  <a:lnTo>
                    <a:pt x="3982" y="3634"/>
                  </a:lnTo>
                  <a:lnTo>
                    <a:pt x="3976" y="3641"/>
                  </a:lnTo>
                  <a:lnTo>
                    <a:pt x="3969" y="3647"/>
                  </a:lnTo>
                  <a:lnTo>
                    <a:pt x="3962" y="3654"/>
                  </a:lnTo>
                  <a:lnTo>
                    <a:pt x="3954" y="3660"/>
                  </a:lnTo>
                  <a:lnTo>
                    <a:pt x="3948" y="3663"/>
                  </a:lnTo>
                  <a:lnTo>
                    <a:pt x="3941" y="3667"/>
                  </a:lnTo>
                  <a:lnTo>
                    <a:pt x="3934" y="3670"/>
                  </a:lnTo>
                  <a:lnTo>
                    <a:pt x="3927" y="3671"/>
                  </a:lnTo>
                  <a:lnTo>
                    <a:pt x="3914" y="3673"/>
                  </a:lnTo>
                  <a:lnTo>
                    <a:pt x="3901" y="3673"/>
                  </a:lnTo>
                  <a:lnTo>
                    <a:pt x="3872" y="3670"/>
                  </a:lnTo>
                  <a:lnTo>
                    <a:pt x="3842" y="3668"/>
                  </a:lnTo>
                  <a:lnTo>
                    <a:pt x="3822" y="3668"/>
                  </a:lnTo>
                  <a:lnTo>
                    <a:pt x="3805" y="3669"/>
                  </a:lnTo>
                  <a:lnTo>
                    <a:pt x="3788" y="3670"/>
                  </a:lnTo>
                  <a:lnTo>
                    <a:pt x="3768" y="3674"/>
                  </a:lnTo>
                  <a:lnTo>
                    <a:pt x="3762" y="3676"/>
                  </a:lnTo>
                  <a:lnTo>
                    <a:pt x="3756" y="3681"/>
                  </a:lnTo>
                  <a:lnTo>
                    <a:pt x="3752" y="3686"/>
                  </a:lnTo>
                  <a:lnTo>
                    <a:pt x="3748" y="3692"/>
                  </a:lnTo>
                  <a:lnTo>
                    <a:pt x="3745" y="3698"/>
                  </a:lnTo>
                  <a:lnTo>
                    <a:pt x="3740" y="3704"/>
                  </a:lnTo>
                  <a:lnTo>
                    <a:pt x="3735" y="3711"/>
                  </a:lnTo>
                  <a:lnTo>
                    <a:pt x="3729" y="3716"/>
                  </a:lnTo>
                  <a:lnTo>
                    <a:pt x="3719" y="3724"/>
                  </a:lnTo>
                  <a:lnTo>
                    <a:pt x="3708" y="3732"/>
                  </a:lnTo>
                  <a:lnTo>
                    <a:pt x="3702" y="3736"/>
                  </a:lnTo>
                  <a:lnTo>
                    <a:pt x="3697" y="3739"/>
                  </a:lnTo>
                  <a:lnTo>
                    <a:pt x="3692" y="3741"/>
                  </a:lnTo>
                  <a:lnTo>
                    <a:pt x="3685" y="3743"/>
                  </a:lnTo>
                  <a:lnTo>
                    <a:pt x="3666" y="3750"/>
                  </a:lnTo>
                  <a:lnTo>
                    <a:pt x="3647" y="3756"/>
                  </a:lnTo>
                  <a:lnTo>
                    <a:pt x="3640" y="3761"/>
                  </a:lnTo>
                  <a:lnTo>
                    <a:pt x="3633" y="3766"/>
                  </a:lnTo>
                  <a:lnTo>
                    <a:pt x="3631" y="3769"/>
                  </a:lnTo>
                  <a:lnTo>
                    <a:pt x="3630" y="3773"/>
                  </a:lnTo>
                  <a:lnTo>
                    <a:pt x="3629" y="3778"/>
                  </a:lnTo>
                  <a:lnTo>
                    <a:pt x="3629" y="3782"/>
                  </a:lnTo>
                  <a:lnTo>
                    <a:pt x="3629" y="3797"/>
                  </a:lnTo>
                  <a:lnTo>
                    <a:pt x="3629" y="3811"/>
                  </a:lnTo>
                  <a:lnTo>
                    <a:pt x="3629" y="3824"/>
                  </a:lnTo>
                  <a:lnTo>
                    <a:pt x="3629" y="3839"/>
                  </a:lnTo>
                  <a:lnTo>
                    <a:pt x="3628" y="3853"/>
                  </a:lnTo>
                  <a:lnTo>
                    <a:pt x="3626" y="3865"/>
                  </a:lnTo>
                  <a:lnTo>
                    <a:pt x="3622" y="3876"/>
                  </a:lnTo>
                  <a:lnTo>
                    <a:pt x="3618" y="3887"/>
                  </a:lnTo>
                  <a:lnTo>
                    <a:pt x="3607" y="3907"/>
                  </a:lnTo>
                  <a:lnTo>
                    <a:pt x="3598" y="3931"/>
                  </a:lnTo>
                  <a:lnTo>
                    <a:pt x="3590" y="3954"/>
                  </a:lnTo>
                  <a:lnTo>
                    <a:pt x="3581" y="3974"/>
                  </a:lnTo>
                  <a:lnTo>
                    <a:pt x="3576" y="3983"/>
                  </a:lnTo>
                  <a:lnTo>
                    <a:pt x="3570" y="3992"/>
                  </a:lnTo>
                  <a:lnTo>
                    <a:pt x="3562" y="4000"/>
                  </a:lnTo>
                  <a:lnTo>
                    <a:pt x="3553" y="4007"/>
                  </a:lnTo>
                  <a:lnTo>
                    <a:pt x="3508" y="4035"/>
                  </a:lnTo>
                  <a:lnTo>
                    <a:pt x="3467" y="4059"/>
                  </a:lnTo>
                  <a:lnTo>
                    <a:pt x="3448" y="4072"/>
                  </a:lnTo>
                  <a:lnTo>
                    <a:pt x="3429" y="4086"/>
                  </a:lnTo>
                  <a:lnTo>
                    <a:pt x="3421" y="4094"/>
                  </a:lnTo>
                  <a:lnTo>
                    <a:pt x="3412" y="4104"/>
                  </a:lnTo>
                  <a:lnTo>
                    <a:pt x="3404" y="4114"/>
                  </a:lnTo>
                  <a:lnTo>
                    <a:pt x="3396" y="4124"/>
                  </a:lnTo>
                  <a:lnTo>
                    <a:pt x="3378" y="4147"/>
                  </a:lnTo>
                  <a:lnTo>
                    <a:pt x="3362" y="4167"/>
                  </a:lnTo>
                  <a:lnTo>
                    <a:pt x="3356" y="4177"/>
                  </a:lnTo>
                  <a:lnTo>
                    <a:pt x="3350" y="4188"/>
                  </a:lnTo>
                  <a:lnTo>
                    <a:pt x="3348" y="4195"/>
                  </a:lnTo>
                  <a:lnTo>
                    <a:pt x="3347" y="4200"/>
                  </a:lnTo>
                  <a:lnTo>
                    <a:pt x="3346" y="4208"/>
                  </a:lnTo>
                  <a:lnTo>
                    <a:pt x="3346" y="4214"/>
                  </a:lnTo>
                  <a:lnTo>
                    <a:pt x="3346" y="4222"/>
                  </a:lnTo>
                  <a:lnTo>
                    <a:pt x="3347" y="4228"/>
                  </a:lnTo>
                  <a:lnTo>
                    <a:pt x="3350" y="4234"/>
                  </a:lnTo>
                  <a:lnTo>
                    <a:pt x="3352" y="4240"/>
                  </a:lnTo>
                  <a:lnTo>
                    <a:pt x="3360" y="4251"/>
                  </a:lnTo>
                  <a:lnTo>
                    <a:pt x="3368" y="4263"/>
                  </a:lnTo>
                  <a:lnTo>
                    <a:pt x="3378" y="4293"/>
                  </a:lnTo>
                  <a:lnTo>
                    <a:pt x="3387" y="4322"/>
                  </a:lnTo>
                  <a:lnTo>
                    <a:pt x="3391" y="4336"/>
                  </a:lnTo>
                  <a:lnTo>
                    <a:pt x="3396" y="4351"/>
                  </a:lnTo>
                  <a:lnTo>
                    <a:pt x="3399" y="4366"/>
                  </a:lnTo>
                  <a:lnTo>
                    <a:pt x="3401" y="4383"/>
                  </a:lnTo>
                  <a:lnTo>
                    <a:pt x="3401" y="4383"/>
                  </a:lnTo>
                  <a:lnTo>
                    <a:pt x="3390" y="4382"/>
                  </a:lnTo>
                  <a:lnTo>
                    <a:pt x="3381" y="4379"/>
                  </a:lnTo>
                  <a:lnTo>
                    <a:pt x="3371" y="4376"/>
                  </a:lnTo>
                  <a:lnTo>
                    <a:pt x="3362" y="4372"/>
                  </a:lnTo>
                  <a:lnTo>
                    <a:pt x="3345" y="4361"/>
                  </a:lnTo>
                  <a:lnTo>
                    <a:pt x="3325" y="4349"/>
                  </a:lnTo>
                  <a:lnTo>
                    <a:pt x="3314" y="4344"/>
                  </a:lnTo>
                  <a:lnTo>
                    <a:pt x="3301" y="4342"/>
                  </a:lnTo>
                  <a:lnTo>
                    <a:pt x="3295" y="4339"/>
                  </a:lnTo>
                  <a:lnTo>
                    <a:pt x="3289" y="4337"/>
                  </a:lnTo>
                  <a:lnTo>
                    <a:pt x="3283" y="4334"/>
                  </a:lnTo>
                  <a:lnTo>
                    <a:pt x="3278" y="4330"/>
                  </a:lnTo>
                  <a:lnTo>
                    <a:pt x="3275" y="4325"/>
                  </a:lnTo>
                  <a:lnTo>
                    <a:pt x="3271" y="4321"/>
                  </a:lnTo>
                  <a:lnTo>
                    <a:pt x="3269" y="4317"/>
                  </a:lnTo>
                  <a:lnTo>
                    <a:pt x="3268" y="4312"/>
                  </a:lnTo>
                  <a:lnTo>
                    <a:pt x="3266" y="4304"/>
                  </a:lnTo>
                  <a:lnTo>
                    <a:pt x="3266" y="4295"/>
                  </a:lnTo>
                  <a:lnTo>
                    <a:pt x="3265" y="4285"/>
                  </a:lnTo>
                  <a:lnTo>
                    <a:pt x="3264" y="4276"/>
                  </a:lnTo>
                  <a:lnTo>
                    <a:pt x="3263" y="4266"/>
                  </a:lnTo>
                  <a:lnTo>
                    <a:pt x="3259" y="4256"/>
                  </a:lnTo>
                  <a:lnTo>
                    <a:pt x="3256" y="4253"/>
                  </a:lnTo>
                  <a:lnTo>
                    <a:pt x="3253" y="4250"/>
                  </a:lnTo>
                  <a:lnTo>
                    <a:pt x="3251" y="4247"/>
                  </a:lnTo>
                  <a:lnTo>
                    <a:pt x="3248" y="4244"/>
                  </a:lnTo>
                  <a:lnTo>
                    <a:pt x="3240" y="4241"/>
                  </a:lnTo>
                  <a:lnTo>
                    <a:pt x="3232" y="4240"/>
                  </a:lnTo>
                  <a:lnTo>
                    <a:pt x="3213" y="4239"/>
                  </a:lnTo>
                  <a:lnTo>
                    <a:pt x="3194" y="4240"/>
                  </a:lnTo>
                  <a:lnTo>
                    <a:pt x="3165" y="4241"/>
                  </a:lnTo>
                  <a:lnTo>
                    <a:pt x="3139" y="4243"/>
                  </a:lnTo>
                  <a:lnTo>
                    <a:pt x="3114" y="4247"/>
                  </a:lnTo>
                  <a:lnTo>
                    <a:pt x="3089" y="4251"/>
                  </a:lnTo>
                  <a:lnTo>
                    <a:pt x="3065" y="4255"/>
                  </a:lnTo>
                  <a:lnTo>
                    <a:pt x="3040" y="4258"/>
                  </a:lnTo>
                  <a:lnTo>
                    <a:pt x="3013" y="4262"/>
                  </a:lnTo>
                  <a:lnTo>
                    <a:pt x="2984" y="4263"/>
                  </a:lnTo>
                  <a:lnTo>
                    <a:pt x="2969" y="4262"/>
                  </a:lnTo>
                  <a:lnTo>
                    <a:pt x="2955" y="4258"/>
                  </a:lnTo>
                  <a:lnTo>
                    <a:pt x="2947" y="4256"/>
                  </a:lnTo>
                  <a:lnTo>
                    <a:pt x="2941" y="4254"/>
                  </a:lnTo>
                  <a:lnTo>
                    <a:pt x="2936" y="4251"/>
                  </a:lnTo>
                  <a:lnTo>
                    <a:pt x="2929" y="4248"/>
                  </a:lnTo>
                  <a:lnTo>
                    <a:pt x="2924" y="4243"/>
                  </a:lnTo>
                  <a:lnTo>
                    <a:pt x="2918" y="4239"/>
                  </a:lnTo>
                  <a:lnTo>
                    <a:pt x="2914" y="4235"/>
                  </a:lnTo>
                  <a:lnTo>
                    <a:pt x="2910" y="4229"/>
                  </a:lnTo>
                  <a:lnTo>
                    <a:pt x="2905" y="4223"/>
                  </a:lnTo>
                  <a:lnTo>
                    <a:pt x="2902" y="4216"/>
                  </a:lnTo>
                  <a:lnTo>
                    <a:pt x="2900" y="4210"/>
                  </a:lnTo>
                  <a:lnTo>
                    <a:pt x="2897" y="4202"/>
                  </a:lnTo>
                  <a:lnTo>
                    <a:pt x="2860" y="4202"/>
                  </a:lnTo>
                  <a:lnTo>
                    <a:pt x="2828" y="4203"/>
                  </a:lnTo>
                  <a:lnTo>
                    <a:pt x="2795" y="4203"/>
                  </a:lnTo>
                  <a:lnTo>
                    <a:pt x="2757" y="4203"/>
                  </a:lnTo>
                  <a:lnTo>
                    <a:pt x="2744" y="4204"/>
                  </a:lnTo>
                  <a:lnTo>
                    <a:pt x="2733" y="4208"/>
                  </a:lnTo>
                  <a:lnTo>
                    <a:pt x="2720" y="4210"/>
                  </a:lnTo>
                  <a:lnTo>
                    <a:pt x="2707" y="4212"/>
                  </a:lnTo>
                  <a:lnTo>
                    <a:pt x="2683" y="4211"/>
                  </a:lnTo>
                  <a:lnTo>
                    <a:pt x="2662" y="4209"/>
                  </a:lnTo>
                  <a:lnTo>
                    <a:pt x="2653" y="4208"/>
                  </a:lnTo>
                  <a:lnTo>
                    <a:pt x="2642" y="4208"/>
                  </a:lnTo>
                  <a:lnTo>
                    <a:pt x="2631" y="4209"/>
                  </a:lnTo>
                  <a:lnTo>
                    <a:pt x="2619" y="4212"/>
                  </a:lnTo>
                  <a:lnTo>
                    <a:pt x="2609" y="4216"/>
                  </a:lnTo>
                  <a:lnTo>
                    <a:pt x="2600" y="4222"/>
                  </a:lnTo>
                  <a:lnTo>
                    <a:pt x="2592" y="4229"/>
                  </a:lnTo>
                  <a:lnTo>
                    <a:pt x="2586" y="4237"/>
                  </a:lnTo>
                  <a:lnTo>
                    <a:pt x="2574" y="4255"/>
                  </a:lnTo>
                  <a:lnTo>
                    <a:pt x="2563" y="4275"/>
                  </a:lnTo>
                  <a:lnTo>
                    <a:pt x="2558" y="4284"/>
                  </a:lnTo>
                  <a:lnTo>
                    <a:pt x="2552" y="4293"/>
                  </a:lnTo>
                  <a:lnTo>
                    <a:pt x="2547" y="4302"/>
                  </a:lnTo>
                  <a:lnTo>
                    <a:pt x="2540" y="4309"/>
                  </a:lnTo>
                  <a:lnTo>
                    <a:pt x="2533" y="4315"/>
                  </a:lnTo>
                  <a:lnTo>
                    <a:pt x="2524" y="4320"/>
                  </a:lnTo>
                  <a:lnTo>
                    <a:pt x="2520" y="4321"/>
                  </a:lnTo>
                  <a:lnTo>
                    <a:pt x="2515" y="4323"/>
                  </a:lnTo>
                  <a:lnTo>
                    <a:pt x="2510" y="4323"/>
                  </a:lnTo>
                  <a:lnTo>
                    <a:pt x="2504" y="4324"/>
                  </a:lnTo>
                  <a:lnTo>
                    <a:pt x="2487" y="4324"/>
                  </a:lnTo>
                  <a:lnTo>
                    <a:pt x="2474" y="4324"/>
                  </a:lnTo>
                  <a:lnTo>
                    <a:pt x="2460" y="4324"/>
                  </a:lnTo>
                  <a:lnTo>
                    <a:pt x="2444" y="4324"/>
                  </a:lnTo>
                  <a:lnTo>
                    <a:pt x="2432" y="4323"/>
                  </a:lnTo>
                  <a:lnTo>
                    <a:pt x="2423" y="4323"/>
                  </a:lnTo>
                  <a:lnTo>
                    <a:pt x="2412" y="4321"/>
                  </a:lnTo>
                  <a:lnTo>
                    <a:pt x="2402" y="4319"/>
                  </a:lnTo>
                  <a:lnTo>
                    <a:pt x="2385" y="4313"/>
                  </a:lnTo>
                  <a:lnTo>
                    <a:pt x="2367" y="4306"/>
                  </a:lnTo>
                  <a:lnTo>
                    <a:pt x="2350" y="4297"/>
                  </a:lnTo>
                  <a:lnTo>
                    <a:pt x="2334" y="4286"/>
                  </a:lnTo>
                  <a:lnTo>
                    <a:pt x="2318" y="4275"/>
                  </a:lnTo>
                  <a:lnTo>
                    <a:pt x="2300" y="4263"/>
                  </a:lnTo>
                  <a:lnTo>
                    <a:pt x="2293" y="4257"/>
                  </a:lnTo>
                  <a:lnTo>
                    <a:pt x="2288" y="4252"/>
                  </a:lnTo>
                  <a:lnTo>
                    <a:pt x="2282" y="4247"/>
                  </a:lnTo>
                  <a:lnTo>
                    <a:pt x="2278" y="4240"/>
                  </a:lnTo>
                  <a:lnTo>
                    <a:pt x="2276" y="4232"/>
                  </a:lnTo>
                  <a:lnTo>
                    <a:pt x="2273" y="4225"/>
                  </a:lnTo>
                  <a:lnTo>
                    <a:pt x="2273" y="4223"/>
                  </a:lnTo>
                  <a:lnTo>
                    <a:pt x="2271" y="4220"/>
                  </a:lnTo>
                  <a:lnTo>
                    <a:pt x="2269" y="4218"/>
                  </a:lnTo>
                  <a:lnTo>
                    <a:pt x="2266" y="4217"/>
                  </a:lnTo>
                  <a:lnTo>
                    <a:pt x="2248" y="4218"/>
                  </a:lnTo>
                  <a:lnTo>
                    <a:pt x="2230" y="4220"/>
                  </a:lnTo>
                  <a:lnTo>
                    <a:pt x="2214" y="4223"/>
                  </a:lnTo>
                  <a:lnTo>
                    <a:pt x="2199" y="4227"/>
                  </a:lnTo>
                  <a:lnTo>
                    <a:pt x="2169" y="4239"/>
                  </a:lnTo>
                  <a:lnTo>
                    <a:pt x="2134" y="4254"/>
                  </a:lnTo>
                  <a:lnTo>
                    <a:pt x="2122" y="4258"/>
                  </a:lnTo>
                  <a:lnTo>
                    <a:pt x="2110" y="4262"/>
                  </a:lnTo>
                  <a:lnTo>
                    <a:pt x="2099" y="4264"/>
                  </a:lnTo>
                  <a:lnTo>
                    <a:pt x="2088" y="4266"/>
                  </a:lnTo>
                  <a:lnTo>
                    <a:pt x="2077" y="4269"/>
                  </a:lnTo>
                  <a:lnTo>
                    <a:pt x="2067" y="4274"/>
                  </a:lnTo>
                  <a:lnTo>
                    <a:pt x="2062" y="4276"/>
                  </a:lnTo>
                  <a:lnTo>
                    <a:pt x="2057" y="4279"/>
                  </a:lnTo>
                  <a:lnTo>
                    <a:pt x="2052" y="4283"/>
                  </a:lnTo>
                  <a:lnTo>
                    <a:pt x="2048" y="4288"/>
                  </a:lnTo>
                  <a:lnTo>
                    <a:pt x="2043" y="4294"/>
                  </a:lnTo>
                  <a:lnTo>
                    <a:pt x="2040" y="4301"/>
                  </a:lnTo>
                  <a:lnTo>
                    <a:pt x="2038" y="4307"/>
                  </a:lnTo>
                  <a:lnTo>
                    <a:pt x="2037" y="4315"/>
                  </a:lnTo>
                  <a:lnTo>
                    <a:pt x="2035" y="4321"/>
                  </a:lnTo>
                  <a:lnTo>
                    <a:pt x="2032" y="4328"/>
                  </a:lnTo>
                  <a:lnTo>
                    <a:pt x="2028" y="4333"/>
                  </a:lnTo>
                  <a:lnTo>
                    <a:pt x="2023" y="4338"/>
                  </a:lnTo>
                  <a:lnTo>
                    <a:pt x="2015" y="4343"/>
                  </a:lnTo>
                  <a:lnTo>
                    <a:pt x="2008" y="4347"/>
                  </a:lnTo>
                  <a:lnTo>
                    <a:pt x="2000" y="4350"/>
                  </a:lnTo>
                  <a:lnTo>
                    <a:pt x="1993" y="4352"/>
                  </a:lnTo>
                  <a:lnTo>
                    <a:pt x="1978" y="4356"/>
                  </a:lnTo>
                  <a:lnTo>
                    <a:pt x="1964" y="4359"/>
                  </a:lnTo>
                  <a:lnTo>
                    <a:pt x="1948" y="4360"/>
                  </a:lnTo>
                  <a:lnTo>
                    <a:pt x="1933" y="4362"/>
                  </a:lnTo>
                  <a:lnTo>
                    <a:pt x="1917" y="4364"/>
                  </a:lnTo>
                  <a:lnTo>
                    <a:pt x="1900" y="4369"/>
                  </a:lnTo>
                  <a:lnTo>
                    <a:pt x="1892" y="4371"/>
                  </a:lnTo>
                  <a:lnTo>
                    <a:pt x="1886" y="4374"/>
                  </a:lnTo>
                  <a:lnTo>
                    <a:pt x="1880" y="4377"/>
                  </a:lnTo>
                  <a:lnTo>
                    <a:pt x="1875" y="4382"/>
                  </a:lnTo>
                  <a:lnTo>
                    <a:pt x="1865" y="4390"/>
                  </a:lnTo>
                  <a:lnTo>
                    <a:pt x="1855" y="4399"/>
                  </a:lnTo>
                  <a:lnTo>
                    <a:pt x="1847" y="4407"/>
                  </a:lnTo>
                  <a:lnTo>
                    <a:pt x="1836" y="4415"/>
                  </a:lnTo>
                  <a:lnTo>
                    <a:pt x="1831" y="4418"/>
                  </a:lnTo>
                  <a:lnTo>
                    <a:pt x="1824" y="4420"/>
                  </a:lnTo>
                  <a:lnTo>
                    <a:pt x="1818" y="4421"/>
                  </a:lnTo>
                  <a:lnTo>
                    <a:pt x="1811" y="4421"/>
                  </a:lnTo>
                  <a:lnTo>
                    <a:pt x="1794" y="4421"/>
                  </a:lnTo>
                  <a:lnTo>
                    <a:pt x="1778" y="4420"/>
                  </a:lnTo>
                  <a:lnTo>
                    <a:pt x="1762" y="4418"/>
                  </a:lnTo>
                  <a:lnTo>
                    <a:pt x="1747" y="4414"/>
                  </a:lnTo>
                  <a:lnTo>
                    <a:pt x="1733" y="4409"/>
                  </a:lnTo>
                  <a:lnTo>
                    <a:pt x="1719" y="4402"/>
                  </a:lnTo>
                  <a:lnTo>
                    <a:pt x="1705" y="4393"/>
                  </a:lnTo>
                  <a:lnTo>
                    <a:pt x="1692" y="4383"/>
                  </a:lnTo>
                  <a:lnTo>
                    <a:pt x="1681" y="4373"/>
                  </a:lnTo>
                  <a:lnTo>
                    <a:pt x="1671" y="4363"/>
                  </a:lnTo>
                  <a:lnTo>
                    <a:pt x="1662" y="4353"/>
                  </a:lnTo>
                  <a:lnTo>
                    <a:pt x="1655" y="4343"/>
                  </a:lnTo>
                  <a:lnTo>
                    <a:pt x="1642" y="4321"/>
                  </a:lnTo>
                  <a:lnTo>
                    <a:pt x="1628" y="4296"/>
                  </a:lnTo>
                  <a:lnTo>
                    <a:pt x="1621" y="4283"/>
                  </a:lnTo>
                  <a:lnTo>
                    <a:pt x="1614" y="4271"/>
                  </a:lnTo>
                  <a:lnTo>
                    <a:pt x="1609" y="4266"/>
                  </a:lnTo>
                  <a:lnTo>
                    <a:pt x="1604" y="4263"/>
                  </a:lnTo>
                  <a:lnTo>
                    <a:pt x="1597" y="4261"/>
                  </a:lnTo>
                  <a:lnTo>
                    <a:pt x="1591" y="4259"/>
                  </a:lnTo>
                  <a:lnTo>
                    <a:pt x="1585" y="4259"/>
                  </a:lnTo>
                  <a:lnTo>
                    <a:pt x="1580" y="4261"/>
                  </a:lnTo>
                  <a:lnTo>
                    <a:pt x="1576" y="4263"/>
                  </a:lnTo>
                  <a:lnTo>
                    <a:pt x="1571" y="4265"/>
                  </a:lnTo>
                  <a:lnTo>
                    <a:pt x="1562" y="4268"/>
                  </a:lnTo>
                  <a:lnTo>
                    <a:pt x="1551" y="4270"/>
                  </a:lnTo>
                  <a:lnTo>
                    <a:pt x="1551" y="4270"/>
                  </a:lnTo>
                  <a:lnTo>
                    <a:pt x="1547" y="4255"/>
                  </a:lnTo>
                  <a:lnTo>
                    <a:pt x="1543" y="4241"/>
                  </a:lnTo>
                  <a:lnTo>
                    <a:pt x="1538" y="4225"/>
                  </a:lnTo>
                  <a:lnTo>
                    <a:pt x="1533" y="4209"/>
                  </a:lnTo>
                  <a:lnTo>
                    <a:pt x="1530" y="4204"/>
                  </a:lnTo>
                  <a:lnTo>
                    <a:pt x="1527" y="4201"/>
                  </a:lnTo>
                  <a:lnTo>
                    <a:pt x="1524" y="4199"/>
                  </a:lnTo>
                  <a:lnTo>
                    <a:pt x="1521" y="4197"/>
                  </a:lnTo>
                  <a:lnTo>
                    <a:pt x="1513" y="4194"/>
                  </a:lnTo>
                  <a:lnTo>
                    <a:pt x="1504" y="4189"/>
                  </a:lnTo>
                  <a:lnTo>
                    <a:pt x="1474" y="4174"/>
                  </a:lnTo>
                  <a:lnTo>
                    <a:pt x="1448" y="4160"/>
                  </a:lnTo>
                  <a:lnTo>
                    <a:pt x="1422" y="4145"/>
                  </a:lnTo>
                  <a:lnTo>
                    <a:pt x="1392" y="4131"/>
                  </a:lnTo>
                  <a:lnTo>
                    <a:pt x="1386" y="4128"/>
                  </a:lnTo>
                  <a:lnTo>
                    <a:pt x="1379" y="4124"/>
                  </a:lnTo>
                  <a:lnTo>
                    <a:pt x="1374" y="4120"/>
                  </a:lnTo>
                  <a:lnTo>
                    <a:pt x="1369" y="4116"/>
                  </a:lnTo>
                  <a:lnTo>
                    <a:pt x="1361" y="4107"/>
                  </a:lnTo>
                  <a:lnTo>
                    <a:pt x="1353" y="4096"/>
                  </a:lnTo>
                  <a:lnTo>
                    <a:pt x="1348" y="4086"/>
                  </a:lnTo>
                  <a:lnTo>
                    <a:pt x="1342" y="4073"/>
                  </a:lnTo>
                  <a:lnTo>
                    <a:pt x="1338" y="4060"/>
                  </a:lnTo>
                  <a:lnTo>
                    <a:pt x="1333" y="4047"/>
                  </a:lnTo>
                  <a:lnTo>
                    <a:pt x="1326" y="4032"/>
                  </a:lnTo>
                  <a:lnTo>
                    <a:pt x="1318" y="4020"/>
                  </a:lnTo>
                  <a:lnTo>
                    <a:pt x="1313" y="4013"/>
                  </a:lnTo>
                  <a:lnTo>
                    <a:pt x="1311" y="4007"/>
                  </a:lnTo>
                  <a:lnTo>
                    <a:pt x="1309" y="3999"/>
                  </a:lnTo>
                  <a:lnTo>
                    <a:pt x="1308" y="3991"/>
                  </a:lnTo>
                  <a:lnTo>
                    <a:pt x="1308" y="3977"/>
                  </a:lnTo>
                  <a:lnTo>
                    <a:pt x="1308" y="3964"/>
                  </a:lnTo>
                  <a:lnTo>
                    <a:pt x="1308" y="3951"/>
                  </a:lnTo>
                  <a:lnTo>
                    <a:pt x="1308" y="3937"/>
                  </a:lnTo>
                  <a:lnTo>
                    <a:pt x="1309" y="3919"/>
                  </a:lnTo>
                  <a:lnTo>
                    <a:pt x="1311" y="3903"/>
                  </a:lnTo>
                  <a:lnTo>
                    <a:pt x="1315" y="3888"/>
                  </a:lnTo>
                  <a:lnTo>
                    <a:pt x="1321" y="3874"/>
                  </a:lnTo>
                  <a:lnTo>
                    <a:pt x="1327" y="3860"/>
                  </a:lnTo>
                  <a:lnTo>
                    <a:pt x="1335" y="3847"/>
                  </a:lnTo>
                  <a:lnTo>
                    <a:pt x="1342" y="3834"/>
                  </a:lnTo>
                  <a:lnTo>
                    <a:pt x="1350" y="3822"/>
                  </a:lnTo>
                  <a:lnTo>
                    <a:pt x="1358" y="3809"/>
                  </a:lnTo>
                  <a:lnTo>
                    <a:pt x="1365" y="3796"/>
                  </a:lnTo>
                  <a:lnTo>
                    <a:pt x="1373" y="3783"/>
                  </a:lnTo>
                  <a:lnTo>
                    <a:pt x="1379" y="3770"/>
                  </a:lnTo>
                  <a:lnTo>
                    <a:pt x="1385" y="3756"/>
                  </a:lnTo>
                  <a:lnTo>
                    <a:pt x="1388" y="3741"/>
                  </a:lnTo>
                  <a:lnTo>
                    <a:pt x="1391" y="3725"/>
                  </a:lnTo>
                  <a:lnTo>
                    <a:pt x="1392" y="3708"/>
                  </a:lnTo>
                  <a:lnTo>
                    <a:pt x="1391" y="3700"/>
                  </a:lnTo>
                  <a:lnTo>
                    <a:pt x="1390" y="3692"/>
                  </a:lnTo>
                  <a:lnTo>
                    <a:pt x="1388" y="3685"/>
                  </a:lnTo>
                  <a:lnTo>
                    <a:pt x="1386" y="3678"/>
                  </a:lnTo>
                  <a:lnTo>
                    <a:pt x="1381" y="3673"/>
                  </a:lnTo>
                  <a:lnTo>
                    <a:pt x="1377" y="3669"/>
                  </a:lnTo>
                  <a:lnTo>
                    <a:pt x="1371" y="3667"/>
                  </a:lnTo>
                  <a:lnTo>
                    <a:pt x="1364" y="3665"/>
                  </a:lnTo>
                  <a:lnTo>
                    <a:pt x="1353" y="3665"/>
                  </a:lnTo>
                  <a:lnTo>
                    <a:pt x="1345" y="3667"/>
                  </a:lnTo>
                  <a:lnTo>
                    <a:pt x="1335" y="3669"/>
                  </a:lnTo>
                  <a:lnTo>
                    <a:pt x="1326" y="3671"/>
                  </a:lnTo>
                  <a:lnTo>
                    <a:pt x="1310" y="3677"/>
                  </a:lnTo>
                  <a:lnTo>
                    <a:pt x="1295" y="3685"/>
                  </a:lnTo>
                  <a:lnTo>
                    <a:pt x="1279" y="3692"/>
                  </a:lnTo>
                  <a:lnTo>
                    <a:pt x="1263" y="3698"/>
                  </a:lnTo>
                  <a:lnTo>
                    <a:pt x="1254" y="3701"/>
                  </a:lnTo>
                  <a:lnTo>
                    <a:pt x="1245" y="3703"/>
                  </a:lnTo>
                  <a:lnTo>
                    <a:pt x="1236" y="3704"/>
                  </a:lnTo>
                  <a:lnTo>
                    <a:pt x="1225" y="3704"/>
                  </a:lnTo>
                  <a:lnTo>
                    <a:pt x="1215" y="3704"/>
                  </a:lnTo>
                  <a:lnTo>
                    <a:pt x="1207" y="3702"/>
                  </a:lnTo>
                  <a:lnTo>
                    <a:pt x="1199" y="3700"/>
                  </a:lnTo>
                  <a:lnTo>
                    <a:pt x="1191" y="3697"/>
                  </a:lnTo>
                  <a:lnTo>
                    <a:pt x="1176" y="3690"/>
                  </a:lnTo>
                  <a:lnTo>
                    <a:pt x="1159" y="3682"/>
                  </a:lnTo>
                  <a:lnTo>
                    <a:pt x="644" y="3674"/>
                  </a:lnTo>
                  <a:lnTo>
                    <a:pt x="433" y="3197"/>
                  </a:lnTo>
                  <a:lnTo>
                    <a:pt x="446" y="3195"/>
                  </a:lnTo>
                  <a:lnTo>
                    <a:pt x="458" y="3191"/>
                  </a:lnTo>
                  <a:lnTo>
                    <a:pt x="470" y="3189"/>
                  </a:lnTo>
                  <a:lnTo>
                    <a:pt x="482" y="3189"/>
                  </a:lnTo>
                  <a:lnTo>
                    <a:pt x="506" y="3189"/>
                  </a:lnTo>
                  <a:lnTo>
                    <a:pt x="528" y="3189"/>
                  </a:lnTo>
                  <a:lnTo>
                    <a:pt x="550" y="3189"/>
                  </a:lnTo>
                  <a:lnTo>
                    <a:pt x="575" y="3189"/>
                  </a:lnTo>
                  <a:lnTo>
                    <a:pt x="575" y="3164"/>
                  </a:lnTo>
                  <a:lnTo>
                    <a:pt x="575" y="3144"/>
                  </a:lnTo>
                  <a:lnTo>
                    <a:pt x="575" y="3122"/>
                  </a:lnTo>
                  <a:lnTo>
                    <a:pt x="575" y="3098"/>
                  </a:lnTo>
                  <a:lnTo>
                    <a:pt x="576" y="3084"/>
                  </a:lnTo>
                  <a:lnTo>
                    <a:pt x="577" y="3070"/>
                  </a:lnTo>
                  <a:lnTo>
                    <a:pt x="578" y="3059"/>
                  </a:lnTo>
                  <a:lnTo>
                    <a:pt x="580" y="3046"/>
                  </a:lnTo>
                  <a:lnTo>
                    <a:pt x="584" y="3023"/>
                  </a:lnTo>
                  <a:lnTo>
                    <a:pt x="590" y="3000"/>
                  </a:lnTo>
                  <a:lnTo>
                    <a:pt x="595" y="2978"/>
                  </a:lnTo>
                  <a:lnTo>
                    <a:pt x="599" y="2954"/>
                  </a:lnTo>
                  <a:lnTo>
                    <a:pt x="602" y="2942"/>
                  </a:lnTo>
                  <a:lnTo>
                    <a:pt x="603" y="2929"/>
                  </a:lnTo>
                  <a:lnTo>
                    <a:pt x="604" y="2916"/>
                  </a:lnTo>
                  <a:lnTo>
                    <a:pt x="605" y="2902"/>
                  </a:lnTo>
                  <a:lnTo>
                    <a:pt x="604" y="2893"/>
                  </a:lnTo>
                  <a:lnTo>
                    <a:pt x="603" y="2886"/>
                  </a:lnTo>
                  <a:lnTo>
                    <a:pt x="600" y="2878"/>
                  </a:lnTo>
                  <a:lnTo>
                    <a:pt x="597" y="2872"/>
                  </a:lnTo>
                  <a:lnTo>
                    <a:pt x="591" y="2859"/>
                  </a:lnTo>
                  <a:lnTo>
                    <a:pt x="582" y="2847"/>
                  </a:lnTo>
                  <a:lnTo>
                    <a:pt x="572" y="2835"/>
                  </a:lnTo>
                  <a:lnTo>
                    <a:pt x="563" y="2823"/>
                  </a:lnTo>
                  <a:lnTo>
                    <a:pt x="558" y="2817"/>
                  </a:lnTo>
                  <a:lnTo>
                    <a:pt x="555" y="2809"/>
                  </a:lnTo>
                  <a:lnTo>
                    <a:pt x="551" y="2801"/>
                  </a:lnTo>
                  <a:lnTo>
                    <a:pt x="549" y="2794"/>
                  </a:lnTo>
                  <a:lnTo>
                    <a:pt x="543" y="2777"/>
                  </a:lnTo>
                  <a:lnTo>
                    <a:pt x="540" y="2760"/>
                  </a:lnTo>
                  <a:lnTo>
                    <a:pt x="537" y="2745"/>
                  </a:lnTo>
                  <a:lnTo>
                    <a:pt x="535" y="2731"/>
                  </a:lnTo>
                  <a:lnTo>
                    <a:pt x="528" y="2701"/>
                  </a:lnTo>
                  <a:lnTo>
                    <a:pt x="521" y="2668"/>
                  </a:lnTo>
                  <a:lnTo>
                    <a:pt x="517" y="2659"/>
                  </a:lnTo>
                  <a:lnTo>
                    <a:pt x="514" y="2650"/>
                  </a:lnTo>
                  <a:lnTo>
                    <a:pt x="511" y="2643"/>
                  </a:lnTo>
                  <a:lnTo>
                    <a:pt x="506" y="2635"/>
                  </a:lnTo>
                  <a:lnTo>
                    <a:pt x="502" y="2629"/>
                  </a:lnTo>
                  <a:lnTo>
                    <a:pt x="497" y="2622"/>
                  </a:lnTo>
                  <a:lnTo>
                    <a:pt x="491" y="2616"/>
                  </a:lnTo>
                  <a:lnTo>
                    <a:pt x="486" y="2610"/>
                  </a:lnTo>
                  <a:lnTo>
                    <a:pt x="473" y="2601"/>
                  </a:lnTo>
                  <a:lnTo>
                    <a:pt x="459" y="2591"/>
                  </a:lnTo>
                  <a:lnTo>
                    <a:pt x="444" y="2581"/>
                  </a:lnTo>
                  <a:lnTo>
                    <a:pt x="428" y="2573"/>
                  </a:lnTo>
                  <a:lnTo>
                    <a:pt x="414" y="2564"/>
                  </a:lnTo>
                  <a:lnTo>
                    <a:pt x="401" y="2554"/>
                  </a:lnTo>
                  <a:lnTo>
                    <a:pt x="389" y="2544"/>
                  </a:lnTo>
                  <a:lnTo>
                    <a:pt x="377" y="2536"/>
                  </a:lnTo>
                  <a:lnTo>
                    <a:pt x="377" y="2536"/>
                  </a:lnTo>
                  <a:lnTo>
                    <a:pt x="383" y="2521"/>
                  </a:lnTo>
                  <a:lnTo>
                    <a:pt x="390" y="2508"/>
                  </a:lnTo>
                  <a:lnTo>
                    <a:pt x="397" y="2496"/>
                  </a:lnTo>
                  <a:lnTo>
                    <a:pt x="406" y="2485"/>
                  </a:lnTo>
                  <a:lnTo>
                    <a:pt x="424" y="2465"/>
                  </a:lnTo>
                  <a:lnTo>
                    <a:pt x="445" y="2441"/>
                  </a:lnTo>
                  <a:lnTo>
                    <a:pt x="468" y="2413"/>
                  </a:lnTo>
                  <a:lnTo>
                    <a:pt x="488" y="2387"/>
                  </a:lnTo>
                  <a:lnTo>
                    <a:pt x="509" y="2363"/>
                  </a:lnTo>
                  <a:lnTo>
                    <a:pt x="528" y="2341"/>
                  </a:lnTo>
                  <a:lnTo>
                    <a:pt x="549" y="2319"/>
                  </a:lnTo>
                  <a:lnTo>
                    <a:pt x="570" y="2297"/>
                  </a:lnTo>
                  <a:lnTo>
                    <a:pt x="593" y="2273"/>
                  </a:lnTo>
                  <a:lnTo>
                    <a:pt x="619" y="2247"/>
                  </a:lnTo>
                  <a:lnTo>
                    <a:pt x="627" y="2238"/>
                  </a:lnTo>
                  <a:lnTo>
                    <a:pt x="635" y="2229"/>
                  </a:lnTo>
                  <a:lnTo>
                    <a:pt x="643" y="2219"/>
                  </a:lnTo>
                  <a:lnTo>
                    <a:pt x="648" y="2211"/>
                  </a:lnTo>
                  <a:lnTo>
                    <a:pt x="654" y="2201"/>
                  </a:lnTo>
                  <a:lnTo>
                    <a:pt x="659" y="2192"/>
                  </a:lnTo>
                  <a:lnTo>
                    <a:pt x="664" y="2183"/>
                  </a:lnTo>
                  <a:lnTo>
                    <a:pt x="668" y="2173"/>
                  </a:lnTo>
                  <a:lnTo>
                    <a:pt x="675" y="2152"/>
                  </a:lnTo>
                  <a:lnTo>
                    <a:pt x="680" y="2132"/>
                  </a:lnTo>
                  <a:lnTo>
                    <a:pt x="686" y="2109"/>
                  </a:lnTo>
                  <a:lnTo>
                    <a:pt x="691" y="2084"/>
                  </a:lnTo>
                  <a:lnTo>
                    <a:pt x="694" y="2068"/>
                  </a:lnTo>
                  <a:lnTo>
                    <a:pt x="699" y="2053"/>
                  </a:lnTo>
                  <a:lnTo>
                    <a:pt x="704" y="2039"/>
                  </a:lnTo>
                  <a:lnTo>
                    <a:pt x="708" y="2026"/>
                  </a:lnTo>
                  <a:lnTo>
                    <a:pt x="721" y="1999"/>
                  </a:lnTo>
                  <a:lnTo>
                    <a:pt x="737" y="1970"/>
                  </a:lnTo>
                  <a:lnTo>
                    <a:pt x="745" y="1956"/>
                  </a:lnTo>
                  <a:lnTo>
                    <a:pt x="756" y="1943"/>
                  </a:lnTo>
                  <a:lnTo>
                    <a:pt x="760" y="1936"/>
                  </a:lnTo>
                  <a:lnTo>
                    <a:pt x="764" y="1930"/>
                  </a:lnTo>
                  <a:lnTo>
                    <a:pt x="766" y="1922"/>
                  </a:lnTo>
                  <a:lnTo>
                    <a:pt x="767" y="1914"/>
                  </a:lnTo>
                  <a:lnTo>
                    <a:pt x="767" y="1905"/>
                  </a:lnTo>
                  <a:lnTo>
                    <a:pt x="766" y="1898"/>
                  </a:lnTo>
                  <a:lnTo>
                    <a:pt x="764" y="1890"/>
                  </a:lnTo>
                  <a:lnTo>
                    <a:pt x="761" y="1882"/>
                  </a:lnTo>
                  <a:lnTo>
                    <a:pt x="759" y="1876"/>
                  </a:lnTo>
                  <a:lnTo>
                    <a:pt x="757" y="1868"/>
                  </a:lnTo>
                  <a:lnTo>
                    <a:pt x="756" y="1861"/>
                  </a:lnTo>
                  <a:lnTo>
                    <a:pt x="756" y="1852"/>
                  </a:lnTo>
                  <a:lnTo>
                    <a:pt x="748" y="1839"/>
                  </a:lnTo>
                  <a:lnTo>
                    <a:pt x="740" y="1827"/>
                  </a:lnTo>
                  <a:lnTo>
                    <a:pt x="732" y="1818"/>
                  </a:lnTo>
                  <a:lnTo>
                    <a:pt x="724" y="1807"/>
                  </a:lnTo>
                  <a:lnTo>
                    <a:pt x="716" y="1796"/>
                  </a:lnTo>
                  <a:lnTo>
                    <a:pt x="711" y="1785"/>
                  </a:lnTo>
                  <a:lnTo>
                    <a:pt x="708" y="1780"/>
                  </a:lnTo>
                  <a:lnTo>
                    <a:pt x="706" y="1773"/>
                  </a:lnTo>
                  <a:lnTo>
                    <a:pt x="705" y="1767"/>
                  </a:lnTo>
                  <a:lnTo>
                    <a:pt x="705" y="1759"/>
                  </a:lnTo>
                  <a:lnTo>
                    <a:pt x="706" y="1750"/>
                  </a:lnTo>
                  <a:lnTo>
                    <a:pt x="707" y="1741"/>
                  </a:lnTo>
                  <a:lnTo>
                    <a:pt x="711" y="1733"/>
                  </a:lnTo>
                  <a:lnTo>
                    <a:pt x="715" y="1726"/>
                  </a:lnTo>
                  <a:lnTo>
                    <a:pt x="724" y="1712"/>
                  </a:lnTo>
                  <a:lnTo>
                    <a:pt x="734" y="1698"/>
                  </a:lnTo>
                  <a:lnTo>
                    <a:pt x="745" y="1685"/>
                  </a:lnTo>
                  <a:lnTo>
                    <a:pt x="755" y="1671"/>
                  </a:lnTo>
                  <a:lnTo>
                    <a:pt x="759" y="1663"/>
                  </a:lnTo>
                  <a:lnTo>
                    <a:pt x="761" y="1655"/>
                  </a:lnTo>
                  <a:lnTo>
                    <a:pt x="764" y="1646"/>
                  </a:lnTo>
                  <a:lnTo>
                    <a:pt x="765" y="1636"/>
                  </a:lnTo>
                  <a:lnTo>
                    <a:pt x="764" y="1624"/>
                  </a:lnTo>
                  <a:lnTo>
                    <a:pt x="761" y="1612"/>
                  </a:lnTo>
                  <a:lnTo>
                    <a:pt x="758" y="1602"/>
                  </a:lnTo>
                  <a:lnTo>
                    <a:pt x="754" y="1591"/>
                  </a:lnTo>
                  <a:lnTo>
                    <a:pt x="748" y="1581"/>
                  </a:lnTo>
                  <a:lnTo>
                    <a:pt x="743" y="1572"/>
                  </a:lnTo>
                  <a:lnTo>
                    <a:pt x="735" y="1564"/>
                  </a:lnTo>
                  <a:lnTo>
                    <a:pt x="728" y="1556"/>
                  </a:lnTo>
                  <a:lnTo>
                    <a:pt x="719" y="1549"/>
                  </a:lnTo>
                  <a:lnTo>
                    <a:pt x="710" y="1542"/>
                  </a:lnTo>
                  <a:lnTo>
                    <a:pt x="700" y="1536"/>
                  </a:lnTo>
                  <a:lnTo>
                    <a:pt x="689" y="1529"/>
                  </a:lnTo>
                  <a:lnTo>
                    <a:pt x="667" y="1518"/>
                  </a:lnTo>
                  <a:lnTo>
                    <a:pt x="644" y="1508"/>
                  </a:lnTo>
                  <a:lnTo>
                    <a:pt x="612" y="1493"/>
                  </a:lnTo>
                  <a:lnTo>
                    <a:pt x="584" y="1477"/>
                  </a:lnTo>
                  <a:lnTo>
                    <a:pt x="570" y="1472"/>
                  </a:lnTo>
                  <a:lnTo>
                    <a:pt x="556" y="1467"/>
                  </a:lnTo>
                  <a:lnTo>
                    <a:pt x="549" y="1466"/>
                  </a:lnTo>
                  <a:lnTo>
                    <a:pt x="540" y="1463"/>
                  </a:lnTo>
                  <a:lnTo>
                    <a:pt x="531" y="1463"/>
                  </a:lnTo>
                  <a:lnTo>
                    <a:pt x="523" y="1462"/>
                  </a:lnTo>
                  <a:lnTo>
                    <a:pt x="508" y="1462"/>
                  </a:lnTo>
                  <a:lnTo>
                    <a:pt x="494" y="1462"/>
                  </a:lnTo>
                  <a:lnTo>
                    <a:pt x="481" y="1462"/>
                  </a:lnTo>
                  <a:lnTo>
                    <a:pt x="465" y="1462"/>
                  </a:lnTo>
                  <a:lnTo>
                    <a:pt x="441" y="1462"/>
                  </a:lnTo>
                  <a:lnTo>
                    <a:pt x="419" y="1460"/>
                  </a:lnTo>
                  <a:lnTo>
                    <a:pt x="408" y="1458"/>
                  </a:lnTo>
                  <a:lnTo>
                    <a:pt x="398" y="1456"/>
                  </a:lnTo>
                  <a:lnTo>
                    <a:pt x="388" y="1453"/>
                  </a:lnTo>
                  <a:lnTo>
                    <a:pt x="378" y="1449"/>
                  </a:lnTo>
                  <a:lnTo>
                    <a:pt x="368" y="1446"/>
                  </a:lnTo>
                  <a:lnTo>
                    <a:pt x="360" y="1442"/>
                  </a:lnTo>
                  <a:lnTo>
                    <a:pt x="351" y="1436"/>
                  </a:lnTo>
                  <a:lnTo>
                    <a:pt x="341" y="1431"/>
                  </a:lnTo>
                  <a:lnTo>
                    <a:pt x="333" y="1424"/>
                  </a:lnTo>
                  <a:lnTo>
                    <a:pt x="324" y="1417"/>
                  </a:lnTo>
                  <a:lnTo>
                    <a:pt x="315" y="1409"/>
                  </a:lnTo>
                  <a:lnTo>
                    <a:pt x="308" y="1401"/>
                  </a:lnTo>
                  <a:lnTo>
                    <a:pt x="293" y="1383"/>
                  </a:lnTo>
                  <a:lnTo>
                    <a:pt x="280" y="1366"/>
                  </a:lnTo>
                  <a:lnTo>
                    <a:pt x="270" y="1349"/>
                  </a:lnTo>
                  <a:lnTo>
                    <a:pt x="261" y="1332"/>
                  </a:lnTo>
                  <a:lnTo>
                    <a:pt x="246" y="1294"/>
                  </a:lnTo>
                  <a:lnTo>
                    <a:pt x="229" y="1253"/>
                  </a:lnTo>
                  <a:lnTo>
                    <a:pt x="211" y="1208"/>
                  </a:lnTo>
                  <a:lnTo>
                    <a:pt x="193" y="1169"/>
                  </a:lnTo>
                  <a:lnTo>
                    <a:pt x="179" y="1131"/>
                  </a:lnTo>
                  <a:lnTo>
                    <a:pt x="167" y="1094"/>
                  </a:lnTo>
                  <a:lnTo>
                    <a:pt x="162" y="1075"/>
                  </a:lnTo>
                  <a:lnTo>
                    <a:pt x="158" y="1056"/>
                  </a:lnTo>
                  <a:lnTo>
                    <a:pt x="153" y="1037"/>
                  </a:lnTo>
                  <a:lnTo>
                    <a:pt x="150" y="1016"/>
                  </a:lnTo>
                  <a:lnTo>
                    <a:pt x="148" y="996"/>
                  </a:lnTo>
                  <a:lnTo>
                    <a:pt x="146" y="974"/>
                  </a:lnTo>
                  <a:lnTo>
                    <a:pt x="145" y="951"/>
                  </a:lnTo>
                  <a:lnTo>
                    <a:pt x="145" y="928"/>
                  </a:lnTo>
                  <a:lnTo>
                    <a:pt x="145" y="894"/>
                  </a:lnTo>
                  <a:lnTo>
                    <a:pt x="145" y="865"/>
                  </a:lnTo>
                  <a:lnTo>
                    <a:pt x="144" y="837"/>
                  </a:lnTo>
                  <a:lnTo>
                    <a:pt x="144" y="810"/>
                  </a:lnTo>
                  <a:lnTo>
                    <a:pt x="143" y="783"/>
                  </a:lnTo>
                  <a:lnTo>
                    <a:pt x="143" y="755"/>
                  </a:lnTo>
                  <a:lnTo>
                    <a:pt x="144" y="725"/>
                  </a:lnTo>
                  <a:lnTo>
                    <a:pt x="145" y="692"/>
                  </a:lnTo>
                  <a:lnTo>
                    <a:pt x="128" y="666"/>
                  </a:lnTo>
                  <a:lnTo>
                    <a:pt x="112" y="644"/>
                  </a:lnTo>
                  <a:lnTo>
                    <a:pt x="95" y="623"/>
                  </a:lnTo>
                  <a:lnTo>
                    <a:pt x="78" y="604"/>
                  </a:lnTo>
                  <a:lnTo>
                    <a:pt x="59" y="585"/>
                  </a:lnTo>
                  <a:lnTo>
                    <a:pt x="41" y="566"/>
                  </a:lnTo>
                  <a:lnTo>
                    <a:pt x="22" y="546"/>
                  </a:lnTo>
                  <a:lnTo>
                    <a:pt x="0" y="524"/>
                  </a:lnTo>
                  <a:lnTo>
                    <a:pt x="1580" y="543"/>
                  </a:lnTo>
                  <a:lnTo>
                    <a:pt x="1581" y="531"/>
                  </a:lnTo>
                  <a:lnTo>
                    <a:pt x="1582" y="521"/>
                  </a:lnTo>
                  <a:lnTo>
                    <a:pt x="1583" y="508"/>
                  </a:lnTo>
                  <a:lnTo>
                    <a:pt x="1583" y="496"/>
                  </a:lnTo>
                  <a:lnTo>
                    <a:pt x="1585" y="484"/>
                  </a:lnTo>
                  <a:lnTo>
                    <a:pt x="1588" y="473"/>
                  </a:lnTo>
                  <a:lnTo>
                    <a:pt x="1593" y="452"/>
                  </a:lnTo>
                  <a:lnTo>
                    <a:pt x="1600" y="433"/>
                  </a:lnTo>
                  <a:lnTo>
                    <a:pt x="1607" y="414"/>
                  </a:lnTo>
                  <a:lnTo>
                    <a:pt x="1617" y="394"/>
                  </a:lnTo>
                  <a:lnTo>
                    <a:pt x="1627" y="373"/>
                  </a:lnTo>
                  <a:lnTo>
                    <a:pt x="1636" y="350"/>
                  </a:lnTo>
                  <a:lnTo>
                    <a:pt x="1641" y="340"/>
                  </a:lnTo>
                  <a:lnTo>
                    <a:pt x="1647" y="333"/>
                  </a:lnTo>
                  <a:lnTo>
                    <a:pt x="1654" y="325"/>
                  </a:lnTo>
                  <a:lnTo>
                    <a:pt x="1660" y="317"/>
                  </a:lnTo>
                  <a:lnTo>
                    <a:pt x="1665" y="311"/>
                  </a:lnTo>
                  <a:lnTo>
                    <a:pt x="1671" y="303"/>
                  </a:lnTo>
                  <a:lnTo>
                    <a:pt x="1672" y="299"/>
                  </a:lnTo>
                  <a:lnTo>
                    <a:pt x="1674" y="295"/>
                  </a:lnTo>
                  <a:lnTo>
                    <a:pt x="1675" y="289"/>
                  </a:lnTo>
                  <a:lnTo>
                    <a:pt x="1675" y="284"/>
                  </a:lnTo>
                  <a:lnTo>
                    <a:pt x="1674" y="276"/>
                  </a:lnTo>
                  <a:lnTo>
                    <a:pt x="1673" y="270"/>
                  </a:lnTo>
                  <a:lnTo>
                    <a:pt x="1672" y="265"/>
                  </a:lnTo>
                  <a:lnTo>
                    <a:pt x="1670" y="258"/>
                  </a:lnTo>
                  <a:lnTo>
                    <a:pt x="1668" y="253"/>
                  </a:lnTo>
                  <a:lnTo>
                    <a:pt x="1665" y="246"/>
                  </a:lnTo>
                  <a:lnTo>
                    <a:pt x="1664" y="240"/>
                  </a:lnTo>
                  <a:lnTo>
                    <a:pt x="1664" y="232"/>
                  </a:lnTo>
                  <a:lnTo>
                    <a:pt x="1664" y="215"/>
                  </a:lnTo>
                  <a:lnTo>
                    <a:pt x="1665" y="198"/>
                  </a:lnTo>
                  <a:lnTo>
                    <a:pt x="1668" y="181"/>
                  </a:lnTo>
                  <a:lnTo>
                    <a:pt x="1671" y="166"/>
                  </a:lnTo>
                  <a:lnTo>
                    <a:pt x="1674" y="151"/>
                  </a:lnTo>
                  <a:lnTo>
                    <a:pt x="1678" y="137"/>
                  </a:lnTo>
                  <a:lnTo>
                    <a:pt x="1683" y="123"/>
                  </a:lnTo>
                  <a:lnTo>
                    <a:pt x="1689" y="109"/>
                  </a:lnTo>
                  <a:lnTo>
                    <a:pt x="1696" y="96"/>
                  </a:lnTo>
                  <a:lnTo>
                    <a:pt x="1702" y="82"/>
                  </a:lnTo>
                  <a:lnTo>
                    <a:pt x="1710" y="69"/>
                  </a:lnTo>
                  <a:lnTo>
                    <a:pt x="1718" y="56"/>
                  </a:lnTo>
                  <a:lnTo>
                    <a:pt x="1736" y="28"/>
                  </a:lnTo>
                  <a:lnTo>
                    <a:pt x="1756" y="0"/>
                  </a:lnTo>
                  <a:lnTo>
                    <a:pt x="1780" y="26"/>
                  </a:lnTo>
                  <a:lnTo>
                    <a:pt x="1800" y="50"/>
                  </a:lnTo>
                  <a:lnTo>
                    <a:pt x="1811" y="62"/>
                  </a:lnTo>
                  <a:lnTo>
                    <a:pt x="1821" y="74"/>
                  </a:lnTo>
                  <a:lnTo>
                    <a:pt x="1831" y="89"/>
                  </a:lnTo>
                  <a:lnTo>
                    <a:pt x="1840" y="104"/>
                  </a:lnTo>
                  <a:lnTo>
                    <a:pt x="1862" y="136"/>
                  </a:lnTo>
                  <a:lnTo>
                    <a:pt x="1880" y="166"/>
                  </a:lnTo>
                  <a:lnTo>
                    <a:pt x="1888" y="181"/>
                  </a:lnTo>
                  <a:lnTo>
                    <a:pt x="1894" y="198"/>
                  </a:lnTo>
                  <a:lnTo>
                    <a:pt x="1897" y="206"/>
                  </a:lnTo>
                  <a:lnTo>
                    <a:pt x="1898" y="215"/>
                  </a:lnTo>
                  <a:lnTo>
                    <a:pt x="1899" y="225"/>
                  </a:lnTo>
                  <a:lnTo>
                    <a:pt x="1900" y="235"/>
                  </a:lnTo>
                  <a:lnTo>
                    <a:pt x="1899" y="243"/>
                  </a:lnTo>
                  <a:lnTo>
                    <a:pt x="1898" y="249"/>
                  </a:lnTo>
                  <a:lnTo>
                    <a:pt x="1895" y="256"/>
                  </a:lnTo>
                  <a:lnTo>
                    <a:pt x="1893" y="262"/>
                  </a:lnTo>
                  <a:lnTo>
                    <a:pt x="1887" y="274"/>
                  </a:lnTo>
                  <a:lnTo>
                    <a:pt x="1879" y="285"/>
                  </a:lnTo>
                  <a:lnTo>
                    <a:pt x="1873" y="297"/>
                  </a:lnTo>
                  <a:lnTo>
                    <a:pt x="1866" y="309"/>
                  </a:lnTo>
                  <a:lnTo>
                    <a:pt x="1864" y="314"/>
                  </a:lnTo>
                  <a:lnTo>
                    <a:pt x="1862" y="322"/>
                  </a:lnTo>
                  <a:lnTo>
                    <a:pt x="1861" y="328"/>
                  </a:lnTo>
                  <a:lnTo>
                    <a:pt x="1860" y="336"/>
                  </a:lnTo>
                  <a:lnTo>
                    <a:pt x="1861" y="343"/>
                  </a:lnTo>
                  <a:lnTo>
                    <a:pt x="1863" y="351"/>
                  </a:lnTo>
                  <a:lnTo>
                    <a:pt x="1865" y="357"/>
                  </a:lnTo>
                  <a:lnTo>
                    <a:pt x="1868" y="363"/>
                  </a:lnTo>
                  <a:lnTo>
                    <a:pt x="1876" y="375"/>
                  </a:lnTo>
                  <a:lnTo>
                    <a:pt x="1882" y="389"/>
                  </a:lnTo>
                  <a:lnTo>
                    <a:pt x="1891" y="418"/>
                  </a:lnTo>
                  <a:lnTo>
                    <a:pt x="1900" y="444"/>
                  </a:lnTo>
                  <a:lnTo>
                    <a:pt x="1904" y="456"/>
                  </a:lnTo>
                  <a:lnTo>
                    <a:pt x="1908" y="469"/>
                  </a:lnTo>
                  <a:lnTo>
                    <a:pt x="1915" y="482"/>
                  </a:lnTo>
                  <a:lnTo>
                    <a:pt x="1921" y="496"/>
                  </a:lnTo>
                  <a:lnTo>
                    <a:pt x="1942" y="538"/>
                  </a:lnTo>
                  <a:lnTo>
                    <a:pt x="1961" y="576"/>
                  </a:lnTo>
                  <a:lnTo>
                    <a:pt x="1967" y="584"/>
                  </a:lnTo>
                  <a:lnTo>
                    <a:pt x="1973" y="592"/>
                  </a:lnTo>
                  <a:lnTo>
                    <a:pt x="1980" y="599"/>
                  </a:lnTo>
                  <a:lnTo>
                    <a:pt x="1987" y="606"/>
                  </a:lnTo>
                  <a:lnTo>
                    <a:pt x="1995" y="611"/>
                  </a:lnTo>
                  <a:lnTo>
                    <a:pt x="2005" y="616"/>
                  </a:lnTo>
                  <a:lnTo>
                    <a:pt x="2014" y="619"/>
                  </a:lnTo>
                  <a:lnTo>
                    <a:pt x="2025" y="622"/>
                  </a:lnTo>
                  <a:lnTo>
                    <a:pt x="2037" y="624"/>
                  </a:lnTo>
                  <a:lnTo>
                    <a:pt x="2047" y="627"/>
                  </a:lnTo>
                  <a:lnTo>
                    <a:pt x="2056" y="632"/>
                  </a:lnTo>
                  <a:lnTo>
                    <a:pt x="2066" y="637"/>
                  </a:lnTo>
                  <a:lnTo>
                    <a:pt x="2074" y="643"/>
                  </a:lnTo>
                  <a:lnTo>
                    <a:pt x="2081" y="649"/>
                  </a:lnTo>
                  <a:lnTo>
                    <a:pt x="2089" y="656"/>
                  </a:lnTo>
                  <a:lnTo>
                    <a:pt x="2095" y="663"/>
                  </a:lnTo>
                  <a:lnTo>
                    <a:pt x="2120" y="698"/>
                  </a:lnTo>
                  <a:lnTo>
                    <a:pt x="2146" y="737"/>
                  </a:lnTo>
                  <a:lnTo>
                    <a:pt x="2154" y="746"/>
                  </a:lnTo>
                  <a:lnTo>
                    <a:pt x="2162" y="754"/>
                  </a:lnTo>
                  <a:lnTo>
                    <a:pt x="2171" y="760"/>
                  </a:lnTo>
                  <a:lnTo>
                    <a:pt x="2180" y="767"/>
                  </a:lnTo>
                  <a:lnTo>
                    <a:pt x="2188" y="772"/>
                  </a:lnTo>
                  <a:lnTo>
                    <a:pt x="2197" y="779"/>
                  </a:lnTo>
                  <a:lnTo>
                    <a:pt x="2205" y="786"/>
                  </a:lnTo>
                  <a:lnTo>
                    <a:pt x="2213" y="796"/>
                  </a:lnTo>
                  <a:lnTo>
                    <a:pt x="2217" y="802"/>
                  </a:lnTo>
                  <a:lnTo>
                    <a:pt x="2221" y="811"/>
                  </a:lnTo>
                  <a:lnTo>
                    <a:pt x="2223" y="819"/>
                  </a:lnTo>
                  <a:lnTo>
                    <a:pt x="2225" y="826"/>
                  </a:lnTo>
                  <a:lnTo>
                    <a:pt x="2227" y="833"/>
                  </a:lnTo>
                  <a:lnTo>
                    <a:pt x="2231" y="838"/>
                  </a:lnTo>
                  <a:lnTo>
                    <a:pt x="2234" y="840"/>
                  </a:lnTo>
                  <a:lnTo>
                    <a:pt x="2237" y="841"/>
                  </a:lnTo>
                  <a:lnTo>
                    <a:pt x="2240" y="842"/>
                  </a:lnTo>
                  <a:lnTo>
                    <a:pt x="2244" y="843"/>
                  </a:lnTo>
                  <a:lnTo>
                    <a:pt x="4755" y="1140"/>
                  </a:lnTo>
                  <a:lnTo>
                    <a:pt x="4755" y="1140"/>
                  </a:lnTo>
                  <a:close/>
                </a:path>
              </a:pathLst>
            </a:custGeom>
            <a:solidFill>
              <a:srgbClr val="9DC87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24">
              <a:extLst>
                <a:ext uri="{FF2B5EF4-FFF2-40B4-BE49-F238E27FC236}">
                  <a16:creationId xmlns:a16="http://schemas.microsoft.com/office/drawing/2014/main" id="{71225C77-6388-4F91-BC6B-5E968C09D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84750" y="2244726"/>
              <a:ext cx="1912938" cy="1754188"/>
            </a:xfrm>
            <a:custGeom>
              <a:avLst/>
              <a:gdLst>
                <a:gd name="T0" fmla="*/ 4815 w 4820"/>
                <a:gd name="T1" fmla="*/ 1320 h 4421"/>
                <a:gd name="T2" fmla="*/ 4759 w 4820"/>
                <a:gd name="T3" fmla="*/ 1610 h 4421"/>
                <a:gd name="T4" fmla="*/ 4777 w 4820"/>
                <a:gd name="T5" fmla="*/ 1838 h 4421"/>
                <a:gd name="T6" fmla="*/ 4723 w 4820"/>
                <a:gd name="T7" fmla="*/ 2035 h 4421"/>
                <a:gd name="T8" fmla="*/ 4623 w 4820"/>
                <a:gd name="T9" fmla="*/ 2260 h 4421"/>
                <a:gd name="T10" fmla="*/ 4508 w 4820"/>
                <a:gd name="T11" fmla="*/ 2527 h 4421"/>
                <a:gd name="T12" fmla="*/ 4424 w 4820"/>
                <a:gd name="T13" fmla="*/ 2757 h 4421"/>
                <a:gd name="T14" fmla="*/ 4385 w 4820"/>
                <a:gd name="T15" fmla="*/ 2926 h 4421"/>
                <a:gd name="T16" fmla="*/ 4335 w 4820"/>
                <a:gd name="T17" fmla="*/ 3110 h 4421"/>
                <a:gd name="T18" fmla="*/ 4271 w 4820"/>
                <a:gd name="T19" fmla="*/ 3240 h 4421"/>
                <a:gd name="T20" fmla="*/ 4192 w 4820"/>
                <a:gd name="T21" fmla="*/ 3337 h 4421"/>
                <a:gd name="T22" fmla="*/ 4097 w 4820"/>
                <a:gd name="T23" fmla="*/ 3344 h 4421"/>
                <a:gd name="T24" fmla="*/ 4008 w 4820"/>
                <a:gd name="T25" fmla="*/ 3512 h 4421"/>
                <a:gd name="T26" fmla="*/ 3954 w 4820"/>
                <a:gd name="T27" fmla="*/ 3660 h 4421"/>
                <a:gd name="T28" fmla="*/ 3756 w 4820"/>
                <a:gd name="T29" fmla="*/ 3681 h 4421"/>
                <a:gd name="T30" fmla="*/ 3647 w 4820"/>
                <a:gd name="T31" fmla="*/ 3756 h 4421"/>
                <a:gd name="T32" fmla="*/ 3618 w 4820"/>
                <a:gd name="T33" fmla="*/ 3887 h 4421"/>
                <a:gd name="T34" fmla="*/ 3412 w 4820"/>
                <a:gd name="T35" fmla="*/ 4104 h 4421"/>
                <a:gd name="T36" fmla="*/ 3352 w 4820"/>
                <a:gd name="T37" fmla="*/ 4240 h 4421"/>
                <a:gd name="T38" fmla="*/ 3345 w 4820"/>
                <a:gd name="T39" fmla="*/ 4361 h 4421"/>
                <a:gd name="T40" fmla="*/ 3265 w 4820"/>
                <a:gd name="T41" fmla="*/ 4285 h 4421"/>
                <a:gd name="T42" fmla="*/ 3114 w 4820"/>
                <a:gd name="T43" fmla="*/ 4247 h 4421"/>
                <a:gd name="T44" fmla="*/ 2914 w 4820"/>
                <a:gd name="T45" fmla="*/ 4235 h 4421"/>
                <a:gd name="T46" fmla="*/ 2683 w 4820"/>
                <a:gd name="T47" fmla="*/ 4211 h 4421"/>
                <a:gd name="T48" fmla="*/ 2547 w 4820"/>
                <a:gd name="T49" fmla="*/ 4302 h 4421"/>
                <a:gd name="T50" fmla="*/ 2412 w 4820"/>
                <a:gd name="T51" fmla="*/ 4321 h 4421"/>
                <a:gd name="T52" fmla="*/ 2273 w 4820"/>
                <a:gd name="T53" fmla="*/ 4223 h 4421"/>
                <a:gd name="T54" fmla="*/ 2077 w 4820"/>
                <a:gd name="T55" fmla="*/ 4269 h 4421"/>
                <a:gd name="T56" fmla="*/ 2015 w 4820"/>
                <a:gd name="T57" fmla="*/ 4343 h 4421"/>
                <a:gd name="T58" fmla="*/ 1865 w 4820"/>
                <a:gd name="T59" fmla="*/ 4390 h 4421"/>
                <a:gd name="T60" fmla="*/ 1705 w 4820"/>
                <a:gd name="T61" fmla="*/ 4393 h 4421"/>
                <a:gd name="T62" fmla="*/ 1585 w 4820"/>
                <a:gd name="T63" fmla="*/ 4259 h 4421"/>
                <a:gd name="T64" fmla="*/ 1521 w 4820"/>
                <a:gd name="T65" fmla="*/ 4197 h 4421"/>
                <a:gd name="T66" fmla="*/ 1342 w 4820"/>
                <a:gd name="T67" fmla="*/ 4073 h 4421"/>
                <a:gd name="T68" fmla="*/ 1311 w 4820"/>
                <a:gd name="T69" fmla="*/ 3903 h 4421"/>
                <a:gd name="T70" fmla="*/ 1392 w 4820"/>
                <a:gd name="T71" fmla="*/ 3708 h 4421"/>
                <a:gd name="T72" fmla="*/ 1295 w 4820"/>
                <a:gd name="T73" fmla="*/ 3685 h 4421"/>
                <a:gd name="T74" fmla="*/ 433 w 4820"/>
                <a:gd name="T75" fmla="*/ 3197 h 4421"/>
                <a:gd name="T76" fmla="*/ 577 w 4820"/>
                <a:gd name="T77" fmla="*/ 3070 h 4421"/>
                <a:gd name="T78" fmla="*/ 597 w 4820"/>
                <a:gd name="T79" fmla="*/ 2872 h 4421"/>
                <a:gd name="T80" fmla="*/ 521 w 4820"/>
                <a:gd name="T81" fmla="*/ 2668 h 4421"/>
                <a:gd name="T82" fmla="*/ 401 w 4820"/>
                <a:gd name="T83" fmla="*/ 2554 h 4421"/>
                <a:gd name="T84" fmla="*/ 549 w 4820"/>
                <a:gd name="T85" fmla="*/ 2319 h 4421"/>
                <a:gd name="T86" fmla="*/ 686 w 4820"/>
                <a:gd name="T87" fmla="*/ 2109 h 4421"/>
                <a:gd name="T88" fmla="*/ 767 w 4820"/>
                <a:gd name="T89" fmla="*/ 1905 h 4421"/>
                <a:gd name="T90" fmla="*/ 708 w 4820"/>
                <a:gd name="T91" fmla="*/ 1780 h 4421"/>
                <a:gd name="T92" fmla="*/ 764 w 4820"/>
                <a:gd name="T93" fmla="*/ 1646 h 4421"/>
                <a:gd name="T94" fmla="*/ 667 w 4820"/>
                <a:gd name="T95" fmla="*/ 1518 h 4421"/>
                <a:gd name="T96" fmla="*/ 441 w 4820"/>
                <a:gd name="T97" fmla="*/ 1462 h 4421"/>
                <a:gd name="T98" fmla="*/ 293 w 4820"/>
                <a:gd name="T99" fmla="*/ 1383 h 4421"/>
                <a:gd name="T100" fmla="*/ 148 w 4820"/>
                <a:gd name="T101" fmla="*/ 996 h 4421"/>
                <a:gd name="T102" fmla="*/ 95 w 4820"/>
                <a:gd name="T103" fmla="*/ 623 h 4421"/>
                <a:gd name="T104" fmla="*/ 1600 w 4820"/>
                <a:gd name="T105" fmla="*/ 433 h 4421"/>
                <a:gd name="T106" fmla="*/ 1675 w 4820"/>
                <a:gd name="T107" fmla="*/ 284 h 4421"/>
                <a:gd name="T108" fmla="*/ 1678 w 4820"/>
                <a:gd name="T109" fmla="*/ 137 h 4421"/>
                <a:gd name="T110" fmla="*/ 1840 w 4820"/>
                <a:gd name="T111" fmla="*/ 104 h 4421"/>
                <a:gd name="T112" fmla="*/ 1879 w 4820"/>
                <a:gd name="T113" fmla="*/ 285 h 4421"/>
                <a:gd name="T114" fmla="*/ 1900 w 4820"/>
                <a:gd name="T115" fmla="*/ 444 h 4421"/>
                <a:gd name="T116" fmla="*/ 2025 w 4820"/>
                <a:gd name="T117" fmla="*/ 622 h 4421"/>
                <a:gd name="T118" fmla="*/ 2180 w 4820"/>
                <a:gd name="T119" fmla="*/ 767 h 4421"/>
                <a:gd name="T120" fmla="*/ 2244 w 4820"/>
                <a:gd name="T121" fmla="*/ 843 h 4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20" h="4421">
                  <a:moveTo>
                    <a:pt x="4755" y="1140"/>
                  </a:moveTo>
                  <a:lnTo>
                    <a:pt x="4768" y="1158"/>
                  </a:lnTo>
                  <a:lnTo>
                    <a:pt x="4780" y="1174"/>
                  </a:lnTo>
                  <a:lnTo>
                    <a:pt x="4791" y="1190"/>
                  </a:lnTo>
                  <a:lnTo>
                    <a:pt x="4801" y="1206"/>
                  </a:lnTo>
                  <a:lnTo>
                    <a:pt x="4808" y="1224"/>
                  </a:lnTo>
                  <a:lnTo>
                    <a:pt x="4815" y="1242"/>
                  </a:lnTo>
                  <a:lnTo>
                    <a:pt x="4817" y="1251"/>
                  </a:lnTo>
                  <a:lnTo>
                    <a:pt x="4818" y="1260"/>
                  </a:lnTo>
                  <a:lnTo>
                    <a:pt x="4819" y="1271"/>
                  </a:lnTo>
                  <a:lnTo>
                    <a:pt x="4820" y="1282"/>
                  </a:lnTo>
                  <a:lnTo>
                    <a:pt x="4819" y="1296"/>
                  </a:lnTo>
                  <a:lnTo>
                    <a:pt x="4817" y="1308"/>
                  </a:lnTo>
                  <a:lnTo>
                    <a:pt x="4815" y="1320"/>
                  </a:lnTo>
                  <a:lnTo>
                    <a:pt x="4813" y="1331"/>
                  </a:lnTo>
                  <a:lnTo>
                    <a:pt x="4806" y="1353"/>
                  </a:lnTo>
                  <a:lnTo>
                    <a:pt x="4800" y="1378"/>
                  </a:lnTo>
                  <a:lnTo>
                    <a:pt x="4795" y="1419"/>
                  </a:lnTo>
                  <a:lnTo>
                    <a:pt x="4793" y="1455"/>
                  </a:lnTo>
                  <a:lnTo>
                    <a:pt x="4792" y="1472"/>
                  </a:lnTo>
                  <a:lnTo>
                    <a:pt x="4790" y="1490"/>
                  </a:lnTo>
                  <a:lnTo>
                    <a:pt x="4786" y="1510"/>
                  </a:lnTo>
                  <a:lnTo>
                    <a:pt x="4780" y="1530"/>
                  </a:lnTo>
                  <a:lnTo>
                    <a:pt x="4773" y="1554"/>
                  </a:lnTo>
                  <a:lnTo>
                    <a:pt x="4765" y="1576"/>
                  </a:lnTo>
                  <a:lnTo>
                    <a:pt x="4762" y="1586"/>
                  </a:lnTo>
                  <a:lnTo>
                    <a:pt x="4760" y="1598"/>
                  </a:lnTo>
                  <a:lnTo>
                    <a:pt x="4759" y="1610"/>
                  </a:lnTo>
                  <a:lnTo>
                    <a:pt x="4758" y="1623"/>
                  </a:lnTo>
                  <a:lnTo>
                    <a:pt x="4759" y="1642"/>
                  </a:lnTo>
                  <a:lnTo>
                    <a:pt x="4761" y="1658"/>
                  </a:lnTo>
                  <a:lnTo>
                    <a:pt x="4764" y="1673"/>
                  </a:lnTo>
                  <a:lnTo>
                    <a:pt x="4768" y="1687"/>
                  </a:lnTo>
                  <a:lnTo>
                    <a:pt x="4772" y="1702"/>
                  </a:lnTo>
                  <a:lnTo>
                    <a:pt x="4775" y="1717"/>
                  </a:lnTo>
                  <a:lnTo>
                    <a:pt x="4777" y="1732"/>
                  </a:lnTo>
                  <a:lnTo>
                    <a:pt x="4778" y="1751"/>
                  </a:lnTo>
                  <a:lnTo>
                    <a:pt x="4778" y="1770"/>
                  </a:lnTo>
                  <a:lnTo>
                    <a:pt x="4778" y="1787"/>
                  </a:lnTo>
                  <a:lnTo>
                    <a:pt x="4778" y="1805"/>
                  </a:lnTo>
                  <a:lnTo>
                    <a:pt x="4778" y="1825"/>
                  </a:lnTo>
                  <a:lnTo>
                    <a:pt x="4777" y="1838"/>
                  </a:lnTo>
                  <a:lnTo>
                    <a:pt x="4776" y="1850"/>
                  </a:lnTo>
                  <a:lnTo>
                    <a:pt x="4774" y="1861"/>
                  </a:lnTo>
                  <a:lnTo>
                    <a:pt x="4772" y="1872"/>
                  </a:lnTo>
                  <a:lnTo>
                    <a:pt x="4764" y="1893"/>
                  </a:lnTo>
                  <a:lnTo>
                    <a:pt x="4755" y="1917"/>
                  </a:lnTo>
                  <a:lnTo>
                    <a:pt x="4751" y="1929"/>
                  </a:lnTo>
                  <a:lnTo>
                    <a:pt x="4748" y="1941"/>
                  </a:lnTo>
                  <a:lnTo>
                    <a:pt x="4746" y="1952"/>
                  </a:lnTo>
                  <a:lnTo>
                    <a:pt x="4744" y="1962"/>
                  </a:lnTo>
                  <a:lnTo>
                    <a:pt x="4743" y="1974"/>
                  </a:lnTo>
                  <a:lnTo>
                    <a:pt x="4740" y="1985"/>
                  </a:lnTo>
                  <a:lnTo>
                    <a:pt x="4737" y="1997"/>
                  </a:lnTo>
                  <a:lnTo>
                    <a:pt x="4733" y="2009"/>
                  </a:lnTo>
                  <a:lnTo>
                    <a:pt x="4723" y="2035"/>
                  </a:lnTo>
                  <a:lnTo>
                    <a:pt x="4714" y="2057"/>
                  </a:lnTo>
                  <a:lnTo>
                    <a:pt x="4707" y="2079"/>
                  </a:lnTo>
                  <a:lnTo>
                    <a:pt x="4699" y="2099"/>
                  </a:lnTo>
                  <a:lnTo>
                    <a:pt x="4693" y="2120"/>
                  </a:lnTo>
                  <a:lnTo>
                    <a:pt x="4686" y="2142"/>
                  </a:lnTo>
                  <a:lnTo>
                    <a:pt x="4680" y="2165"/>
                  </a:lnTo>
                  <a:lnTo>
                    <a:pt x="4673" y="2192"/>
                  </a:lnTo>
                  <a:lnTo>
                    <a:pt x="4673" y="2192"/>
                  </a:lnTo>
                  <a:lnTo>
                    <a:pt x="4662" y="2204"/>
                  </a:lnTo>
                  <a:lnTo>
                    <a:pt x="4652" y="2215"/>
                  </a:lnTo>
                  <a:lnTo>
                    <a:pt x="4643" y="2226"/>
                  </a:lnTo>
                  <a:lnTo>
                    <a:pt x="4636" y="2238"/>
                  </a:lnTo>
                  <a:lnTo>
                    <a:pt x="4629" y="2249"/>
                  </a:lnTo>
                  <a:lnTo>
                    <a:pt x="4623" y="2260"/>
                  </a:lnTo>
                  <a:lnTo>
                    <a:pt x="4617" y="2272"/>
                  </a:lnTo>
                  <a:lnTo>
                    <a:pt x="4612" y="2283"/>
                  </a:lnTo>
                  <a:lnTo>
                    <a:pt x="4603" y="2308"/>
                  </a:lnTo>
                  <a:lnTo>
                    <a:pt x="4595" y="2334"/>
                  </a:lnTo>
                  <a:lnTo>
                    <a:pt x="4587" y="2361"/>
                  </a:lnTo>
                  <a:lnTo>
                    <a:pt x="4578" y="2390"/>
                  </a:lnTo>
                  <a:lnTo>
                    <a:pt x="4572" y="2411"/>
                  </a:lnTo>
                  <a:lnTo>
                    <a:pt x="4564" y="2428"/>
                  </a:lnTo>
                  <a:lnTo>
                    <a:pt x="4555" y="2444"/>
                  </a:lnTo>
                  <a:lnTo>
                    <a:pt x="4546" y="2459"/>
                  </a:lnTo>
                  <a:lnTo>
                    <a:pt x="4536" y="2474"/>
                  </a:lnTo>
                  <a:lnTo>
                    <a:pt x="4527" y="2490"/>
                  </a:lnTo>
                  <a:lnTo>
                    <a:pt x="4517" y="2508"/>
                  </a:lnTo>
                  <a:lnTo>
                    <a:pt x="4508" y="2527"/>
                  </a:lnTo>
                  <a:lnTo>
                    <a:pt x="4500" y="2555"/>
                  </a:lnTo>
                  <a:lnTo>
                    <a:pt x="4494" y="2580"/>
                  </a:lnTo>
                  <a:lnTo>
                    <a:pt x="4491" y="2593"/>
                  </a:lnTo>
                  <a:lnTo>
                    <a:pt x="4487" y="2605"/>
                  </a:lnTo>
                  <a:lnTo>
                    <a:pt x="4481" y="2618"/>
                  </a:lnTo>
                  <a:lnTo>
                    <a:pt x="4475" y="2631"/>
                  </a:lnTo>
                  <a:lnTo>
                    <a:pt x="4468" y="2645"/>
                  </a:lnTo>
                  <a:lnTo>
                    <a:pt x="4463" y="2658"/>
                  </a:lnTo>
                  <a:lnTo>
                    <a:pt x="4457" y="2670"/>
                  </a:lnTo>
                  <a:lnTo>
                    <a:pt x="4453" y="2682"/>
                  </a:lnTo>
                  <a:lnTo>
                    <a:pt x="4446" y="2706"/>
                  </a:lnTo>
                  <a:lnTo>
                    <a:pt x="4436" y="2735"/>
                  </a:lnTo>
                  <a:lnTo>
                    <a:pt x="4430" y="2746"/>
                  </a:lnTo>
                  <a:lnTo>
                    <a:pt x="4424" y="2757"/>
                  </a:lnTo>
                  <a:lnTo>
                    <a:pt x="4417" y="2767"/>
                  </a:lnTo>
                  <a:lnTo>
                    <a:pt x="4411" y="2777"/>
                  </a:lnTo>
                  <a:lnTo>
                    <a:pt x="4404" y="2785"/>
                  </a:lnTo>
                  <a:lnTo>
                    <a:pt x="4398" y="2795"/>
                  </a:lnTo>
                  <a:lnTo>
                    <a:pt x="4394" y="2806"/>
                  </a:lnTo>
                  <a:lnTo>
                    <a:pt x="4390" y="2819"/>
                  </a:lnTo>
                  <a:lnTo>
                    <a:pt x="4389" y="2834"/>
                  </a:lnTo>
                  <a:lnTo>
                    <a:pt x="4388" y="2847"/>
                  </a:lnTo>
                  <a:lnTo>
                    <a:pt x="4388" y="2860"/>
                  </a:lnTo>
                  <a:lnTo>
                    <a:pt x="4389" y="2872"/>
                  </a:lnTo>
                  <a:lnTo>
                    <a:pt x="4389" y="2885"/>
                  </a:lnTo>
                  <a:lnTo>
                    <a:pt x="4388" y="2898"/>
                  </a:lnTo>
                  <a:lnTo>
                    <a:pt x="4387" y="2911"/>
                  </a:lnTo>
                  <a:lnTo>
                    <a:pt x="4385" y="2926"/>
                  </a:lnTo>
                  <a:lnTo>
                    <a:pt x="4383" y="2936"/>
                  </a:lnTo>
                  <a:lnTo>
                    <a:pt x="4380" y="2946"/>
                  </a:lnTo>
                  <a:lnTo>
                    <a:pt x="4376" y="2956"/>
                  </a:lnTo>
                  <a:lnTo>
                    <a:pt x="4372" y="2966"/>
                  </a:lnTo>
                  <a:lnTo>
                    <a:pt x="4365" y="2983"/>
                  </a:lnTo>
                  <a:lnTo>
                    <a:pt x="4356" y="2999"/>
                  </a:lnTo>
                  <a:lnTo>
                    <a:pt x="4347" y="3015"/>
                  </a:lnTo>
                  <a:lnTo>
                    <a:pt x="4341" y="3033"/>
                  </a:lnTo>
                  <a:lnTo>
                    <a:pt x="4339" y="3042"/>
                  </a:lnTo>
                  <a:lnTo>
                    <a:pt x="4336" y="3052"/>
                  </a:lnTo>
                  <a:lnTo>
                    <a:pt x="4335" y="3062"/>
                  </a:lnTo>
                  <a:lnTo>
                    <a:pt x="4335" y="3074"/>
                  </a:lnTo>
                  <a:lnTo>
                    <a:pt x="4335" y="3093"/>
                  </a:lnTo>
                  <a:lnTo>
                    <a:pt x="4335" y="3110"/>
                  </a:lnTo>
                  <a:lnTo>
                    <a:pt x="4335" y="3128"/>
                  </a:lnTo>
                  <a:lnTo>
                    <a:pt x="4335" y="3147"/>
                  </a:lnTo>
                  <a:lnTo>
                    <a:pt x="4334" y="3157"/>
                  </a:lnTo>
                  <a:lnTo>
                    <a:pt x="4332" y="3165"/>
                  </a:lnTo>
                  <a:lnTo>
                    <a:pt x="4330" y="3173"/>
                  </a:lnTo>
                  <a:lnTo>
                    <a:pt x="4327" y="3179"/>
                  </a:lnTo>
                  <a:lnTo>
                    <a:pt x="4322" y="3186"/>
                  </a:lnTo>
                  <a:lnTo>
                    <a:pt x="4317" y="3191"/>
                  </a:lnTo>
                  <a:lnTo>
                    <a:pt x="4312" y="3198"/>
                  </a:lnTo>
                  <a:lnTo>
                    <a:pt x="4306" y="3203"/>
                  </a:lnTo>
                  <a:lnTo>
                    <a:pt x="4293" y="3214"/>
                  </a:lnTo>
                  <a:lnTo>
                    <a:pt x="4281" y="3226"/>
                  </a:lnTo>
                  <a:lnTo>
                    <a:pt x="4276" y="3232"/>
                  </a:lnTo>
                  <a:lnTo>
                    <a:pt x="4271" y="3240"/>
                  </a:lnTo>
                  <a:lnTo>
                    <a:pt x="4266" y="3248"/>
                  </a:lnTo>
                  <a:lnTo>
                    <a:pt x="4262" y="3256"/>
                  </a:lnTo>
                  <a:lnTo>
                    <a:pt x="4257" y="3270"/>
                  </a:lnTo>
                  <a:lnTo>
                    <a:pt x="4250" y="3285"/>
                  </a:lnTo>
                  <a:lnTo>
                    <a:pt x="4245" y="3298"/>
                  </a:lnTo>
                  <a:lnTo>
                    <a:pt x="4237" y="3311"/>
                  </a:lnTo>
                  <a:lnTo>
                    <a:pt x="4233" y="3317"/>
                  </a:lnTo>
                  <a:lnTo>
                    <a:pt x="4228" y="3322"/>
                  </a:lnTo>
                  <a:lnTo>
                    <a:pt x="4224" y="3326"/>
                  </a:lnTo>
                  <a:lnTo>
                    <a:pt x="4219" y="3330"/>
                  </a:lnTo>
                  <a:lnTo>
                    <a:pt x="4212" y="3333"/>
                  </a:lnTo>
                  <a:lnTo>
                    <a:pt x="4207" y="3335"/>
                  </a:lnTo>
                  <a:lnTo>
                    <a:pt x="4199" y="3337"/>
                  </a:lnTo>
                  <a:lnTo>
                    <a:pt x="4192" y="3337"/>
                  </a:lnTo>
                  <a:lnTo>
                    <a:pt x="4183" y="3337"/>
                  </a:lnTo>
                  <a:lnTo>
                    <a:pt x="4175" y="3336"/>
                  </a:lnTo>
                  <a:lnTo>
                    <a:pt x="4168" y="3334"/>
                  </a:lnTo>
                  <a:lnTo>
                    <a:pt x="4161" y="3332"/>
                  </a:lnTo>
                  <a:lnTo>
                    <a:pt x="4154" y="3330"/>
                  </a:lnTo>
                  <a:lnTo>
                    <a:pt x="4146" y="3327"/>
                  </a:lnTo>
                  <a:lnTo>
                    <a:pt x="4139" y="3326"/>
                  </a:lnTo>
                  <a:lnTo>
                    <a:pt x="4130" y="3326"/>
                  </a:lnTo>
                  <a:lnTo>
                    <a:pt x="4125" y="3326"/>
                  </a:lnTo>
                  <a:lnTo>
                    <a:pt x="4120" y="3327"/>
                  </a:lnTo>
                  <a:lnTo>
                    <a:pt x="4115" y="3329"/>
                  </a:lnTo>
                  <a:lnTo>
                    <a:pt x="4111" y="3331"/>
                  </a:lnTo>
                  <a:lnTo>
                    <a:pt x="4103" y="3336"/>
                  </a:lnTo>
                  <a:lnTo>
                    <a:pt x="4097" y="3344"/>
                  </a:lnTo>
                  <a:lnTo>
                    <a:pt x="4085" y="3360"/>
                  </a:lnTo>
                  <a:lnTo>
                    <a:pt x="4072" y="3377"/>
                  </a:lnTo>
                  <a:lnTo>
                    <a:pt x="4046" y="3403"/>
                  </a:lnTo>
                  <a:lnTo>
                    <a:pt x="4024" y="3429"/>
                  </a:lnTo>
                  <a:lnTo>
                    <a:pt x="4020" y="3435"/>
                  </a:lnTo>
                  <a:lnTo>
                    <a:pt x="4017" y="3442"/>
                  </a:lnTo>
                  <a:lnTo>
                    <a:pt x="4012" y="3449"/>
                  </a:lnTo>
                  <a:lnTo>
                    <a:pt x="4010" y="3457"/>
                  </a:lnTo>
                  <a:lnTo>
                    <a:pt x="4007" y="3465"/>
                  </a:lnTo>
                  <a:lnTo>
                    <a:pt x="4006" y="3473"/>
                  </a:lnTo>
                  <a:lnTo>
                    <a:pt x="4005" y="3482"/>
                  </a:lnTo>
                  <a:lnTo>
                    <a:pt x="4004" y="3492"/>
                  </a:lnTo>
                  <a:lnTo>
                    <a:pt x="4006" y="3502"/>
                  </a:lnTo>
                  <a:lnTo>
                    <a:pt x="4008" y="3512"/>
                  </a:lnTo>
                  <a:lnTo>
                    <a:pt x="4011" y="3521"/>
                  </a:lnTo>
                  <a:lnTo>
                    <a:pt x="4012" y="3533"/>
                  </a:lnTo>
                  <a:lnTo>
                    <a:pt x="4012" y="3552"/>
                  </a:lnTo>
                  <a:lnTo>
                    <a:pt x="4009" y="3570"/>
                  </a:lnTo>
                  <a:lnTo>
                    <a:pt x="4006" y="3589"/>
                  </a:lnTo>
                  <a:lnTo>
                    <a:pt x="3999" y="3605"/>
                  </a:lnTo>
                  <a:lnTo>
                    <a:pt x="3996" y="3613"/>
                  </a:lnTo>
                  <a:lnTo>
                    <a:pt x="3992" y="3620"/>
                  </a:lnTo>
                  <a:lnTo>
                    <a:pt x="3988" y="3628"/>
                  </a:lnTo>
                  <a:lnTo>
                    <a:pt x="3982" y="3634"/>
                  </a:lnTo>
                  <a:lnTo>
                    <a:pt x="3976" y="3641"/>
                  </a:lnTo>
                  <a:lnTo>
                    <a:pt x="3969" y="3647"/>
                  </a:lnTo>
                  <a:lnTo>
                    <a:pt x="3962" y="3654"/>
                  </a:lnTo>
                  <a:lnTo>
                    <a:pt x="3954" y="3660"/>
                  </a:lnTo>
                  <a:lnTo>
                    <a:pt x="3948" y="3663"/>
                  </a:lnTo>
                  <a:lnTo>
                    <a:pt x="3941" y="3667"/>
                  </a:lnTo>
                  <a:lnTo>
                    <a:pt x="3934" y="3670"/>
                  </a:lnTo>
                  <a:lnTo>
                    <a:pt x="3927" y="3671"/>
                  </a:lnTo>
                  <a:lnTo>
                    <a:pt x="3914" y="3673"/>
                  </a:lnTo>
                  <a:lnTo>
                    <a:pt x="3901" y="3673"/>
                  </a:lnTo>
                  <a:lnTo>
                    <a:pt x="3872" y="3670"/>
                  </a:lnTo>
                  <a:lnTo>
                    <a:pt x="3842" y="3668"/>
                  </a:lnTo>
                  <a:lnTo>
                    <a:pt x="3822" y="3668"/>
                  </a:lnTo>
                  <a:lnTo>
                    <a:pt x="3805" y="3669"/>
                  </a:lnTo>
                  <a:lnTo>
                    <a:pt x="3788" y="3670"/>
                  </a:lnTo>
                  <a:lnTo>
                    <a:pt x="3768" y="3674"/>
                  </a:lnTo>
                  <a:lnTo>
                    <a:pt x="3762" y="3676"/>
                  </a:lnTo>
                  <a:lnTo>
                    <a:pt x="3756" y="3681"/>
                  </a:lnTo>
                  <a:lnTo>
                    <a:pt x="3752" y="3686"/>
                  </a:lnTo>
                  <a:lnTo>
                    <a:pt x="3748" y="3692"/>
                  </a:lnTo>
                  <a:lnTo>
                    <a:pt x="3745" y="3698"/>
                  </a:lnTo>
                  <a:lnTo>
                    <a:pt x="3740" y="3704"/>
                  </a:lnTo>
                  <a:lnTo>
                    <a:pt x="3735" y="3711"/>
                  </a:lnTo>
                  <a:lnTo>
                    <a:pt x="3729" y="3716"/>
                  </a:lnTo>
                  <a:lnTo>
                    <a:pt x="3719" y="3724"/>
                  </a:lnTo>
                  <a:lnTo>
                    <a:pt x="3708" y="3732"/>
                  </a:lnTo>
                  <a:lnTo>
                    <a:pt x="3702" y="3736"/>
                  </a:lnTo>
                  <a:lnTo>
                    <a:pt x="3697" y="3739"/>
                  </a:lnTo>
                  <a:lnTo>
                    <a:pt x="3692" y="3741"/>
                  </a:lnTo>
                  <a:lnTo>
                    <a:pt x="3685" y="3743"/>
                  </a:lnTo>
                  <a:lnTo>
                    <a:pt x="3666" y="3750"/>
                  </a:lnTo>
                  <a:lnTo>
                    <a:pt x="3647" y="3756"/>
                  </a:lnTo>
                  <a:lnTo>
                    <a:pt x="3640" y="3761"/>
                  </a:lnTo>
                  <a:lnTo>
                    <a:pt x="3633" y="3766"/>
                  </a:lnTo>
                  <a:lnTo>
                    <a:pt x="3631" y="3769"/>
                  </a:lnTo>
                  <a:lnTo>
                    <a:pt x="3630" y="3773"/>
                  </a:lnTo>
                  <a:lnTo>
                    <a:pt x="3629" y="3778"/>
                  </a:lnTo>
                  <a:lnTo>
                    <a:pt x="3629" y="3782"/>
                  </a:lnTo>
                  <a:lnTo>
                    <a:pt x="3629" y="3797"/>
                  </a:lnTo>
                  <a:lnTo>
                    <a:pt x="3629" y="3811"/>
                  </a:lnTo>
                  <a:lnTo>
                    <a:pt x="3629" y="3824"/>
                  </a:lnTo>
                  <a:lnTo>
                    <a:pt x="3629" y="3839"/>
                  </a:lnTo>
                  <a:lnTo>
                    <a:pt x="3628" y="3853"/>
                  </a:lnTo>
                  <a:lnTo>
                    <a:pt x="3626" y="3865"/>
                  </a:lnTo>
                  <a:lnTo>
                    <a:pt x="3622" y="3876"/>
                  </a:lnTo>
                  <a:lnTo>
                    <a:pt x="3618" y="3887"/>
                  </a:lnTo>
                  <a:lnTo>
                    <a:pt x="3607" y="3907"/>
                  </a:lnTo>
                  <a:lnTo>
                    <a:pt x="3598" y="3931"/>
                  </a:lnTo>
                  <a:lnTo>
                    <a:pt x="3590" y="3954"/>
                  </a:lnTo>
                  <a:lnTo>
                    <a:pt x="3581" y="3974"/>
                  </a:lnTo>
                  <a:lnTo>
                    <a:pt x="3576" y="3983"/>
                  </a:lnTo>
                  <a:lnTo>
                    <a:pt x="3570" y="3992"/>
                  </a:lnTo>
                  <a:lnTo>
                    <a:pt x="3562" y="4000"/>
                  </a:lnTo>
                  <a:lnTo>
                    <a:pt x="3553" y="4007"/>
                  </a:lnTo>
                  <a:lnTo>
                    <a:pt x="3508" y="4035"/>
                  </a:lnTo>
                  <a:lnTo>
                    <a:pt x="3467" y="4059"/>
                  </a:lnTo>
                  <a:lnTo>
                    <a:pt x="3448" y="4072"/>
                  </a:lnTo>
                  <a:lnTo>
                    <a:pt x="3429" y="4086"/>
                  </a:lnTo>
                  <a:lnTo>
                    <a:pt x="3421" y="4094"/>
                  </a:lnTo>
                  <a:lnTo>
                    <a:pt x="3412" y="4104"/>
                  </a:lnTo>
                  <a:lnTo>
                    <a:pt x="3404" y="4114"/>
                  </a:lnTo>
                  <a:lnTo>
                    <a:pt x="3396" y="4124"/>
                  </a:lnTo>
                  <a:lnTo>
                    <a:pt x="3378" y="4147"/>
                  </a:lnTo>
                  <a:lnTo>
                    <a:pt x="3362" y="4167"/>
                  </a:lnTo>
                  <a:lnTo>
                    <a:pt x="3356" y="4177"/>
                  </a:lnTo>
                  <a:lnTo>
                    <a:pt x="3350" y="4188"/>
                  </a:lnTo>
                  <a:lnTo>
                    <a:pt x="3348" y="4195"/>
                  </a:lnTo>
                  <a:lnTo>
                    <a:pt x="3347" y="4200"/>
                  </a:lnTo>
                  <a:lnTo>
                    <a:pt x="3346" y="4208"/>
                  </a:lnTo>
                  <a:lnTo>
                    <a:pt x="3346" y="4214"/>
                  </a:lnTo>
                  <a:lnTo>
                    <a:pt x="3346" y="4222"/>
                  </a:lnTo>
                  <a:lnTo>
                    <a:pt x="3347" y="4228"/>
                  </a:lnTo>
                  <a:lnTo>
                    <a:pt x="3350" y="4234"/>
                  </a:lnTo>
                  <a:lnTo>
                    <a:pt x="3352" y="4240"/>
                  </a:lnTo>
                  <a:lnTo>
                    <a:pt x="3360" y="4251"/>
                  </a:lnTo>
                  <a:lnTo>
                    <a:pt x="3368" y="4263"/>
                  </a:lnTo>
                  <a:lnTo>
                    <a:pt x="3378" y="4293"/>
                  </a:lnTo>
                  <a:lnTo>
                    <a:pt x="3387" y="4322"/>
                  </a:lnTo>
                  <a:lnTo>
                    <a:pt x="3391" y="4336"/>
                  </a:lnTo>
                  <a:lnTo>
                    <a:pt x="3396" y="4351"/>
                  </a:lnTo>
                  <a:lnTo>
                    <a:pt x="3399" y="4366"/>
                  </a:lnTo>
                  <a:lnTo>
                    <a:pt x="3401" y="4383"/>
                  </a:lnTo>
                  <a:lnTo>
                    <a:pt x="3401" y="4383"/>
                  </a:lnTo>
                  <a:lnTo>
                    <a:pt x="3390" y="4382"/>
                  </a:lnTo>
                  <a:lnTo>
                    <a:pt x="3381" y="4379"/>
                  </a:lnTo>
                  <a:lnTo>
                    <a:pt x="3371" y="4376"/>
                  </a:lnTo>
                  <a:lnTo>
                    <a:pt x="3362" y="4372"/>
                  </a:lnTo>
                  <a:lnTo>
                    <a:pt x="3345" y="4361"/>
                  </a:lnTo>
                  <a:lnTo>
                    <a:pt x="3325" y="4349"/>
                  </a:lnTo>
                  <a:lnTo>
                    <a:pt x="3314" y="4344"/>
                  </a:lnTo>
                  <a:lnTo>
                    <a:pt x="3301" y="4342"/>
                  </a:lnTo>
                  <a:lnTo>
                    <a:pt x="3295" y="4339"/>
                  </a:lnTo>
                  <a:lnTo>
                    <a:pt x="3289" y="4337"/>
                  </a:lnTo>
                  <a:lnTo>
                    <a:pt x="3283" y="4334"/>
                  </a:lnTo>
                  <a:lnTo>
                    <a:pt x="3278" y="4330"/>
                  </a:lnTo>
                  <a:lnTo>
                    <a:pt x="3275" y="4325"/>
                  </a:lnTo>
                  <a:lnTo>
                    <a:pt x="3271" y="4321"/>
                  </a:lnTo>
                  <a:lnTo>
                    <a:pt x="3269" y="4317"/>
                  </a:lnTo>
                  <a:lnTo>
                    <a:pt x="3268" y="4312"/>
                  </a:lnTo>
                  <a:lnTo>
                    <a:pt x="3266" y="4304"/>
                  </a:lnTo>
                  <a:lnTo>
                    <a:pt x="3266" y="4295"/>
                  </a:lnTo>
                  <a:lnTo>
                    <a:pt x="3265" y="4285"/>
                  </a:lnTo>
                  <a:lnTo>
                    <a:pt x="3264" y="4276"/>
                  </a:lnTo>
                  <a:lnTo>
                    <a:pt x="3263" y="4266"/>
                  </a:lnTo>
                  <a:lnTo>
                    <a:pt x="3259" y="4256"/>
                  </a:lnTo>
                  <a:lnTo>
                    <a:pt x="3256" y="4253"/>
                  </a:lnTo>
                  <a:lnTo>
                    <a:pt x="3253" y="4250"/>
                  </a:lnTo>
                  <a:lnTo>
                    <a:pt x="3251" y="4247"/>
                  </a:lnTo>
                  <a:lnTo>
                    <a:pt x="3248" y="4244"/>
                  </a:lnTo>
                  <a:lnTo>
                    <a:pt x="3240" y="4241"/>
                  </a:lnTo>
                  <a:lnTo>
                    <a:pt x="3232" y="4240"/>
                  </a:lnTo>
                  <a:lnTo>
                    <a:pt x="3213" y="4239"/>
                  </a:lnTo>
                  <a:lnTo>
                    <a:pt x="3194" y="4240"/>
                  </a:lnTo>
                  <a:lnTo>
                    <a:pt x="3165" y="4241"/>
                  </a:lnTo>
                  <a:lnTo>
                    <a:pt x="3139" y="4243"/>
                  </a:lnTo>
                  <a:lnTo>
                    <a:pt x="3114" y="4247"/>
                  </a:lnTo>
                  <a:lnTo>
                    <a:pt x="3089" y="4251"/>
                  </a:lnTo>
                  <a:lnTo>
                    <a:pt x="3065" y="4255"/>
                  </a:lnTo>
                  <a:lnTo>
                    <a:pt x="3040" y="4258"/>
                  </a:lnTo>
                  <a:lnTo>
                    <a:pt x="3013" y="4262"/>
                  </a:lnTo>
                  <a:lnTo>
                    <a:pt x="2984" y="4263"/>
                  </a:lnTo>
                  <a:lnTo>
                    <a:pt x="2969" y="4262"/>
                  </a:lnTo>
                  <a:lnTo>
                    <a:pt x="2955" y="4258"/>
                  </a:lnTo>
                  <a:lnTo>
                    <a:pt x="2947" y="4256"/>
                  </a:lnTo>
                  <a:lnTo>
                    <a:pt x="2941" y="4254"/>
                  </a:lnTo>
                  <a:lnTo>
                    <a:pt x="2936" y="4251"/>
                  </a:lnTo>
                  <a:lnTo>
                    <a:pt x="2929" y="4248"/>
                  </a:lnTo>
                  <a:lnTo>
                    <a:pt x="2924" y="4243"/>
                  </a:lnTo>
                  <a:lnTo>
                    <a:pt x="2918" y="4239"/>
                  </a:lnTo>
                  <a:lnTo>
                    <a:pt x="2914" y="4235"/>
                  </a:lnTo>
                  <a:lnTo>
                    <a:pt x="2910" y="4229"/>
                  </a:lnTo>
                  <a:lnTo>
                    <a:pt x="2905" y="4223"/>
                  </a:lnTo>
                  <a:lnTo>
                    <a:pt x="2902" y="4216"/>
                  </a:lnTo>
                  <a:lnTo>
                    <a:pt x="2900" y="4210"/>
                  </a:lnTo>
                  <a:lnTo>
                    <a:pt x="2897" y="4202"/>
                  </a:lnTo>
                  <a:lnTo>
                    <a:pt x="2860" y="4202"/>
                  </a:lnTo>
                  <a:lnTo>
                    <a:pt x="2828" y="4203"/>
                  </a:lnTo>
                  <a:lnTo>
                    <a:pt x="2795" y="4203"/>
                  </a:lnTo>
                  <a:lnTo>
                    <a:pt x="2757" y="4203"/>
                  </a:lnTo>
                  <a:lnTo>
                    <a:pt x="2744" y="4204"/>
                  </a:lnTo>
                  <a:lnTo>
                    <a:pt x="2733" y="4208"/>
                  </a:lnTo>
                  <a:lnTo>
                    <a:pt x="2720" y="4210"/>
                  </a:lnTo>
                  <a:lnTo>
                    <a:pt x="2707" y="4212"/>
                  </a:lnTo>
                  <a:lnTo>
                    <a:pt x="2683" y="4211"/>
                  </a:lnTo>
                  <a:lnTo>
                    <a:pt x="2662" y="4209"/>
                  </a:lnTo>
                  <a:lnTo>
                    <a:pt x="2653" y="4208"/>
                  </a:lnTo>
                  <a:lnTo>
                    <a:pt x="2642" y="4208"/>
                  </a:lnTo>
                  <a:lnTo>
                    <a:pt x="2631" y="4209"/>
                  </a:lnTo>
                  <a:lnTo>
                    <a:pt x="2619" y="4212"/>
                  </a:lnTo>
                  <a:lnTo>
                    <a:pt x="2609" y="4216"/>
                  </a:lnTo>
                  <a:lnTo>
                    <a:pt x="2600" y="4222"/>
                  </a:lnTo>
                  <a:lnTo>
                    <a:pt x="2592" y="4229"/>
                  </a:lnTo>
                  <a:lnTo>
                    <a:pt x="2586" y="4237"/>
                  </a:lnTo>
                  <a:lnTo>
                    <a:pt x="2574" y="4255"/>
                  </a:lnTo>
                  <a:lnTo>
                    <a:pt x="2563" y="4275"/>
                  </a:lnTo>
                  <a:lnTo>
                    <a:pt x="2558" y="4284"/>
                  </a:lnTo>
                  <a:lnTo>
                    <a:pt x="2552" y="4293"/>
                  </a:lnTo>
                  <a:lnTo>
                    <a:pt x="2547" y="4302"/>
                  </a:lnTo>
                  <a:lnTo>
                    <a:pt x="2540" y="4309"/>
                  </a:lnTo>
                  <a:lnTo>
                    <a:pt x="2533" y="4315"/>
                  </a:lnTo>
                  <a:lnTo>
                    <a:pt x="2524" y="4320"/>
                  </a:lnTo>
                  <a:lnTo>
                    <a:pt x="2520" y="4321"/>
                  </a:lnTo>
                  <a:lnTo>
                    <a:pt x="2515" y="4323"/>
                  </a:lnTo>
                  <a:lnTo>
                    <a:pt x="2510" y="4323"/>
                  </a:lnTo>
                  <a:lnTo>
                    <a:pt x="2504" y="4324"/>
                  </a:lnTo>
                  <a:lnTo>
                    <a:pt x="2487" y="4324"/>
                  </a:lnTo>
                  <a:lnTo>
                    <a:pt x="2474" y="4324"/>
                  </a:lnTo>
                  <a:lnTo>
                    <a:pt x="2460" y="4324"/>
                  </a:lnTo>
                  <a:lnTo>
                    <a:pt x="2444" y="4324"/>
                  </a:lnTo>
                  <a:lnTo>
                    <a:pt x="2432" y="4323"/>
                  </a:lnTo>
                  <a:lnTo>
                    <a:pt x="2423" y="4323"/>
                  </a:lnTo>
                  <a:lnTo>
                    <a:pt x="2412" y="4321"/>
                  </a:lnTo>
                  <a:lnTo>
                    <a:pt x="2402" y="4319"/>
                  </a:lnTo>
                  <a:lnTo>
                    <a:pt x="2385" y="4313"/>
                  </a:lnTo>
                  <a:lnTo>
                    <a:pt x="2367" y="4306"/>
                  </a:lnTo>
                  <a:lnTo>
                    <a:pt x="2350" y="4297"/>
                  </a:lnTo>
                  <a:lnTo>
                    <a:pt x="2334" y="4286"/>
                  </a:lnTo>
                  <a:lnTo>
                    <a:pt x="2318" y="4275"/>
                  </a:lnTo>
                  <a:lnTo>
                    <a:pt x="2300" y="4263"/>
                  </a:lnTo>
                  <a:lnTo>
                    <a:pt x="2293" y="4257"/>
                  </a:lnTo>
                  <a:lnTo>
                    <a:pt x="2288" y="4252"/>
                  </a:lnTo>
                  <a:lnTo>
                    <a:pt x="2282" y="4247"/>
                  </a:lnTo>
                  <a:lnTo>
                    <a:pt x="2278" y="4240"/>
                  </a:lnTo>
                  <a:lnTo>
                    <a:pt x="2276" y="4232"/>
                  </a:lnTo>
                  <a:lnTo>
                    <a:pt x="2273" y="4225"/>
                  </a:lnTo>
                  <a:lnTo>
                    <a:pt x="2273" y="4223"/>
                  </a:lnTo>
                  <a:lnTo>
                    <a:pt x="2271" y="4220"/>
                  </a:lnTo>
                  <a:lnTo>
                    <a:pt x="2269" y="4218"/>
                  </a:lnTo>
                  <a:lnTo>
                    <a:pt x="2266" y="4217"/>
                  </a:lnTo>
                  <a:lnTo>
                    <a:pt x="2248" y="4218"/>
                  </a:lnTo>
                  <a:lnTo>
                    <a:pt x="2230" y="4220"/>
                  </a:lnTo>
                  <a:lnTo>
                    <a:pt x="2214" y="4223"/>
                  </a:lnTo>
                  <a:lnTo>
                    <a:pt x="2199" y="4227"/>
                  </a:lnTo>
                  <a:lnTo>
                    <a:pt x="2169" y="4239"/>
                  </a:lnTo>
                  <a:lnTo>
                    <a:pt x="2134" y="4254"/>
                  </a:lnTo>
                  <a:lnTo>
                    <a:pt x="2122" y="4258"/>
                  </a:lnTo>
                  <a:lnTo>
                    <a:pt x="2110" y="4262"/>
                  </a:lnTo>
                  <a:lnTo>
                    <a:pt x="2099" y="4264"/>
                  </a:lnTo>
                  <a:lnTo>
                    <a:pt x="2088" y="4266"/>
                  </a:lnTo>
                  <a:lnTo>
                    <a:pt x="2077" y="4269"/>
                  </a:lnTo>
                  <a:lnTo>
                    <a:pt x="2067" y="4274"/>
                  </a:lnTo>
                  <a:lnTo>
                    <a:pt x="2062" y="4276"/>
                  </a:lnTo>
                  <a:lnTo>
                    <a:pt x="2057" y="4279"/>
                  </a:lnTo>
                  <a:lnTo>
                    <a:pt x="2052" y="4283"/>
                  </a:lnTo>
                  <a:lnTo>
                    <a:pt x="2048" y="4288"/>
                  </a:lnTo>
                  <a:lnTo>
                    <a:pt x="2043" y="4294"/>
                  </a:lnTo>
                  <a:lnTo>
                    <a:pt x="2040" y="4301"/>
                  </a:lnTo>
                  <a:lnTo>
                    <a:pt x="2038" y="4307"/>
                  </a:lnTo>
                  <a:lnTo>
                    <a:pt x="2037" y="4315"/>
                  </a:lnTo>
                  <a:lnTo>
                    <a:pt x="2035" y="4321"/>
                  </a:lnTo>
                  <a:lnTo>
                    <a:pt x="2032" y="4328"/>
                  </a:lnTo>
                  <a:lnTo>
                    <a:pt x="2028" y="4333"/>
                  </a:lnTo>
                  <a:lnTo>
                    <a:pt x="2023" y="4338"/>
                  </a:lnTo>
                  <a:lnTo>
                    <a:pt x="2015" y="4343"/>
                  </a:lnTo>
                  <a:lnTo>
                    <a:pt x="2008" y="4347"/>
                  </a:lnTo>
                  <a:lnTo>
                    <a:pt x="2000" y="4350"/>
                  </a:lnTo>
                  <a:lnTo>
                    <a:pt x="1993" y="4352"/>
                  </a:lnTo>
                  <a:lnTo>
                    <a:pt x="1978" y="4356"/>
                  </a:lnTo>
                  <a:lnTo>
                    <a:pt x="1964" y="4359"/>
                  </a:lnTo>
                  <a:lnTo>
                    <a:pt x="1948" y="4360"/>
                  </a:lnTo>
                  <a:lnTo>
                    <a:pt x="1933" y="4362"/>
                  </a:lnTo>
                  <a:lnTo>
                    <a:pt x="1917" y="4364"/>
                  </a:lnTo>
                  <a:lnTo>
                    <a:pt x="1900" y="4369"/>
                  </a:lnTo>
                  <a:lnTo>
                    <a:pt x="1892" y="4371"/>
                  </a:lnTo>
                  <a:lnTo>
                    <a:pt x="1886" y="4374"/>
                  </a:lnTo>
                  <a:lnTo>
                    <a:pt x="1880" y="4377"/>
                  </a:lnTo>
                  <a:lnTo>
                    <a:pt x="1875" y="4382"/>
                  </a:lnTo>
                  <a:lnTo>
                    <a:pt x="1865" y="4390"/>
                  </a:lnTo>
                  <a:lnTo>
                    <a:pt x="1855" y="4399"/>
                  </a:lnTo>
                  <a:lnTo>
                    <a:pt x="1847" y="4407"/>
                  </a:lnTo>
                  <a:lnTo>
                    <a:pt x="1836" y="4415"/>
                  </a:lnTo>
                  <a:lnTo>
                    <a:pt x="1831" y="4418"/>
                  </a:lnTo>
                  <a:lnTo>
                    <a:pt x="1824" y="4420"/>
                  </a:lnTo>
                  <a:lnTo>
                    <a:pt x="1818" y="4421"/>
                  </a:lnTo>
                  <a:lnTo>
                    <a:pt x="1811" y="4421"/>
                  </a:lnTo>
                  <a:lnTo>
                    <a:pt x="1794" y="4421"/>
                  </a:lnTo>
                  <a:lnTo>
                    <a:pt x="1778" y="4420"/>
                  </a:lnTo>
                  <a:lnTo>
                    <a:pt x="1762" y="4418"/>
                  </a:lnTo>
                  <a:lnTo>
                    <a:pt x="1747" y="4414"/>
                  </a:lnTo>
                  <a:lnTo>
                    <a:pt x="1733" y="4409"/>
                  </a:lnTo>
                  <a:lnTo>
                    <a:pt x="1719" y="4402"/>
                  </a:lnTo>
                  <a:lnTo>
                    <a:pt x="1705" y="4393"/>
                  </a:lnTo>
                  <a:lnTo>
                    <a:pt x="1692" y="4383"/>
                  </a:lnTo>
                  <a:lnTo>
                    <a:pt x="1681" y="4373"/>
                  </a:lnTo>
                  <a:lnTo>
                    <a:pt x="1671" y="4363"/>
                  </a:lnTo>
                  <a:lnTo>
                    <a:pt x="1662" y="4353"/>
                  </a:lnTo>
                  <a:lnTo>
                    <a:pt x="1655" y="4343"/>
                  </a:lnTo>
                  <a:lnTo>
                    <a:pt x="1642" y="4321"/>
                  </a:lnTo>
                  <a:lnTo>
                    <a:pt x="1628" y="4296"/>
                  </a:lnTo>
                  <a:lnTo>
                    <a:pt x="1621" y="4283"/>
                  </a:lnTo>
                  <a:lnTo>
                    <a:pt x="1614" y="4271"/>
                  </a:lnTo>
                  <a:lnTo>
                    <a:pt x="1609" y="4266"/>
                  </a:lnTo>
                  <a:lnTo>
                    <a:pt x="1604" y="4263"/>
                  </a:lnTo>
                  <a:lnTo>
                    <a:pt x="1597" y="4261"/>
                  </a:lnTo>
                  <a:lnTo>
                    <a:pt x="1591" y="4259"/>
                  </a:lnTo>
                  <a:lnTo>
                    <a:pt x="1585" y="4259"/>
                  </a:lnTo>
                  <a:lnTo>
                    <a:pt x="1580" y="4261"/>
                  </a:lnTo>
                  <a:lnTo>
                    <a:pt x="1576" y="4263"/>
                  </a:lnTo>
                  <a:lnTo>
                    <a:pt x="1571" y="4265"/>
                  </a:lnTo>
                  <a:lnTo>
                    <a:pt x="1562" y="4268"/>
                  </a:lnTo>
                  <a:lnTo>
                    <a:pt x="1551" y="4270"/>
                  </a:lnTo>
                  <a:lnTo>
                    <a:pt x="1551" y="4270"/>
                  </a:lnTo>
                  <a:lnTo>
                    <a:pt x="1547" y="4255"/>
                  </a:lnTo>
                  <a:lnTo>
                    <a:pt x="1543" y="4241"/>
                  </a:lnTo>
                  <a:lnTo>
                    <a:pt x="1538" y="4225"/>
                  </a:lnTo>
                  <a:lnTo>
                    <a:pt x="1533" y="4209"/>
                  </a:lnTo>
                  <a:lnTo>
                    <a:pt x="1530" y="4204"/>
                  </a:lnTo>
                  <a:lnTo>
                    <a:pt x="1527" y="4201"/>
                  </a:lnTo>
                  <a:lnTo>
                    <a:pt x="1524" y="4199"/>
                  </a:lnTo>
                  <a:lnTo>
                    <a:pt x="1521" y="4197"/>
                  </a:lnTo>
                  <a:lnTo>
                    <a:pt x="1513" y="4194"/>
                  </a:lnTo>
                  <a:lnTo>
                    <a:pt x="1504" y="4189"/>
                  </a:lnTo>
                  <a:lnTo>
                    <a:pt x="1474" y="4174"/>
                  </a:lnTo>
                  <a:lnTo>
                    <a:pt x="1448" y="4160"/>
                  </a:lnTo>
                  <a:lnTo>
                    <a:pt x="1422" y="4145"/>
                  </a:lnTo>
                  <a:lnTo>
                    <a:pt x="1392" y="4131"/>
                  </a:lnTo>
                  <a:lnTo>
                    <a:pt x="1386" y="4128"/>
                  </a:lnTo>
                  <a:lnTo>
                    <a:pt x="1379" y="4124"/>
                  </a:lnTo>
                  <a:lnTo>
                    <a:pt x="1374" y="4120"/>
                  </a:lnTo>
                  <a:lnTo>
                    <a:pt x="1369" y="4116"/>
                  </a:lnTo>
                  <a:lnTo>
                    <a:pt x="1361" y="4107"/>
                  </a:lnTo>
                  <a:lnTo>
                    <a:pt x="1353" y="4096"/>
                  </a:lnTo>
                  <a:lnTo>
                    <a:pt x="1348" y="4086"/>
                  </a:lnTo>
                  <a:lnTo>
                    <a:pt x="1342" y="4073"/>
                  </a:lnTo>
                  <a:lnTo>
                    <a:pt x="1338" y="4060"/>
                  </a:lnTo>
                  <a:lnTo>
                    <a:pt x="1333" y="4047"/>
                  </a:lnTo>
                  <a:lnTo>
                    <a:pt x="1326" y="4032"/>
                  </a:lnTo>
                  <a:lnTo>
                    <a:pt x="1318" y="4020"/>
                  </a:lnTo>
                  <a:lnTo>
                    <a:pt x="1313" y="4013"/>
                  </a:lnTo>
                  <a:lnTo>
                    <a:pt x="1311" y="4007"/>
                  </a:lnTo>
                  <a:lnTo>
                    <a:pt x="1309" y="3999"/>
                  </a:lnTo>
                  <a:lnTo>
                    <a:pt x="1308" y="3991"/>
                  </a:lnTo>
                  <a:lnTo>
                    <a:pt x="1308" y="3977"/>
                  </a:lnTo>
                  <a:lnTo>
                    <a:pt x="1308" y="3964"/>
                  </a:lnTo>
                  <a:lnTo>
                    <a:pt x="1308" y="3951"/>
                  </a:lnTo>
                  <a:lnTo>
                    <a:pt x="1308" y="3937"/>
                  </a:lnTo>
                  <a:lnTo>
                    <a:pt x="1309" y="3919"/>
                  </a:lnTo>
                  <a:lnTo>
                    <a:pt x="1311" y="3903"/>
                  </a:lnTo>
                  <a:lnTo>
                    <a:pt x="1315" y="3888"/>
                  </a:lnTo>
                  <a:lnTo>
                    <a:pt x="1321" y="3874"/>
                  </a:lnTo>
                  <a:lnTo>
                    <a:pt x="1327" y="3860"/>
                  </a:lnTo>
                  <a:lnTo>
                    <a:pt x="1335" y="3847"/>
                  </a:lnTo>
                  <a:lnTo>
                    <a:pt x="1342" y="3834"/>
                  </a:lnTo>
                  <a:lnTo>
                    <a:pt x="1350" y="3822"/>
                  </a:lnTo>
                  <a:lnTo>
                    <a:pt x="1358" y="3809"/>
                  </a:lnTo>
                  <a:lnTo>
                    <a:pt x="1365" y="3796"/>
                  </a:lnTo>
                  <a:lnTo>
                    <a:pt x="1373" y="3783"/>
                  </a:lnTo>
                  <a:lnTo>
                    <a:pt x="1379" y="3770"/>
                  </a:lnTo>
                  <a:lnTo>
                    <a:pt x="1385" y="3756"/>
                  </a:lnTo>
                  <a:lnTo>
                    <a:pt x="1388" y="3741"/>
                  </a:lnTo>
                  <a:lnTo>
                    <a:pt x="1391" y="3725"/>
                  </a:lnTo>
                  <a:lnTo>
                    <a:pt x="1392" y="3708"/>
                  </a:lnTo>
                  <a:lnTo>
                    <a:pt x="1391" y="3700"/>
                  </a:lnTo>
                  <a:lnTo>
                    <a:pt x="1390" y="3692"/>
                  </a:lnTo>
                  <a:lnTo>
                    <a:pt x="1388" y="3685"/>
                  </a:lnTo>
                  <a:lnTo>
                    <a:pt x="1386" y="3678"/>
                  </a:lnTo>
                  <a:lnTo>
                    <a:pt x="1381" y="3673"/>
                  </a:lnTo>
                  <a:lnTo>
                    <a:pt x="1377" y="3669"/>
                  </a:lnTo>
                  <a:lnTo>
                    <a:pt x="1371" y="3667"/>
                  </a:lnTo>
                  <a:lnTo>
                    <a:pt x="1364" y="3665"/>
                  </a:lnTo>
                  <a:lnTo>
                    <a:pt x="1353" y="3665"/>
                  </a:lnTo>
                  <a:lnTo>
                    <a:pt x="1345" y="3667"/>
                  </a:lnTo>
                  <a:lnTo>
                    <a:pt x="1335" y="3669"/>
                  </a:lnTo>
                  <a:lnTo>
                    <a:pt x="1326" y="3671"/>
                  </a:lnTo>
                  <a:lnTo>
                    <a:pt x="1310" y="3677"/>
                  </a:lnTo>
                  <a:lnTo>
                    <a:pt x="1295" y="3685"/>
                  </a:lnTo>
                  <a:lnTo>
                    <a:pt x="1279" y="3692"/>
                  </a:lnTo>
                  <a:lnTo>
                    <a:pt x="1263" y="3698"/>
                  </a:lnTo>
                  <a:lnTo>
                    <a:pt x="1254" y="3701"/>
                  </a:lnTo>
                  <a:lnTo>
                    <a:pt x="1245" y="3703"/>
                  </a:lnTo>
                  <a:lnTo>
                    <a:pt x="1236" y="3704"/>
                  </a:lnTo>
                  <a:lnTo>
                    <a:pt x="1225" y="3704"/>
                  </a:lnTo>
                  <a:lnTo>
                    <a:pt x="1215" y="3704"/>
                  </a:lnTo>
                  <a:lnTo>
                    <a:pt x="1207" y="3702"/>
                  </a:lnTo>
                  <a:lnTo>
                    <a:pt x="1199" y="3700"/>
                  </a:lnTo>
                  <a:lnTo>
                    <a:pt x="1191" y="3697"/>
                  </a:lnTo>
                  <a:lnTo>
                    <a:pt x="1176" y="3690"/>
                  </a:lnTo>
                  <a:lnTo>
                    <a:pt x="1159" y="3682"/>
                  </a:lnTo>
                  <a:lnTo>
                    <a:pt x="644" y="3674"/>
                  </a:lnTo>
                  <a:lnTo>
                    <a:pt x="433" y="3197"/>
                  </a:lnTo>
                  <a:lnTo>
                    <a:pt x="446" y="3195"/>
                  </a:lnTo>
                  <a:lnTo>
                    <a:pt x="458" y="3191"/>
                  </a:lnTo>
                  <a:lnTo>
                    <a:pt x="470" y="3189"/>
                  </a:lnTo>
                  <a:lnTo>
                    <a:pt x="482" y="3189"/>
                  </a:lnTo>
                  <a:lnTo>
                    <a:pt x="506" y="3189"/>
                  </a:lnTo>
                  <a:lnTo>
                    <a:pt x="528" y="3189"/>
                  </a:lnTo>
                  <a:lnTo>
                    <a:pt x="550" y="3189"/>
                  </a:lnTo>
                  <a:lnTo>
                    <a:pt x="575" y="3189"/>
                  </a:lnTo>
                  <a:lnTo>
                    <a:pt x="575" y="3164"/>
                  </a:lnTo>
                  <a:lnTo>
                    <a:pt x="575" y="3144"/>
                  </a:lnTo>
                  <a:lnTo>
                    <a:pt x="575" y="3122"/>
                  </a:lnTo>
                  <a:lnTo>
                    <a:pt x="575" y="3098"/>
                  </a:lnTo>
                  <a:lnTo>
                    <a:pt x="576" y="3084"/>
                  </a:lnTo>
                  <a:lnTo>
                    <a:pt x="577" y="3070"/>
                  </a:lnTo>
                  <a:lnTo>
                    <a:pt x="578" y="3059"/>
                  </a:lnTo>
                  <a:lnTo>
                    <a:pt x="580" y="3046"/>
                  </a:lnTo>
                  <a:lnTo>
                    <a:pt x="584" y="3023"/>
                  </a:lnTo>
                  <a:lnTo>
                    <a:pt x="590" y="3000"/>
                  </a:lnTo>
                  <a:lnTo>
                    <a:pt x="595" y="2978"/>
                  </a:lnTo>
                  <a:lnTo>
                    <a:pt x="599" y="2954"/>
                  </a:lnTo>
                  <a:lnTo>
                    <a:pt x="602" y="2942"/>
                  </a:lnTo>
                  <a:lnTo>
                    <a:pt x="603" y="2929"/>
                  </a:lnTo>
                  <a:lnTo>
                    <a:pt x="604" y="2916"/>
                  </a:lnTo>
                  <a:lnTo>
                    <a:pt x="605" y="2902"/>
                  </a:lnTo>
                  <a:lnTo>
                    <a:pt x="604" y="2893"/>
                  </a:lnTo>
                  <a:lnTo>
                    <a:pt x="603" y="2886"/>
                  </a:lnTo>
                  <a:lnTo>
                    <a:pt x="600" y="2878"/>
                  </a:lnTo>
                  <a:lnTo>
                    <a:pt x="597" y="2872"/>
                  </a:lnTo>
                  <a:lnTo>
                    <a:pt x="591" y="2859"/>
                  </a:lnTo>
                  <a:lnTo>
                    <a:pt x="582" y="2847"/>
                  </a:lnTo>
                  <a:lnTo>
                    <a:pt x="572" y="2835"/>
                  </a:lnTo>
                  <a:lnTo>
                    <a:pt x="563" y="2823"/>
                  </a:lnTo>
                  <a:lnTo>
                    <a:pt x="558" y="2817"/>
                  </a:lnTo>
                  <a:lnTo>
                    <a:pt x="555" y="2809"/>
                  </a:lnTo>
                  <a:lnTo>
                    <a:pt x="551" y="2801"/>
                  </a:lnTo>
                  <a:lnTo>
                    <a:pt x="549" y="2794"/>
                  </a:lnTo>
                  <a:lnTo>
                    <a:pt x="543" y="2777"/>
                  </a:lnTo>
                  <a:lnTo>
                    <a:pt x="540" y="2760"/>
                  </a:lnTo>
                  <a:lnTo>
                    <a:pt x="537" y="2745"/>
                  </a:lnTo>
                  <a:lnTo>
                    <a:pt x="535" y="2731"/>
                  </a:lnTo>
                  <a:lnTo>
                    <a:pt x="528" y="2701"/>
                  </a:lnTo>
                  <a:lnTo>
                    <a:pt x="521" y="2668"/>
                  </a:lnTo>
                  <a:lnTo>
                    <a:pt x="517" y="2659"/>
                  </a:lnTo>
                  <a:lnTo>
                    <a:pt x="514" y="2650"/>
                  </a:lnTo>
                  <a:lnTo>
                    <a:pt x="511" y="2643"/>
                  </a:lnTo>
                  <a:lnTo>
                    <a:pt x="506" y="2635"/>
                  </a:lnTo>
                  <a:lnTo>
                    <a:pt x="502" y="2629"/>
                  </a:lnTo>
                  <a:lnTo>
                    <a:pt x="497" y="2622"/>
                  </a:lnTo>
                  <a:lnTo>
                    <a:pt x="491" y="2616"/>
                  </a:lnTo>
                  <a:lnTo>
                    <a:pt x="486" y="2610"/>
                  </a:lnTo>
                  <a:lnTo>
                    <a:pt x="473" y="2601"/>
                  </a:lnTo>
                  <a:lnTo>
                    <a:pt x="459" y="2591"/>
                  </a:lnTo>
                  <a:lnTo>
                    <a:pt x="444" y="2581"/>
                  </a:lnTo>
                  <a:lnTo>
                    <a:pt x="428" y="2573"/>
                  </a:lnTo>
                  <a:lnTo>
                    <a:pt x="414" y="2564"/>
                  </a:lnTo>
                  <a:lnTo>
                    <a:pt x="401" y="2554"/>
                  </a:lnTo>
                  <a:lnTo>
                    <a:pt x="389" y="2544"/>
                  </a:lnTo>
                  <a:lnTo>
                    <a:pt x="377" y="2536"/>
                  </a:lnTo>
                  <a:lnTo>
                    <a:pt x="377" y="2536"/>
                  </a:lnTo>
                  <a:lnTo>
                    <a:pt x="383" y="2521"/>
                  </a:lnTo>
                  <a:lnTo>
                    <a:pt x="390" y="2508"/>
                  </a:lnTo>
                  <a:lnTo>
                    <a:pt x="397" y="2496"/>
                  </a:lnTo>
                  <a:lnTo>
                    <a:pt x="406" y="2485"/>
                  </a:lnTo>
                  <a:lnTo>
                    <a:pt x="424" y="2465"/>
                  </a:lnTo>
                  <a:lnTo>
                    <a:pt x="445" y="2441"/>
                  </a:lnTo>
                  <a:lnTo>
                    <a:pt x="468" y="2413"/>
                  </a:lnTo>
                  <a:lnTo>
                    <a:pt x="488" y="2387"/>
                  </a:lnTo>
                  <a:lnTo>
                    <a:pt x="509" y="2363"/>
                  </a:lnTo>
                  <a:lnTo>
                    <a:pt x="528" y="2341"/>
                  </a:lnTo>
                  <a:lnTo>
                    <a:pt x="549" y="2319"/>
                  </a:lnTo>
                  <a:lnTo>
                    <a:pt x="570" y="2297"/>
                  </a:lnTo>
                  <a:lnTo>
                    <a:pt x="593" y="2273"/>
                  </a:lnTo>
                  <a:lnTo>
                    <a:pt x="619" y="2247"/>
                  </a:lnTo>
                  <a:lnTo>
                    <a:pt x="627" y="2238"/>
                  </a:lnTo>
                  <a:lnTo>
                    <a:pt x="635" y="2229"/>
                  </a:lnTo>
                  <a:lnTo>
                    <a:pt x="643" y="2219"/>
                  </a:lnTo>
                  <a:lnTo>
                    <a:pt x="648" y="2211"/>
                  </a:lnTo>
                  <a:lnTo>
                    <a:pt x="654" y="2201"/>
                  </a:lnTo>
                  <a:lnTo>
                    <a:pt x="659" y="2192"/>
                  </a:lnTo>
                  <a:lnTo>
                    <a:pt x="664" y="2183"/>
                  </a:lnTo>
                  <a:lnTo>
                    <a:pt x="668" y="2173"/>
                  </a:lnTo>
                  <a:lnTo>
                    <a:pt x="675" y="2152"/>
                  </a:lnTo>
                  <a:lnTo>
                    <a:pt x="680" y="2132"/>
                  </a:lnTo>
                  <a:lnTo>
                    <a:pt x="686" y="2109"/>
                  </a:lnTo>
                  <a:lnTo>
                    <a:pt x="691" y="2084"/>
                  </a:lnTo>
                  <a:lnTo>
                    <a:pt x="694" y="2068"/>
                  </a:lnTo>
                  <a:lnTo>
                    <a:pt x="699" y="2053"/>
                  </a:lnTo>
                  <a:lnTo>
                    <a:pt x="704" y="2039"/>
                  </a:lnTo>
                  <a:lnTo>
                    <a:pt x="708" y="2026"/>
                  </a:lnTo>
                  <a:lnTo>
                    <a:pt x="721" y="1999"/>
                  </a:lnTo>
                  <a:lnTo>
                    <a:pt x="737" y="1970"/>
                  </a:lnTo>
                  <a:lnTo>
                    <a:pt x="745" y="1956"/>
                  </a:lnTo>
                  <a:lnTo>
                    <a:pt x="756" y="1943"/>
                  </a:lnTo>
                  <a:lnTo>
                    <a:pt x="760" y="1936"/>
                  </a:lnTo>
                  <a:lnTo>
                    <a:pt x="764" y="1930"/>
                  </a:lnTo>
                  <a:lnTo>
                    <a:pt x="766" y="1922"/>
                  </a:lnTo>
                  <a:lnTo>
                    <a:pt x="767" y="1914"/>
                  </a:lnTo>
                  <a:lnTo>
                    <a:pt x="767" y="1905"/>
                  </a:lnTo>
                  <a:lnTo>
                    <a:pt x="766" y="1898"/>
                  </a:lnTo>
                  <a:lnTo>
                    <a:pt x="764" y="1890"/>
                  </a:lnTo>
                  <a:lnTo>
                    <a:pt x="761" y="1882"/>
                  </a:lnTo>
                  <a:lnTo>
                    <a:pt x="759" y="1876"/>
                  </a:lnTo>
                  <a:lnTo>
                    <a:pt x="757" y="1868"/>
                  </a:lnTo>
                  <a:lnTo>
                    <a:pt x="756" y="1861"/>
                  </a:lnTo>
                  <a:lnTo>
                    <a:pt x="756" y="1852"/>
                  </a:lnTo>
                  <a:lnTo>
                    <a:pt x="748" y="1839"/>
                  </a:lnTo>
                  <a:lnTo>
                    <a:pt x="740" y="1827"/>
                  </a:lnTo>
                  <a:lnTo>
                    <a:pt x="732" y="1818"/>
                  </a:lnTo>
                  <a:lnTo>
                    <a:pt x="724" y="1807"/>
                  </a:lnTo>
                  <a:lnTo>
                    <a:pt x="716" y="1796"/>
                  </a:lnTo>
                  <a:lnTo>
                    <a:pt x="711" y="1785"/>
                  </a:lnTo>
                  <a:lnTo>
                    <a:pt x="708" y="1780"/>
                  </a:lnTo>
                  <a:lnTo>
                    <a:pt x="706" y="1773"/>
                  </a:lnTo>
                  <a:lnTo>
                    <a:pt x="705" y="1767"/>
                  </a:lnTo>
                  <a:lnTo>
                    <a:pt x="705" y="1759"/>
                  </a:lnTo>
                  <a:lnTo>
                    <a:pt x="706" y="1750"/>
                  </a:lnTo>
                  <a:lnTo>
                    <a:pt x="707" y="1741"/>
                  </a:lnTo>
                  <a:lnTo>
                    <a:pt x="711" y="1733"/>
                  </a:lnTo>
                  <a:lnTo>
                    <a:pt x="715" y="1726"/>
                  </a:lnTo>
                  <a:lnTo>
                    <a:pt x="724" y="1712"/>
                  </a:lnTo>
                  <a:lnTo>
                    <a:pt x="734" y="1698"/>
                  </a:lnTo>
                  <a:lnTo>
                    <a:pt x="745" y="1685"/>
                  </a:lnTo>
                  <a:lnTo>
                    <a:pt x="755" y="1671"/>
                  </a:lnTo>
                  <a:lnTo>
                    <a:pt x="759" y="1663"/>
                  </a:lnTo>
                  <a:lnTo>
                    <a:pt x="761" y="1655"/>
                  </a:lnTo>
                  <a:lnTo>
                    <a:pt x="764" y="1646"/>
                  </a:lnTo>
                  <a:lnTo>
                    <a:pt x="765" y="1636"/>
                  </a:lnTo>
                  <a:lnTo>
                    <a:pt x="764" y="1624"/>
                  </a:lnTo>
                  <a:lnTo>
                    <a:pt x="761" y="1612"/>
                  </a:lnTo>
                  <a:lnTo>
                    <a:pt x="758" y="1602"/>
                  </a:lnTo>
                  <a:lnTo>
                    <a:pt x="754" y="1591"/>
                  </a:lnTo>
                  <a:lnTo>
                    <a:pt x="748" y="1581"/>
                  </a:lnTo>
                  <a:lnTo>
                    <a:pt x="743" y="1572"/>
                  </a:lnTo>
                  <a:lnTo>
                    <a:pt x="735" y="1564"/>
                  </a:lnTo>
                  <a:lnTo>
                    <a:pt x="728" y="1556"/>
                  </a:lnTo>
                  <a:lnTo>
                    <a:pt x="719" y="1549"/>
                  </a:lnTo>
                  <a:lnTo>
                    <a:pt x="710" y="1542"/>
                  </a:lnTo>
                  <a:lnTo>
                    <a:pt x="700" y="1536"/>
                  </a:lnTo>
                  <a:lnTo>
                    <a:pt x="689" y="1529"/>
                  </a:lnTo>
                  <a:lnTo>
                    <a:pt x="667" y="1518"/>
                  </a:lnTo>
                  <a:lnTo>
                    <a:pt x="644" y="1508"/>
                  </a:lnTo>
                  <a:lnTo>
                    <a:pt x="612" y="1493"/>
                  </a:lnTo>
                  <a:lnTo>
                    <a:pt x="584" y="1477"/>
                  </a:lnTo>
                  <a:lnTo>
                    <a:pt x="570" y="1472"/>
                  </a:lnTo>
                  <a:lnTo>
                    <a:pt x="556" y="1467"/>
                  </a:lnTo>
                  <a:lnTo>
                    <a:pt x="549" y="1466"/>
                  </a:lnTo>
                  <a:lnTo>
                    <a:pt x="540" y="1463"/>
                  </a:lnTo>
                  <a:lnTo>
                    <a:pt x="531" y="1463"/>
                  </a:lnTo>
                  <a:lnTo>
                    <a:pt x="523" y="1462"/>
                  </a:lnTo>
                  <a:lnTo>
                    <a:pt x="508" y="1462"/>
                  </a:lnTo>
                  <a:lnTo>
                    <a:pt x="494" y="1462"/>
                  </a:lnTo>
                  <a:lnTo>
                    <a:pt x="481" y="1462"/>
                  </a:lnTo>
                  <a:lnTo>
                    <a:pt x="465" y="1462"/>
                  </a:lnTo>
                  <a:lnTo>
                    <a:pt x="441" y="1462"/>
                  </a:lnTo>
                  <a:lnTo>
                    <a:pt x="419" y="1460"/>
                  </a:lnTo>
                  <a:lnTo>
                    <a:pt x="408" y="1458"/>
                  </a:lnTo>
                  <a:lnTo>
                    <a:pt x="398" y="1456"/>
                  </a:lnTo>
                  <a:lnTo>
                    <a:pt x="388" y="1453"/>
                  </a:lnTo>
                  <a:lnTo>
                    <a:pt x="378" y="1449"/>
                  </a:lnTo>
                  <a:lnTo>
                    <a:pt x="368" y="1446"/>
                  </a:lnTo>
                  <a:lnTo>
                    <a:pt x="360" y="1442"/>
                  </a:lnTo>
                  <a:lnTo>
                    <a:pt x="351" y="1436"/>
                  </a:lnTo>
                  <a:lnTo>
                    <a:pt x="341" y="1431"/>
                  </a:lnTo>
                  <a:lnTo>
                    <a:pt x="333" y="1424"/>
                  </a:lnTo>
                  <a:lnTo>
                    <a:pt x="324" y="1417"/>
                  </a:lnTo>
                  <a:lnTo>
                    <a:pt x="315" y="1409"/>
                  </a:lnTo>
                  <a:lnTo>
                    <a:pt x="308" y="1401"/>
                  </a:lnTo>
                  <a:lnTo>
                    <a:pt x="293" y="1383"/>
                  </a:lnTo>
                  <a:lnTo>
                    <a:pt x="280" y="1366"/>
                  </a:lnTo>
                  <a:lnTo>
                    <a:pt x="270" y="1349"/>
                  </a:lnTo>
                  <a:lnTo>
                    <a:pt x="261" y="1332"/>
                  </a:lnTo>
                  <a:lnTo>
                    <a:pt x="246" y="1294"/>
                  </a:lnTo>
                  <a:lnTo>
                    <a:pt x="229" y="1253"/>
                  </a:lnTo>
                  <a:lnTo>
                    <a:pt x="211" y="1208"/>
                  </a:lnTo>
                  <a:lnTo>
                    <a:pt x="193" y="1169"/>
                  </a:lnTo>
                  <a:lnTo>
                    <a:pt x="179" y="1131"/>
                  </a:lnTo>
                  <a:lnTo>
                    <a:pt x="167" y="1094"/>
                  </a:lnTo>
                  <a:lnTo>
                    <a:pt x="162" y="1075"/>
                  </a:lnTo>
                  <a:lnTo>
                    <a:pt x="158" y="1056"/>
                  </a:lnTo>
                  <a:lnTo>
                    <a:pt x="153" y="1037"/>
                  </a:lnTo>
                  <a:lnTo>
                    <a:pt x="150" y="1016"/>
                  </a:lnTo>
                  <a:lnTo>
                    <a:pt x="148" y="996"/>
                  </a:lnTo>
                  <a:lnTo>
                    <a:pt x="146" y="974"/>
                  </a:lnTo>
                  <a:lnTo>
                    <a:pt x="145" y="951"/>
                  </a:lnTo>
                  <a:lnTo>
                    <a:pt x="145" y="928"/>
                  </a:lnTo>
                  <a:lnTo>
                    <a:pt x="145" y="894"/>
                  </a:lnTo>
                  <a:lnTo>
                    <a:pt x="145" y="865"/>
                  </a:lnTo>
                  <a:lnTo>
                    <a:pt x="144" y="837"/>
                  </a:lnTo>
                  <a:lnTo>
                    <a:pt x="144" y="810"/>
                  </a:lnTo>
                  <a:lnTo>
                    <a:pt x="143" y="783"/>
                  </a:lnTo>
                  <a:lnTo>
                    <a:pt x="143" y="755"/>
                  </a:lnTo>
                  <a:lnTo>
                    <a:pt x="144" y="725"/>
                  </a:lnTo>
                  <a:lnTo>
                    <a:pt x="145" y="692"/>
                  </a:lnTo>
                  <a:lnTo>
                    <a:pt x="128" y="666"/>
                  </a:lnTo>
                  <a:lnTo>
                    <a:pt x="112" y="644"/>
                  </a:lnTo>
                  <a:lnTo>
                    <a:pt x="95" y="623"/>
                  </a:lnTo>
                  <a:lnTo>
                    <a:pt x="78" y="604"/>
                  </a:lnTo>
                  <a:lnTo>
                    <a:pt x="59" y="585"/>
                  </a:lnTo>
                  <a:lnTo>
                    <a:pt x="41" y="566"/>
                  </a:lnTo>
                  <a:lnTo>
                    <a:pt x="22" y="546"/>
                  </a:lnTo>
                  <a:lnTo>
                    <a:pt x="0" y="524"/>
                  </a:lnTo>
                  <a:lnTo>
                    <a:pt x="1580" y="543"/>
                  </a:lnTo>
                  <a:lnTo>
                    <a:pt x="1581" y="531"/>
                  </a:lnTo>
                  <a:lnTo>
                    <a:pt x="1582" y="521"/>
                  </a:lnTo>
                  <a:lnTo>
                    <a:pt x="1583" y="508"/>
                  </a:lnTo>
                  <a:lnTo>
                    <a:pt x="1583" y="496"/>
                  </a:lnTo>
                  <a:lnTo>
                    <a:pt x="1585" y="484"/>
                  </a:lnTo>
                  <a:lnTo>
                    <a:pt x="1588" y="473"/>
                  </a:lnTo>
                  <a:lnTo>
                    <a:pt x="1593" y="452"/>
                  </a:lnTo>
                  <a:lnTo>
                    <a:pt x="1600" y="433"/>
                  </a:lnTo>
                  <a:lnTo>
                    <a:pt x="1607" y="414"/>
                  </a:lnTo>
                  <a:lnTo>
                    <a:pt x="1617" y="394"/>
                  </a:lnTo>
                  <a:lnTo>
                    <a:pt x="1627" y="373"/>
                  </a:lnTo>
                  <a:lnTo>
                    <a:pt x="1636" y="350"/>
                  </a:lnTo>
                  <a:lnTo>
                    <a:pt x="1641" y="340"/>
                  </a:lnTo>
                  <a:lnTo>
                    <a:pt x="1647" y="333"/>
                  </a:lnTo>
                  <a:lnTo>
                    <a:pt x="1654" y="325"/>
                  </a:lnTo>
                  <a:lnTo>
                    <a:pt x="1660" y="317"/>
                  </a:lnTo>
                  <a:lnTo>
                    <a:pt x="1665" y="311"/>
                  </a:lnTo>
                  <a:lnTo>
                    <a:pt x="1671" y="303"/>
                  </a:lnTo>
                  <a:lnTo>
                    <a:pt x="1672" y="299"/>
                  </a:lnTo>
                  <a:lnTo>
                    <a:pt x="1674" y="295"/>
                  </a:lnTo>
                  <a:lnTo>
                    <a:pt x="1675" y="289"/>
                  </a:lnTo>
                  <a:lnTo>
                    <a:pt x="1675" y="284"/>
                  </a:lnTo>
                  <a:lnTo>
                    <a:pt x="1674" y="276"/>
                  </a:lnTo>
                  <a:lnTo>
                    <a:pt x="1673" y="270"/>
                  </a:lnTo>
                  <a:lnTo>
                    <a:pt x="1672" y="265"/>
                  </a:lnTo>
                  <a:lnTo>
                    <a:pt x="1670" y="258"/>
                  </a:lnTo>
                  <a:lnTo>
                    <a:pt x="1668" y="253"/>
                  </a:lnTo>
                  <a:lnTo>
                    <a:pt x="1665" y="246"/>
                  </a:lnTo>
                  <a:lnTo>
                    <a:pt x="1664" y="240"/>
                  </a:lnTo>
                  <a:lnTo>
                    <a:pt x="1664" y="232"/>
                  </a:lnTo>
                  <a:lnTo>
                    <a:pt x="1664" y="215"/>
                  </a:lnTo>
                  <a:lnTo>
                    <a:pt x="1665" y="198"/>
                  </a:lnTo>
                  <a:lnTo>
                    <a:pt x="1668" y="181"/>
                  </a:lnTo>
                  <a:lnTo>
                    <a:pt x="1671" y="166"/>
                  </a:lnTo>
                  <a:lnTo>
                    <a:pt x="1674" y="151"/>
                  </a:lnTo>
                  <a:lnTo>
                    <a:pt x="1678" y="137"/>
                  </a:lnTo>
                  <a:lnTo>
                    <a:pt x="1683" y="123"/>
                  </a:lnTo>
                  <a:lnTo>
                    <a:pt x="1689" y="109"/>
                  </a:lnTo>
                  <a:lnTo>
                    <a:pt x="1696" y="96"/>
                  </a:lnTo>
                  <a:lnTo>
                    <a:pt x="1702" y="82"/>
                  </a:lnTo>
                  <a:lnTo>
                    <a:pt x="1710" y="69"/>
                  </a:lnTo>
                  <a:lnTo>
                    <a:pt x="1718" y="56"/>
                  </a:lnTo>
                  <a:lnTo>
                    <a:pt x="1736" y="28"/>
                  </a:lnTo>
                  <a:lnTo>
                    <a:pt x="1756" y="0"/>
                  </a:lnTo>
                  <a:lnTo>
                    <a:pt x="1780" y="26"/>
                  </a:lnTo>
                  <a:lnTo>
                    <a:pt x="1800" y="50"/>
                  </a:lnTo>
                  <a:lnTo>
                    <a:pt x="1811" y="62"/>
                  </a:lnTo>
                  <a:lnTo>
                    <a:pt x="1821" y="74"/>
                  </a:lnTo>
                  <a:lnTo>
                    <a:pt x="1831" y="89"/>
                  </a:lnTo>
                  <a:lnTo>
                    <a:pt x="1840" y="104"/>
                  </a:lnTo>
                  <a:lnTo>
                    <a:pt x="1862" y="136"/>
                  </a:lnTo>
                  <a:lnTo>
                    <a:pt x="1880" y="166"/>
                  </a:lnTo>
                  <a:lnTo>
                    <a:pt x="1888" y="181"/>
                  </a:lnTo>
                  <a:lnTo>
                    <a:pt x="1894" y="198"/>
                  </a:lnTo>
                  <a:lnTo>
                    <a:pt x="1897" y="206"/>
                  </a:lnTo>
                  <a:lnTo>
                    <a:pt x="1898" y="215"/>
                  </a:lnTo>
                  <a:lnTo>
                    <a:pt x="1899" y="225"/>
                  </a:lnTo>
                  <a:lnTo>
                    <a:pt x="1900" y="235"/>
                  </a:lnTo>
                  <a:lnTo>
                    <a:pt x="1899" y="243"/>
                  </a:lnTo>
                  <a:lnTo>
                    <a:pt x="1898" y="249"/>
                  </a:lnTo>
                  <a:lnTo>
                    <a:pt x="1895" y="256"/>
                  </a:lnTo>
                  <a:lnTo>
                    <a:pt x="1893" y="262"/>
                  </a:lnTo>
                  <a:lnTo>
                    <a:pt x="1887" y="274"/>
                  </a:lnTo>
                  <a:lnTo>
                    <a:pt x="1879" y="285"/>
                  </a:lnTo>
                  <a:lnTo>
                    <a:pt x="1873" y="297"/>
                  </a:lnTo>
                  <a:lnTo>
                    <a:pt x="1866" y="309"/>
                  </a:lnTo>
                  <a:lnTo>
                    <a:pt x="1864" y="314"/>
                  </a:lnTo>
                  <a:lnTo>
                    <a:pt x="1862" y="322"/>
                  </a:lnTo>
                  <a:lnTo>
                    <a:pt x="1861" y="328"/>
                  </a:lnTo>
                  <a:lnTo>
                    <a:pt x="1860" y="336"/>
                  </a:lnTo>
                  <a:lnTo>
                    <a:pt x="1861" y="343"/>
                  </a:lnTo>
                  <a:lnTo>
                    <a:pt x="1863" y="351"/>
                  </a:lnTo>
                  <a:lnTo>
                    <a:pt x="1865" y="357"/>
                  </a:lnTo>
                  <a:lnTo>
                    <a:pt x="1868" y="363"/>
                  </a:lnTo>
                  <a:lnTo>
                    <a:pt x="1876" y="375"/>
                  </a:lnTo>
                  <a:lnTo>
                    <a:pt x="1882" y="389"/>
                  </a:lnTo>
                  <a:lnTo>
                    <a:pt x="1891" y="418"/>
                  </a:lnTo>
                  <a:lnTo>
                    <a:pt x="1900" y="444"/>
                  </a:lnTo>
                  <a:lnTo>
                    <a:pt x="1904" y="456"/>
                  </a:lnTo>
                  <a:lnTo>
                    <a:pt x="1908" y="469"/>
                  </a:lnTo>
                  <a:lnTo>
                    <a:pt x="1915" y="482"/>
                  </a:lnTo>
                  <a:lnTo>
                    <a:pt x="1921" y="496"/>
                  </a:lnTo>
                  <a:lnTo>
                    <a:pt x="1942" y="538"/>
                  </a:lnTo>
                  <a:lnTo>
                    <a:pt x="1961" y="576"/>
                  </a:lnTo>
                  <a:lnTo>
                    <a:pt x="1967" y="584"/>
                  </a:lnTo>
                  <a:lnTo>
                    <a:pt x="1973" y="592"/>
                  </a:lnTo>
                  <a:lnTo>
                    <a:pt x="1980" y="599"/>
                  </a:lnTo>
                  <a:lnTo>
                    <a:pt x="1987" y="606"/>
                  </a:lnTo>
                  <a:lnTo>
                    <a:pt x="1995" y="611"/>
                  </a:lnTo>
                  <a:lnTo>
                    <a:pt x="2005" y="616"/>
                  </a:lnTo>
                  <a:lnTo>
                    <a:pt x="2014" y="619"/>
                  </a:lnTo>
                  <a:lnTo>
                    <a:pt x="2025" y="622"/>
                  </a:lnTo>
                  <a:lnTo>
                    <a:pt x="2037" y="624"/>
                  </a:lnTo>
                  <a:lnTo>
                    <a:pt x="2047" y="627"/>
                  </a:lnTo>
                  <a:lnTo>
                    <a:pt x="2056" y="632"/>
                  </a:lnTo>
                  <a:lnTo>
                    <a:pt x="2066" y="637"/>
                  </a:lnTo>
                  <a:lnTo>
                    <a:pt x="2074" y="643"/>
                  </a:lnTo>
                  <a:lnTo>
                    <a:pt x="2081" y="649"/>
                  </a:lnTo>
                  <a:lnTo>
                    <a:pt x="2089" y="656"/>
                  </a:lnTo>
                  <a:lnTo>
                    <a:pt x="2095" y="663"/>
                  </a:lnTo>
                  <a:lnTo>
                    <a:pt x="2120" y="698"/>
                  </a:lnTo>
                  <a:lnTo>
                    <a:pt x="2146" y="737"/>
                  </a:lnTo>
                  <a:lnTo>
                    <a:pt x="2154" y="746"/>
                  </a:lnTo>
                  <a:lnTo>
                    <a:pt x="2162" y="754"/>
                  </a:lnTo>
                  <a:lnTo>
                    <a:pt x="2171" y="760"/>
                  </a:lnTo>
                  <a:lnTo>
                    <a:pt x="2180" y="767"/>
                  </a:lnTo>
                  <a:lnTo>
                    <a:pt x="2188" y="772"/>
                  </a:lnTo>
                  <a:lnTo>
                    <a:pt x="2197" y="779"/>
                  </a:lnTo>
                  <a:lnTo>
                    <a:pt x="2205" y="786"/>
                  </a:lnTo>
                  <a:lnTo>
                    <a:pt x="2213" y="796"/>
                  </a:lnTo>
                  <a:lnTo>
                    <a:pt x="2217" y="802"/>
                  </a:lnTo>
                  <a:lnTo>
                    <a:pt x="2221" y="811"/>
                  </a:lnTo>
                  <a:lnTo>
                    <a:pt x="2223" y="819"/>
                  </a:lnTo>
                  <a:lnTo>
                    <a:pt x="2225" y="826"/>
                  </a:lnTo>
                  <a:lnTo>
                    <a:pt x="2227" y="833"/>
                  </a:lnTo>
                  <a:lnTo>
                    <a:pt x="2231" y="838"/>
                  </a:lnTo>
                  <a:lnTo>
                    <a:pt x="2234" y="840"/>
                  </a:lnTo>
                  <a:lnTo>
                    <a:pt x="2237" y="841"/>
                  </a:lnTo>
                  <a:lnTo>
                    <a:pt x="2240" y="842"/>
                  </a:lnTo>
                  <a:lnTo>
                    <a:pt x="2244" y="843"/>
                  </a:lnTo>
                  <a:lnTo>
                    <a:pt x="4755" y="1140"/>
                  </a:lnTo>
                  <a:lnTo>
                    <a:pt x="4755" y="114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25">
              <a:extLst>
                <a:ext uri="{FF2B5EF4-FFF2-40B4-BE49-F238E27FC236}">
                  <a16:creationId xmlns:a16="http://schemas.microsoft.com/office/drawing/2014/main" id="{46FB48EB-6263-4443-A1ED-7453FFC08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0550" y="1930401"/>
              <a:ext cx="762000" cy="1401763"/>
            </a:xfrm>
            <a:custGeom>
              <a:avLst/>
              <a:gdLst>
                <a:gd name="T0" fmla="*/ 960 w 1921"/>
                <a:gd name="T1" fmla="*/ 220 h 3535"/>
                <a:gd name="T2" fmla="*/ 952 w 1921"/>
                <a:gd name="T3" fmla="*/ 307 h 3535"/>
                <a:gd name="T4" fmla="*/ 916 w 1921"/>
                <a:gd name="T5" fmla="*/ 440 h 3535"/>
                <a:gd name="T6" fmla="*/ 847 w 1921"/>
                <a:gd name="T7" fmla="*/ 630 h 3535"/>
                <a:gd name="T8" fmla="*/ 769 w 1921"/>
                <a:gd name="T9" fmla="*/ 636 h 3535"/>
                <a:gd name="T10" fmla="*/ 716 w 1921"/>
                <a:gd name="T11" fmla="*/ 760 h 3535"/>
                <a:gd name="T12" fmla="*/ 575 w 1921"/>
                <a:gd name="T13" fmla="*/ 851 h 3535"/>
                <a:gd name="T14" fmla="*/ 470 w 1921"/>
                <a:gd name="T15" fmla="*/ 1040 h 3535"/>
                <a:gd name="T16" fmla="*/ 475 w 1921"/>
                <a:gd name="T17" fmla="*/ 1149 h 3535"/>
                <a:gd name="T18" fmla="*/ 532 w 1921"/>
                <a:gd name="T19" fmla="*/ 1264 h 3535"/>
                <a:gd name="T20" fmla="*/ 475 w 1921"/>
                <a:gd name="T21" fmla="*/ 1357 h 3535"/>
                <a:gd name="T22" fmla="*/ 422 w 1921"/>
                <a:gd name="T23" fmla="*/ 1486 h 3535"/>
                <a:gd name="T24" fmla="*/ 201 w 1921"/>
                <a:gd name="T25" fmla="*/ 1715 h 3535"/>
                <a:gd name="T26" fmla="*/ 90 w 1921"/>
                <a:gd name="T27" fmla="*/ 1927 h 3535"/>
                <a:gd name="T28" fmla="*/ 146 w 1921"/>
                <a:gd name="T29" fmla="*/ 2090 h 3535"/>
                <a:gd name="T30" fmla="*/ 92 w 1921"/>
                <a:gd name="T31" fmla="*/ 2370 h 3535"/>
                <a:gd name="T32" fmla="*/ 105 w 1921"/>
                <a:gd name="T33" fmla="*/ 2564 h 3535"/>
                <a:gd name="T34" fmla="*/ 71 w 1921"/>
                <a:gd name="T35" fmla="*/ 2756 h 3535"/>
                <a:gd name="T36" fmla="*/ 0 w 1921"/>
                <a:gd name="T37" fmla="*/ 2986 h 3535"/>
                <a:gd name="T38" fmla="*/ 26 w 1921"/>
                <a:gd name="T39" fmla="*/ 3175 h 3535"/>
                <a:gd name="T40" fmla="*/ 91 w 1921"/>
                <a:gd name="T41" fmla="*/ 3276 h 3535"/>
                <a:gd name="T42" fmla="*/ 299 w 1921"/>
                <a:gd name="T43" fmla="*/ 3306 h 3535"/>
                <a:gd name="T44" fmla="*/ 391 w 1921"/>
                <a:gd name="T45" fmla="*/ 3170 h 3535"/>
                <a:gd name="T46" fmla="*/ 493 w 1921"/>
                <a:gd name="T47" fmla="*/ 3196 h 3535"/>
                <a:gd name="T48" fmla="*/ 504 w 1921"/>
                <a:gd name="T49" fmla="*/ 3347 h 3535"/>
                <a:gd name="T50" fmla="*/ 527 w 1921"/>
                <a:gd name="T51" fmla="*/ 3444 h 3535"/>
                <a:gd name="T52" fmla="*/ 604 w 1921"/>
                <a:gd name="T53" fmla="*/ 3363 h 3535"/>
                <a:gd name="T54" fmla="*/ 691 w 1921"/>
                <a:gd name="T55" fmla="*/ 3398 h 3535"/>
                <a:gd name="T56" fmla="*/ 777 w 1921"/>
                <a:gd name="T57" fmla="*/ 3401 h 3535"/>
                <a:gd name="T58" fmla="*/ 974 w 1921"/>
                <a:gd name="T59" fmla="*/ 3535 h 3535"/>
                <a:gd name="T60" fmla="*/ 1045 w 1921"/>
                <a:gd name="T61" fmla="*/ 3459 h 3535"/>
                <a:gd name="T62" fmla="*/ 1151 w 1921"/>
                <a:gd name="T63" fmla="*/ 3512 h 3535"/>
                <a:gd name="T64" fmla="*/ 1398 w 1921"/>
                <a:gd name="T65" fmla="*/ 3460 h 3535"/>
                <a:gd name="T66" fmla="*/ 1466 w 1921"/>
                <a:gd name="T67" fmla="*/ 3381 h 3535"/>
                <a:gd name="T68" fmla="*/ 1699 w 1921"/>
                <a:gd name="T69" fmla="*/ 3338 h 3535"/>
                <a:gd name="T70" fmla="*/ 1700 w 1921"/>
                <a:gd name="T71" fmla="*/ 3153 h 3535"/>
                <a:gd name="T72" fmla="*/ 1681 w 1921"/>
                <a:gd name="T73" fmla="*/ 2996 h 3535"/>
                <a:gd name="T74" fmla="*/ 1713 w 1921"/>
                <a:gd name="T75" fmla="*/ 2915 h 3535"/>
                <a:gd name="T76" fmla="*/ 1698 w 1921"/>
                <a:gd name="T77" fmla="*/ 2829 h 3535"/>
                <a:gd name="T78" fmla="*/ 1704 w 1921"/>
                <a:gd name="T79" fmla="*/ 2750 h 3535"/>
                <a:gd name="T80" fmla="*/ 1709 w 1921"/>
                <a:gd name="T81" fmla="*/ 2649 h 3535"/>
                <a:gd name="T82" fmla="*/ 1770 w 1921"/>
                <a:gd name="T83" fmla="*/ 2464 h 3535"/>
                <a:gd name="T84" fmla="*/ 1885 w 1921"/>
                <a:gd name="T85" fmla="*/ 2261 h 3535"/>
                <a:gd name="T86" fmla="*/ 1906 w 1921"/>
                <a:gd name="T87" fmla="*/ 2196 h 3535"/>
                <a:gd name="T88" fmla="*/ 1762 w 1921"/>
                <a:gd name="T89" fmla="*/ 2152 h 3535"/>
                <a:gd name="T90" fmla="*/ 1684 w 1921"/>
                <a:gd name="T91" fmla="*/ 1954 h 3535"/>
                <a:gd name="T92" fmla="*/ 1506 w 1921"/>
                <a:gd name="T93" fmla="*/ 1701 h 3535"/>
                <a:gd name="T94" fmla="*/ 1456 w 1921"/>
                <a:gd name="T95" fmla="*/ 1602 h 3535"/>
                <a:gd name="T96" fmla="*/ 1538 w 1921"/>
                <a:gd name="T97" fmla="*/ 1445 h 3535"/>
                <a:gd name="T98" fmla="*/ 1614 w 1921"/>
                <a:gd name="T99" fmla="*/ 1412 h 3535"/>
                <a:gd name="T100" fmla="*/ 1630 w 1921"/>
                <a:gd name="T101" fmla="*/ 1305 h 3535"/>
                <a:gd name="T102" fmla="*/ 1529 w 1921"/>
                <a:gd name="T103" fmla="*/ 1267 h 3535"/>
                <a:gd name="T104" fmla="*/ 1408 w 1921"/>
                <a:gd name="T105" fmla="*/ 1254 h 3535"/>
                <a:gd name="T106" fmla="*/ 1299 w 1921"/>
                <a:gd name="T107" fmla="*/ 1036 h 3535"/>
                <a:gd name="T108" fmla="*/ 1206 w 1921"/>
                <a:gd name="T109" fmla="*/ 898 h 3535"/>
                <a:gd name="T110" fmla="*/ 1170 w 1921"/>
                <a:gd name="T111" fmla="*/ 819 h 3535"/>
                <a:gd name="T112" fmla="*/ 1246 w 1921"/>
                <a:gd name="T113" fmla="*/ 699 h 3535"/>
                <a:gd name="T114" fmla="*/ 1301 w 1921"/>
                <a:gd name="T115" fmla="*/ 474 h 3535"/>
                <a:gd name="T116" fmla="*/ 1332 w 1921"/>
                <a:gd name="T117" fmla="*/ 289 h 3535"/>
                <a:gd name="T118" fmla="*/ 1301 w 1921"/>
                <a:gd name="T119" fmla="*/ 119 h 3535"/>
                <a:gd name="T120" fmla="*/ 1132 w 1921"/>
                <a:gd name="T121" fmla="*/ 28 h 3535"/>
                <a:gd name="T122" fmla="*/ 1002 w 1921"/>
                <a:gd name="T123" fmla="*/ 4 h 3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1" h="3535">
                  <a:moveTo>
                    <a:pt x="870" y="74"/>
                  </a:moveTo>
                  <a:lnTo>
                    <a:pt x="866" y="88"/>
                  </a:lnTo>
                  <a:lnTo>
                    <a:pt x="861" y="102"/>
                  </a:lnTo>
                  <a:lnTo>
                    <a:pt x="862" y="109"/>
                  </a:lnTo>
                  <a:lnTo>
                    <a:pt x="866" y="115"/>
                  </a:lnTo>
                  <a:lnTo>
                    <a:pt x="870" y="119"/>
                  </a:lnTo>
                  <a:lnTo>
                    <a:pt x="875" y="123"/>
                  </a:lnTo>
                  <a:lnTo>
                    <a:pt x="887" y="131"/>
                  </a:lnTo>
                  <a:lnTo>
                    <a:pt x="898" y="141"/>
                  </a:lnTo>
                  <a:lnTo>
                    <a:pt x="926" y="173"/>
                  </a:lnTo>
                  <a:lnTo>
                    <a:pt x="950" y="204"/>
                  </a:lnTo>
                  <a:lnTo>
                    <a:pt x="955" y="212"/>
                  </a:lnTo>
                  <a:lnTo>
                    <a:pt x="960" y="220"/>
                  </a:lnTo>
                  <a:lnTo>
                    <a:pt x="964" y="228"/>
                  </a:lnTo>
                  <a:lnTo>
                    <a:pt x="967" y="238"/>
                  </a:lnTo>
                  <a:lnTo>
                    <a:pt x="970" y="246"/>
                  </a:lnTo>
                  <a:lnTo>
                    <a:pt x="972" y="256"/>
                  </a:lnTo>
                  <a:lnTo>
                    <a:pt x="974" y="267"/>
                  </a:lnTo>
                  <a:lnTo>
                    <a:pt x="974" y="278"/>
                  </a:lnTo>
                  <a:lnTo>
                    <a:pt x="974" y="282"/>
                  </a:lnTo>
                  <a:lnTo>
                    <a:pt x="972" y="286"/>
                  </a:lnTo>
                  <a:lnTo>
                    <a:pt x="971" y="290"/>
                  </a:lnTo>
                  <a:lnTo>
                    <a:pt x="969" y="292"/>
                  </a:lnTo>
                  <a:lnTo>
                    <a:pt x="964" y="297"/>
                  </a:lnTo>
                  <a:lnTo>
                    <a:pt x="958" y="303"/>
                  </a:lnTo>
                  <a:lnTo>
                    <a:pt x="952" y="307"/>
                  </a:lnTo>
                  <a:lnTo>
                    <a:pt x="947" y="312"/>
                  </a:lnTo>
                  <a:lnTo>
                    <a:pt x="941" y="319"/>
                  </a:lnTo>
                  <a:lnTo>
                    <a:pt x="937" y="325"/>
                  </a:lnTo>
                  <a:lnTo>
                    <a:pt x="934" y="336"/>
                  </a:lnTo>
                  <a:lnTo>
                    <a:pt x="933" y="346"/>
                  </a:lnTo>
                  <a:lnTo>
                    <a:pt x="931" y="355"/>
                  </a:lnTo>
                  <a:lnTo>
                    <a:pt x="930" y="364"/>
                  </a:lnTo>
                  <a:lnTo>
                    <a:pt x="930" y="384"/>
                  </a:lnTo>
                  <a:lnTo>
                    <a:pt x="929" y="404"/>
                  </a:lnTo>
                  <a:lnTo>
                    <a:pt x="927" y="414"/>
                  </a:lnTo>
                  <a:lnTo>
                    <a:pt x="924" y="424"/>
                  </a:lnTo>
                  <a:lnTo>
                    <a:pt x="921" y="431"/>
                  </a:lnTo>
                  <a:lnTo>
                    <a:pt x="916" y="440"/>
                  </a:lnTo>
                  <a:lnTo>
                    <a:pt x="913" y="447"/>
                  </a:lnTo>
                  <a:lnTo>
                    <a:pt x="909" y="456"/>
                  </a:lnTo>
                  <a:lnTo>
                    <a:pt x="907" y="465"/>
                  </a:lnTo>
                  <a:lnTo>
                    <a:pt x="903" y="474"/>
                  </a:lnTo>
                  <a:lnTo>
                    <a:pt x="898" y="505"/>
                  </a:lnTo>
                  <a:lnTo>
                    <a:pt x="893" y="532"/>
                  </a:lnTo>
                  <a:lnTo>
                    <a:pt x="889" y="544"/>
                  </a:lnTo>
                  <a:lnTo>
                    <a:pt x="885" y="559"/>
                  </a:lnTo>
                  <a:lnTo>
                    <a:pt x="880" y="571"/>
                  </a:lnTo>
                  <a:lnTo>
                    <a:pt x="873" y="587"/>
                  </a:lnTo>
                  <a:lnTo>
                    <a:pt x="863" y="605"/>
                  </a:lnTo>
                  <a:lnTo>
                    <a:pt x="854" y="622"/>
                  </a:lnTo>
                  <a:lnTo>
                    <a:pt x="847" y="630"/>
                  </a:lnTo>
                  <a:lnTo>
                    <a:pt x="841" y="635"/>
                  </a:lnTo>
                  <a:lnTo>
                    <a:pt x="836" y="636"/>
                  </a:lnTo>
                  <a:lnTo>
                    <a:pt x="832" y="638"/>
                  </a:lnTo>
                  <a:lnTo>
                    <a:pt x="828" y="640"/>
                  </a:lnTo>
                  <a:lnTo>
                    <a:pt x="822" y="640"/>
                  </a:lnTo>
                  <a:lnTo>
                    <a:pt x="808" y="631"/>
                  </a:lnTo>
                  <a:lnTo>
                    <a:pt x="794" y="622"/>
                  </a:lnTo>
                  <a:lnTo>
                    <a:pt x="789" y="623"/>
                  </a:lnTo>
                  <a:lnTo>
                    <a:pt x="785" y="624"/>
                  </a:lnTo>
                  <a:lnTo>
                    <a:pt x="780" y="627"/>
                  </a:lnTo>
                  <a:lnTo>
                    <a:pt x="776" y="629"/>
                  </a:lnTo>
                  <a:lnTo>
                    <a:pt x="773" y="632"/>
                  </a:lnTo>
                  <a:lnTo>
                    <a:pt x="769" y="636"/>
                  </a:lnTo>
                  <a:lnTo>
                    <a:pt x="767" y="641"/>
                  </a:lnTo>
                  <a:lnTo>
                    <a:pt x="765" y="645"/>
                  </a:lnTo>
                  <a:lnTo>
                    <a:pt x="762" y="656"/>
                  </a:lnTo>
                  <a:lnTo>
                    <a:pt x="759" y="668"/>
                  </a:lnTo>
                  <a:lnTo>
                    <a:pt x="756" y="678"/>
                  </a:lnTo>
                  <a:lnTo>
                    <a:pt x="755" y="690"/>
                  </a:lnTo>
                  <a:lnTo>
                    <a:pt x="753" y="699"/>
                  </a:lnTo>
                  <a:lnTo>
                    <a:pt x="751" y="708"/>
                  </a:lnTo>
                  <a:lnTo>
                    <a:pt x="748" y="715"/>
                  </a:lnTo>
                  <a:lnTo>
                    <a:pt x="745" y="722"/>
                  </a:lnTo>
                  <a:lnTo>
                    <a:pt x="736" y="736"/>
                  </a:lnTo>
                  <a:lnTo>
                    <a:pt x="724" y="749"/>
                  </a:lnTo>
                  <a:lnTo>
                    <a:pt x="716" y="760"/>
                  </a:lnTo>
                  <a:lnTo>
                    <a:pt x="711" y="772"/>
                  </a:lnTo>
                  <a:lnTo>
                    <a:pt x="708" y="778"/>
                  </a:lnTo>
                  <a:lnTo>
                    <a:pt x="704" y="783"/>
                  </a:lnTo>
                  <a:lnTo>
                    <a:pt x="699" y="787"/>
                  </a:lnTo>
                  <a:lnTo>
                    <a:pt x="694" y="791"/>
                  </a:lnTo>
                  <a:lnTo>
                    <a:pt x="666" y="803"/>
                  </a:lnTo>
                  <a:lnTo>
                    <a:pt x="640" y="812"/>
                  </a:lnTo>
                  <a:lnTo>
                    <a:pt x="627" y="817"/>
                  </a:lnTo>
                  <a:lnTo>
                    <a:pt x="615" y="823"/>
                  </a:lnTo>
                  <a:lnTo>
                    <a:pt x="602" y="830"/>
                  </a:lnTo>
                  <a:lnTo>
                    <a:pt x="590" y="838"/>
                  </a:lnTo>
                  <a:lnTo>
                    <a:pt x="581" y="845"/>
                  </a:lnTo>
                  <a:lnTo>
                    <a:pt x="575" y="851"/>
                  </a:lnTo>
                  <a:lnTo>
                    <a:pt x="569" y="859"/>
                  </a:lnTo>
                  <a:lnTo>
                    <a:pt x="563" y="865"/>
                  </a:lnTo>
                  <a:lnTo>
                    <a:pt x="554" y="880"/>
                  </a:lnTo>
                  <a:lnTo>
                    <a:pt x="547" y="895"/>
                  </a:lnTo>
                  <a:lnTo>
                    <a:pt x="535" y="930"/>
                  </a:lnTo>
                  <a:lnTo>
                    <a:pt x="522" y="968"/>
                  </a:lnTo>
                  <a:lnTo>
                    <a:pt x="518" y="978"/>
                  </a:lnTo>
                  <a:lnTo>
                    <a:pt x="512" y="987"/>
                  </a:lnTo>
                  <a:lnTo>
                    <a:pt x="507" y="996"/>
                  </a:lnTo>
                  <a:lnTo>
                    <a:pt x="502" y="1003"/>
                  </a:lnTo>
                  <a:lnTo>
                    <a:pt x="489" y="1019"/>
                  </a:lnTo>
                  <a:lnTo>
                    <a:pt x="476" y="1033"/>
                  </a:lnTo>
                  <a:lnTo>
                    <a:pt x="470" y="1040"/>
                  </a:lnTo>
                  <a:lnTo>
                    <a:pt x="465" y="1048"/>
                  </a:lnTo>
                  <a:lnTo>
                    <a:pt x="459" y="1055"/>
                  </a:lnTo>
                  <a:lnTo>
                    <a:pt x="455" y="1063"/>
                  </a:lnTo>
                  <a:lnTo>
                    <a:pt x="452" y="1072"/>
                  </a:lnTo>
                  <a:lnTo>
                    <a:pt x="449" y="1081"/>
                  </a:lnTo>
                  <a:lnTo>
                    <a:pt x="448" y="1091"/>
                  </a:lnTo>
                  <a:lnTo>
                    <a:pt x="446" y="1102"/>
                  </a:lnTo>
                  <a:lnTo>
                    <a:pt x="448" y="1113"/>
                  </a:lnTo>
                  <a:lnTo>
                    <a:pt x="451" y="1121"/>
                  </a:lnTo>
                  <a:lnTo>
                    <a:pt x="455" y="1130"/>
                  </a:lnTo>
                  <a:lnTo>
                    <a:pt x="461" y="1136"/>
                  </a:lnTo>
                  <a:lnTo>
                    <a:pt x="467" y="1144"/>
                  </a:lnTo>
                  <a:lnTo>
                    <a:pt x="475" y="1149"/>
                  </a:lnTo>
                  <a:lnTo>
                    <a:pt x="482" y="1156"/>
                  </a:lnTo>
                  <a:lnTo>
                    <a:pt x="490" y="1161"/>
                  </a:lnTo>
                  <a:lnTo>
                    <a:pt x="498" y="1168"/>
                  </a:lnTo>
                  <a:lnTo>
                    <a:pt x="506" y="1173"/>
                  </a:lnTo>
                  <a:lnTo>
                    <a:pt x="513" y="1180"/>
                  </a:lnTo>
                  <a:lnTo>
                    <a:pt x="520" y="1186"/>
                  </a:lnTo>
                  <a:lnTo>
                    <a:pt x="525" y="1194"/>
                  </a:lnTo>
                  <a:lnTo>
                    <a:pt x="530" y="1202"/>
                  </a:lnTo>
                  <a:lnTo>
                    <a:pt x="533" y="1211"/>
                  </a:lnTo>
                  <a:lnTo>
                    <a:pt x="534" y="1221"/>
                  </a:lnTo>
                  <a:lnTo>
                    <a:pt x="534" y="1236"/>
                  </a:lnTo>
                  <a:lnTo>
                    <a:pt x="533" y="1250"/>
                  </a:lnTo>
                  <a:lnTo>
                    <a:pt x="532" y="1264"/>
                  </a:lnTo>
                  <a:lnTo>
                    <a:pt x="530" y="1277"/>
                  </a:lnTo>
                  <a:lnTo>
                    <a:pt x="526" y="1289"/>
                  </a:lnTo>
                  <a:lnTo>
                    <a:pt x="521" y="1299"/>
                  </a:lnTo>
                  <a:lnTo>
                    <a:pt x="517" y="1305"/>
                  </a:lnTo>
                  <a:lnTo>
                    <a:pt x="513" y="1310"/>
                  </a:lnTo>
                  <a:lnTo>
                    <a:pt x="508" y="1316"/>
                  </a:lnTo>
                  <a:lnTo>
                    <a:pt x="503" y="1321"/>
                  </a:lnTo>
                  <a:lnTo>
                    <a:pt x="493" y="1329"/>
                  </a:lnTo>
                  <a:lnTo>
                    <a:pt x="483" y="1336"/>
                  </a:lnTo>
                  <a:lnTo>
                    <a:pt x="480" y="1340"/>
                  </a:lnTo>
                  <a:lnTo>
                    <a:pt x="477" y="1345"/>
                  </a:lnTo>
                  <a:lnTo>
                    <a:pt x="476" y="1350"/>
                  </a:lnTo>
                  <a:lnTo>
                    <a:pt x="475" y="1357"/>
                  </a:lnTo>
                  <a:lnTo>
                    <a:pt x="475" y="1372"/>
                  </a:lnTo>
                  <a:lnTo>
                    <a:pt x="475" y="1385"/>
                  </a:lnTo>
                  <a:lnTo>
                    <a:pt x="475" y="1399"/>
                  </a:lnTo>
                  <a:lnTo>
                    <a:pt x="475" y="1414"/>
                  </a:lnTo>
                  <a:lnTo>
                    <a:pt x="475" y="1419"/>
                  </a:lnTo>
                  <a:lnTo>
                    <a:pt x="473" y="1424"/>
                  </a:lnTo>
                  <a:lnTo>
                    <a:pt x="472" y="1428"/>
                  </a:lnTo>
                  <a:lnTo>
                    <a:pt x="470" y="1431"/>
                  </a:lnTo>
                  <a:lnTo>
                    <a:pt x="466" y="1439"/>
                  </a:lnTo>
                  <a:lnTo>
                    <a:pt x="459" y="1445"/>
                  </a:lnTo>
                  <a:lnTo>
                    <a:pt x="446" y="1457"/>
                  </a:lnTo>
                  <a:lnTo>
                    <a:pt x="432" y="1472"/>
                  </a:lnTo>
                  <a:lnTo>
                    <a:pt x="422" y="1486"/>
                  </a:lnTo>
                  <a:lnTo>
                    <a:pt x="410" y="1498"/>
                  </a:lnTo>
                  <a:lnTo>
                    <a:pt x="398" y="1510"/>
                  </a:lnTo>
                  <a:lnTo>
                    <a:pt x="385" y="1520"/>
                  </a:lnTo>
                  <a:lnTo>
                    <a:pt x="360" y="1538"/>
                  </a:lnTo>
                  <a:lnTo>
                    <a:pt x="335" y="1555"/>
                  </a:lnTo>
                  <a:lnTo>
                    <a:pt x="310" y="1573"/>
                  </a:lnTo>
                  <a:lnTo>
                    <a:pt x="286" y="1592"/>
                  </a:lnTo>
                  <a:lnTo>
                    <a:pt x="274" y="1603"/>
                  </a:lnTo>
                  <a:lnTo>
                    <a:pt x="263" y="1615"/>
                  </a:lnTo>
                  <a:lnTo>
                    <a:pt x="252" y="1628"/>
                  </a:lnTo>
                  <a:lnTo>
                    <a:pt x="242" y="1643"/>
                  </a:lnTo>
                  <a:lnTo>
                    <a:pt x="220" y="1681"/>
                  </a:lnTo>
                  <a:lnTo>
                    <a:pt x="201" y="1715"/>
                  </a:lnTo>
                  <a:lnTo>
                    <a:pt x="183" y="1751"/>
                  </a:lnTo>
                  <a:lnTo>
                    <a:pt x="164" y="1792"/>
                  </a:lnTo>
                  <a:lnTo>
                    <a:pt x="153" y="1810"/>
                  </a:lnTo>
                  <a:lnTo>
                    <a:pt x="141" y="1826"/>
                  </a:lnTo>
                  <a:lnTo>
                    <a:pt x="135" y="1834"/>
                  </a:lnTo>
                  <a:lnTo>
                    <a:pt x="131" y="1843"/>
                  </a:lnTo>
                  <a:lnTo>
                    <a:pt x="126" y="1851"/>
                  </a:lnTo>
                  <a:lnTo>
                    <a:pt x="121" y="1861"/>
                  </a:lnTo>
                  <a:lnTo>
                    <a:pt x="114" y="1883"/>
                  </a:lnTo>
                  <a:lnTo>
                    <a:pt x="107" y="1901"/>
                  </a:lnTo>
                  <a:lnTo>
                    <a:pt x="102" y="1910"/>
                  </a:lnTo>
                  <a:lnTo>
                    <a:pt x="97" y="1918"/>
                  </a:lnTo>
                  <a:lnTo>
                    <a:pt x="90" y="1927"/>
                  </a:lnTo>
                  <a:lnTo>
                    <a:pt x="82" y="1934"/>
                  </a:lnTo>
                  <a:lnTo>
                    <a:pt x="82" y="1934"/>
                  </a:lnTo>
                  <a:lnTo>
                    <a:pt x="95" y="1952"/>
                  </a:lnTo>
                  <a:lnTo>
                    <a:pt x="107" y="1968"/>
                  </a:lnTo>
                  <a:lnTo>
                    <a:pt x="118" y="1984"/>
                  </a:lnTo>
                  <a:lnTo>
                    <a:pt x="128" y="2000"/>
                  </a:lnTo>
                  <a:lnTo>
                    <a:pt x="135" y="2018"/>
                  </a:lnTo>
                  <a:lnTo>
                    <a:pt x="142" y="2036"/>
                  </a:lnTo>
                  <a:lnTo>
                    <a:pt x="144" y="2045"/>
                  </a:lnTo>
                  <a:lnTo>
                    <a:pt x="145" y="2054"/>
                  </a:lnTo>
                  <a:lnTo>
                    <a:pt x="146" y="2065"/>
                  </a:lnTo>
                  <a:lnTo>
                    <a:pt x="147" y="2076"/>
                  </a:lnTo>
                  <a:lnTo>
                    <a:pt x="146" y="2090"/>
                  </a:lnTo>
                  <a:lnTo>
                    <a:pt x="144" y="2102"/>
                  </a:lnTo>
                  <a:lnTo>
                    <a:pt x="142" y="2114"/>
                  </a:lnTo>
                  <a:lnTo>
                    <a:pt x="140" y="2125"/>
                  </a:lnTo>
                  <a:lnTo>
                    <a:pt x="133" y="2147"/>
                  </a:lnTo>
                  <a:lnTo>
                    <a:pt x="127" y="2172"/>
                  </a:lnTo>
                  <a:lnTo>
                    <a:pt x="122" y="2213"/>
                  </a:lnTo>
                  <a:lnTo>
                    <a:pt x="120" y="2249"/>
                  </a:lnTo>
                  <a:lnTo>
                    <a:pt x="119" y="2266"/>
                  </a:lnTo>
                  <a:lnTo>
                    <a:pt x="117" y="2284"/>
                  </a:lnTo>
                  <a:lnTo>
                    <a:pt x="113" y="2304"/>
                  </a:lnTo>
                  <a:lnTo>
                    <a:pt x="107" y="2324"/>
                  </a:lnTo>
                  <a:lnTo>
                    <a:pt x="100" y="2348"/>
                  </a:lnTo>
                  <a:lnTo>
                    <a:pt x="92" y="2370"/>
                  </a:lnTo>
                  <a:lnTo>
                    <a:pt x="89" y="2380"/>
                  </a:lnTo>
                  <a:lnTo>
                    <a:pt x="87" y="2392"/>
                  </a:lnTo>
                  <a:lnTo>
                    <a:pt x="86" y="2404"/>
                  </a:lnTo>
                  <a:lnTo>
                    <a:pt x="85" y="2417"/>
                  </a:lnTo>
                  <a:lnTo>
                    <a:pt x="86" y="2436"/>
                  </a:lnTo>
                  <a:lnTo>
                    <a:pt x="88" y="2452"/>
                  </a:lnTo>
                  <a:lnTo>
                    <a:pt x="91" y="2467"/>
                  </a:lnTo>
                  <a:lnTo>
                    <a:pt x="95" y="2481"/>
                  </a:lnTo>
                  <a:lnTo>
                    <a:pt x="99" y="2496"/>
                  </a:lnTo>
                  <a:lnTo>
                    <a:pt x="102" y="2511"/>
                  </a:lnTo>
                  <a:lnTo>
                    <a:pt x="104" y="2526"/>
                  </a:lnTo>
                  <a:lnTo>
                    <a:pt x="105" y="2545"/>
                  </a:lnTo>
                  <a:lnTo>
                    <a:pt x="105" y="2564"/>
                  </a:lnTo>
                  <a:lnTo>
                    <a:pt x="105" y="2581"/>
                  </a:lnTo>
                  <a:lnTo>
                    <a:pt x="105" y="2599"/>
                  </a:lnTo>
                  <a:lnTo>
                    <a:pt x="105" y="2619"/>
                  </a:lnTo>
                  <a:lnTo>
                    <a:pt x="104" y="2632"/>
                  </a:lnTo>
                  <a:lnTo>
                    <a:pt x="103" y="2644"/>
                  </a:lnTo>
                  <a:lnTo>
                    <a:pt x="101" y="2655"/>
                  </a:lnTo>
                  <a:lnTo>
                    <a:pt x="99" y="2666"/>
                  </a:lnTo>
                  <a:lnTo>
                    <a:pt x="91" y="2687"/>
                  </a:lnTo>
                  <a:lnTo>
                    <a:pt x="82" y="2711"/>
                  </a:lnTo>
                  <a:lnTo>
                    <a:pt x="78" y="2723"/>
                  </a:lnTo>
                  <a:lnTo>
                    <a:pt x="75" y="2735"/>
                  </a:lnTo>
                  <a:lnTo>
                    <a:pt x="73" y="2746"/>
                  </a:lnTo>
                  <a:lnTo>
                    <a:pt x="71" y="2756"/>
                  </a:lnTo>
                  <a:lnTo>
                    <a:pt x="70" y="2768"/>
                  </a:lnTo>
                  <a:lnTo>
                    <a:pt x="67" y="2779"/>
                  </a:lnTo>
                  <a:lnTo>
                    <a:pt x="64" y="2791"/>
                  </a:lnTo>
                  <a:lnTo>
                    <a:pt x="60" y="2803"/>
                  </a:lnTo>
                  <a:lnTo>
                    <a:pt x="50" y="2829"/>
                  </a:lnTo>
                  <a:lnTo>
                    <a:pt x="41" y="2851"/>
                  </a:lnTo>
                  <a:lnTo>
                    <a:pt x="34" y="2873"/>
                  </a:lnTo>
                  <a:lnTo>
                    <a:pt x="26" y="2893"/>
                  </a:lnTo>
                  <a:lnTo>
                    <a:pt x="20" y="2914"/>
                  </a:lnTo>
                  <a:lnTo>
                    <a:pt x="13" y="2936"/>
                  </a:lnTo>
                  <a:lnTo>
                    <a:pt x="7" y="2959"/>
                  </a:lnTo>
                  <a:lnTo>
                    <a:pt x="0" y="2986"/>
                  </a:lnTo>
                  <a:lnTo>
                    <a:pt x="0" y="2986"/>
                  </a:lnTo>
                  <a:lnTo>
                    <a:pt x="107" y="3033"/>
                  </a:lnTo>
                  <a:lnTo>
                    <a:pt x="105" y="3046"/>
                  </a:lnTo>
                  <a:lnTo>
                    <a:pt x="101" y="3058"/>
                  </a:lnTo>
                  <a:lnTo>
                    <a:pt x="95" y="3070"/>
                  </a:lnTo>
                  <a:lnTo>
                    <a:pt x="90" y="3080"/>
                  </a:lnTo>
                  <a:lnTo>
                    <a:pt x="76" y="3099"/>
                  </a:lnTo>
                  <a:lnTo>
                    <a:pt x="61" y="3117"/>
                  </a:lnTo>
                  <a:lnTo>
                    <a:pt x="54" y="3126"/>
                  </a:lnTo>
                  <a:lnTo>
                    <a:pt x="47" y="3134"/>
                  </a:lnTo>
                  <a:lnTo>
                    <a:pt x="40" y="3144"/>
                  </a:lnTo>
                  <a:lnTo>
                    <a:pt x="35" y="3154"/>
                  </a:lnTo>
                  <a:lnTo>
                    <a:pt x="31" y="3165"/>
                  </a:lnTo>
                  <a:lnTo>
                    <a:pt x="26" y="3175"/>
                  </a:lnTo>
                  <a:lnTo>
                    <a:pt x="24" y="3188"/>
                  </a:lnTo>
                  <a:lnTo>
                    <a:pt x="23" y="3201"/>
                  </a:lnTo>
                  <a:lnTo>
                    <a:pt x="24" y="3209"/>
                  </a:lnTo>
                  <a:lnTo>
                    <a:pt x="25" y="3216"/>
                  </a:lnTo>
                  <a:lnTo>
                    <a:pt x="27" y="3224"/>
                  </a:lnTo>
                  <a:lnTo>
                    <a:pt x="31" y="3230"/>
                  </a:lnTo>
                  <a:lnTo>
                    <a:pt x="34" y="3237"/>
                  </a:lnTo>
                  <a:lnTo>
                    <a:pt x="39" y="3242"/>
                  </a:lnTo>
                  <a:lnTo>
                    <a:pt x="44" y="3248"/>
                  </a:lnTo>
                  <a:lnTo>
                    <a:pt x="49" y="3253"/>
                  </a:lnTo>
                  <a:lnTo>
                    <a:pt x="62" y="3262"/>
                  </a:lnTo>
                  <a:lnTo>
                    <a:pt x="76" y="3269"/>
                  </a:lnTo>
                  <a:lnTo>
                    <a:pt x="91" y="3276"/>
                  </a:lnTo>
                  <a:lnTo>
                    <a:pt x="107" y="3282"/>
                  </a:lnTo>
                  <a:lnTo>
                    <a:pt x="146" y="3297"/>
                  </a:lnTo>
                  <a:lnTo>
                    <a:pt x="181" y="3309"/>
                  </a:lnTo>
                  <a:lnTo>
                    <a:pt x="198" y="3315"/>
                  </a:lnTo>
                  <a:lnTo>
                    <a:pt x="215" y="3318"/>
                  </a:lnTo>
                  <a:lnTo>
                    <a:pt x="235" y="3321"/>
                  </a:lnTo>
                  <a:lnTo>
                    <a:pt x="256" y="3321"/>
                  </a:lnTo>
                  <a:lnTo>
                    <a:pt x="264" y="3321"/>
                  </a:lnTo>
                  <a:lnTo>
                    <a:pt x="273" y="3320"/>
                  </a:lnTo>
                  <a:lnTo>
                    <a:pt x="279" y="3318"/>
                  </a:lnTo>
                  <a:lnTo>
                    <a:pt x="286" y="3315"/>
                  </a:lnTo>
                  <a:lnTo>
                    <a:pt x="292" y="3310"/>
                  </a:lnTo>
                  <a:lnTo>
                    <a:pt x="299" y="3306"/>
                  </a:lnTo>
                  <a:lnTo>
                    <a:pt x="304" y="3302"/>
                  </a:lnTo>
                  <a:lnTo>
                    <a:pt x="308" y="3296"/>
                  </a:lnTo>
                  <a:lnTo>
                    <a:pt x="318" y="3283"/>
                  </a:lnTo>
                  <a:lnTo>
                    <a:pt x="327" y="3270"/>
                  </a:lnTo>
                  <a:lnTo>
                    <a:pt x="334" y="3255"/>
                  </a:lnTo>
                  <a:lnTo>
                    <a:pt x="342" y="3240"/>
                  </a:lnTo>
                  <a:lnTo>
                    <a:pt x="349" y="3225"/>
                  </a:lnTo>
                  <a:lnTo>
                    <a:pt x="357" y="3210"/>
                  </a:lnTo>
                  <a:lnTo>
                    <a:pt x="365" y="3197"/>
                  </a:lnTo>
                  <a:lnTo>
                    <a:pt x="374" y="3184"/>
                  </a:lnTo>
                  <a:lnTo>
                    <a:pt x="380" y="3179"/>
                  </a:lnTo>
                  <a:lnTo>
                    <a:pt x="385" y="3174"/>
                  </a:lnTo>
                  <a:lnTo>
                    <a:pt x="391" y="3170"/>
                  </a:lnTo>
                  <a:lnTo>
                    <a:pt x="397" y="3166"/>
                  </a:lnTo>
                  <a:lnTo>
                    <a:pt x="404" y="3163"/>
                  </a:lnTo>
                  <a:lnTo>
                    <a:pt x="411" y="3160"/>
                  </a:lnTo>
                  <a:lnTo>
                    <a:pt x="418" y="3159"/>
                  </a:lnTo>
                  <a:lnTo>
                    <a:pt x="427" y="3159"/>
                  </a:lnTo>
                  <a:lnTo>
                    <a:pt x="438" y="3159"/>
                  </a:lnTo>
                  <a:lnTo>
                    <a:pt x="448" y="3161"/>
                  </a:lnTo>
                  <a:lnTo>
                    <a:pt x="456" y="3165"/>
                  </a:lnTo>
                  <a:lnTo>
                    <a:pt x="465" y="3169"/>
                  </a:lnTo>
                  <a:lnTo>
                    <a:pt x="473" y="3174"/>
                  </a:lnTo>
                  <a:lnTo>
                    <a:pt x="481" y="3181"/>
                  </a:lnTo>
                  <a:lnTo>
                    <a:pt x="488" y="3187"/>
                  </a:lnTo>
                  <a:lnTo>
                    <a:pt x="493" y="3196"/>
                  </a:lnTo>
                  <a:lnTo>
                    <a:pt x="498" y="3205"/>
                  </a:lnTo>
                  <a:lnTo>
                    <a:pt x="504" y="3213"/>
                  </a:lnTo>
                  <a:lnTo>
                    <a:pt x="508" y="3223"/>
                  </a:lnTo>
                  <a:lnTo>
                    <a:pt x="511" y="3233"/>
                  </a:lnTo>
                  <a:lnTo>
                    <a:pt x="513" y="3243"/>
                  </a:lnTo>
                  <a:lnTo>
                    <a:pt x="516" y="3254"/>
                  </a:lnTo>
                  <a:lnTo>
                    <a:pt x="517" y="3265"/>
                  </a:lnTo>
                  <a:lnTo>
                    <a:pt x="517" y="3275"/>
                  </a:lnTo>
                  <a:lnTo>
                    <a:pt x="516" y="3292"/>
                  </a:lnTo>
                  <a:lnTo>
                    <a:pt x="513" y="3306"/>
                  </a:lnTo>
                  <a:lnTo>
                    <a:pt x="510" y="3320"/>
                  </a:lnTo>
                  <a:lnTo>
                    <a:pt x="507" y="3333"/>
                  </a:lnTo>
                  <a:lnTo>
                    <a:pt x="504" y="3347"/>
                  </a:lnTo>
                  <a:lnTo>
                    <a:pt x="500" y="3360"/>
                  </a:lnTo>
                  <a:lnTo>
                    <a:pt x="498" y="3375"/>
                  </a:lnTo>
                  <a:lnTo>
                    <a:pt x="497" y="3391"/>
                  </a:lnTo>
                  <a:lnTo>
                    <a:pt x="497" y="3401"/>
                  </a:lnTo>
                  <a:lnTo>
                    <a:pt x="498" y="3410"/>
                  </a:lnTo>
                  <a:lnTo>
                    <a:pt x="500" y="3418"/>
                  </a:lnTo>
                  <a:lnTo>
                    <a:pt x="504" y="3427"/>
                  </a:lnTo>
                  <a:lnTo>
                    <a:pt x="508" y="3435"/>
                  </a:lnTo>
                  <a:lnTo>
                    <a:pt x="513" y="3440"/>
                  </a:lnTo>
                  <a:lnTo>
                    <a:pt x="517" y="3442"/>
                  </a:lnTo>
                  <a:lnTo>
                    <a:pt x="520" y="3443"/>
                  </a:lnTo>
                  <a:lnTo>
                    <a:pt x="523" y="3444"/>
                  </a:lnTo>
                  <a:lnTo>
                    <a:pt x="527" y="3444"/>
                  </a:lnTo>
                  <a:lnTo>
                    <a:pt x="534" y="3444"/>
                  </a:lnTo>
                  <a:lnTo>
                    <a:pt x="538" y="3442"/>
                  </a:lnTo>
                  <a:lnTo>
                    <a:pt x="543" y="3438"/>
                  </a:lnTo>
                  <a:lnTo>
                    <a:pt x="546" y="3433"/>
                  </a:lnTo>
                  <a:lnTo>
                    <a:pt x="551" y="3423"/>
                  </a:lnTo>
                  <a:lnTo>
                    <a:pt x="556" y="3411"/>
                  </a:lnTo>
                  <a:lnTo>
                    <a:pt x="563" y="3397"/>
                  </a:lnTo>
                  <a:lnTo>
                    <a:pt x="571" y="3384"/>
                  </a:lnTo>
                  <a:lnTo>
                    <a:pt x="577" y="3370"/>
                  </a:lnTo>
                  <a:lnTo>
                    <a:pt x="584" y="3355"/>
                  </a:lnTo>
                  <a:lnTo>
                    <a:pt x="591" y="3357"/>
                  </a:lnTo>
                  <a:lnTo>
                    <a:pt x="598" y="3360"/>
                  </a:lnTo>
                  <a:lnTo>
                    <a:pt x="604" y="3363"/>
                  </a:lnTo>
                  <a:lnTo>
                    <a:pt x="610" y="3367"/>
                  </a:lnTo>
                  <a:lnTo>
                    <a:pt x="619" y="3374"/>
                  </a:lnTo>
                  <a:lnTo>
                    <a:pt x="630" y="3383"/>
                  </a:lnTo>
                  <a:lnTo>
                    <a:pt x="640" y="3390"/>
                  </a:lnTo>
                  <a:lnTo>
                    <a:pt x="651" y="3397"/>
                  </a:lnTo>
                  <a:lnTo>
                    <a:pt x="656" y="3399"/>
                  </a:lnTo>
                  <a:lnTo>
                    <a:pt x="662" y="3401"/>
                  </a:lnTo>
                  <a:lnTo>
                    <a:pt x="669" y="3402"/>
                  </a:lnTo>
                  <a:lnTo>
                    <a:pt x="677" y="3403"/>
                  </a:lnTo>
                  <a:lnTo>
                    <a:pt x="681" y="3402"/>
                  </a:lnTo>
                  <a:lnTo>
                    <a:pt x="684" y="3401"/>
                  </a:lnTo>
                  <a:lnTo>
                    <a:pt x="687" y="3400"/>
                  </a:lnTo>
                  <a:lnTo>
                    <a:pt x="691" y="3398"/>
                  </a:lnTo>
                  <a:lnTo>
                    <a:pt x="697" y="3394"/>
                  </a:lnTo>
                  <a:lnTo>
                    <a:pt x="701" y="3387"/>
                  </a:lnTo>
                  <a:lnTo>
                    <a:pt x="707" y="3382"/>
                  </a:lnTo>
                  <a:lnTo>
                    <a:pt x="712" y="3376"/>
                  </a:lnTo>
                  <a:lnTo>
                    <a:pt x="715" y="3375"/>
                  </a:lnTo>
                  <a:lnTo>
                    <a:pt x="719" y="3373"/>
                  </a:lnTo>
                  <a:lnTo>
                    <a:pt x="723" y="3372"/>
                  </a:lnTo>
                  <a:lnTo>
                    <a:pt x="727" y="3372"/>
                  </a:lnTo>
                  <a:lnTo>
                    <a:pt x="738" y="3373"/>
                  </a:lnTo>
                  <a:lnTo>
                    <a:pt x="747" y="3376"/>
                  </a:lnTo>
                  <a:lnTo>
                    <a:pt x="755" y="3381"/>
                  </a:lnTo>
                  <a:lnTo>
                    <a:pt x="763" y="3386"/>
                  </a:lnTo>
                  <a:lnTo>
                    <a:pt x="777" y="3401"/>
                  </a:lnTo>
                  <a:lnTo>
                    <a:pt x="791" y="3417"/>
                  </a:lnTo>
                  <a:lnTo>
                    <a:pt x="805" y="3430"/>
                  </a:lnTo>
                  <a:lnTo>
                    <a:pt x="818" y="3441"/>
                  </a:lnTo>
                  <a:lnTo>
                    <a:pt x="832" y="3451"/>
                  </a:lnTo>
                  <a:lnTo>
                    <a:pt x="845" y="3459"/>
                  </a:lnTo>
                  <a:lnTo>
                    <a:pt x="871" y="3477"/>
                  </a:lnTo>
                  <a:lnTo>
                    <a:pt x="901" y="3498"/>
                  </a:lnTo>
                  <a:lnTo>
                    <a:pt x="918" y="3512"/>
                  </a:lnTo>
                  <a:lnTo>
                    <a:pt x="935" y="3523"/>
                  </a:lnTo>
                  <a:lnTo>
                    <a:pt x="943" y="3529"/>
                  </a:lnTo>
                  <a:lnTo>
                    <a:pt x="952" y="3532"/>
                  </a:lnTo>
                  <a:lnTo>
                    <a:pt x="963" y="3534"/>
                  </a:lnTo>
                  <a:lnTo>
                    <a:pt x="974" y="3535"/>
                  </a:lnTo>
                  <a:lnTo>
                    <a:pt x="979" y="3534"/>
                  </a:lnTo>
                  <a:lnTo>
                    <a:pt x="982" y="3532"/>
                  </a:lnTo>
                  <a:lnTo>
                    <a:pt x="985" y="3527"/>
                  </a:lnTo>
                  <a:lnTo>
                    <a:pt x="988" y="3523"/>
                  </a:lnTo>
                  <a:lnTo>
                    <a:pt x="992" y="3513"/>
                  </a:lnTo>
                  <a:lnTo>
                    <a:pt x="996" y="3504"/>
                  </a:lnTo>
                  <a:lnTo>
                    <a:pt x="1002" y="3495"/>
                  </a:lnTo>
                  <a:lnTo>
                    <a:pt x="1007" y="3486"/>
                  </a:lnTo>
                  <a:lnTo>
                    <a:pt x="1014" y="3479"/>
                  </a:lnTo>
                  <a:lnTo>
                    <a:pt x="1020" y="3472"/>
                  </a:lnTo>
                  <a:lnTo>
                    <a:pt x="1028" y="3467"/>
                  </a:lnTo>
                  <a:lnTo>
                    <a:pt x="1035" y="3463"/>
                  </a:lnTo>
                  <a:lnTo>
                    <a:pt x="1045" y="3459"/>
                  </a:lnTo>
                  <a:lnTo>
                    <a:pt x="1055" y="3458"/>
                  </a:lnTo>
                  <a:lnTo>
                    <a:pt x="1062" y="3459"/>
                  </a:lnTo>
                  <a:lnTo>
                    <a:pt x="1070" y="3462"/>
                  </a:lnTo>
                  <a:lnTo>
                    <a:pt x="1076" y="3464"/>
                  </a:lnTo>
                  <a:lnTo>
                    <a:pt x="1082" y="3467"/>
                  </a:lnTo>
                  <a:lnTo>
                    <a:pt x="1092" y="3476"/>
                  </a:lnTo>
                  <a:lnTo>
                    <a:pt x="1103" y="3485"/>
                  </a:lnTo>
                  <a:lnTo>
                    <a:pt x="1113" y="3495"/>
                  </a:lnTo>
                  <a:lnTo>
                    <a:pt x="1124" y="3504"/>
                  </a:lnTo>
                  <a:lnTo>
                    <a:pt x="1130" y="3507"/>
                  </a:lnTo>
                  <a:lnTo>
                    <a:pt x="1137" y="3510"/>
                  </a:lnTo>
                  <a:lnTo>
                    <a:pt x="1143" y="3511"/>
                  </a:lnTo>
                  <a:lnTo>
                    <a:pt x="1151" y="3512"/>
                  </a:lnTo>
                  <a:lnTo>
                    <a:pt x="1165" y="3512"/>
                  </a:lnTo>
                  <a:lnTo>
                    <a:pt x="1177" y="3512"/>
                  </a:lnTo>
                  <a:lnTo>
                    <a:pt x="1188" y="3512"/>
                  </a:lnTo>
                  <a:lnTo>
                    <a:pt x="1203" y="3512"/>
                  </a:lnTo>
                  <a:lnTo>
                    <a:pt x="1219" y="3511"/>
                  </a:lnTo>
                  <a:lnTo>
                    <a:pt x="1234" y="3509"/>
                  </a:lnTo>
                  <a:lnTo>
                    <a:pt x="1248" y="3506"/>
                  </a:lnTo>
                  <a:lnTo>
                    <a:pt x="1262" y="3503"/>
                  </a:lnTo>
                  <a:lnTo>
                    <a:pt x="1289" y="3492"/>
                  </a:lnTo>
                  <a:lnTo>
                    <a:pt x="1318" y="3481"/>
                  </a:lnTo>
                  <a:lnTo>
                    <a:pt x="1353" y="3471"/>
                  </a:lnTo>
                  <a:lnTo>
                    <a:pt x="1383" y="3465"/>
                  </a:lnTo>
                  <a:lnTo>
                    <a:pt x="1398" y="3460"/>
                  </a:lnTo>
                  <a:lnTo>
                    <a:pt x="1412" y="3454"/>
                  </a:lnTo>
                  <a:lnTo>
                    <a:pt x="1420" y="3451"/>
                  </a:lnTo>
                  <a:lnTo>
                    <a:pt x="1427" y="3446"/>
                  </a:lnTo>
                  <a:lnTo>
                    <a:pt x="1435" y="3442"/>
                  </a:lnTo>
                  <a:lnTo>
                    <a:pt x="1441" y="3437"/>
                  </a:lnTo>
                  <a:lnTo>
                    <a:pt x="1446" y="3432"/>
                  </a:lnTo>
                  <a:lnTo>
                    <a:pt x="1450" y="3428"/>
                  </a:lnTo>
                  <a:lnTo>
                    <a:pt x="1452" y="3424"/>
                  </a:lnTo>
                  <a:lnTo>
                    <a:pt x="1454" y="3419"/>
                  </a:lnTo>
                  <a:lnTo>
                    <a:pt x="1457" y="3410"/>
                  </a:lnTo>
                  <a:lnTo>
                    <a:pt x="1461" y="3400"/>
                  </a:lnTo>
                  <a:lnTo>
                    <a:pt x="1463" y="3390"/>
                  </a:lnTo>
                  <a:lnTo>
                    <a:pt x="1466" y="3381"/>
                  </a:lnTo>
                  <a:lnTo>
                    <a:pt x="1468" y="3376"/>
                  </a:lnTo>
                  <a:lnTo>
                    <a:pt x="1470" y="3372"/>
                  </a:lnTo>
                  <a:lnTo>
                    <a:pt x="1474" y="3368"/>
                  </a:lnTo>
                  <a:lnTo>
                    <a:pt x="1478" y="3363"/>
                  </a:lnTo>
                  <a:lnTo>
                    <a:pt x="1483" y="3359"/>
                  </a:lnTo>
                  <a:lnTo>
                    <a:pt x="1489" y="3356"/>
                  </a:lnTo>
                  <a:lnTo>
                    <a:pt x="1494" y="3354"/>
                  </a:lnTo>
                  <a:lnTo>
                    <a:pt x="1500" y="3351"/>
                  </a:lnTo>
                  <a:lnTo>
                    <a:pt x="1510" y="3349"/>
                  </a:lnTo>
                  <a:lnTo>
                    <a:pt x="1521" y="3348"/>
                  </a:lnTo>
                  <a:lnTo>
                    <a:pt x="1545" y="3347"/>
                  </a:lnTo>
                  <a:lnTo>
                    <a:pt x="1571" y="3344"/>
                  </a:lnTo>
                  <a:lnTo>
                    <a:pt x="1699" y="3338"/>
                  </a:lnTo>
                  <a:lnTo>
                    <a:pt x="1699" y="3338"/>
                  </a:lnTo>
                  <a:lnTo>
                    <a:pt x="1696" y="3328"/>
                  </a:lnTo>
                  <a:lnTo>
                    <a:pt x="1693" y="3318"/>
                  </a:lnTo>
                  <a:lnTo>
                    <a:pt x="1691" y="3308"/>
                  </a:lnTo>
                  <a:lnTo>
                    <a:pt x="1690" y="3298"/>
                  </a:lnTo>
                  <a:lnTo>
                    <a:pt x="1689" y="3279"/>
                  </a:lnTo>
                  <a:lnTo>
                    <a:pt x="1689" y="3257"/>
                  </a:lnTo>
                  <a:lnTo>
                    <a:pt x="1689" y="3237"/>
                  </a:lnTo>
                  <a:lnTo>
                    <a:pt x="1691" y="3220"/>
                  </a:lnTo>
                  <a:lnTo>
                    <a:pt x="1693" y="3202"/>
                  </a:lnTo>
                  <a:lnTo>
                    <a:pt x="1695" y="3186"/>
                  </a:lnTo>
                  <a:lnTo>
                    <a:pt x="1698" y="3170"/>
                  </a:lnTo>
                  <a:lnTo>
                    <a:pt x="1700" y="3153"/>
                  </a:lnTo>
                  <a:lnTo>
                    <a:pt x="1702" y="3135"/>
                  </a:lnTo>
                  <a:lnTo>
                    <a:pt x="1703" y="3116"/>
                  </a:lnTo>
                  <a:lnTo>
                    <a:pt x="1702" y="3101"/>
                  </a:lnTo>
                  <a:lnTo>
                    <a:pt x="1698" y="3088"/>
                  </a:lnTo>
                  <a:lnTo>
                    <a:pt x="1694" y="3076"/>
                  </a:lnTo>
                  <a:lnTo>
                    <a:pt x="1690" y="3064"/>
                  </a:lnTo>
                  <a:lnTo>
                    <a:pt x="1685" y="3053"/>
                  </a:lnTo>
                  <a:lnTo>
                    <a:pt x="1681" y="3040"/>
                  </a:lnTo>
                  <a:lnTo>
                    <a:pt x="1678" y="3027"/>
                  </a:lnTo>
                  <a:lnTo>
                    <a:pt x="1677" y="3013"/>
                  </a:lnTo>
                  <a:lnTo>
                    <a:pt x="1678" y="3007"/>
                  </a:lnTo>
                  <a:lnTo>
                    <a:pt x="1679" y="3001"/>
                  </a:lnTo>
                  <a:lnTo>
                    <a:pt x="1681" y="2996"/>
                  </a:lnTo>
                  <a:lnTo>
                    <a:pt x="1683" y="2991"/>
                  </a:lnTo>
                  <a:lnTo>
                    <a:pt x="1691" y="2982"/>
                  </a:lnTo>
                  <a:lnTo>
                    <a:pt x="1698" y="2974"/>
                  </a:lnTo>
                  <a:lnTo>
                    <a:pt x="1706" y="2966"/>
                  </a:lnTo>
                  <a:lnTo>
                    <a:pt x="1712" y="2957"/>
                  </a:lnTo>
                  <a:lnTo>
                    <a:pt x="1716" y="2952"/>
                  </a:lnTo>
                  <a:lnTo>
                    <a:pt x="1718" y="2946"/>
                  </a:lnTo>
                  <a:lnTo>
                    <a:pt x="1719" y="2941"/>
                  </a:lnTo>
                  <a:lnTo>
                    <a:pt x="1719" y="2935"/>
                  </a:lnTo>
                  <a:lnTo>
                    <a:pt x="1719" y="2929"/>
                  </a:lnTo>
                  <a:lnTo>
                    <a:pt x="1718" y="2924"/>
                  </a:lnTo>
                  <a:lnTo>
                    <a:pt x="1716" y="2919"/>
                  </a:lnTo>
                  <a:lnTo>
                    <a:pt x="1713" y="2915"/>
                  </a:lnTo>
                  <a:lnTo>
                    <a:pt x="1708" y="2906"/>
                  </a:lnTo>
                  <a:lnTo>
                    <a:pt x="1703" y="2899"/>
                  </a:lnTo>
                  <a:lnTo>
                    <a:pt x="1696" y="2891"/>
                  </a:lnTo>
                  <a:lnTo>
                    <a:pt x="1691" y="2883"/>
                  </a:lnTo>
                  <a:lnTo>
                    <a:pt x="1689" y="2878"/>
                  </a:lnTo>
                  <a:lnTo>
                    <a:pt x="1687" y="2874"/>
                  </a:lnTo>
                  <a:lnTo>
                    <a:pt x="1686" y="2869"/>
                  </a:lnTo>
                  <a:lnTo>
                    <a:pt x="1685" y="2863"/>
                  </a:lnTo>
                  <a:lnTo>
                    <a:pt x="1686" y="2857"/>
                  </a:lnTo>
                  <a:lnTo>
                    <a:pt x="1687" y="2850"/>
                  </a:lnTo>
                  <a:lnTo>
                    <a:pt x="1690" y="2844"/>
                  </a:lnTo>
                  <a:lnTo>
                    <a:pt x="1692" y="2838"/>
                  </a:lnTo>
                  <a:lnTo>
                    <a:pt x="1698" y="2829"/>
                  </a:lnTo>
                  <a:lnTo>
                    <a:pt x="1707" y="2819"/>
                  </a:lnTo>
                  <a:lnTo>
                    <a:pt x="1714" y="2809"/>
                  </a:lnTo>
                  <a:lnTo>
                    <a:pt x="1721" y="2800"/>
                  </a:lnTo>
                  <a:lnTo>
                    <a:pt x="1724" y="2794"/>
                  </a:lnTo>
                  <a:lnTo>
                    <a:pt x="1725" y="2788"/>
                  </a:lnTo>
                  <a:lnTo>
                    <a:pt x="1727" y="2782"/>
                  </a:lnTo>
                  <a:lnTo>
                    <a:pt x="1727" y="2775"/>
                  </a:lnTo>
                  <a:lnTo>
                    <a:pt x="1727" y="2770"/>
                  </a:lnTo>
                  <a:lnTo>
                    <a:pt x="1725" y="2766"/>
                  </a:lnTo>
                  <a:lnTo>
                    <a:pt x="1723" y="2763"/>
                  </a:lnTo>
                  <a:lnTo>
                    <a:pt x="1720" y="2760"/>
                  </a:lnTo>
                  <a:lnTo>
                    <a:pt x="1712" y="2754"/>
                  </a:lnTo>
                  <a:lnTo>
                    <a:pt x="1704" y="2750"/>
                  </a:lnTo>
                  <a:lnTo>
                    <a:pt x="1695" y="2746"/>
                  </a:lnTo>
                  <a:lnTo>
                    <a:pt x="1687" y="2740"/>
                  </a:lnTo>
                  <a:lnTo>
                    <a:pt x="1684" y="2737"/>
                  </a:lnTo>
                  <a:lnTo>
                    <a:pt x="1682" y="2734"/>
                  </a:lnTo>
                  <a:lnTo>
                    <a:pt x="1680" y="2729"/>
                  </a:lnTo>
                  <a:lnTo>
                    <a:pt x="1680" y="2725"/>
                  </a:lnTo>
                  <a:lnTo>
                    <a:pt x="1681" y="2712"/>
                  </a:lnTo>
                  <a:lnTo>
                    <a:pt x="1683" y="2700"/>
                  </a:lnTo>
                  <a:lnTo>
                    <a:pt x="1687" y="2690"/>
                  </a:lnTo>
                  <a:lnTo>
                    <a:pt x="1693" y="2681"/>
                  </a:lnTo>
                  <a:lnTo>
                    <a:pt x="1698" y="2671"/>
                  </a:lnTo>
                  <a:lnTo>
                    <a:pt x="1704" y="2660"/>
                  </a:lnTo>
                  <a:lnTo>
                    <a:pt x="1709" y="2649"/>
                  </a:lnTo>
                  <a:lnTo>
                    <a:pt x="1713" y="2638"/>
                  </a:lnTo>
                  <a:lnTo>
                    <a:pt x="1718" y="2625"/>
                  </a:lnTo>
                  <a:lnTo>
                    <a:pt x="1720" y="2613"/>
                  </a:lnTo>
                  <a:lnTo>
                    <a:pt x="1722" y="2601"/>
                  </a:lnTo>
                  <a:lnTo>
                    <a:pt x="1723" y="2590"/>
                  </a:lnTo>
                  <a:lnTo>
                    <a:pt x="1724" y="2578"/>
                  </a:lnTo>
                  <a:lnTo>
                    <a:pt x="1726" y="2567"/>
                  </a:lnTo>
                  <a:lnTo>
                    <a:pt x="1730" y="2555"/>
                  </a:lnTo>
                  <a:lnTo>
                    <a:pt x="1733" y="2542"/>
                  </a:lnTo>
                  <a:lnTo>
                    <a:pt x="1741" y="2521"/>
                  </a:lnTo>
                  <a:lnTo>
                    <a:pt x="1751" y="2504"/>
                  </a:lnTo>
                  <a:lnTo>
                    <a:pt x="1761" y="2485"/>
                  </a:lnTo>
                  <a:lnTo>
                    <a:pt x="1770" y="2464"/>
                  </a:lnTo>
                  <a:lnTo>
                    <a:pt x="1780" y="2431"/>
                  </a:lnTo>
                  <a:lnTo>
                    <a:pt x="1789" y="2402"/>
                  </a:lnTo>
                  <a:lnTo>
                    <a:pt x="1798" y="2373"/>
                  </a:lnTo>
                  <a:lnTo>
                    <a:pt x="1808" y="2341"/>
                  </a:lnTo>
                  <a:lnTo>
                    <a:pt x="1814" y="2329"/>
                  </a:lnTo>
                  <a:lnTo>
                    <a:pt x="1819" y="2318"/>
                  </a:lnTo>
                  <a:lnTo>
                    <a:pt x="1826" y="2308"/>
                  </a:lnTo>
                  <a:lnTo>
                    <a:pt x="1832" y="2298"/>
                  </a:lnTo>
                  <a:lnTo>
                    <a:pt x="1839" y="2290"/>
                  </a:lnTo>
                  <a:lnTo>
                    <a:pt x="1847" y="2282"/>
                  </a:lnTo>
                  <a:lnTo>
                    <a:pt x="1857" y="2275"/>
                  </a:lnTo>
                  <a:lnTo>
                    <a:pt x="1868" y="2268"/>
                  </a:lnTo>
                  <a:lnTo>
                    <a:pt x="1885" y="2261"/>
                  </a:lnTo>
                  <a:lnTo>
                    <a:pt x="1902" y="2254"/>
                  </a:lnTo>
                  <a:lnTo>
                    <a:pt x="1910" y="2251"/>
                  </a:lnTo>
                  <a:lnTo>
                    <a:pt x="1915" y="2245"/>
                  </a:lnTo>
                  <a:lnTo>
                    <a:pt x="1918" y="2243"/>
                  </a:lnTo>
                  <a:lnTo>
                    <a:pt x="1920" y="2240"/>
                  </a:lnTo>
                  <a:lnTo>
                    <a:pt x="1921" y="2236"/>
                  </a:lnTo>
                  <a:lnTo>
                    <a:pt x="1921" y="2231"/>
                  </a:lnTo>
                  <a:lnTo>
                    <a:pt x="1920" y="2224"/>
                  </a:lnTo>
                  <a:lnTo>
                    <a:pt x="1919" y="2218"/>
                  </a:lnTo>
                  <a:lnTo>
                    <a:pt x="1915" y="2212"/>
                  </a:lnTo>
                  <a:lnTo>
                    <a:pt x="1912" y="2207"/>
                  </a:lnTo>
                  <a:lnTo>
                    <a:pt x="1909" y="2201"/>
                  </a:lnTo>
                  <a:lnTo>
                    <a:pt x="1906" y="2196"/>
                  </a:lnTo>
                  <a:lnTo>
                    <a:pt x="1904" y="2189"/>
                  </a:lnTo>
                  <a:lnTo>
                    <a:pt x="1902" y="2183"/>
                  </a:lnTo>
                  <a:lnTo>
                    <a:pt x="1902" y="2183"/>
                  </a:lnTo>
                  <a:lnTo>
                    <a:pt x="1883" y="2181"/>
                  </a:lnTo>
                  <a:lnTo>
                    <a:pt x="1867" y="2179"/>
                  </a:lnTo>
                  <a:lnTo>
                    <a:pt x="1852" y="2176"/>
                  </a:lnTo>
                  <a:lnTo>
                    <a:pt x="1832" y="2175"/>
                  </a:lnTo>
                  <a:lnTo>
                    <a:pt x="1818" y="2174"/>
                  </a:lnTo>
                  <a:lnTo>
                    <a:pt x="1806" y="2172"/>
                  </a:lnTo>
                  <a:lnTo>
                    <a:pt x="1793" y="2169"/>
                  </a:lnTo>
                  <a:lnTo>
                    <a:pt x="1783" y="2164"/>
                  </a:lnTo>
                  <a:lnTo>
                    <a:pt x="1772" y="2158"/>
                  </a:lnTo>
                  <a:lnTo>
                    <a:pt x="1762" y="2152"/>
                  </a:lnTo>
                  <a:lnTo>
                    <a:pt x="1753" y="2143"/>
                  </a:lnTo>
                  <a:lnTo>
                    <a:pt x="1745" y="2134"/>
                  </a:lnTo>
                  <a:lnTo>
                    <a:pt x="1737" y="2125"/>
                  </a:lnTo>
                  <a:lnTo>
                    <a:pt x="1730" y="2114"/>
                  </a:lnTo>
                  <a:lnTo>
                    <a:pt x="1724" y="2102"/>
                  </a:lnTo>
                  <a:lnTo>
                    <a:pt x="1718" y="2090"/>
                  </a:lnTo>
                  <a:lnTo>
                    <a:pt x="1713" y="2078"/>
                  </a:lnTo>
                  <a:lnTo>
                    <a:pt x="1709" y="2065"/>
                  </a:lnTo>
                  <a:lnTo>
                    <a:pt x="1705" y="2051"/>
                  </a:lnTo>
                  <a:lnTo>
                    <a:pt x="1703" y="2038"/>
                  </a:lnTo>
                  <a:lnTo>
                    <a:pt x="1696" y="2001"/>
                  </a:lnTo>
                  <a:lnTo>
                    <a:pt x="1689" y="1970"/>
                  </a:lnTo>
                  <a:lnTo>
                    <a:pt x="1684" y="1954"/>
                  </a:lnTo>
                  <a:lnTo>
                    <a:pt x="1679" y="1939"/>
                  </a:lnTo>
                  <a:lnTo>
                    <a:pt x="1672" y="1923"/>
                  </a:lnTo>
                  <a:lnTo>
                    <a:pt x="1663" y="1906"/>
                  </a:lnTo>
                  <a:lnTo>
                    <a:pt x="1652" y="1885"/>
                  </a:lnTo>
                  <a:lnTo>
                    <a:pt x="1641" y="1866"/>
                  </a:lnTo>
                  <a:lnTo>
                    <a:pt x="1630" y="1849"/>
                  </a:lnTo>
                  <a:lnTo>
                    <a:pt x="1619" y="1833"/>
                  </a:lnTo>
                  <a:lnTo>
                    <a:pt x="1595" y="1802"/>
                  </a:lnTo>
                  <a:lnTo>
                    <a:pt x="1565" y="1766"/>
                  </a:lnTo>
                  <a:lnTo>
                    <a:pt x="1550" y="1749"/>
                  </a:lnTo>
                  <a:lnTo>
                    <a:pt x="1537" y="1732"/>
                  </a:lnTo>
                  <a:lnTo>
                    <a:pt x="1523" y="1717"/>
                  </a:lnTo>
                  <a:lnTo>
                    <a:pt x="1506" y="1701"/>
                  </a:lnTo>
                  <a:lnTo>
                    <a:pt x="1486" y="1687"/>
                  </a:lnTo>
                  <a:lnTo>
                    <a:pt x="1466" y="1675"/>
                  </a:lnTo>
                  <a:lnTo>
                    <a:pt x="1457" y="1669"/>
                  </a:lnTo>
                  <a:lnTo>
                    <a:pt x="1451" y="1661"/>
                  </a:lnTo>
                  <a:lnTo>
                    <a:pt x="1448" y="1656"/>
                  </a:lnTo>
                  <a:lnTo>
                    <a:pt x="1447" y="1651"/>
                  </a:lnTo>
                  <a:lnTo>
                    <a:pt x="1444" y="1646"/>
                  </a:lnTo>
                  <a:lnTo>
                    <a:pt x="1444" y="1640"/>
                  </a:lnTo>
                  <a:lnTo>
                    <a:pt x="1444" y="1632"/>
                  </a:lnTo>
                  <a:lnTo>
                    <a:pt x="1446" y="1626"/>
                  </a:lnTo>
                  <a:lnTo>
                    <a:pt x="1448" y="1619"/>
                  </a:lnTo>
                  <a:lnTo>
                    <a:pt x="1450" y="1614"/>
                  </a:lnTo>
                  <a:lnTo>
                    <a:pt x="1456" y="1602"/>
                  </a:lnTo>
                  <a:lnTo>
                    <a:pt x="1465" y="1592"/>
                  </a:lnTo>
                  <a:lnTo>
                    <a:pt x="1484" y="1574"/>
                  </a:lnTo>
                  <a:lnTo>
                    <a:pt x="1506" y="1553"/>
                  </a:lnTo>
                  <a:lnTo>
                    <a:pt x="1513" y="1545"/>
                  </a:lnTo>
                  <a:lnTo>
                    <a:pt x="1518" y="1537"/>
                  </a:lnTo>
                  <a:lnTo>
                    <a:pt x="1521" y="1528"/>
                  </a:lnTo>
                  <a:lnTo>
                    <a:pt x="1524" y="1520"/>
                  </a:lnTo>
                  <a:lnTo>
                    <a:pt x="1528" y="1501"/>
                  </a:lnTo>
                  <a:lnTo>
                    <a:pt x="1531" y="1480"/>
                  </a:lnTo>
                  <a:lnTo>
                    <a:pt x="1533" y="1468"/>
                  </a:lnTo>
                  <a:lnTo>
                    <a:pt x="1535" y="1456"/>
                  </a:lnTo>
                  <a:lnTo>
                    <a:pt x="1536" y="1451"/>
                  </a:lnTo>
                  <a:lnTo>
                    <a:pt x="1538" y="1445"/>
                  </a:lnTo>
                  <a:lnTo>
                    <a:pt x="1542" y="1441"/>
                  </a:lnTo>
                  <a:lnTo>
                    <a:pt x="1545" y="1435"/>
                  </a:lnTo>
                  <a:lnTo>
                    <a:pt x="1549" y="1432"/>
                  </a:lnTo>
                  <a:lnTo>
                    <a:pt x="1554" y="1429"/>
                  </a:lnTo>
                  <a:lnTo>
                    <a:pt x="1558" y="1427"/>
                  </a:lnTo>
                  <a:lnTo>
                    <a:pt x="1562" y="1425"/>
                  </a:lnTo>
                  <a:lnTo>
                    <a:pt x="1572" y="1423"/>
                  </a:lnTo>
                  <a:lnTo>
                    <a:pt x="1583" y="1421"/>
                  </a:lnTo>
                  <a:lnTo>
                    <a:pt x="1592" y="1420"/>
                  </a:lnTo>
                  <a:lnTo>
                    <a:pt x="1602" y="1418"/>
                  </a:lnTo>
                  <a:lnTo>
                    <a:pt x="1606" y="1416"/>
                  </a:lnTo>
                  <a:lnTo>
                    <a:pt x="1611" y="1414"/>
                  </a:lnTo>
                  <a:lnTo>
                    <a:pt x="1614" y="1412"/>
                  </a:lnTo>
                  <a:lnTo>
                    <a:pt x="1618" y="1407"/>
                  </a:lnTo>
                  <a:lnTo>
                    <a:pt x="1624" y="1401"/>
                  </a:lnTo>
                  <a:lnTo>
                    <a:pt x="1627" y="1394"/>
                  </a:lnTo>
                  <a:lnTo>
                    <a:pt x="1631" y="1388"/>
                  </a:lnTo>
                  <a:lnTo>
                    <a:pt x="1633" y="1381"/>
                  </a:lnTo>
                  <a:lnTo>
                    <a:pt x="1636" y="1375"/>
                  </a:lnTo>
                  <a:lnTo>
                    <a:pt x="1637" y="1367"/>
                  </a:lnTo>
                  <a:lnTo>
                    <a:pt x="1638" y="1360"/>
                  </a:lnTo>
                  <a:lnTo>
                    <a:pt x="1638" y="1351"/>
                  </a:lnTo>
                  <a:lnTo>
                    <a:pt x="1637" y="1335"/>
                  </a:lnTo>
                  <a:lnTo>
                    <a:pt x="1635" y="1320"/>
                  </a:lnTo>
                  <a:lnTo>
                    <a:pt x="1632" y="1312"/>
                  </a:lnTo>
                  <a:lnTo>
                    <a:pt x="1630" y="1305"/>
                  </a:lnTo>
                  <a:lnTo>
                    <a:pt x="1627" y="1297"/>
                  </a:lnTo>
                  <a:lnTo>
                    <a:pt x="1624" y="1291"/>
                  </a:lnTo>
                  <a:lnTo>
                    <a:pt x="1621" y="1284"/>
                  </a:lnTo>
                  <a:lnTo>
                    <a:pt x="1616" y="1279"/>
                  </a:lnTo>
                  <a:lnTo>
                    <a:pt x="1611" y="1275"/>
                  </a:lnTo>
                  <a:lnTo>
                    <a:pt x="1606" y="1270"/>
                  </a:lnTo>
                  <a:lnTo>
                    <a:pt x="1600" y="1266"/>
                  </a:lnTo>
                  <a:lnTo>
                    <a:pt x="1594" y="1264"/>
                  </a:lnTo>
                  <a:lnTo>
                    <a:pt x="1587" y="1263"/>
                  </a:lnTo>
                  <a:lnTo>
                    <a:pt x="1579" y="1262"/>
                  </a:lnTo>
                  <a:lnTo>
                    <a:pt x="1561" y="1263"/>
                  </a:lnTo>
                  <a:lnTo>
                    <a:pt x="1544" y="1265"/>
                  </a:lnTo>
                  <a:lnTo>
                    <a:pt x="1529" y="1267"/>
                  </a:lnTo>
                  <a:lnTo>
                    <a:pt x="1514" y="1270"/>
                  </a:lnTo>
                  <a:lnTo>
                    <a:pt x="1498" y="1273"/>
                  </a:lnTo>
                  <a:lnTo>
                    <a:pt x="1482" y="1276"/>
                  </a:lnTo>
                  <a:lnTo>
                    <a:pt x="1466" y="1278"/>
                  </a:lnTo>
                  <a:lnTo>
                    <a:pt x="1448" y="1279"/>
                  </a:lnTo>
                  <a:lnTo>
                    <a:pt x="1440" y="1278"/>
                  </a:lnTo>
                  <a:lnTo>
                    <a:pt x="1435" y="1277"/>
                  </a:lnTo>
                  <a:lnTo>
                    <a:pt x="1429" y="1275"/>
                  </a:lnTo>
                  <a:lnTo>
                    <a:pt x="1424" y="1271"/>
                  </a:lnTo>
                  <a:lnTo>
                    <a:pt x="1420" y="1268"/>
                  </a:lnTo>
                  <a:lnTo>
                    <a:pt x="1415" y="1264"/>
                  </a:lnTo>
                  <a:lnTo>
                    <a:pt x="1412" y="1259"/>
                  </a:lnTo>
                  <a:lnTo>
                    <a:pt x="1408" y="1254"/>
                  </a:lnTo>
                  <a:lnTo>
                    <a:pt x="1402" y="1242"/>
                  </a:lnTo>
                  <a:lnTo>
                    <a:pt x="1397" y="1229"/>
                  </a:lnTo>
                  <a:lnTo>
                    <a:pt x="1393" y="1216"/>
                  </a:lnTo>
                  <a:lnTo>
                    <a:pt x="1388" y="1203"/>
                  </a:lnTo>
                  <a:lnTo>
                    <a:pt x="1382" y="1183"/>
                  </a:lnTo>
                  <a:lnTo>
                    <a:pt x="1376" y="1163"/>
                  </a:lnTo>
                  <a:lnTo>
                    <a:pt x="1370" y="1146"/>
                  </a:lnTo>
                  <a:lnTo>
                    <a:pt x="1363" y="1130"/>
                  </a:lnTo>
                  <a:lnTo>
                    <a:pt x="1355" y="1114"/>
                  </a:lnTo>
                  <a:lnTo>
                    <a:pt x="1346" y="1097"/>
                  </a:lnTo>
                  <a:lnTo>
                    <a:pt x="1334" y="1082"/>
                  </a:lnTo>
                  <a:lnTo>
                    <a:pt x="1321" y="1065"/>
                  </a:lnTo>
                  <a:lnTo>
                    <a:pt x="1299" y="1036"/>
                  </a:lnTo>
                  <a:lnTo>
                    <a:pt x="1278" y="1009"/>
                  </a:lnTo>
                  <a:lnTo>
                    <a:pt x="1268" y="997"/>
                  </a:lnTo>
                  <a:lnTo>
                    <a:pt x="1258" y="984"/>
                  </a:lnTo>
                  <a:lnTo>
                    <a:pt x="1244" y="973"/>
                  </a:lnTo>
                  <a:lnTo>
                    <a:pt x="1228" y="961"/>
                  </a:lnTo>
                  <a:lnTo>
                    <a:pt x="1224" y="958"/>
                  </a:lnTo>
                  <a:lnTo>
                    <a:pt x="1221" y="953"/>
                  </a:lnTo>
                  <a:lnTo>
                    <a:pt x="1220" y="947"/>
                  </a:lnTo>
                  <a:lnTo>
                    <a:pt x="1219" y="941"/>
                  </a:lnTo>
                  <a:lnTo>
                    <a:pt x="1218" y="928"/>
                  </a:lnTo>
                  <a:lnTo>
                    <a:pt x="1214" y="914"/>
                  </a:lnTo>
                  <a:lnTo>
                    <a:pt x="1210" y="905"/>
                  </a:lnTo>
                  <a:lnTo>
                    <a:pt x="1206" y="898"/>
                  </a:lnTo>
                  <a:lnTo>
                    <a:pt x="1200" y="891"/>
                  </a:lnTo>
                  <a:lnTo>
                    <a:pt x="1194" y="886"/>
                  </a:lnTo>
                  <a:lnTo>
                    <a:pt x="1187" y="881"/>
                  </a:lnTo>
                  <a:lnTo>
                    <a:pt x="1179" y="878"/>
                  </a:lnTo>
                  <a:lnTo>
                    <a:pt x="1171" y="876"/>
                  </a:lnTo>
                  <a:lnTo>
                    <a:pt x="1161" y="875"/>
                  </a:lnTo>
                  <a:lnTo>
                    <a:pt x="1159" y="863"/>
                  </a:lnTo>
                  <a:lnTo>
                    <a:pt x="1158" y="852"/>
                  </a:lnTo>
                  <a:lnTo>
                    <a:pt x="1159" y="845"/>
                  </a:lnTo>
                  <a:lnTo>
                    <a:pt x="1160" y="839"/>
                  </a:lnTo>
                  <a:lnTo>
                    <a:pt x="1161" y="833"/>
                  </a:lnTo>
                  <a:lnTo>
                    <a:pt x="1164" y="829"/>
                  </a:lnTo>
                  <a:lnTo>
                    <a:pt x="1170" y="819"/>
                  </a:lnTo>
                  <a:lnTo>
                    <a:pt x="1178" y="809"/>
                  </a:lnTo>
                  <a:lnTo>
                    <a:pt x="1186" y="800"/>
                  </a:lnTo>
                  <a:lnTo>
                    <a:pt x="1195" y="792"/>
                  </a:lnTo>
                  <a:lnTo>
                    <a:pt x="1204" y="782"/>
                  </a:lnTo>
                  <a:lnTo>
                    <a:pt x="1212" y="771"/>
                  </a:lnTo>
                  <a:lnTo>
                    <a:pt x="1218" y="762"/>
                  </a:lnTo>
                  <a:lnTo>
                    <a:pt x="1221" y="752"/>
                  </a:lnTo>
                  <a:lnTo>
                    <a:pt x="1225" y="743"/>
                  </a:lnTo>
                  <a:lnTo>
                    <a:pt x="1227" y="735"/>
                  </a:lnTo>
                  <a:lnTo>
                    <a:pt x="1231" y="725"/>
                  </a:lnTo>
                  <a:lnTo>
                    <a:pt x="1235" y="716"/>
                  </a:lnTo>
                  <a:lnTo>
                    <a:pt x="1239" y="708"/>
                  </a:lnTo>
                  <a:lnTo>
                    <a:pt x="1246" y="699"/>
                  </a:lnTo>
                  <a:lnTo>
                    <a:pt x="1265" y="673"/>
                  </a:lnTo>
                  <a:lnTo>
                    <a:pt x="1284" y="650"/>
                  </a:lnTo>
                  <a:lnTo>
                    <a:pt x="1290" y="638"/>
                  </a:lnTo>
                  <a:lnTo>
                    <a:pt x="1295" y="625"/>
                  </a:lnTo>
                  <a:lnTo>
                    <a:pt x="1298" y="619"/>
                  </a:lnTo>
                  <a:lnTo>
                    <a:pt x="1299" y="611"/>
                  </a:lnTo>
                  <a:lnTo>
                    <a:pt x="1300" y="604"/>
                  </a:lnTo>
                  <a:lnTo>
                    <a:pt x="1300" y="595"/>
                  </a:lnTo>
                  <a:lnTo>
                    <a:pt x="1300" y="566"/>
                  </a:lnTo>
                  <a:lnTo>
                    <a:pt x="1300" y="540"/>
                  </a:lnTo>
                  <a:lnTo>
                    <a:pt x="1300" y="514"/>
                  </a:lnTo>
                  <a:lnTo>
                    <a:pt x="1300" y="485"/>
                  </a:lnTo>
                  <a:lnTo>
                    <a:pt x="1301" y="474"/>
                  </a:lnTo>
                  <a:lnTo>
                    <a:pt x="1302" y="463"/>
                  </a:lnTo>
                  <a:lnTo>
                    <a:pt x="1303" y="454"/>
                  </a:lnTo>
                  <a:lnTo>
                    <a:pt x="1305" y="444"/>
                  </a:lnTo>
                  <a:lnTo>
                    <a:pt x="1311" y="427"/>
                  </a:lnTo>
                  <a:lnTo>
                    <a:pt x="1316" y="409"/>
                  </a:lnTo>
                  <a:lnTo>
                    <a:pt x="1321" y="392"/>
                  </a:lnTo>
                  <a:lnTo>
                    <a:pt x="1327" y="374"/>
                  </a:lnTo>
                  <a:lnTo>
                    <a:pt x="1329" y="364"/>
                  </a:lnTo>
                  <a:lnTo>
                    <a:pt x="1330" y="354"/>
                  </a:lnTo>
                  <a:lnTo>
                    <a:pt x="1331" y="345"/>
                  </a:lnTo>
                  <a:lnTo>
                    <a:pt x="1332" y="334"/>
                  </a:lnTo>
                  <a:lnTo>
                    <a:pt x="1332" y="310"/>
                  </a:lnTo>
                  <a:lnTo>
                    <a:pt x="1332" y="289"/>
                  </a:lnTo>
                  <a:lnTo>
                    <a:pt x="1332" y="269"/>
                  </a:lnTo>
                  <a:lnTo>
                    <a:pt x="1332" y="250"/>
                  </a:lnTo>
                  <a:lnTo>
                    <a:pt x="1332" y="230"/>
                  </a:lnTo>
                  <a:lnTo>
                    <a:pt x="1332" y="210"/>
                  </a:lnTo>
                  <a:lnTo>
                    <a:pt x="1332" y="189"/>
                  </a:lnTo>
                  <a:lnTo>
                    <a:pt x="1332" y="165"/>
                  </a:lnTo>
                  <a:lnTo>
                    <a:pt x="1331" y="156"/>
                  </a:lnTo>
                  <a:lnTo>
                    <a:pt x="1329" y="147"/>
                  </a:lnTo>
                  <a:lnTo>
                    <a:pt x="1326" y="139"/>
                  </a:lnTo>
                  <a:lnTo>
                    <a:pt x="1320" y="133"/>
                  </a:lnTo>
                  <a:lnTo>
                    <a:pt x="1315" y="128"/>
                  </a:lnTo>
                  <a:lnTo>
                    <a:pt x="1308" y="123"/>
                  </a:lnTo>
                  <a:lnTo>
                    <a:pt x="1301" y="119"/>
                  </a:lnTo>
                  <a:lnTo>
                    <a:pt x="1292" y="115"/>
                  </a:lnTo>
                  <a:lnTo>
                    <a:pt x="1275" y="108"/>
                  </a:lnTo>
                  <a:lnTo>
                    <a:pt x="1255" y="101"/>
                  </a:lnTo>
                  <a:lnTo>
                    <a:pt x="1236" y="94"/>
                  </a:lnTo>
                  <a:lnTo>
                    <a:pt x="1218" y="84"/>
                  </a:lnTo>
                  <a:lnTo>
                    <a:pt x="1218" y="23"/>
                  </a:lnTo>
                  <a:lnTo>
                    <a:pt x="1212" y="0"/>
                  </a:lnTo>
                  <a:lnTo>
                    <a:pt x="1197" y="4"/>
                  </a:lnTo>
                  <a:lnTo>
                    <a:pt x="1183" y="10"/>
                  </a:lnTo>
                  <a:lnTo>
                    <a:pt x="1170" y="14"/>
                  </a:lnTo>
                  <a:lnTo>
                    <a:pt x="1158" y="20"/>
                  </a:lnTo>
                  <a:lnTo>
                    <a:pt x="1145" y="24"/>
                  </a:lnTo>
                  <a:lnTo>
                    <a:pt x="1132" y="28"/>
                  </a:lnTo>
                  <a:lnTo>
                    <a:pt x="1118" y="30"/>
                  </a:lnTo>
                  <a:lnTo>
                    <a:pt x="1102" y="31"/>
                  </a:lnTo>
                  <a:lnTo>
                    <a:pt x="1085" y="31"/>
                  </a:lnTo>
                  <a:lnTo>
                    <a:pt x="1069" y="30"/>
                  </a:lnTo>
                  <a:lnTo>
                    <a:pt x="1060" y="30"/>
                  </a:lnTo>
                  <a:lnTo>
                    <a:pt x="1052" y="28"/>
                  </a:lnTo>
                  <a:lnTo>
                    <a:pt x="1044" y="26"/>
                  </a:lnTo>
                  <a:lnTo>
                    <a:pt x="1035" y="23"/>
                  </a:lnTo>
                  <a:lnTo>
                    <a:pt x="1025" y="17"/>
                  </a:lnTo>
                  <a:lnTo>
                    <a:pt x="1016" y="11"/>
                  </a:lnTo>
                  <a:lnTo>
                    <a:pt x="1011" y="8"/>
                  </a:lnTo>
                  <a:lnTo>
                    <a:pt x="1007" y="6"/>
                  </a:lnTo>
                  <a:lnTo>
                    <a:pt x="1002" y="4"/>
                  </a:lnTo>
                  <a:lnTo>
                    <a:pt x="996" y="3"/>
                  </a:lnTo>
                  <a:lnTo>
                    <a:pt x="987" y="4"/>
                  </a:lnTo>
                  <a:lnTo>
                    <a:pt x="978" y="7"/>
                  </a:lnTo>
                  <a:lnTo>
                    <a:pt x="970" y="10"/>
                  </a:lnTo>
                  <a:lnTo>
                    <a:pt x="964" y="13"/>
                  </a:lnTo>
                  <a:lnTo>
                    <a:pt x="950" y="24"/>
                  </a:lnTo>
                  <a:lnTo>
                    <a:pt x="935" y="35"/>
                  </a:lnTo>
                  <a:lnTo>
                    <a:pt x="918" y="44"/>
                  </a:lnTo>
                  <a:lnTo>
                    <a:pt x="902" y="53"/>
                  </a:lnTo>
                  <a:lnTo>
                    <a:pt x="886" y="63"/>
                  </a:lnTo>
                  <a:lnTo>
                    <a:pt x="870" y="74"/>
                  </a:lnTo>
                  <a:lnTo>
                    <a:pt x="870" y="74"/>
                  </a:lnTo>
                  <a:close/>
                </a:path>
              </a:pathLst>
            </a:custGeom>
            <a:solidFill>
              <a:srgbClr val="9DC87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26">
              <a:extLst>
                <a:ext uri="{FF2B5EF4-FFF2-40B4-BE49-F238E27FC236}">
                  <a16:creationId xmlns:a16="http://schemas.microsoft.com/office/drawing/2014/main" id="{1DFF7C08-D848-4A46-ABD2-34B97B2F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0550" y="1930401"/>
              <a:ext cx="762000" cy="1401763"/>
            </a:xfrm>
            <a:custGeom>
              <a:avLst/>
              <a:gdLst>
                <a:gd name="T0" fmla="*/ 960 w 1921"/>
                <a:gd name="T1" fmla="*/ 220 h 3535"/>
                <a:gd name="T2" fmla="*/ 952 w 1921"/>
                <a:gd name="T3" fmla="*/ 307 h 3535"/>
                <a:gd name="T4" fmla="*/ 916 w 1921"/>
                <a:gd name="T5" fmla="*/ 440 h 3535"/>
                <a:gd name="T6" fmla="*/ 847 w 1921"/>
                <a:gd name="T7" fmla="*/ 630 h 3535"/>
                <a:gd name="T8" fmla="*/ 769 w 1921"/>
                <a:gd name="T9" fmla="*/ 636 h 3535"/>
                <a:gd name="T10" fmla="*/ 716 w 1921"/>
                <a:gd name="T11" fmla="*/ 760 h 3535"/>
                <a:gd name="T12" fmla="*/ 575 w 1921"/>
                <a:gd name="T13" fmla="*/ 851 h 3535"/>
                <a:gd name="T14" fmla="*/ 470 w 1921"/>
                <a:gd name="T15" fmla="*/ 1040 h 3535"/>
                <a:gd name="T16" fmla="*/ 475 w 1921"/>
                <a:gd name="T17" fmla="*/ 1149 h 3535"/>
                <a:gd name="T18" fmla="*/ 532 w 1921"/>
                <a:gd name="T19" fmla="*/ 1264 h 3535"/>
                <a:gd name="T20" fmla="*/ 475 w 1921"/>
                <a:gd name="T21" fmla="*/ 1357 h 3535"/>
                <a:gd name="T22" fmla="*/ 422 w 1921"/>
                <a:gd name="T23" fmla="*/ 1486 h 3535"/>
                <a:gd name="T24" fmla="*/ 201 w 1921"/>
                <a:gd name="T25" fmla="*/ 1715 h 3535"/>
                <a:gd name="T26" fmla="*/ 90 w 1921"/>
                <a:gd name="T27" fmla="*/ 1927 h 3535"/>
                <a:gd name="T28" fmla="*/ 146 w 1921"/>
                <a:gd name="T29" fmla="*/ 2090 h 3535"/>
                <a:gd name="T30" fmla="*/ 92 w 1921"/>
                <a:gd name="T31" fmla="*/ 2370 h 3535"/>
                <a:gd name="T32" fmla="*/ 105 w 1921"/>
                <a:gd name="T33" fmla="*/ 2564 h 3535"/>
                <a:gd name="T34" fmla="*/ 71 w 1921"/>
                <a:gd name="T35" fmla="*/ 2756 h 3535"/>
                <a:gd name="T36" fmla="*/ 0 w 1921"/>
                <a:gd name="T37" fmla="*/ 2986 h 3535"/>
                <a:gd name="T38" fmla="*/ 26 w 1921"/>
                <a:gd name="T39" fmla="*/ 3175 h 3535"/>
                <a:gd name="T40" fmla="*/ 91 w 1921"/>
                <a:gd name="T41" fmla="*/ 3276 h 3535"/>
                <a:gd name="T42" fmla="*/ 299 w 1921"/>
                <a:gd name="T43" fmla="*/ 3306 h 3535"/>
                <a:gd name="T44" fmla="*/ 391 w 1921"/>
                <a:gd name="T45" fmla="*/ 3170 h 3535"/>
                <a:gd name="T46" fmla="*/ 493 w 1921"/>
                <a:gd name="T47" fmla="*/ 3196 h 3535"/>
                <a:gd name="T48" fmla="*/ 504 w 1921"/>
                <a:gd name="T49" fmla="*/ 3347 h 3535"/>
                <a:gd name="T50" fmla="*/ 527 w 1921"/>
                <a:gd name="T51" fmla="*/ 3444 h 3535"/>
                <a:gd name="T52" fmla="*/ 604 w 1921"/>
                <a:gd name="T53" fmla="*/ 3363 h 3535"/>
                <a:gd name="T54" fmla="*/ 691 w 1921"/>
                <a:gd name="T55" fmla="*/ 3398 h 3535"/>
                <a:gd name="T56" fmla="*/ 777 w 1921"/>
                <a:gd name="T57" fmla="*/ 3401 h 3535"/>
                <a:gd name="T58" fmla="*/ 974 w 1921"/>
                <a:gd name="T59" fmla="*/ 3535 h 3535"/>
                <a:gd name="T60" fmla="*/ 1045 w 1921"/>
                <a:gd name="T61" fmla="*/ 3459 h 3535"/>
                <a:gd name="T62" fmla="*/ 1151 w 1921"/>
                <a:gd name="T63" fmla="*/ 3512 h 3535"/>
                <a:gd name="T64" fmla="*/ 1398 w 1921"/>
                <a:gd name="T65" fmla="*/ 3460 h 3535"/>
                <a:gd name="T66" fmla="*/ 1466 w 1921"/>
                <a:gd name="T67" fmla="*/ 3381 h 3535"/>
                <a:gd name="T68" fmla="*/ 1699 w 1921"/>
                <a:gd name="T69" fmla="*/ 3338 h 3535"/>
                <a:gd name="T70" fmla="*/ 1700 w 1921"/>
                <a:gd name="T71" fmla="*/ 3153 h 3535"/>
                <a:gd name="T72" fmla="*/ 1681 w 1921"/>
                <a:gd name="T73" fmla="*/ 2996 h 3535"/>
                <a:gd name="T74" fmla="*/ 1713 w 1921"/>
                <a:gd name="T75" fmla="*/ 2915 h 3535"/>
                <a:gd name="T76" fmla="*/ 1698 w 1921"/>
                <a:gd name="T77" fmla="*/ 2829 h 3535"/>
                <a:gd name="T78" fmla="*/ 1704 w 1921"/>
                <a:gd name="T79" fmla="*/ 2750 h 3535"/>
                <a:gd name="T80" fmla="*/ 1709 w 1921"/>
                <a:gd name="T81" fmla="*/ 2649 h 3535"/>
                <a:gd name="T82" fmla="*/ 1770 w 1921"/>
                <a:gd name="T83" fmla="*/ 2464 h 3535"/>
                <a:gd name="T84" fmla="*/ 1885 w 1921"/>
                <a:gd name="T85" fmla="*/ 2261 h 3535"/>
                <a:gd name="T86" fmla="*/ 1906 w 1921"/>
                <a:gd name="T87" fmla="*/ 2196 h 3535"/>
                <a:gd name="T88" fmla="*/ 1762 w 1921"/>
                <a:gd name="T89" fmla="*/ 2152 h 3535"/>
                <a:gd name="T90" fmla="*/ 1684 w 1921"/>
                <a:gd name="T91" fmla="*/ 1954 h 3535"/>
                <a:gd name="T92" fmla="*/ 1506 w 1921"/>
                <a:gd name="T93" fmla="*/ 1701 h 3535"/>
                <a:gd name="T94" fmla="*/ 1456 w 1921"/>
                <a:gd name="T95" fmla="*/ 1602 h 3535"/>
                <a:gd name="T96" fmla="*/ 1538 w 1921"/>
                <a:gd name="T97" fmla="*/ 1445 h 3535"/>
                <a:gd name="T98" fmla="*/ 1614 w 1921"/>
                <a:gd name="T99" fmla="*/ 1412 h 3535"/>
                <a:gd name="T100" fmla="*/ 1630 w 1921"/>
                <a:gd name="T101" fmla="*/ 1305 h 3535"/>
                <a:gd name="T102" fmla="*/ 1529 w 1921"/>
                <a:gd name="T103" fmla="*/ 1267 h 3535"/>
                <a:gd name="T104" fmla="*/ 1408 w 1921"/>
                <a:gd name="T105" fmla="*/ 1254 h 3535"/>
                <a:gd name="T106" fmla="*/ 1299 w 1921"/>
                <a:gd name="T107" fmla="*/ 1036 h 3535"/>
                <a:gd name="T108" fmla="*/ 1206 w 1921"/>
                <a:gd name="T109" fmla="*/ 898 h 3535"/>
                <a:gd name="T110" fmla="*/ 1170 w 1921"/>
                <a:gd name="T111" fmla="*/ 819 h 3535"/>
                <a:gd name="T112" fmla="*/ 1246 w 1921"/>
                <a:gd name="T113" fmla="*/ 699 h 3535"/>
                <a:gd name="T114" fmla="*/ 1301 w 1921"/>
                <a:gd name="T115" fmla="*/ 474 h 3535"/>
                <a:gd name="T116" fmla="*/ 1332 w 1921"/>
                <a:gd name="T117" fmla="*/ 289 h 3535"/>
                <a:gd name="T118" fmla="*/ 1301 w 1921"/>
                <a:gd name="T119" fmla="*/ 119 h 3535"/>
                <a:gd name="T120" fmla="*/ 1132 w 1921"/>
                <a:gd name="T121" fmla="*/ 28 h 3535"/>
                <a:gd name="T122" fmla="*/ 1002 w 1921"/>
                <a:gd name="T123" fmla="*/ 4 h 3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1" h="3535">
                  <a:moveTo>
                    <a:pt x="870" y="74"/>
                  </a:moveTo>
                  <a:lnTo>
                    <a:pt x="866" y="88"/>
                  </a:lnTo>
                  <a:lnTo>
                    <a:pt x="861" y="102"/>
                  </a:lnTo>
                  <a:lnTo>
                    <a:pt x="862" y="109"/>
                  </a:lnTo>
                  <a:lnTo>
                    <a:pt x="866" y="115"/>
                  </a:lnTo>
                  <a:lnTo>
                    <a:pt x="870" y="119"/>
                  </a:lnTo>
                  <a:lnTo>
                    <a:pt x="875" y="123"/>
                  </a:lnTo>
                  <a:lnTo>
                    <a:pt x="887" y="131"/>
                  </a:lnTo>
                  <a:lnTo>
                    <a:pt x="898" y="141"/>
                  </a:lnTo>
                  <a:lnTo>
                    <a:pt x="926" y="173"/>
                  </a:lnTo>
                  <a:lnTo>
                    <a:pt x="950" y="204"/>
                  </a:lnTo>
                  <a:lnTo>
                    <a:pt x="955" y="212"/>
                  </a:lnTo>
                  <a:lnTo>
                    <a:pt x="960" y="220"/>
                  </a:lnTo>
                  <a:lnTo>
                    <a:pt x="964" y="228"/>
                  </a:lnTo>
                  <a:lnTo>
                    <a:pt x="967" y="238"/>
                  </a:lnTo>
                  <a:lnTo>
                    <a:pt x="970" y="246"/>
                  </a:lnTo>
                  <a:lnTo>
                    <a:pt x="972" y="256"/>
                  </a:lnTo>
                  <a:lnTo>
                    <a:pt x="974" y="267"/>
                  </a:lnTo>
                  <a:lnTo>
                    <a:pt x="974" y="278"/>
                  </a:lnTo>
                  <a:lnTo>
                    <a:pt x="974" y="282"/>
                  </a:lnTo>
                  <a:lnTo>
                    <a:pt x="972" y="286"/>
                  </a:lnTo>
                  <a:lnTo>
                    <a:pt x="971" y="290"/>
                  </a:lnTo>
                  <a:lnTo>
                    <a:pt x="969" y="292"/>
                  </a:lnTo>
                  <a:lnTo>
                    <a:pt x="964" y="297"/>
                  </a:lnTo>
                  <a:lnTo>
                    <a:pt x="958" y="303"/>
                  </a:lnTo>
                  <a:lnTo>
                    <a:pt x="952" y="307"/>
                  </a:lnTo>
                  <a:lnTo>
                    <a:pt x="947" y="312"/>
                  </a:lnTo>
                  <a:lnTo>
                    <a:pt x="941" y="319"/>
                  </a:lnTo>
                  <a:lnTo>
                    <a:pt x="937" y="325"/>
                  </a:lnTo>
                  <a:lnTo>
                    <a:pt x="934" y="336"/>
                  </a:lnTo>
                  <a:lnTo>
                    <a:pt x="933" y="346"/>
                  </a:lnTo>
                  <a:lnTo>
                    <a:pt x="931" y="355"/>
                  </a:lnTo>
                  <a:lnTo>
                    <a:pt x="930" y="364"/>
                  </a:lnTo>
                  <a:lnTo>
                    <a:pt x="930" y="384"/>
                  </a:lnTo>
                  <a:lnTo>
                    <a:pt x="929" y="404"/>
                  </a:lnTo>
                  <a:lnTo>
                    <a:pt x="927" y="414"/>
                  </a:lnTo>
                  <a:lnTo>
                    <a:pt x="924" y="424"/>
                  </a:lnTo>
                  <a:lnTo>
                    <a:pt x="921" y="431"/>
                  </a:lnTo>
                  <a:lnTo>
                    <a:pt x="916" y="440"/>
                  </a:lnTo>
                  <a:lnTo>
                    <a:pt x="913" y="447"/>
                  </a:lnTo>
                  <a:lnTo>
                    <a:pt x="909" y="456"/>
                  </a:lnTo>
                  <a:lnTo>
                    <a:pt x="907" y="465"/>
                  </a:lnTo>
                  <a:lnTo>
                    <a:pt x="903" y="474"/>
                  </a:lnTo>
                  <a:lnTo>
                    <a:pt x="898" y="505"/>
                  </a:lnTo>
                  <a:lnTo>
                    <a:pt x="893" y="532"/>
                  </a:lnTo>
                  <a:lnTo>
                    <a:pt x="889" y="544"/>
                  </a:lnTo>
                  <a:lnTo>
                    <a:pt x="885" y="559"/>
                  </a:lnTo>
                  <a:lnTo>
                    <a:pt x="880" y="571"/>
                  </a:lnTo>
                  <a:lnTo>
                    <a:pt x="873" y="587"/>
                  </a:lnTo>
                  <a:lnTo>
                    <a:pt x="863" y="605"/>
                  </a:lnTo>
                  <a:lnTo>
                    <a:pt x="854" y="622"/>
                  </a:lnTo>
                  <a:lnTo>
                    <a:pt x="847" y="630"/>
                  </a:lnTo>
                  <a:lnTo>
                    <a:pt x="841" y="635"/>
                  </a:lnTo>
                  <a:lnTo>
                    <a:pt x="836" y="636"/>
                  </a:lnTo>
                  <a:lnTo>
                    <a:pt x="832" y="638"/>
                  </a:lnTo>
                  <a:lnTo>
                    <a:pt x="828" y="640"/>
                  </a:lnTo>
                  <a:lnTo>
                    <a:pt x="822" y="640"/>
                  </a:lnTo>
                  <a:lnTo>
                    <a:pt x="808" y="631"/>
                  </a:lnTo>
                  <a:lnTo>
                    <a:pt x="794" y="622"/>
                  </a:lnTo>
                  <a:lnTo>
                    <a:pt x="789" y="623"/>
                  </a:lnTo>
                  <a:lnTo>
                    <a:pt x="785" y="624"/>
                  </a:lnTo>
                  <a:lnTo>
                    <a:pt x="780" y="627"/>
                  </a:lnTo>
                  <a:lnTo>
                    <a:pt x="776" y="629"/>
                  </a:lnTo>
                  <a:lnTo>
                    <a:pt x="773" y="632"/>
                  </a:lnTo>
                  <a:lnTo>
                    <a:pt x="769" y="636"/>
                  </a:lnTo>
                  <a:lnTo>
                    <a:pt x="767" y="641"/>
                  </a:lnTo>
                  <a:lnTo>
                    <a:pt x="765" y="645"/>
                  </a:lnTo>
                  <a:lnTo>
                    <a:pt x="762" y="656"/>
                  </a:lnTo>
                  <a:lnTo>
                    <a:pt x="759" y="668"/>
                  </a:lnTo>
                  <a:lnTo>
                    <a:pt x="756" y="678"/>
                  </a:lnTo>
                  <a:lnTo>
                    <a:pt x="755" y="690"/>
                  </a:lnTo>
                  <a:lnTo>
                    <a:pt x="753" y="699"/>
                  </a:lnTo>
                  <a:lnTo>
                    <a:pt x="751" y="708"/>
                  </a:lnTo>
                  <a:lnTo>
                    <a:pt x="748" y="715"/>
                  </a:lnTo>
                  <a:lnTo>
                    <a:pt x="745" y="722"/>
                  </a:lnTo>
                  <a:lnTo>
                    <a:pt x="736" y="736"/>
                  </a:lnTo>
                  <a:lnTo>
                    <a:pt x="724" y="749"/>
                  </a:lnTo>
                  <a:lnTo>
                    <a:pt x="716" y="760"/>
                  </a:lnTo>
                  <a:lnTo>
                    <a:pt x="711" y="772"/>
                  </a:lnTo>
                  <a:lnTo>
                    <a:pt x="708" y="778"/>
                  </a:lnTo>
                  <a:lnTo>
                    <a:pt x="704" y="783"/>
                  </a:lnTo>
                  <a:lnTo>
                    <a:pt x="699" y="787"/>
                  </a:lnTo>
                  <a:lnTo>
                    <a:pt x="694" y="791"/>
                  </a:lnTo>
                  <a:lnTo>
                    <a:pt x="666" y="803"/>
                  </a:lnTo>
                  <a:lnTo>
                    <a:pt x="640" y="812"/>
                  </a:lnTo>
                  <a:lnTo>
                    <a:pt x="627" y="817"/>
                  </a:lnTo>
                  <a:lnTo>
                    <a:pt x="615" y="823"/>
                  </a:lnTo>
                  <a:lnTo>
                    <a:pt x="602" y="830"/>
                  </a:lnTo>
                  <a:lnTo>
                    <a:pt x="590" y="838"/>
                  </a:lnTo>
                  <a:lnTo>
                    <a:pt x="581" y="845"/>
                  </a:lnTo>
                  <a:lnTo>
                    <a:pt x="575" y="851"/>
                  </a:lnTo>
                  <a:lnTo>
                    <a:pt x="569" y="859"/>
                  </a:lnTo>
                  <a:lnTo>
                    <a:pt x="563" y="865"/>
                  </a:lnTo>
                  <a:lnTo>
                    <a:pt x="554" y="880"/>
                  </a:lnTo>
                  <a:lnTo>
                    <a:pt x="547" y="895"/>
                  </a:lnTo>
                  <a:lnTo>
                    <a:pt x="535" y="930"/>
                  </a:lnTo>
                  <a:lnTo>
                    <a:pt x="522" y="968"/>
                  </a:lnTo>
                  <a:lnTo>
                    <a:pt x="518" y="978"/>
                  </a:lnTo>
                  <a:lnTo>
                    <a:pt x="512" y="987"/>
                  </a:lnTo>
                  <a:lnTo>
                    <a:pt x="507" y="996"/>
                  </a:lnTo>
                  <a:lnTo>
                    <a:pt x="502" y="1003"/>
                  </a:lnTo>
                  <a:lnTo>
                    <a:pt x="489" y="1019"/>
                  </a:lnTo>
                  <a:lnTo>
                    <a:pt x="476" y="1033"/>
                  </a:lnTo>
                  <a:lnTo>
                    <a:pt x="470" y="1040"/>
                  </a:lnTo>
                  <a:lnTo>
                    <a:pt x="465" y="1048"/>
                  </a:lnTo>
                  <a:lnTo>
                    <a:pt x="459" y="1055"/>
                  </a:lnTo>
                  <a:lnTo>
                    <a:pt x="455" y="1063"/>
                  </a:lnTo>
                  <a:lnTo>
                    <a:pt x="452" y="1072"/>
                  </a:lnTo>
                  <a:lnTo>
                    <a:pt x="449" y="1081"/>
                  </a:lnTo>
                  <a:lnTo>
                    <a:pt x="448" y="1091"/>
                  </a:lnTo>
                  <a:lnTo>
                    <a:pt x="446" y="1102"/>
                  </a:lnTo>
                  <a:lnTo>
                    <a:pt x="448" y="1113"/>
                  </a:lnTo>
                  <a:lnTo>
                    <a:pt x="451" y="1121"/>
                  </a:lnTo>
                  <a:lnTo>
                    <a:pt x="455" y="1130"/>
                  </a:lnTo>
                  <a:lnTo>
                    <a:pt x="461" y="1136"/>
                  </a:lnTo>
                  <a:lnTo>
                    <a:pt x="467" y="1144"/>
                  </a:lnTo>
                  <a:lnTo>
                    <a:pt x="475" y="1149"/>
                  </a:lnTo>
                  <a:lnTo>
                    <a:pt x="482" y="1156"/>
                  </a:lnTo>
                  <a:lnTo>
                    <a:pt x="490" y="1161"/>
                  </a:lnTo>
                  <a:lnTo>
                    <a:pt x="498" y="1168"/>
                  </a:lnTo>
                  <a:lnTo>
                    <a:pt x="506" y="1173"/>
                  </a:lnTo>
                  <a:lnTo>
                    <a:pt x="513" y="1180"/>
                  </a:lnTo>
                  <a:lnTo>
                    <a:pt x="520" y="1186"/>
                  </a:lnTo>
                  <a:lnTo>
                    <a:pt x="525" y="1194"/>
                  </a:lnTo>
                  <a:lnTo>
                    <a:pt x="530" y="1202"/>
                  </a:lnTo>
                  <a:lnTo>
                    <a:pt x="533" y="1211"/>
                  </a:lnTo>
                  <a:lnTo>
                    <a:pt x="534" y="1221"/>
                  </a:lnTo>
                  <a:lnTo>
                    <a:pt x="534" y="1236"/>
                  </a:lnTo>
                  <a:lnTo>
                    <a:pt x="533" y="1250"/>
                  </a:lnTo>
                  <a:lnTo>
                    <a:pt x="532" y="1264"/>
                  </a:lnTo>
                  <a:lnTo>
                    <a:pt x="530" y="1277"/>
                  </a:lnTo>
                  <a:lnTo>
                    <a:pt x="526" y="1289"/>
                  </a:lnTo>
                  <a:lnTo>
                    <a:pt x="521" y="1299"/>
                  </a:lnTo>
                  <a:lnTo>
                    <a:pt x="517" y="1305"/>
                  </a:lnTo>
                  <a:lnTo>
                    <a:pt x="513" y="1310"/>
                  </a:lnTo>
                  <a:lnTo>
                    <a:pt x="508" y="1316"/>
                  </a:lnTo>
                  <a:lnTo>
                    <a:pt x="503" y="1321"/>
                  </a:lnTo>
                  <a:lnTo>
                    <a:pt x="493" y="1329"/>
                  </a:lnTo>
                  <a:lnTo>
                    <a:pt x="483" y="1336"/>
                  </a:lnTo>
                  <a:lnTo>
                    <a:pt x="480" y="1340"/>
                  </a:lnTo>
                  <a:lnTo>
                    <a:pt x="477" y="1345"/>
                  </a:lnTo>
                  <a:lnTo>
                    <a:pt x="476" y="1350"/>
                  </a:lnTo>
                  <a:lnTo>
                    <a:pt x="475" y="1357"/>
                  </a:lnTo>
                  <a:lnTo>
                    <a:pt x="475" y="1372"/>
                  </a:lnTo>
                  <a:lnTo>
                    <a:pt x="475" y="1385"/>
                  </a:lnTo>
                  <a:lnTo>
                    <a:pt x="475" y="1399"/>
                  </a:lnTo>
                  <a:lnTo>
                    <a:pt x="475" y="1414"/>
                  </a:lnTo>
                  <a:lnTo>
                    <a:pt x="475" y="1419"/>
                  </a:lnTo>
                  <a:lnTo>
                    <a:pt x="473" y="1424"/>
                  </a:lnTo>
                  <a:lnTo>
                    <a:pt x="472" y="1428"/>
                  </a:lnTo>
                  <a:lnTo>
                    <a:pt x="470" y="1431"/>
                  </a:lnTo>
                  <a:lnTo>
                    <a:pt x="466" y="1439"/>
                  </a:lnTo>
                  <a:lnTo>
                    <a:pt x="459" y="1445"/>
                  </a:lnTo>
                  <a:lnTo>
                    <a:pt x="446" y="1457"/>
                  </a:lnTo>
                  <a:lnTo>
                    <a:pt x="432" y="1472"/>
                  </a:lnTo>
                  <a:lnTo>
                    <a:pt x="422" y="1486"/>
                  </a:lnTo>
                  <a:lnTo>
                    <a:pt x="410" y="1498"/>
                  </a:lnTo>
                  <a:lnTo>
                    <a:pt x="398" y="1510"/>
                  </a:lnTo>
                  <a:lnTo>
                    <a:pt x="385" y="1520"/>
                  </a:lnTo>
                  <a:lnTo>
                    <a:pt x="360" y="1538"/>
                  </a:lnTo>
                  <a:lnTo>
                    <a:pt x="335" y="1555"/>
                  </a:lnTo>
                  <a:lnTo>
                    <a:pt x="310" y="1573"/>
                  </a:lnTo>
                  <a:lnTo>
                    <a:pt x="286" y="1592"/>
                  </a:lnTo>
                  <a:lnTo>
                    <a:pt x="274" y="1603"/>
                  </a:lnTo>
                  <a:lnTo>
                    <a:pt x="263" y="1615"/>
                  </a:lnTo>
                  <a:lnTo>
                    <a:pt x="252" y="1628"/>
                  </a:lnTo>
                  <a:lnTo>
                    <a:pt x="242" y="1643"/>
                  </a:lnTo>
                  <a:lnTo>
                    <a:pt x="220" y="1681"/>
                  </a:lnTo>
                  <a:lnTo>
                    <a:pt x="201" y="1715"/>
                  </a:lnTo>
                  <a:lnTo>
                    <a:pt x="183" y="1751"/>
                  </a:lnTo>
                  <a:lnTo>
                    <a:pt x="164" y="1792"/>
                  </a:lnTo>
                  <a:lnTo>
                    <a:pt x="153" y="1810"/>
                  </a:lnTo>
                  <a:lnTo>
                    <a:pt x="141" y="1826"/>
                  </a:lnTo>
                  <a:lnTo>
                    <a:pt x="135" y="1834"/>
                  </a:lnTo>
                  <a:lnTo>
                    <a:pt x="131" y="1843"/>
                  </a:lnTo>
                  <a:lnTo>
                    <a:pt x="126" y="1851"/>
                  </a:lnTo>
                  <a:lnTo>
                    <a:pt x="121" y="1861"/>
                  </a:lnTo>
                  <a:lnTo>
                    <a:pt x="114" y="1883"/>
                  </a:lnTo>
                  <a:lnTo>
                    <a:pt x="107" y="1901"/>
                  </a:lnTo>
                  <a:lnTo>
                    <a:pt x="102" y="1910"/>
                  </a:lnTo>
                  <a:lnTo>
                    <a:pt x="97" y="1918"/>
                  </a:lnTo>
                  <a:lnTo>
                    <a:pt x="90" y="1927"/>
                  </a:lnTo>
                  <a:lnTo>
                    <a:pt x="82" y="1934"/>
                  </a:lnTo>
                  <a:lnTo>
                    <a:pt x="82" y="1934"/>
                  </a:lnTo>
                  <a:lnTo>
                    <a:pt x="95" y="1952"/>
                  </a:lnTo>
                  <a:lnTo>
                    <a:pt x="107" y="1968"/>
                  </a:lnTo>
                  <a:lnTo>
                    <a:pt x="118" y="1984"/>
                  </a:lnTo>
                  <a:lnTo>
                    <a:pt x="128" y="2000"/>
                  </a:lnTo>
                  <a:lnTo>
                    <a:pt x="135" y="2018"/>
                  </a:lnTo>
                  <a:lnTo>
                    <a:pt x="142" y="2036"/>
                  </a:lnTo>
                  <a:lnTo>
                    <a:pt x="144" y="2045"/>
                  </a:lnTo>
                  <a:lnTo>
                    <a:pt x="145" y="2054"/>
                  </a:lnTo>
                  <a:lnTo>
                    <a:pt x="146" y="2065"/>
                  </a:lnTo>
                  <a:lnTo>
                    <a:pt x="147" y="2076"/>
                  </a:lnTo>
                  <a:lnTo>
                    <a:pt x="146" y="2090"/>
                  </a:lnTo>
                  <a:lnTo>
                    <a:pt x="144" y="2102"/>
                  </a:lnTo>
                  <a:lnTo>
                    <a:pt x="142" y="2114"/>
                  </a:lnTo>
                  <a:lnTo>
                    <a:pt x="140" y="2125"/>
                  </a:lnTo>
                  <a:lnTo>
                    <a:pt x="133" y="2147"/>
                  </a:lnTo>
                  <a:lnTo>
                    <a:pt x="127" y="2172"/>
                  </a:lnTo>
                  <a:lnTo>
                    <a:pt x="122" y="2213"/>
                  </a:lnTo>
                  <a:lnTo>
                    <a:pt x="120" y="2249"/>
                  </a:lnTo>
                  <a:lnTo>
                    <a:pt x="119" y="2266"/>
                  </a:lnTo>
                  <a:lnTo>
                    <a:pt x="117" y="2284"/>
                  </a:lnTo>
                  <a:lnTo>
                    <a:pt x="113" y="2304"/>
                  </a:lnTo>
                  <a:lnTo>
                    <a:pt x="107" y="2324"/>
                  </a:lnTo>
                  <a:lnTo>
                    <a:pt x="100" y="2348"/>
                  </a:lnTo>
                  <a:lnTo>
                    <a:pt x="92" y="2370"/>
                  </a:lnTo>
                  <a:lnTo>
                    <a:pt x="89" y="2380"/>
                  </a:lnTo>
                  <a:lnTo>
                    <a:pt x="87" y="2392"/>
                  </a:lnTo>
                  <a:lnTo>
                    <a:pt x="86" y="2404"/>
                  </a:lnTo>
                  <a:lnTo>
                    <a:pt x="85" y="2417"/>
                  </a:lnTo>
                  <a:lnTo>
                    <a:pt x="86" y="2436"/>
                  </a:lnTo>
                  <a:lnTo>
                    <a:pt x="88" y="2452"/>
                  </a:lnTo>
                  <a:lnTo>
                    <a:pt x="91" y="2467"/>
                  </a:lnTo>
                  <a:lnTo>
                    <a:pt x="95" y="2481"/>
                  </a:lnTo>
                  <a:lnTo>
                    <a:pt x="99" y="2496"/>
                  </a:lnTo>
                  <a:lnTo>
                    <a:pt x="102" y="2511"/>
                  </a:lnTo>
                  <a:lnTo>
                    <a:pt x="104" y="2526"/>
                  </a:lnTo>
                  <a:lnTo>
                    <a:pt x="105" y="2545"/>
                  </a:lnTo>
                  <a:lnTo>
                    <a:pt x="105" y="2564"/>
                  </a:lnTo>
                  <a:lnTo>
                    <a:pt x="105" y="2581"/>
                  </a:lnTo>
                  <a:lnTo>
                    <a:pt x="105" y="2599"/>
                  </a:lnTo>
                  <a:lnTo>
                    <a:pt x="105" y="2619"/>
                  </a:lnTo>
                  <a:lnTo>
                    <a:pt x="104" y="2632"/>
                  </a:lnTo>
                  <a:lnTo>
                    <a:pt x="103" y="2644"/>
                  </a:lnTo>
                  <a:lnTo>
                    <a:pt x="101" y="2655"/>
                  </a:lnTo>
                  <a:lnTo>
                    <a:pt x="99" y="2666"/>
                  </a:lnTo>
                  <a:lnTo>
                    <a:pt x="91" y="2687"/>
                  </a:lnTo>
                  <a:lnTo>
                    <a:pt x="82" y="2711"/>
                  </a:lnTo>
                  <a:lnTo>
                    <a:pt x="78" y="2723"/>
                  </a:lnTo>
                  <a:lnTo>
                    <a:pt x="75" y="2735"/>
                  </a:lnTo>
                  <a:lnTo>
                    <a:pt x="73" y="2746"/>
                  </a:lnTo>
                  <a:lnTo>
                    <a:pt x="71" y="2756"/>
                  </a:lnTo>
                  <a:lnTo>
                    <a:pt x="70" y="2768"/>
                  </a:lnTo>
                  <a:lnTo>
                    <a:pt x="67" y="2779"/>
                  </a:lnTo>
                  <a:lnTo>
                    <a:pt x="64" y="2791"/>
                  </a:lnTo>
                  <a:lnTo>
                    <a:pt x="60" y="2803"/>
                  </a:lnTo>
                  <a:lnTo>
                    <a:pt x="50" y="2829"/>
                  </a:lnTo>
                  <a:lnTo>
                    <a:pt x="41" y="2851"/>
                  </a:lnTo>
                  <a:lnTo>
                    <a:pt x="34" y="2873"/>
                  </a:lnTo>
                  <a:lnTo>
                    <a:pt x="26" y="2893"/>
                  </a:lnTo>
                  <a:lnTo>
                    <a:pt x="20" y="2914"/>
                  </a:lnTo>
                  <a:lnTo>
                    <a:pt x="13" y="2936"/>
                  </a:lnTo>
                  <a:lnTo>
                    <a:pt x="7" y="2959"/>
                  </a:lnTo>
                  <a:lnTo>
                    <a:pt x="0" y="2986"/>
                  </a:lnTo>
                  <a:lnTo>
                    <a:pt x="0" y="2986"/>
                  </a:lnTo>
                  <a:lnTo>
                    <a:pt x="107" y="3033"/>
                  </a:lnTo>
                  <a:lnTo>
                    <a:pt x="105" y="3046"/>
                  </a:lnTo>
                  <a:lnTo>
                    <a:pt x="101" y="3058"/>
                  </a:lnTo>
                  <a:lnTo>
                    <a:pt x="95" y="3070"/>
                  </a:lnTo>
                  <a:lnTo>
                    <a:pt x="90" y="3080"/>
                  </a:lnTo>
                  <a:lnTo>
                    <a:pt x="76" y="3099"/>
                  </a:lnTo>
                  <a:lnTo>
                    <a:pt x="61" y="3117"/>
                  </a:lnTo>
                  <a:lnTo>
                    <a:pt x="54" y="3126"/>
                  </a:lnTo>
                  <a:lnTo>
                    <a:pt x="47" y="3134"/>
                  </a:lnTo>
                  <a:lnTo>
                    <a:pt x="40" y="3144"/>
                  </a:lnTo>
                  <a:lnTo>
                    <a:pt x="35" y="3154"/>
                  </a:lnTo>
                  <a:lnTo>
                    <a:pt x="31" y="3165"/>
                  </a:lnTo>
                  <a:lnTo>
                    <a:pt x="26" y="3175"/>
                  </a:lnTo>
                  <a:lnTo>
                    <a:pt x="24" y="3188"/>
                  </a:lnTo>
                  <a:lnTo>
                    <a:pt x="23" y="3201"/>
                  </a:lnTo>
                  <a:lnTo>
                    <a:pt x="24" y="3209"/>
                  </a:lnTo>
                  <a:lnTo>
                    <a:pt x="25" y="3216"/>
                  </a:lnTo>
                  <a:lnTo>
                    <a:pt x="27" y="3224"/>
                  </a:lnTo>
                  <a:lnTo>
                    <a:pt x="31" y="3230"/>
                  </a:lnTo>
                  <a:lnTo>
                    <a:pt x="34" y="3237"/>
                  </a:lnTo>
                  <a:lnTo>
                    <a:pt x="39" y="3242"/>
                  </a:lnTo>
                  <a:lnTo>
                    <a:pt x="44" y="3248"/>
                  </a:lnTo>
                  <a:lnTo>
                    <a:pt x="49" y="3253"/>
                  </a:lnTo>
                  <a:lnTo>
                    <a:pt x="62" y="3262"/>
                  </a:lnTo>
                  <a:lnTo>
                    <a:pt x="76" y="3269"/>
                  </a:lnTo>
                  <a:lnTo>
                    <a:pt x="91" y="3276"/>
                  </a:lnTo>
                  <a:lnTo>
                    <a:pt x="107" y="3282"/>
                  </a:lnTo>
                  <a:lnTo>
                    <a:pt x="146" y="3297"/>
                  </a:lnTo>
                  <a:lnTo>
                    <a:pt x="181" y="3309"/>
                  </a:lnTo>
                  <a:lnTo>
                    <a:pt x="198" y="3315"/>
                  </a:lnTo>
                  <a:lnTo>
                    <a:pt x="215" y="3318"/>
                  </a:lnTo>
                  <a:lnTo>
                    <a:pt x="235" y="3321"/>
                  </a:lnTo>
                  <a:lnTo>
                    <a:pt x="256" y="3321"/>
                  </a:lnTo>
                  <a:lnTo>
                    <a:pt x="264" y="3321"/>
                  </a:lnTo>
                  <a:lnTo>
                    <a:pt x="273" y="3320"/>
                  </a:lnTo>
                  <a:lnTo>
                    <a:pt x="279" y="3318"/>
                  </a:lnTo>
                  <a:lnTo>
                    <a:pt x="286" y="3315"/>
                  </a:lnTo>
                  <a:lnTo>
                    <a:pt x="292" y="3310"/>
                  </a:lnTo>
                  <a:lnTo>
                    <a:pt x="299" y="3306"/>
                  </a:lnTo>
                  <a:lnTo>
                    <a:pt x="304" y="3302"/>
                  </a:lnTo>
                  <a:lnTo>
                    <a:pt x="308" y="3296"/>
                  </a:lnTo>
                  <a:lnTo>
                    <a:pt x="318" y="3283"/>
                  </a:lnTo>
                  <a:lnTo>
                    <a:pt x="327" y="3270"/>
                  </a:lnTo>
                  <a:lnTo>
                    <a:pt x="334" y="3255"/>
                  </a:lnTo>
                  <a:lnTo>
                    <a:pt x="342" y="3240"/>
                  </a:lnTo>
                  <a:lnTo>
                    <a:pt x="349" y="3225"/>
                  </a:lnTo>
                  <a:lnTo>
                    <a:pt x="357" y="3210"/>
                  </a:lnTo>
                  <a:lnTo>
                    <a:pt x="365" y="3197"/>
                  </a:lnTo>
                  <a:lnTo>
                    <a:pt x="374" y="3184"/>
                  </a:lnTo>
                  <a:lnTo>
                    <a:pt x="380" y="3179"/>
                  </a:lnTo>
                  <a:lnTo>
                    <a:pt x="385" y="3174"/>
                  </a:lnTo>
                  <a:lnTo>
                    <a:pt x="391" y="3170"/>
                  </a:lnTo>
                  <a:lnTo>
                    <a:pt x="397" y="3166"/>
                  </a:lnTo>
                  <a:lnTo>
                    <a:pt x="404" y="3163"/>
                  </a:lnTo>
                  <a:lnTo>
                    <a:pt x="411" y="3160"/>
                  </a:lnTo>
                  <a:lnTo>
                    <a:pt x="418" y="3159"/>
                  </a:lnTo>
                  <a:lnTo>
                    <a:pt x="427" y="3159"/>
                  </a:lnTo>
                  <a:lnTo>
                    <a:pt x="438" y="3159"/>
                  </a:lnTo>
                  <a:lnTo>
                    <a:pt x="448" y="3161"/>
                  </a:lnTo>
                  <a:lnTo>
                    <a:pt x="456" y="3165"/>
                  </a:lnTo>
                  <a:lnTo>
                    <a:pt x="465" y="3169"/>
                  </a:lnTo>
                  <a:lnTo>
                    <a:pt x="473" y="3174"/>
                  </a:lnTo>
                  <a:lnTo>
                    <a:pt x="481" y="3181"/>
                  </a:lnTo>
                  <a:lnTo>
                    <a:pt x="488" y="3187"/>
                  </a:lnTo>
                  <a:lnTo>
                    <a:pt x="493" y="3196"/>
                  </a:lnTo>
                  <a:lnTo>
                    <a:pt x="498" y="3205"/>
                  </a:lnTo>
                  <a:lnTo>
                    <a:pt x="504" y="3213"/>
                  </a:lnTo>
                  <a:lnTo>
                    <a:pt x="508" y="3223"/>
                  </a:lnTo>
                  <a:lnTo>
                    <a:pt x="511" y="3233"/>
                  </a:lnTo>
                  <a:lnTo>
                    <a:pt x="513" y="3243"/>
                  </a:lnTo>
                  <a:lnTo>
                    <a:pt x="516" y="3254"/>
                  </a:lnTo>
                  <a:lnTo>
                    <a:pt x="517" y="3265"/>
                  </a:lnTo>
                  <a:lnTo>
                    <a:pt x="517" y="3275"/>
                  </a:lnTo>
                  <a:lnTo>
                    <a:pt x="516" y="3292"/>
                  </a:lnTo>
                  <a:lnTo>
                    <a:pt x="513" y="3306"/>
                  </a:lnTo>
                  <a:lnTo>
                    <a:pt x="510" y="3320"/>
                  </a:lnTo>
                  <a:lnTo>
                    <a:pt x="507" y="3333"/>
                  </a:lnTo>
                  <a:lnTo>
                    <a:pt x="504" y="3347"/>
                  </a:lnTo>
                  <a:lnTo>
                    <a:pt x="500" y="3360"/>
                  </a:lnTo>
                  <a:lnTo>
                    <a:pt x="498" y="3375"/>
                  </a:lnTo>
                  <a:lnTo>
                    <a:pt x="497" y="3391"/>
                  </a:lnTo>
                  <a:lnTo>
                    <a:pt x="497" y="3401"/>
                  </a:lnTo>
                  <a:lnTo>
                    <a:pt x="498" y="3410"/>
                  </a:lnTo>
                  <a:lnTo>
                    <a:pt x="500" y="3418"/>
                  </a:lnTo>
                  <a:lnTo>
                    <a:pt x="504" y="3427"/>
                  </a:lnTo>
                  <a:lnTo>
                    <a:pt x="508" y="3435"/>
                  </a:lnTo>
                  <a:lnTo>
                    <a:pt x="513" y="3440"/>
                  </a:lnTo>
                  <a:lnTo>
                    <a:pt x="517" y="3442"/>
                  </a:lnTo>
                  <a:lnTo>
                    <a:pt x="520" y="3443"/>
                  </a:lnTo>
                  <a:lnTo>
                    <a:pt x="523" y="3444"/>
                  </a:lnTo>
                  <a:lnTo>
                    <a:pt x="527" y="3444"/>
                  </a:lnTo>
                  <a:lnTo>
                    <a:pt x="534" y="3444"/>
                  </a:lnTo>
                  <a:lnTo>
                    <a:pt x="538" y="3442"/>
                  </a:lnTo>
                  <a:lnTo>
                    <a:pt x="543" y="3438"/>
                  </a:lnTo>
                  <a:lnTo>
                    <a:pt x="546" y="3433"/>
                  </a:lnTo>
                  <a:lnTo>
                    <a:pt x="551" y="3423"/>
                  </a:lnTo>
                  <a:lnTo>
                    <a:pt x="556" y="3411"/>
                  </a:lnTo>
                  <a:lnTo>
                    <a:pt x="563" y="3397"/>
                  </a:lnTo>
                  <a:lnTo>
                    <a:pt x="571" y="3384"/>
                  </a:lnTo>
                  <a:lnTo>
                    <a:pt x="577" y="3370"/>
                  </a:lnTo>
                  <a:lnTo>
                    <a:pt x="584" y="3355"/>
                  </a:lnTo>
                  <a:lnTo>
                    <a:pt x="591" y="3357"/>
                  </a:lnTo>
                  <a:lnTo>
                    <a:pt x="598" y="3360"/>
                  </a:lnTo>
                  <a:lnTo>
                    <a:pt x="604" y="3363"/>
                  </a:lnTo>
                  <a:lnTo>
                    <a:pt x="610" y="3367"/>
                  </a:lnTo>
                  <a:lnTo>
                    <a:pt x="619" y="3374"/>
                  </a:lnTo>
                  <a:lnTo>
                    <a:pt x="630" y="3383"/>
                  </a:lnTo>
                  <a:lnTo>
                    <a:pt x="640" y="3390"/>
                  </a:lnTo>
                  <a:lnTo>
                    <a:pt x="651" y="3397"/>
                  </a:lnTo>
                  <a:lnTo>
                    <a:pt x="656" y="3399"/>
                  </a:lnTo>
                  <a:lnTo>
                    <a:pt x="662" y="3401"/>
                  </a:lnTo>
                  <a:lnTo>
                    <a:pt x="669" y="3402"/>
                  </a:lnTo>
                  <a:lnTo>
                    <a:pt x="677" y="3403"/>
                  </a:lnTo>
                  <a:lnTo>
                    <a:pt x="681" y="3402"/>
                  </a:lnTo>
                  <a:lnTo>
                    <a:pt x="684" y="3401"/>
                  </a:lnTo>
                  <a:lnTo>
                    <a:pt x="687" y="3400"/>
                  </a:lnTo>
                  <a:lnTo>
                    <a:pt x="691" y="3398"/>
                  </a:lnTo>
                  <a:lnTo>
                    <a:pt x="697" y="3394"/>
                  </a:lnTo>
                  <a:lnTo>
                    <a:pt x="701" y="3387"/>
                  </a:lnTo>
                  <a:lnTo>
                    <a:pt x="707" y="3382"/>
                  </a:lnTo>
                  <a:lnTo>
                    <a:pt x="712" y="3376"/>
                  </a:lnTo>
                  <a:lnTo>
                    <a:pt x="715" y="3375"/>
                  </a:lnTo>
                  <a:lnTo>
                    <a:pt x="719" y="3373"/>
                  </a:lnTo>
                  <a:lnTo>
                    <a:pt x="723" y="3372"/>
                  </a:lnTo>
                  <a:lnTo>
                    <a:pt x="727" y="3372"/>
                  </a:lnTo>
                  <a:lnTo>
                    <a:pt x="738" y="3373"/>
                  </a:lnTo>
                  <a:lnTo>
                    <a:pt x="747" y="3376"/>
                  </a:lnTo>
                  <a:lnTo>
                    <a:pt x="755" y="3381"/>
                  </a:lnTo>
                  <a:lnTo>
                    <a:pt x="763" y="3386"/>
                  </a:lnTo>
                  <a:lnTo>
                    <a:pt x="777" y="3401"/>
                  </a:lnTo>
                  <a:lnTo>
                    <a:pt x="791" y="3417"/>
                  </a:lnTo>
                  <a:lnTo>
                    <a:pt x="805" y="3430"/>
                  </a:lnTo>
                  <a:lnTo>
                    <a:pt x="818" y="3441"/>
                  </a:lnTo>
                  <a:lnTo>
                    <a:pt x="832" y="3451"/>
                  </a:lnTo>
                  <a:lnTo>
                    <a:pt x="845" y="3459"/>
                  </a:lnTo>
                  <a:lnTo>
                    <a:pt x="871" y="3477"/>
                  </a:lnTo>
                  <a:lnTo>
                    <a:pt x="901" y="3498"/>
                  </a:lnTo>
                  <a:lnTo>
                    <a:pt x="918" y="3512"/>
                  </a:lnTo>
                  <a:lnTo>
                    <a:pt x="935" y="3523"/>
                  </a:lnTo>
                  <a:lnTo>
                    <a:pt x="943" y="3529"/>
                  </a:lnTo>
                  <a:lnTo>
                    <a:pt x="952" y="3532"/>
                  </a:lnTo>
                  <a:lnTo>
                    <a:pt x="963" y="3534"/>
                  </a:lnTo>
                  <a:lnTo>
                    <a:pt x="974" y="3535"/>
                  </a:lnTo>
                  <a:lnTo>
                    <a:pt x="979" y="3534"/>
                  </a:lnTo>
                  <a:lnTo>
                    <a:pt x="982" y="3532"/>
                  </a:lnTo>
                  <a:lnTo>
                    <a:pt x="985" y="3527"/>
                  </a:lnTo>
                  <a:lnTo>
                    <a:pt x="988" y="3523"/>
                  </a:lnTo>
                  <a:lnTo>
                    <a:pt x="992" y="3513"/>
                  </a:lnTo>
                  <a:lnTo>
                    <a:pt x="996" y="3504"/>
                  </a:lnTo>
                  <a:lnTo>
                    <a:pt x="1002" y="3495"/>
                  </a:lnTo>
                  <a:lnTo>
                    <a:pt x="1007" y="3486"/>
                  </a:lnTo>
                  <a:lnTo>
                    <a:pt x="1014" y="3479"/>
                  </a:lnTo>
                  <a:lnTo>
                    <a:pt x="1020" y="3472"/>
                  </a:lnTo>
                  <a:lnTo>
                    <a:pt x="1028" y="3467"/>
                  </a:lnTo>
                  <a:lnTo>
                    <a:pt x="1035" y="3463"/>
                  </a:lnTo>
                  <a:lnTo>
                    <a:pt x="1045" y="3459"/>
                  </a:lnTo>
                  <a:lnTo>
                    <a:pt x="1055" y="3458"/>
                  </a:lnTo>
                  <a:lnTo>
                    <a:pt x="1062" y="3459"/>
                  </a:lnTo>
                  <a:lnTo>
                    <a:pt x="1070" y="3462"/>
                  </a:lnTo>
                  <a:lnTo>
                    <a:pt x="1076" y="3464"/>
                  </a:lnTo>
                  <a:lnTo>
                    <a:pt x="1082" y="3467"/>
                  </a:lnTo>
                  <a:lnTo>
                    <a:pt x="1092" y="3476"/>
                  </a:lnTo>
                  <a:lnTo>
                    <a:pt x="1103" y="3485"/>
                  </a:lnTo>
                  <a:lnTo>
                    <a:pt x="1113" y="3495"/>
                  </a:lnTo>
                  <a:lnTo>
                    <a:pt x="1124" y="3504"/>
                  </a:lnTo>
                  <a:lnTo>
                    <a:pt x="1130" y="3507"/>
                  </a:lnTo>
                  <a:lnTo>
                    <a:pt x="1137" y="3510"/>
                  </a:lnTo>
                  <a:lnTo>
                    <a:pt x="1143" y="3511"/>
                  </a:lnTo>
                  <a:lnTo>
                    <a:pt x="1151" y="3512"/>
                  </a:lnTo>
                  <a:lnTo>
                    <a:pt x="1165" y="3512"/>
                  </a:lnTo>
                  <a:lnTo>
                    <a:pt x="1177" y="3512"/>
                  </a:lnTo>
                  <a:lnTo>
                    <a:pt x="1188" y="3512"/>
                  </a:lnTo>
                  <a:lnTo>
                    <a:pt x="1203" y="3512"/>
                  </a:lnTo>
                  <a:lnTo>
                    <a:pt x="1219" y="3511"/>
                  </a:lnTo>
                  <a:lnTo>
                    <a:pt x="1234" y="3509"/>
                  </a:lnTo>
                  <a:lnTo>
                    <a:pt x="1248" y="3506"/>
                  </a:lnTo>
                  <a:lnTo>
                    <a:pt x="1262" y="3503"/>
                  </a:lnTo>
                  <a:lnTo>
                    <a:pt x="1289" y="3492"/>
                  </a:lnTo>
                  <a:lnTo>
                    <a:pt x="1318" y="3481"/>
                  </a:lnTo>
                  <a:lnTo>
                    <a:pt x="1353" y="3471"/>
                  </a:lnTo>
                  <a:lnTo>
                    <a:pt x="1383" y="3465"/>
                  </a:lnTo>
                  <a:lnTo>
                    <a:pt x="1398" y="3460"/>
                  </a:lnTo>
                  <a:lnTo>
                    <a:pt x="1412" y="3454"/>
                  </a:lnTo>
                  <a:lnTo>
                    <a:pt x="1420" y="3451"/>
                  </a:lnTo>
                  <a:lnTo>
                    <a:pt x="1427" y="3446"/>
                  </a:lnTo>
                  <a:lnTo>
                    <a:pt x="1435" y="3442"/>
                  </a:lnTo>
                  <a:lnTo>
                    <a:pt x="1441" y="3437"/>
                  </a:lnTo>
                  <a:lnTo>
                    <a:pt x="1446" y="3432"/>
                  </a:lnTo>
                  <a:lnTo>
                    <a:pt x="1450" y="3428"/>
                  </a:lnTo>
                  <a:lnTo>
                    <a:pt x="1452" y="3424"/>
                  </a:lnTo>
                  <a:lnTo>
                    <a:pt x="1454" y="3419"/>
                  </a:lnTo>
                  <a:lnTo>
                    <a:pt x="1457" y="3410"/>
                  </a:lnTo>
                  <a:lnTo>
                    <a:pt x="1461" y="3400"/>
                  </a:lnTo>
                  <a:lnTo>
                    <a:pt x="1463" y="3390"/>
                  </a:lnTo>
                  <a:lnTo>
                    <a:pt x="1466" y="3381"/>
                  </a:lnTo>
                  <a:lnTo>
                    <a:pt x="1468" y="3376"/>
                  </a:lnTo>
                  <a:lnTo>
                    <a:pt x="1470" y="3372"/>
                  </a:lnTo>
                  <a:lnTo>
                    <a:pt x="1474" y="3368"/>
                  </a:lnTo>
                  <a:lnTo>
                    <a:pt x="1478" y="3363"/>
                  </a:lnTo>
                  <a:lnTo>
                    <a:pt x="1483" y="3359"/>
                  </a:lnTo>
                  <a:lnTo>
                    <a:pt x="1489" y="3356"/>
                  </a:lnTo>
                  <a:lnTo>
                    <a:pt x="1494" y="3354"/>
                  </a:lnTo>
                  <a:lnTo>
                    <a:pt x="1500" y="3351"/>
                  </a:lnTo>
                  <a:lnTo>
                    <a:pt x="1510" y="3349"/>
                  </a:lnTo>
                  <a:lnTo>
                    <a:pt x="1521" y="3348"/>
                  </a:lnTo>
                  <a:lnTo>
                    <a:pt x="1545" y="3347"/>
                  </a:lnTo>
                  <a:lnTo>
                    <a:pt x="1571" y="3344"/>
                  </a:lnTo>
                  <a:lnTo>
                    <a:pt x="1699" y="3338"/>
                  </a:lnTo>
                  <a:lnTo>
                    <a:pt x="1699" y="3338"/>
                  </a:lnTo>
                  <a:lnTo>
                    <a:pt x="1696" y="3328"/>
                  </a:lnTo>
                  <a:lnTo>
                    <a:pt x="1693" y="3318"/>
                  </a:lnTo>
                  <a:lnTo>
                    <a:pt x="1691" y="3308"/>
                  </a:lnTo>
                  <a:lnTo>
                    <a:pt x="1690" y="3298"/>
                  </a:lnTo>
                  <a:lnTo>
                    <a:pt x="1689" y="3279"/>
                  </a:lnTo>
                  <a:lnTo>
                    <a:pt x="1689" y="3257"/>
                  </a:lnTo>
                  <a:lnTo>
                    <a:pt x="1689" y="3237"/>
                  </a:lnTo>
                  <a:lnTo>
                    <a:pt x="1691" y="3220"/>
                  </a:lnTo>
                  <a:lnTo>
                    <a:pt x="1693" y="3202"/>
                  </a:lnTo>
                  <a:lnTo>
                    <a:pt x="1695" y="3186"/>
                  </a:lnTo>
                  <a:lnTo>
                    <a:pt x="1698" y="3170"/>
                  </a:lnTo>
                  <a:lnTo>
                    <a:pt x="1700" y="3153"/>
                  </a:lnTo>
                  <a:lnTo>
                    <a:pt x="1702" y="3135"/>
                  </a:lnTo>
                  <a:lnTo>
                    <a:pt x="1703" y="3116"/>
                  </a:lnTo>
                  <a:lnTo>
                    <a:pt x="1702" y="3101"/>
                  </a:lnTo>
                  <a:lnTo>
                    <a:pt x="1698" y="3088"/>
                  </a:lnTo>
                  <a:lnTo>
                    <a:pt x="1694" y="3076"/>
                  </a:lnTo>
                  <a:lnTo>
                    <a:pt x="1690" y="3064"/>
                  </a:lnTo>
                  <a:lnTo>
                    <a:pt x="1685" y="3053"/>
                  </a:lnTo>
                  <a:lnTo>
                    <a:pt x="1681" y="3040"/>
                  </a:lnTo>
                  <a:lnTo>
                    <a:pt x="1678" y="3027"/>
                  </a:lnTo>
                  <a:lnTo>
                    <a:pt x="1677" y="3013"/>
                  </a:lnTo>
                  <a:lnTo>
                    <a:pt x="1678" y="3007"/>
                  </a:lnTo>
                  <a:lnTo>
                    <a:pt x="1679" y="3001"/>
                  </a:lnTo>
                  <a:lnTo>
                    <a:pt x="1681" y="2996"/>
                  </a:lnTo>
                  <a:lnTo>
                    <a:pt x="1683" y="2991"/>
                  </a:lnTo>
                  <a:lnTo>
                    <a:pt x="1691" y="2982"/>
                  </a:lnTo>
                  <a:lnTo>
                    <a:pt x="1698" y="2974"/>
                  </a:lnTo>
                  <a:lnTo>
                    <a:pt x="1706" y="2966"/>
                  </a:lnTo>
                  <a:lnTo>
                    <a:pt x="1712" y="2957"/>
                  </a:lnTo>
                  <a:lnTo>
                    <a:pt x="1716" y="2952"/>
                  </a:lnTo>
                  <a:lnTo>
                    <a:pt x="1718" y="2946"/>
                  </a:lnTo>
                  <a:lnTo>
                    <a:pt x="1719" y="2941"/>
                  </a:lnTo>
                  <a:lnTo>
                    <a:pt x="1719" y="2935"/>
                  </a:lnTo>
                  <a:lnTo>
                    <a:pt x="1719" y="2929"/>
                  </a:lnTo>
                  <a:lnTo>
                    <a:pt x="1718" y="2924"/>
                  </a:lnTo>
                  <a:lnTo>
                    <a:pt x="1716" y="2919"/>
                  </a:lnTo>
                  <a:lnTo>
                    <a:pt x="1713" y="2915"/>
                  </a:lnTo>
                  <a:lnTo>
                    <a:pt x="1708" y="2906"/>
                  </a:lnTo>
                  <a:lnTo>
                    <a:pt x="1703" y="2899"/>
                  </a:lnTo>
                  <a:lnTo>
                    <a:pt x="1696" y="2891"/>
                  </a:lnTo>
                  <a:lnTo>
                    <a:pt x="1691" y="2883"/>
                  </a:lnTo>
                  <a:lnTo>
                    <a:pt x="1689" y="2878"/>
                  </a:lnTo>
                  <a:lnTo>
                    <a:pt x="1687" y="2874"/>
                  </a:lnTo>
                  <a:lnTo>
                    <a:pt x="1686" y="2869"/>
                  </a:lnTo>
                  <a:lnTo>
                    <a:pt x="1685" y="2863"/>
                  </a:lnTo>
                  <a:lnTo>
                    <a:pt x="1686" y="2857"/>
                  </a:lnTo>
                  <a:lnTo>
                    <a:pt x="1687" y="2850"/>
                  </a:lnTo>
                  <a:lnTo>
                    <a:pt x="1690" y="2844"/>
                  </a:lnTo>
                  <a:lnTo>
                    <a:pt x="1692" y="2838"/>
                  </a:lnTo>
                  <a:lnTo>
                    <a:pt x="1698" y="2829"/>
                  </a:lnTo>
                  <a:lnTo>
                    <a:pt x="1707" y="2819"/>
                  </a:lnTo>
                  <a:lnTo>
                    <a:pt x="1714" y="2809"/>
                  </a:lnTo>
                  <a:lnTo>
                    <a:pt x="1721" y="2800"/>
                  </a:lnTo>
                  <a:lnTo>
                    <a:pt x="1724" y="2794"/>
                  </a:lnTo>
                  <a:lnTo>
                    <a:pt x="1725" y="2788"/>
                  </a:lnTo>
                  <a:lnTo>
                    <a:pt x="1727" y="2782"/>
                  </a:lnTo>
                  <a:lnTo>
                    <a:pt x="1727" y="2775"/>
                  </a:lnTo>
                  <a:lnTo>
                    <a:pt x="1727" y="2770"/>
                  </a:lnTo>
                  <a:lnTo>
                    <a:pt x="1725" y="2766"/>
                  </a:lnTo>
                  <a:lnTo>
                    <a:pt x="1723" y="2763"/>
                  </a:lnTo>
                  <a:lnTo>
                    <a:pt x="1720" y="2760"/>
                  </a:lnTo>
                  <a:lnTo>
                    <a:pt x="1712" y="2754"/>
                  </a:lnTo>
                  <a:lnTo>
                    <a:pt x="1704" y="2750"/>
                  </a:lnTo>
                  <a:lnTo>
                    <a:pt x="1695" y="2746"/>
                  </a:lnTo>
                  <a:lnTo>
                    <a:pt x="1687" y="2740"/>
                  </a:lnTo>
                  <a:lnTo>
                    <a:pt x="1684" y="2737"/>
                  </a:lnTo>
                  <a:lnTo>
                    <a:pt x="1682" y="2734"/>
                  </a:lnTo>
                  <a:lnTo>
                    <a:pt x="1680" y="2729"/>
                  </a:lnTo>
                  <a:lnTo>
                    <a:pt x="1680" y="2725"/>
                  </a:lnTo>
                  <a:lnTo>
                    <a:pt x="1681" y="2712"/>
                  </a:lnTo>
                  <a:lnTo>
                    <a:pt x="1683" y="2700"/>
                  </a:lnTo>
                  <a:lnTo>
                    <a:pt x="1687" y="2690"/>
                  </a:lnTo>
                  <a:lnTo>
                    <a:pt x="1693" y="2681"/>
                  </a:lnTo>
                  <a:lnTo>
                    <a:pt x="1698" y="2671"/>
                  </a:lnTo>
                  <a:lnTo>
                    <a:pt x="1704" y="2660"/>
                  </a:lnTo>
                  <a:lnTo>
                    <a:pt x="1709" y="2649"/>
                  </a:lnTo>
                  <a:lnTo>
                    <a:pt x="1713" y="2638"/>
                  </a:lnTo>
                  <a:lnTo>
                    <a:pt x="1718" y="2625"/>
                  </a:lnTo>
                  <a:lnTo>
                    <a:pt x="1720" y="2613"/>
                  </a:lnTo>
                  <a:lnTo>
                    <a:pt x="1722" y="2601"/>
                  </a:lnTo>
                  <a:lnTo>
                    <a:pt x="1723" y="2590"/>
                  </a:lnTo>
                  <a:lnTo>
                    <a:pt x="1724" y="2578"/>
                  </a:lnTo>
                  <a:lnTo>
                    <a:pt x="1726" y="2567"/>
                  </a:lnTo>
                  <a:lnTo>
                    <a:pt x="1730" y="2555"/>
                  </a:lnTo>
                  <a:lnTo>
                    <a:pt x="1733" y="2542"/>
                  </a:lnTo>
                  <a:lnTo>
                    <a:pt x="1741" y="2521"/>
                  </a:lnTo>
                  <a:lnTo>
                    <a:pt x="1751" y="2504"/>
                  </a:lnTo>
                  <a:lnTo>
                    <a:pt x="1761" y="2485"/>
                  </a:lnTo>
                  <a:lnTo>
                    <a:pt x="1770" y="2464"/>
                  </a:lnTo>
                  <a:lnTo>
                    <a:pt x="1780" y="2431"/>
                  </a:lnTo>
                  <a:lnTo>
                    <a:pt x="1789" y="2402"/>
                  </a:lnTo>
                  <a:lnTo>
                    <a:pt x="1798" y="2373"/>
                  </a:lnTo>
                  <a:lnTo>
                    <a:pt x="1808" y="2341"/>
                  </a:lnTo>
                  <a:lnTo>
                    <a:pt x="1814" y="2329"/>
                  </a:lnTo>
                  <a:lnTo>
                    <a:pt x="1819" y="2318"/>
                  </a:lnTo>
                  <a:lnTo>
                    <a:pt x="1826" y="2308"/>
                  </a:lnTo>
                  <a:lnTo>
                    <a:pt x="1832" y="2298"/>
                  </a:lnTo>
                  <a:lnTo>
                    <a:pt x="1839" y="2290"/>
                  </a:lnTo>
                  <a:lnTo>
                    <a:pt x="1847" y="2282"/>
                  </a:lnTo>
                  <a:lnTo>
                    <a:pt x="1857" y="2275"/>
                  </a:lnTo>
                  <a:lnTo>
                    <a:pt x="1868" y="2268"/>
                  </a:lnTo>
                  <a:lnTo>
                    <a:pt x="1885" y="2261"/>
                  </a:lnTo>
                  <a:lnTo>
                    <a:pt x="1902" y="2254"/>
                  </a:lnTo>
                  <a:lnTo>
                    <a:pt x="1910" y="2251"/>
                  </a:lnTo>
                  <a:lnTo>
                    <a:pt x="1915" y="2245"/>
                  </a:lnTo>
                  <a:lnTo>
                    <a:pt x="1918" y="2243"/>
                  </a:lnTo>
                  <a:lnTo>
                    <a:pt x="1920" y="2240"/>
                  </a:lnTo>
                  <a:lnTo>
                    <a:pt x="1921" y="2236"/>
                  </a:lnTo>
                  <a:lnTo>
                    <a:pt x="1921" y="2231"/>
                  </a:lnTo>
                  <a:lnTo>
                    <a:pt x="1920" y="2224"/>
                  </a:lnTo>
                  <a:lnTo>
                    <a:pt x="1919" y="2218"/>
                  </a:lnTo>
                  <a:lnTo>
                    <a:pt x="1915" y="2212"/>
                  </a:lnTo>
                  <a:lnTo>
                    <a:pt x="1912" y="2207"/>
                  </a:lnTo>
                  <a:lnTo>
                    <a:pt x="1909" y="2201"/>
                  </a:lnTo>
                  <a:lnTo>
                    <a:pt x="1906" y="2196"/>
                  </a:lnTo>
                  <a:lnTo>
                    <a:pt x="1904" y="2189"/>
                  </a:lnTo>
                  <a:lnTo>
                    <a:pt x="1902" y="2183"/>
                  </a:lnTo>
                  <a:lnTo>
                    <a:pt x="1902" y="2183"/>
                  </a:lnTo>
                  <a:lnTo>
                    <a:pt x="1883" y="2181"/>
                  </a:lnTo>
                  <a:lnTo>
                    <a:pt x="1867" y="2179"/>
                  </a:lnTo>
                  <a:lnTo>
                    <a:pt x="1852" y="2176"/>
                  </a:lnTo>
                  <a:lnTo>
                    <a:pt x="1832" y="2175"/>
                  </a:lnTo>
                  <a:lnTo>
                    <a:pt x="1818" y="2174"/>
                  </a:lnTo>
                  <a:lnTo>
                    <a:pt x="1806" y="2172"/>
                  </a:lnTo>
                  <a:lnTo>
                    <a:pt x="1793" y="2169"/>
                  </a:lnTo>
                  <a:lnTo>
                    <a:pt x="1783" y="2164"/>
                  </a:lnTo>
                  <a:lnTo>
                    <a:pt x="1772" y="2158"/>
                  </a:lnTo>
                  <a:lnTo>
                    <a:pt x="1762" y="2152"/>
                  </a:lnTo>
                  <a:lnTo>
                    <a:pt x="1753" y="2143"/>
                  </a:lnTo>
                  <a:lnTo>
                    <a:pt x="1745" y="2134"/>
                  </a:lnTo>
                  <a:lnTo>
                    <a:pt x="1737" y="2125"/>
                  </a:lnTo>
                  <a:lnTo>
                    <a:pt x="1730" y="2114"/>
                  </a:lnTo>
                  <a:lnTo>
                    <a:pt x="1724" y="2102"/>
                  </a:lnTo>
                  <a:lnTo>
                    <a:pt x="1718" y="2090"/>
                  </a:lnTo>
                  <a:lnTo>
                    <a:pt x="1713" y="2078"/>
                  </a:lnTo>
                  <a:lnTo>
                    <a:pt x="1709" y="2065"/>
                  </a:lnTo>
                  <a:lnTo>
                    <a:pt x="1705" y="2051"/>
                  </a:lnTo>
                  <a:lnTo>
                    <a:pt x="1703" y="2038"/>
                  </a:lnTo>
                  <a:lnTo>
                    <a:pt x="1696" y="2001"/>
                  </a:lnTo>
                  <a:lnTo>
                    <a:pt x="1689" y="1970"/>
                  </a:lnTo>
                  <a:lnTo>
                    <a:pt x="1684" y="1954"/>
                  </a:lnTo>
                  <a:lnTo>
                    <a:pt x="1679" y="1939"/>
                  </a:lnTo>
                  <a:lnTo>
                    <a:pt x="1672" y="1923"/>
                  </a:lnTo>
                  <a:lnTo>
                    <a:pt x="1663" y="1906"/>
                  </a:lnTo>
                  <a:lnTo>
                    <a:pt x="1652" y="1885"/>
                  </a:lnTo>
                  <a:lnTo>
                    <a:pt x="1641" y="1866"/>
                  </a:lnTo>
                  <a:lnTo>
                    <a:pt x="1630" y="1849"/>
                  </a:lnTo>
                  <a:lnTo>
                    <a:pt x="1619" y="1833"/>
                  </a:lnTo>
                  <a:lnTo>
                    <a:pt x="1595" y="1802"/>
                  </a:lnTo>
                  <a:lnTo>
                    <a:pt x="1565" y="1766"/>
                  </a:lnTo>
                  <a:lnTo>
                    <a:pt x="1550" y="1749"/>
                  </a:lnTo>
                  <a:lnTo>
                    <a:pt x="1537" y="1732"/>
                  </a:lnTo>
                  <a:lnTo>
                    <a:pt x="1523" y="1717"/>
                  </a:lnTo>
                  <a:lnTo>
                    <a:pt x="1506" y="1701"/>
                  </a:lnTo>
                  <a:lnTo>
                    <a:pt x="1486" y="1687"/>
                  </a:lnTo>
                  <a:lnTo>
                    <a:pt x="1466" y="1675"/>
                  </a:lnTo>
                  <a:lnTo>
                    <a:pt x="1457" y="1669"/>
                  </a:lnTo>
                  <a:lnTo>
                    <a:pt x="1451" y="1661"/>
                  </a:lnTo>
                  <a:lnTo>
                    <a:pt x="1448" y="1656"/>
                  </a:lnTo>
                  <a:lnTo>
                    <a:pt x="1447" y="1651"/>
                  </a:lnTo>
                  <a:lnTo>
                    <a:pt x="1444" y="1646"/>
                  </a:lnTo>
                  <a:lnTo>
                    <a:pt x="1444" y="1640"/>
                  </a:lnTo>
                  <a:lnTo>
                    <a:pt x="1444" y="1632"/>
                  </a:lnTo>
                  <a:lnTo>
                    <a:pt x="1446" y="1626"/>
                  </a:lnTo>
                  <a:lnTo>
                    <a:pt x="1448" y="1619"/>
                  </a:lnTo>
                  <a:lnTo>
                    <a:pt x="1450" y="1614"/>
                  </a:lnTo>
                  <a:lnTo>
                    <a:pt x="1456" y="1602"/>
                  </a:lnTo>
                  <a:lnTo>
                    <a:pt x="1465" y="1592"/>
                  </a:lnTo>
                  <a:lnTo>
                    <a:pt x="1484" y="1574"/>
                  </a:lnTo>
                  <a:lnTo>
                    <a:pt x="1506" y="1553"/>
                  </a:lnTo>
                  <a:lnTo>
                    <a:pt x="1513" y="1545"/>
                  </a:lnTo>
                  <a:lnTo>
                    <a:pt x="1518" y="1537"/>
                  </a:lnTo>
                  <a:lnTo>
                    <a:pt x="1521" y="1528"/>
                  </a:lnTo>
                  <a:lnTo>
                    <a:pt x="1524" y="1520"/>
                  </a:lnTo>
                  <a:lnTo>
                    <a:pt x="1528" y="1501"/>
                  </a:lnTo>
                  <a:lnTo>
                    <a:pt x="1531" y="1480"/>
                  </a:lnTo>
                  <a:lnTo>
                    <a:pt x="1533" y="1468"/>
                  </a:lnTo>
                  <a:lnTo>
                    <a:pt x="1535" y="1456"/>
                  </a:lnTo>
                  <a:lnTo>
                    <a:pt x="1536" y="1451"/>
                  </a:lnTo>
                  <a:lnTo>
                    <a:pt x="1538" y="1445"/>
                  </a:lnTo>
                  <a:lnTo>
                    <a:pt x="1542" y="1441"/>
                  </a:lnTo>
                  <a:lnTo>
                    <a:pt x="1545" y="1435"/>
                  </a:lnTo>
                  <a:lnTo>
                    <a:pt x="1549" y="1432"/>
                  </a:lnTo>
                  <a:lnTo>
                    <a:pt x="1554" y="1429"/>
                  </a:lnTo>
                  <a:lnTo>
                    <a:pt x="1558" y="1427"/>
                  </a:lnTo>
                  <a:lnTo>
                    <a:pt x="1562" y="1425"/>
                  </a:lnTo>
                  <a:lnTo>
                    <a:pt x="1572" y="1423"/>
                  </a:lnTo>
                  <a:lnTo>
                    <a:pt x="1583" y="1421"/>
                  </a:lnTo>
                  <a:lnTo>
                    <a:pt x="1592" y="1420"/>
                  </a:lnTo>
                  <a:lnTo>
                    <a:pt x="1602" y="1418"/>
                  </a:lnTo>
                  <a:lnTo>
                    <a:pt x="1606" y="1416"/>
                  </a:lnTo>
                  <a:lnTo>
                    <a:pt x="1611" y="1414"/>
                  </a:lnTo>
                  <a:lnTo>
                    <a:pt x="1614" y="1412"/>
                  </a:lnTo>
                  <a:lnTo>
                    <a:pt x="1618" y="1407"/>
                  </a:lnTo>
                  <a:lnTo>
                    <a:pt x="1624" y="1401"/>
                  </a:lnTo>
                  <a:lnTo>
                    <a:pt x="1627" y="1394"/>
                  </a:lnTo>
                  <a:lnTo>
                    <a:pt x="1631" y="1388"/>
                  </a:lnTo>
                  <a:lnTo>
                    <a:pt x="1633" y="1381"/>
                  </a:lnTo>
                  <a:lnTo>
                    <a:pt x="1636" y="1375"/>
                  </a:lnTo>
                  <a:lnTo>
                    <a:pt x="1637" y="1367"/>
                  </a:lnTo>
                  <a:lnTo>
                    <a:pt x="1638" y="1360"/>
                  </a:lnTo>
                  <a:lnTo>
                    <a:pt x="1638" y="1351"/>
                  </a:lnTo>
                  <a:lnTo>
                    <a:pt x="1637" y="1335"/>
                  </a:lnTo>
                  <a:lnTo>
                    <a:pt x="1635" y="1320"/>
                  </a:lnTo>
                  <a:lnTo>
                    <a:pt x="1632" y="1312"/>
                  </a:lnTo>
                  <a:lnTo>
                    <a:pt x="1630" y="1305"/>
                  </a:lnTo>
                  <a:lnTo>
                    <a:pt x="1627" y="1297"/>
                  </a:lnTo>
                  <a:lnTo>
                    <a:pt x="1624" y="1291"/>
                  </a:lnTo>
                  <a:lnTo>
                    <a:pt x="1621" y="1284"/>
                  </a:lnTo>
                  <a:lnTo>
                    <a:pt x="1616" y="1279"/>
                  </a:lnTo>
                  <a:lnTo>
                    <a:pt x="1611" y="1275"/>
                  </a:lnTo>
                  <a:lnTo>
                    <a:pt x="1606" y="1270"/>
                  </a:lnTo>
                  <a:lnTo>
                    <a:pt x="1600" y="1266"/>
                  </a:lnTo>
                  <a:lnTo>
                    <a:pt x="1594" y="1264"/>
                  </a:lnTo>
                  <a:lnTo>
                    <a:pt x="1587" y="1263"/>
                  </a:lnTo>
                  <a:lnTo>
                    <a:pt x="1579" y="1262"/>
                  </a:lnTo>
                  <a:lnTo>
                    <a:pt x="1561" y="1263"/>
                  </a:lnTo>
                  <a:lnTo>
                    <a:pt x="1544" y="1265"/>
                  </a:lnTo>
                  <a:lnTo>
                    <a:pt x="1529" y="1267"/>
                  </a:lnTo>
                  <a:lnTo>
                    <a:pt x="1514" y="1270"/>
                  </a:lnTo>
                  <a:lnTo>
                    <a:pt x="1498" y="1273"/>
                  </a:lnTo>
                  <a:lnTo>
                    <a:pt x="1482" y="1276"/>
                  </a:lnTo>
                  <a:lnTo>
                    <a:pt x="1466" y="1278"/>
                  </a:lnTo>
                  <a:lnTo>
                    <a:pt x="1448" y="1279"/>
                  </a:lnTo>
                  <a:lnTo>
                    <a:pt x="1440" y="1278"/>
                  </a:lnTo>
                  <a:lnTo>
                    <a:pt x="1435" y="1277"/>
                  </a:lnTo>
                  <a:lnTo>
                    <a:pt x="1429" y="1275"/>
                  </a:lnTo>
                  <a:lnTo>
                    <a:pt x="1424" y="1271"/>
                  </a:lnTo>
                  <a:lnTo>
                    <a:pt x="1420" y="1268"/>
                  </a:lnTo>
                  <a:lnTo>
                    <a:pt x="1415" y="1264"/>
                  </a:lnTo>
                  <a:lnTo>
                    <a:pt x="1412" y="1259"/>
                  </a:lnTo>
                  <a:lnTo>
                    <a:pt x="1408" y="1254"/>
                  </a:lnTo>
                  <a:lnTo>
                    <a:pt x="1402" y="1242"/>
                  </a:lnTo>
                  <a:lnTo>
                    <a:pt x="1397" y="1229"/>
                  </a:lnTo>
                  <a:lnTo>
                    <a:pt x="1393" y="1216"/>
                  </a:lnTo>
                  <a:lnTo>
                    <a:pt x="1388" y="1203"/>
                  </a:lnTo>
                  <a:lnTo>
                    <a:pt x="1382" y="1183"/>
                  </a:lnTo>
                  <a:lnTo>
                    <a:pt x="1376" y="1163"/>
                  </a:lnTo>
                  <a:lnTo>
                    <a:pt x="1370" y="1146"/>
                  </a:lnTo>
                  <a:lnTo>
                    <a:pt x="1363" y="1130"/>
                  </a:lnTo>
                  <a:lnTo>
                    <a:pt x="1355" y="1114"/>
                  </a:lnTo>
                  <a:lnTo>
                    <a:pt x="1346" y="1097"/>
                  </a:lnTo>
                  <a:lnTo>
                    <a:pt x="1334" y="1082"/>
                  </a:lnTo>
                  <a:lnTo>
                    <a:pt x="1321" y="1065"/>
                  </a:lnTo>
                  <a:lnTo>
                    <a:pt x="1299" y="1036"/>
                  </a:lnTo>
                  <a:lnTo>
                    <a:pt x="1278" y="1009"/>
                  </a:lnTo>
                  <a:lnTo>
                    <a:pt x="1268" y="997"/>
                  </a:lnTo>
                  <a:lnTo>
                    <a:pt x="1258" y="984"/>
                  </a:lnTo>
                  <a:lnTo>
                    <a:pt x="1244" y="973"/>
                  </a:lnTo>
                  <a:lnTo>
                    <a:pt x="1228" y="961"/>
                  </a:lnTo>
                  <a:lnTo>
                    <a:pt x="1224" y="958"/>
                  </a:lnTo>
                  <a:lnTo>
                    <a:pt x="1221" y="953"/>
                  </a:lnTo>
                  <a:lnTo>
                    <a:pt x="1220" y="947"/>
                  </a:lnTo>
                  <a:lnTo>
                    <a:pt x="1219" y="941"/>
                  </a:lnTo>
                  <a:lnTo>
                    <a:pt x="1218" y="928"/>
                  </a:lnTo>
                  <a:lnTo>
                    <a:pt x="1214" y="914"/>
                  </a:lnTo>
                  <a:lnTo>
                    <a:pt x="1210" y="905"/>
                  </a:lnTo>
                  <a:lnTo>
                    <a:pt x="1206" y="898"/>
                  </a:lnTo>
                  <a:lnTo>
                    <a:pt x="1200" y="891"/>
                  </a:lnTo>
                  <a:lnTo>
                    <a:pt x="1194" y="886"/>
                  </a:lnTo>
                  <a:lnTo>
                    <a:pt x="1187" y="881"/>
                  </a:lnTo>
                  <a:lnTo>
                    <a:pt x="1179" y="878"/>
                  </a:lnTo>
                  <a:lnTo>
                    <a:pt x="1171" y="876"/>
                  </a:lnTo>
                  <a:lnTo>
                    <a:pt x="1161" y="875"/>
                  </a:lnTo>
                  <a:lnTo>
                    <a:pt x="1159" y="863"/>
                  </a:lnTo>
                  <a:lnTo>
                    <a:pt x="1158" y="852"/>
                  </a:lnTo>
                  <a:lnTo>
                    <a:pt x="1159" y="845"/>
                  </a:lnTo>
                  <a:lnTo>
                    <a:pt x="1160" y="839"/>
                  </a:lnTo>
                  <a:lnTo>
                    <a:pt x="1161" y="833"/>
                  </a:lnTo>
                  <a:lnTo>
                    <a:pt x="1164" y="829"/>
                  </a:lnTo>
                  <a:lnTo>
                    <a:pt x="1170" y="819"/>
                  </a:lnTo>
                  <a:lnTo>
                    <a:pt x="1178" y="809"/>
                  </a:lnTo>
                  <a:lnTo>
                    <a:pt x="1186" y="800"/>
                  </a:lnTo>
                  <a:lnTo>
                    <a:pt x="1195" y="792"/>
                  </a:lnTo>
                  <a:lnTo>
                    <a:pt x="1204" y="782"/>
                  </a:lnTo>
                  <a:lnTo>
                    <a:pt x="1212" y="771"/>
                  </a:lnTo>
                  <a:lnTo>
                    <a:pt x="1218" y="762"/>
                  </a:lnTo>
                  <a:lnTo>
                    <a:pt x="1221" y="752"/>
                  </a:lnTo>
                  <a:lnTo>
                    <a:pt x="1225" y="743"/>
                  </a:lnTo>
                  <a:lnTo>
                    <a:pt x="1227" y="735"/>
                  </a:lnTo>
                  <a:lnTo>
                    <a:pt x="1231" y="725"/>
                  </a:lnTo>
                  <a:lnTo>
                    <a:pt x="1235" y="716"/>
                  </a:lnTo>
                  <a:lnTo>
                    <a:pt x="1239" y="708"/>
                  </a:lnTo>
                  <a:lnTo>
                    <a:pt x="1246" y="699"/>
                  </a:lnTo>
                  <a:lnTo>
                    <a:pt x="1265" y="673"/>
                  </a:lnTo>
                  <a:lnTo>
                    <a:pt x="1284" y="650"/>
                  </a:lnTo>
                  <a:lnTo>
                    <a:pt x="1290" y="638"/>
                  </a:lnTo>
                  <a:lnTo>
                    <a:pt x="1295" y="625"/>
                  </a:lnTo>
                  <a:lnTo>
                    <a:pt x="1298" y="619"/>
                  </a:lnTo>
                  <a:lnTo>
                    <a:pt x="1299" y="611"/>
                  </a:lnTo>
                  <a:lnTo>
                    <a:pt x="1300" y="604"/>
                  </a:lnTo>
                  <a:lnTo>
                    <a:pt x="1300" y="595"/>
                  </a:lnTo>
                  <a:lnTo>
                    <a:pt x="1300" y="566"/>
                  </a:lnTo>
                  <a:lnTo>
                    <a:pt x="1300" y="540"/>
                  </a:lnTo>
                  <a:lnTo>
                    <a:pt x="1300" y="514"/>
                  </a:lnTo>
                  <a:lnTo>
                    <a:pt x="1300" y="485"/>
                  </a:lnTo>
                  <a:lnTo>
                    <a:pt x="1301" y="474"/>
                  </a:lnTo>
                  <a:lnTo>
                    <a:pt x="1302" y="463"/>
                  </a:lnTo>
                  <a:lnTo>
                    <a:pt x="1303" y="454"/>
                  </a:lnTo>
                  <a:lnTo>
                    <a:pt x="1305" y="444"/>
                  </a:lnTo>
                  <a:lnTo>
                    <a:pt x="1311" y="427"/>
                  </a:lnTo>
                  <a:lnTo>
                    <a:pt x="1316" y="409"/>
                  </a:lnTo>
                  <a:lnTo>
                    <a:pt x="1321" y="392"/>
                  </a:lnTo>
                  <a:lnTo>
                    <a:pt x="1327" y="374"/>
                  </a:lnTo>
                  <a:lnTo>
                    <a:pt x="1329" y="364"/>
                  </a:lnTo>
                  <a:lnTo>
                    <a:pt x="1330" y="354"/>
                  </a:lnTo>
                  <a:lnTo>
                    <a:pt x="1331" y="345"/>
                  </a:lnTo>
                  <a:lnTo>
                    <a:pt x="1332" y="334"/>
                  </a:lnTo>
                  <a:lnTo>
                    <a:pt x="1332" y="310"/>
                  </a:lnTo>
                  <a:lnTo>
                    <a:pt x="1332" y="289"/>
                  </a:lnTo>
                  <a:lnTo>
                    <a:pt x="1332" y="269"/>
                  </a:lnTo>
                  <a:lnTo>
                    <a:pt x="1332" y="250"/>
                  </a:lnTo>
                  <a:lnTo>
                    <a:pt x="1332" y="230"/>
                  </a:lnTo>
                  <a:lnTo>
                    <a:pt x="1332" y="210"/>
                  </a:lnTo>
                  <a:lnTo>
                    <a:pt x="1332" y="189"/>
                  </a:lnTo>
                  <a:lnTo>
                    <a:pt x="1332" y="165"/>
                  </a:lnTo>
                  <a:lnTo>
                    <a:pt x="1331" y="156"/>
                  </a:lnTo>
                  <a:lnTo>
                    <a:pt x="1329" y="147"/>
                  </a:lnTo>
                  <a:lnTo>
                    <a:pt x="1326" y="139"/>
                  </a:lnTo>
                  <a:lnTo>
                    <a:pt x="1320" y="133"/>
                  </a:lnTo>
                  <a:lnTo>
                    <a:pt x="1315" y="128"/>
                  </a:lnTo>
                  <a:lnTo>
                    <a:pt x="1308" y="123"/>
                  </a:lnTo>
                  <a:lnTo>
                    <a:pt x="1301" y="119"/>
                  </a:lnTo>
                  <a:lnTo>
                    <a:pt x="1292" y="115"/>
                  </a:lnTo>
                  <a:lnTo>
                    <a:pt x="1275" y="108"/>
                  </a:lnTo>
                  <a:lnTo>
                    <a:pt x="1255" y="101"/>
                  </a:lnTo>
                  <a:lnTo>
                    <a:pt x="1236" y="94"/>
                  </a:lnTo>
                  <a:lnTo>
                    <a:pt x="1218" y="84"/>
                  </a:lnTo>
                  <a:lnTo>
                    <a:pt x="1218" y="23"/>
                  </a:lnTo>
                  <a:lnTo>
                    <a:pt x="1212" y="0"/>
                  </a:lnTo>
                  <a:lnTo>
                    <a:pt x="1197" y="4"/>
                  </a:lnTo>
                  <a:lnTo>
                    <a:pt x="1183" y="10"/>
                  </a:lnTo>
                  <a:lnTo>
                    <a:pt x="1170" y="14"/>
                  </a:lnTo>
                  <a:lnTo>
                    <a:pt x="1158" y="20"/>
                  </a:lnTo>
                  <a:lnTo>
                    <a:pt x="1145" y="24"/>
                  </a:lnTo>
                  <a:lnTo>
                    <a:pt x="1132" y="28"/>
                  </a:lnTo>
                  <a:lnTo>
                    <a:pt x="1118" y="30"/>
                  </a:lnTo>
                  <a:lnTo>
                    <a:pt x="1102" y="31"/>
                  </a:lnTo>
                  <a:lnTo>
                    <a:pt x="1085" y="31"/>
                  </a:lnTo>
                  <a:lnTo>
                    <a:pt x="1069" y="30"/>
                  </a:lnTo>
                  <a:lnTo>
                    <a:pt x="1060" y="30"/>
                  </a:lnTo>
                  <a:lnTo>
                    <a:pt x="1052" y="28"/>
                  </a:lnTo>
                  <a:lnTo>
                    <a:pt x="1044" y="26"/>
                  </a:lnTo>
                  <a:lnTo>
                    <a:pt x="1035" y="23"/>
                  </a:lnTo>
                  <a:lnTo>
                    <a:pt x="1025" y="17"/>
                  </a:lnTo>
                  <a:lnTo>
                    <a:pt x="1016" y="11"/>
                  </a:lnTo>
                  <a:lnTo>
                    <a:pt x="1011" y="8"/>
                  </a:lnTo>
                  <a:lnTo>
                    <a:pt x="1007" y="6"/>
                  </a:lnTo>
                  <a:lnTo>
                    <a:pt x="1002" y="4"/>
                  </a:lnTo>
                  <a:lnTo>
                    <a:pt x="996" y="3"/>
                  </a:lnTo>
                  <a:lnTo>
                    <a:pt x="987" y="4"/>
                  </a:lnTo>
                  <a:lnTo>
                    <a:pt x="978" y="7"/>
                  </a:lnTo>
                  <a:lnTo>
                    <a:pt x="970" y="10"/>
                  </a:lnTo>
                  <a:lnTo>
                    <a:pt x="964" y="13"/>
                  </a:lnTo>
                  <a:lnTo>
                    <a:pt x="950" y="24"/>
                  </a:lnTo>
                  <a:lnTo>
                    <a:pt x="935" y="35"/>
                  </a:lnTo>
                  <a:lnTo>
                    <a:pt x="918" y="44"/>
                  </a:lnTo>
                  <a:lnTo>
                    <a:pt x="902" y="53"/>
                  </a:lnTo>
                  <a:lnTo>
                    <a:pt x="886" y="63"/>
                  </a:lnTo>
                  <a:lnTo>
                    <a:pt x="870" y="74"/>
                  </a:lnTo>
                  <a:lnTo>
                    <a:pt x="870" y="7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27">
              <a:extLst>
                <a:ext uri="{FF2B5EF4-FFF2-40B4-BE49-F238E27FC236}">
                  <a16:creationId xmlns:a16="http://schemas.microsoft.com/office/drawing/2014/main" id="{2CB26832-4775-43F4-A3BD-1B251071F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700" y="150813"/>
              <a:ext cx="931863" cy="1076325"/>
            </a:xfrm>
            <a:custGeom>
              <a:avLst/>
              <a:gdLst>
                <a:gd name="T0" fmla="*/ 599 w 2349"/>
                <a:gd name="T1" fmla="*/ 1280 h 2711"/>
                <a:gd name="T2" fmla="*/ 674 w 2349"/>
                <a:gd name="T3" fmla="*/ 1425 h 2711"/>
                <a:gd name="T4" fmla="*/ 764 w 2349"/>
                <a:gd name="T5" fmla="*/ 1577 h 2711"/>
                <a:gd name="T6" fmla="*/ 899 w 2349"/>
                <a:gd name="T7" fmla="*/ 1690 h 2711"/>
                <a:gd name="T8" fmla="*/ 936 w 2349"/>
                <a:gd name="T9" fmla="*/ 1793 h 2711"/>
                <a:gd name="T10" fmla="*/ 945 w 2349"/>
                <a:gd name="T11" fmla="*/ 2018 h 2711"/>
                <a:gd name="T12" fmla="*/ 1040 w 2349"/>
                <a:gd name="T13" fmla="*/ 2181 h 2711"/>
                <a:gd name="T14" fmla="*/ 1056 w 2349"/>
                <a:gd name="T15" fmla="*/ 2300 h 2711"/>
                <a:gd name="T16" fmla="*/ 1115 w 2349"/>
                <a:gd name="T17" fmla="*/ 2500 h 2711"/>
                <a:gd name="T18" fmla="*/ 1130 w 2349"/>
                <a:gd name="T19" fmla="*/ 2621 h 2711"/>
                <a:gd name="T20" fmla="*/ 1192 w 2349"/>
                <a:gd name="T21" fmla="*/ 2681 h 2711"/>
                <a:gd name="T22" fmla="*/ 1334 w 2349"/>
                <a:gd name="T23" fmla="*/ 2710 h 2711"/>
                <a:gd name="T24" fmla="*/ 1364 w 2349"/>
                <a:gd name="T25" fmla="*/ 2613 h 2711"/>
                <a:gd name="T26" fmla="*/ 1439 w 2349"/>
                <a:gd name="T27" fmla="*/ 2446 h 2711"/>
                <a:gd name="T28" fmla="*/ 1516 w 2349"/>
                <a:gd name="T29" fmla="*/ 2383 h 2711"/>
                <a:gd name="T30" fmla="*/ 1617 w 2349"/>
                <a:gd name="T31" fmla="*/ 2397 h 2711"/>
                <a:gd name="T32" fmla="*/ 1708 w 2349"/>
                <a:gd name="T33" fmla="*/ 2465 h 2711"/>
                <a:gd name="T34" fmla="*/ 1810 w 2349"/>
                <a:gd name="T35" fmla="*/ 2437 h 2711"/>
                <a:gd name="T36" fmla="*/ 1820 w 2349"/>
                <a:gd name="T37" fmla="*/ 2334 h 2711"/>
                <a:gd name="T38" fmla="*/ 1895 w 2349"/>
                <a:gd name="T39" fmla="*/ 2284 h 2711"/>
                <a:gd name="T40" fmla="*/ 2072 w 2349"/>
                <a:gd name="T41" fmla="*/ 2167 h 2711"/>
                <a:gd name="T42" fmla="*/ 2211 w 2349"/>
                <a:gd name="T43" fmla="*/ 2091 h 2711"/>
                <a:gd name="T44" fmla="*/ 2313 w 2349"/>
                <a:gd name="T45" fmla="*/ 1590 h 2711"/>
                <a:gd name="T46" fmla="*/ 2251 w 2349"/>
                <a:gd name="T47" fmla="*/ 1536 h 2711"/>
                <a:gd name="T48" fmla="*/ 2159 w 2349"/>
                <a:gd name="T49" fmla="*/ 1369 h 2711"/>
                <a:gd name="T50" fmla="*/ 2130 w 2349"/>
                <a:gd name="T51" fmla="*/ 1236 h 2711"/>
                <a:gd name="T52" fmla="*/ 2073 w 2349"/>
                <a:gd name="T53" fmla="*/ 1122 h 2711"/>
                <a:gd name="T54" fmla="*/ 2024 w 2349"/>
                <a:gd name="T55" fmla="*/ 1041 h 2711"/>
                <a:gd name="T56" fmla="*/ 2039 w 2349"/>
                <a:gd name="T57" fmla="*/ 834 h 2711"/>
                <a:gd name="T58" fmla="*/ 2054 w 2349"/>
                <a:gd name="T59" fmla="*/ 755 h 2711"/>
                <a:gd name="T60" fmla="*/ 2084 w 2349"/>
                <a:gd name="T61" fmla="*/ 624 h 2711"/>
                <a:gd name="T62" fmla="*/ 2160 w 2349"/>
                <a:gd name="T63" fmla="*/ 531 h 2711"/>
                <a:gd name="T64" fmla="*/ 2158 w 2349"/>
                <a:gd name="T65" fmla="*/ 384 h 2711"/>
                <a:gd name="T66" fmla="*/ 2054 w 2349"/>
                <a:gd name="T67" fmla="*/ 310 h 2711"/>
                <a:gd name="T68" fmla="*/ 1944 w 2349"/>
                <a:gd name="T69" fmla="*/ 205 h 2711"/>
                <a:gd name="T70" fmla="*/ 2006 w 2349"/>
                <a:gd name="T71" fmla="*/ 66 h 2711"/>
                <a:gd name="T72" fmla="*/ 1995 w 2349"/>
                <a:gd name="T73" fmla="*/ 16 h 2711"/>
                <a:gd name="T74" fmla="*/ 1815 w 2349"/>
                <a:gd name="T75" fmla="*/ 8 h 2711"/>
                <a:gd name="T76" fmla="*/ 1755 w 2349"/>
                <a:gd name="T77" fmla="*/ 57 h 2711"/>
                <a:gd name="T78" fmla="*/ 1709 w 2349"/>
                <a:gd name="T79" fmla="*/ 144 h 2711"/>
                <a:gd name="T80" fmla="*/ 1613 w 2349"/>
                <a:gd name="T81" fmla="*/ 239 h 2711"/>
                <a:gd name="T82" fmla="*/ 1429 w 2349"/>
                <a:gd name="T83" fmla="*/ 323 h 2711"/>
                <a:gd name="T84" fmla="*/ 1341 w 2349"/>
                <a:gd name="T85" fmla="*/ 404 h 2711"/>
                <a:gd name="T86" fmla="*/ 1084 w 2349"/>
                <a:gd name="T87" fmla="*/ 397 h 2711"/>
                <a:gd name="T88" fmla="*/ 790 w 2349"/>
                <a:gd name="T89" fmla="*/ 438 h 2711"/>
                <a:gd name="T90" fmla="*/ 692 w 2349"/>
                <a:gd name="T91" fmla="*/ 495 h 2711"/>
                <a:gd name="T92" fmla="*/ 590 w 2349"/>
                <a:gd name="T93" fmla="*/ 457 h 2711"/>
                <a:gd name="T94" fmla="*/ 384 w 2349"/>
                <a:gd name="T95" fmla="*/ 456 h 2711"/>
                <a:gd name="T96" fmla="*/ 199 w 2349"/>
                <a:gd name="T97" fmla="*/ 387 h 2711"/>
                <a:gd name="T98" fmla="*/ 44 w 2349"/>
                <a:gd name="T99" fmla="*/ 379 h 2711"/>
                <a:gd name="T100" fmla="*/ 4 w 2349"/>
                <a:gd name="T101" fmla="*/ 461 h 2711"/>
                <a:gd name="T102" fmla="*/ 62 w 2349"/>
                <a:gd name="T103" fmla="*/ 514 h 2711"/>
                <a:gd name="T104" fmla="*/ 215 w 2349"/>
                <a:gd name="T105" fmla="*/ 564 h 2711"/>
                <a:gd name="T106" fmla="*/ 259 w 2349"/>
                <a:gd name="T107" fmla="*/ 588 h 2711"/>
                <a:gd name="T108" fmla="*/ 210 w 2349"/>
                <a:gd name="T109" fmla="*/ 777 h 2711"/>
                <a:gd name="T110" fmla="*/ 212 w 2349"/>
                <a:gd name="T111" fmla="*/ 990 h 2711"/>
                <a:gd name="T112" fmla="*/ 291 w 2349"/>
                <a:gd name="T113" fmla="*/ 1107 h 2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49" h="2711">
                  <a:moveTo>
                    <a:pt x="473" y="1242"/>
                  </a:moveTo>
                  <a:lnTo>
                    <a:pt x="489" y="1242"/>
                  </a:lnTo>
                  <a:lnTo>
                    <a:pt x="503" y="1243"/>
                  </a:lnTo>
                  <a:lnTo>
                    <a:pt x="517" y="1245"/>
                  </a:lnTo>
                  <a:lnTo>
                    <a:pt x="531" y="1248"/>
                  </a:lnTo>
                  <a:lnTo>
                    <a:pt x="544" y="1252"/>
                  </a:lnTo>
                  <a:lnTo>
                    <a:pt x="557" y="1256"/>
                  </a:lnTo>
                  <a:lnTo>
                    <a:pt x="570" y="1263"/>
                  </a:lnTo>
                  <a:lnTo>
                    <a:pt x="583" y="1270"/>
                  </a:lnTo>
                  <a:lnTo>
                    <a:pt x="599" y="1280"/>
                  </a:lnTo>
                  <a:lnTo>
                    <a:pt x="615" y="1290"/>
                  </a:lnTo>
                  <a:lnTo>
                    <a:pt x="622" y="1295"/>
                  </a:lnTo>
                  <a:lnTo>
                    <a:pt x="628" y="1302"/>
                  </a:lnTo>
                  <a:lnTo>
                    <a:pt x="633" y="1309"/>
                  </a:lnTo>
                  <a:lnTo>
                    <a:pt x="636" y="1318"/>
                  </a:lnTo>
                  <a:lnTo>
                    <a:pt x="643" y="1343"/>
                  </a:lnTo>
                  <a:lnTo>
                    <a:pt x="651" y="1364"/>
                  </a:lnTo>
                  <a:lnTo>
                    <a:pt x="658" y="1386"/>
                  </a:lnTo>
                  <a:lnTo>
                    <a:pt x="666" y="1405"/>
                  </a:lnTo>
                  <a:lnTo>
                    <a:pt x="674" y="1425"/>
                  </a:lnTo>
                  <a:lnTo>
                    <a:pt x="681" y="1445"/>
                  </a:lnTo>
                  <a:lnTo>
                    <a:pt x="689" y="1467"/>
                  </a:lnTo>
                  <a:lnTo>
                    <a:pt x="697" y="1492"/>
                  </a:lnTo>
                  <a:lnTo>
                    <a:pt x="704" y="1508"/>
                  </a:lnTo>
                  <a:lnTo>
                    <a:pt x="710" y="1522"/>
                  </a:lnTo>
                  <a:lnTo>
                    <a:pt x="719" y="1534"/>
                  </a:lnTo>
                  <a:lnTo>
                    <a:pt x="729" y="1546"/>
                  </a:lnTo>
                  <a:lnTo>
                    <a:pt x="739" y="1557"/>
                  </a:lnTo>
                  <a:lnTo>
                    <a:pt x="751" y="1566"/>
                  </a:lnTo>
                  <a:lnTo>
                    <a:pt x="764" y="1577"/>
                  </a:lnTo>
                  <a:lnTo>
                    <a:pt x="778" y="1587"/>
                  </a:lnTo>
                  <a:lnTo>
                    <a:pt x="789" y="1594"/>
                  </a:lnTo>
                  <a:lnTo>
                    <a:pt x="799" y="1603"/>
                  </a:lnTo>
                  <a:lnTo>
                    <a:pt x="808" y="1611"/>
                  </a:lnTo>
                  <a:lnTo>
                    <a:pt x="815" y="1618"/>
                  </a:lnTo>
                  <a:lnTo>
                    <a:pt x="831" y="1634"/>
                  </a:lnTo>
                  <a:lnTo>
                    <a:pt x="852" y="1652"/>
                  </a:lnTo>
                  <a:lnTo>
                    <a:pt x="869" y="1665"/>
                  </a:lnTo>
                  <a:lnTo>
                    <a:pt x="884" y="1677"/>
                  </a:lnTo>
                  <a:lnTo>
                    <a:pt x="899" y="1690"/>
                  </a:lnTo>
                  <a:lnTo>
                    <a:pt x="911" y="1704"/>
                  </a:lnTo>
                  <a:lnTo>
                    <a:pt x="917" y="1712"/>
                  </a:lnTo>
                  <a:lnTo>
                    <a:pt x="921" y="1721"/>
                  </a:lnTo>
                  <a:lnTo>
                    <a:pt x="925" y="1728"/>
                  </a:lnTo>
                  <a:lnTo>
                    <a:pt x="930" y="1737"/>
                  </a:lnTo>
                  <a:lnTo>
                    <a:pt x="932" y="1747"/>
                  </a:lnTo>
                  <a:lnTo>
                    <a:pt x="934" y="1755"/>
                  </a:lnTo>
                  <a:lnTo>
                    <a:pt x="935" y="1766"/>
                  </a:lnTo>
                  <a:lnTo>
                    <a:pt x="936" y="1777"/>
                  </a:lnTo>
                  <a:lnTo>
                    <a:pt x="936" y="1793"/>
                  </a:lnTo>
                  <a:lnTo>
                    <a:pt x="936" y="1808"/>
                  </a:lnTo>
                  <a:lnTo>
                    <a:pt x="936" y="1822"/>
                  </a:lnTo>
                  <a:lnTo>
                    <a:pt x="936" y="1838"/>
                  </a:lnTo>
                  <a:lnTo>
                    <a:pt x="944" y="1906"/>
                  </a:lnTo>
                  <a:lnTo>
                    <a:pt x="944" y="1927"/>
                  </a:lnTo>
                  <a:lnTo>
                    <a:pt x="944" y="1945"/>
                  </a:lnTo>
                  <a:lnTo>
                    <a:pt x="944" y="1965"/>
                  </a:lnTo>
                  <a:lnTo>
                    <a:pt x="944" y="1985"/>
                  </a:lnTo>
                  <a:lnTo>
                    <a:pt x="945" y="2001"/>
                  </a:lnTo>
                  <a:lnTo>
                    <a:pt x="945" y="2018"/>
                  </a:lnTo>
                  <a:lnTo>
                    <a:pt x="947" y="2032"/>
                  </a:lnTo>
                  <a:lnTo>
                    <a:pt x="949" y="2046"/>
                  </a:lnTo>
                  <a:lnTo>
                    <a:pt x="953" y="2060"/>
                  </a:lnTo>
                  <a:lnTo>
                    <a:pt x="959" y="2073"/>
                  </a:lnTo>
                  <a:lnTo>
                    <a:pt x="966" y="2086"/>
                  </a:lnTo>
                  <a:lnTo>
                    <a:pt x="975" y="2100"/>
                  </a:lnTo>
                  <a:lnTo>
                    <a:pt x="1003" y="2134"/>
                  </a:lnTo>
                  <a:lnTo>
                    <a:pt x="1029" y="2165"/>
                  </a:lnTo>
                  <a:lnTo>
                    <a:pt x="1035" y="2172"/>
                  </a:lnTo>
                  <a:lnTo>
                    <a:pt x="1040" y="2181"/>
                  </a:lnTo>
                  <a:lnTo>
                    <a:pt x="1045" y="2189"/>
                  </a:lnTo>
                  <a:lnTo>
                    <a:pt x="1048" y="2198"/>
                  </a:lnTo>
                  <a:lnTo>
                    <a:pt x="1052" y="2207"/>
                  </a:lnTo>
                  <a:lnTo>
                    <a:pt x="1054" y="2217"/>
                  </a:lnTo>
                  <a:lnTo>
                    <a:pt x="1056" y="2227"/>
                  </a:lnTo>
                  <a:lnTo>
                    <a:pt x="1056" y="2239"/>
                  </a:lnTo>
                  <a:lnTo>
                    <a:pt x="1056" y="2255"/>
                  </a:lnTo>
                  <a:lnTo>
                    <a:pt x="1056" y="2269"/>
                  </a:lnTo>
                  <a:lnTo>
                    <a:pt x="1056" y="2283"/>
                  </a:lnTo>
                  <a:lnTo>
                    <a:pt x="1056" y="2300"/>
                  </a:lnTo>
                  <a:lnTo>
                    <a:pt x="1057" y="2314"/>
                  </a:lnTo>
                  <a:lnTo>
                    <a:pt x="1058" y="2328"/>
                  </a:lnTo>
                  <a:lnTo>
                    <a:pt x="1060" y="2342"/>
                  </a:lnTo>
                  <a:lnTo>
                    <a:pt x="1062" y="2354"/>
                  </a:lnTo>
                  <a:lnTo>
                    <a:pt x="1070" y="2377"/>
                  </a:lnTo>
                  <a:lnTo>
                    <a:pt x="1079" y="2400"/>
                  </a:lnTo>
                  <a:lnTo>
                    <a:pt x="1088" y="2423"/>
                  </a:lnTo>
                  <a:lnTo>
                    <a:pt x="1098" y="2446"/>
                  </a:lnTo>
                  <a:lnTo>
                    <a:pt x="1107" y="2472"/>
                  </a:lnTo>
                  <a:lnTo>
                    <a:pt x="1115" y="2500"/>
                  </a:lnTo>
                  <a:lnTo>
                    <a:pt x="1118" y="2512"/>
                  </a:lnTo>
                  <a:lnTo>
                    <a:pt x="1119" y="2522"/>
                  </a:lnTo>
                  <a:lnTo>
                    <a:pt x="1119" y="2533"/>
                  </a:lnTo>
                  <a:lnTo>
                    <a:pt x="1120" y="2543"/>
                  </a:lnTo>
                  <a:lnTo>
                    <a:pt x="1119" y="2562"/>
                  </a:lnTo>
                  <a:lnTo>
                    <a:pt x="1121" y="2585"/>
                  </a:lnTo>
                  <a:lnTo>
                    <a:pt x="1122" y="2594"/>
                  </a:lnTo>
                  <a:lnTo>
                    <a:pt x="1124" y="2603"/>
                  </a:lnTo>
                  <a:lnTo>
                    <a:pt x="1127" y="2613"/>
                  </a:lnTo>
                  <a:lnTo>
                    <a:pt x="1130" y="2621"/>
                  </a:lnTo>
                  <a:lnTo>
                    <a:pt x="1134" y="2629"/>
                  </a:lnTo>
                  <a:lnTo>
                    <a:pt x="1138" y="2637"/>
                  </a:lnTo>
                  <a:lnTo>
                    <a:pt x="1143" y="2644"/>
                  </a:lnTo>
                  <a:lnTo>
                    <a:pt x="1149" y="2652"/>
                  </a:lnTo>
                  <a:lnTo>
                    <a:pt x="1154" y="2658"/>
                  </a:lnTo>
                  <a:lnTo>
                    <a:pt x="1161" y="2664"/>
                  </a:lnTo>
                  <a:lnTo>
                    <a:pt x="1168" y="2669"/>
                  </a:lnTo>
                  <a:lnTo>
                    <a:pt x="1176" y="2673"/>
                  </a:lnTo>
                  <a:lnTo>
                    <a:pt x="1183" y="2678"/>
                  </a:lnTo>
                  <a:lnTo>
                    <a:pt x="1192" y="2681"/>
                  </a:lnTo>
                  <a:lnTo>
                    <a:pt x="1201" y="2683"/>
                  </a:lnTo>
                  <a:lnTo>
                    <a:pt x="1210" y="2685"/>
                  </a:lnTo>
                  <a:lnTo>
                    <a:pt x="1232" y="2688"/>
                  </a:lnTo>
                  <a:lnTo>
                    <a:pt x="1251" y="2692"/>
                  </a:lnTo>
                  <a:lnTo>
                    <a:pt x="1271" y="2697"/>
                  </a:lnTo>
                  <a:lnTo>
                    <a:pt x="1291" y="2702"/>
                  </a:lnTo>
                  <a:lnTo>
                    <a:pt x="1307" y="2707"/>
                  </a:lnTo>
                  <a:lnTo>
                    <a:pt x="1321" y="2711"/>
                  </a:lnTo>
                  <a:lnTo>
                    <a:pt x="1328" y="2711"/>
                  </a:lnTo>
                  <a:lnTo>
                    <a:pt x="1334" y="2710"/>
                  </a:lnTo>
                  <a:lnTo>
                    <a:pt x="1337" y="2709"/>
                  </a:lnTo>
                  <a:lnTo>
                    <a:pt x="1339" y="2708"/>
                  </a:lnTo>
                  <a:lnTo>
                    <a:pt x="1341" y="2706"/>
                  </a:lnTo>
                  <a:lnTo>
                    <a:pt x="1342" y="2702"/>
                  </a:lnTo>
                  <a:lnTo>
                    <a:pt x="1348" y="2686"/>
                  </a:lnTo>
                  <a:lnTo>
                    <a:pt x="1352" y="2671"/>
                  </a:lnTo>
                  <a:lnTo>
                    <a:pt x="1355" y="2656"/>
                  </a:lnTo>
                  <a:lnTo>
                    <a:pt x="1358" y="2642"/>
                  </a:lnTo>
                  <a:lnTo>
                    <a:pt x="1361" y="2628"/>
                  </a:lnTo>
                  <a:lnTo>
                    <a:pt x="1364" y="2613"/>
                  </a:lnTo>
                  <a:lnTo>
                    <a:pt x="1367" y="2598"/>
                  </a:lnTo>
                  <a:lnTo>
                    <a:pt x="1372" y="2581"/>
                  </a:lnTo>
                  <a:lnTo>
                    <a:pt x="1379" y="2567"/>
                  </a:lnTo>
                  <a:lnTo>
                    <a:pt x="1384" y="2554"/>
                  </a:lnTo>
                  <a:lnTo>
                    <a:pt x="1391" y="2544"/>
                  </a:lnTo>
                  <a:lnTo>
                    <a:pt x="1397" y="2532"/>
                  </a:lnTo>
                  <a:lnTo>
                    <a:pt x="1410" y="2510"/>
                  </a:lnTo>
                  <a:lnTo>
                    <a:pt x="1423" y="2483"/>
                  </a:lnTo>
                  <a:lnTo>
                    <a:pt x="1432" y="2464"/>
                  </a:lnTo>
                  <a:lnTo>
                    <a:pt x="1439" y="2446"/>
                  </a:lnTo>
                  <a:lnTo>
                    <a:pt x="1444" y="2438"/>
                  </a:lnTo>
                  <a:lnTo>
                    <a:pt x="1449" y="2429"/>
                  </a:lnTo>
                  <a:lnTo>
                    <a:pt x="1456" y="2422"/>
                  </a:lnTo>
                  <a:lnTo>
                    <a:pt x="1463" y="2413"/>
                  </a:lnTo>
                  <a:lnTo>
                    <a:pt x="1471" y="2405"/>
                  </a:lnTo>
                  <a:lnTo>
                    <a:pt x="1479" y="2399"/>
                  </a:lnTo>
                  <a:lnTo>
                    <a:pt x="1488" y="2394"/>
                  </a:lnTo>
                  <a:lnTo>
                    <a:pt x="1497" y="2389"/>
                  </a:lnTo>
                  <a:lnTo>
                    <a:pt x="1506" y="2386"/>
                  </a:lnTo>
                  <a:lnTo>
                    <a:pt x="1516" y="2383"/>
                  </a:lnTo>
                  <a:lnTo>
                    <a:pt x="1525" y="2382"/>
                  </a:lnTo>
                  <a:lnTo>
                    <a:pt x="1534" y="2381"/>
                  </a:lnTo>
                  <a:lnTo>
                    <a:pt x="1545" y="2379"/>
                  </a:lnTo>
                  <a:lnTo>
                    <a:pt x="1555" y="2381"/>
                  </a:lnTo>
                  <a:lnTo>
                    <a:pt x="1565" y="2382"/>
                  </a:lnTo>
                  <a:lnTo>
                    <a:pt x="1575" y="2383"/>
                  </a:lnTo>
                  <a:lnTo>
                    <a:pt x="1585" y="2386"/>
                  </a:lnTo>
                  <a:lnTo>
                    <a:pt x="1596" y="2389"/>
                  </a:lnTo>
                  <a:lnTo>
                    <a:pt x="1607" y="2392"/>
                  </a:lnTo>
                  <a:lnTo>
                    <a:pt x="1617" y="2397"/>
                  </a:lnTo>
                  <a:lnTo>
                    <a:pt x="1625" y="2401"/>
                  </a:lnTo>
                  <a:lnTo>
                    <a:pt x="1633" y="2405"/>
                  </a:lnTo>
                  <a:lnTo>
                    <a:pt x="1639" y="2411"/>
                  </a:lnTo>
                  <a:lnTo>
                    <a:pt x="1647" y="2416"/>
                  </a:lnTo>
                  <a:lnTo>
                    <a:pt x="1659" y="2427"/>
                  </a:lnTo>
                  <a:lnTo>
                    <a:pt x="1669" y="2439"/>
                  </a:lnTo>
                  <a:lnTo>
                    <a:pt x="1681" y="2450"/>
                  </a:lnTo>
                  <a:lnTo>
                    <a:pt x="1694" y="2458"/>
                  </a:lnTo>
                  <a:lnTo>
                    <a:pt x="1701" y="2462"/>
                  </a:lnTo>
                  <a:lnTo>
                    <a:pt x="1708" y="2465"/>
                  </a:lnTo>
                  <a:lnTo>
                    <a:pt x="1717" y="2466"/>
                  </a:lnTo>
                  <a:lnTo>
                    <a:pt x="1726" y="2467"/>
                  </a:lnTo>
                  <a:lnTo>
                    <a:pt x="1742" y="2466"/>
                  </a:lnTo>
                  <a:lnTo>
                    <a:pt x="1758" y="2464"/>
                  </a:lnTo>
                  <a:lnTo>
                    <a:pt x="1774" y="2459"/>
                  </a:lnTo>
                  <a:lnTo>
                    <a:pt x="1788" y="2454"/>
                  </a:lnTo>
                  <a:lnTo>
                    <a:pt x="1795" y="2451"/>
                  </a:lnTo>
                  <a:lnTo>
                    <a:pt x="1800" y="2446"/>
                  </a:lnTo>
                  <a:lnTo>
                    <a:pt x="1806" y="2442"/>
                  </a:lnTo>
                  <a:lnTo>
                    <a:pt x="1810" y="2437"/>
                  </a:lnTo>
                  <a:lnTo>
                    <a:pt x="1813" y="2430"/>
                  </a:lnTo>
                  <a:lnTo>
                    <a:pt x="1816" y="2425"/>
                  </a:lnTo>
                  <a:lnTo>
                    <a:pt x="1818" y="2417"/>
                  </a:lnTo>
                  <a:lnTo>
                    <a:pt x="1818" y="2410"/>
                  </a:lnTo>
                  <a:lnTo>
                    <a:pt x="1818" y="2392"/>
                  </a:lnTo>
                  <a:lnTo>
                    <a:pt x="1818" y="2377"/>
                  </a:lnTo>
                  <a:lnTo>
                    <a:pt x="1818" y="2361"/>
                  </a:lnTo>
                  <a:lnTo>
                    <a:pt x="1818" y="2344"/>
                  </a:lnTo>
                  <a:lnTo>
                    <a:pt x="1818" y="2340"/>
                  </a:lnTo>
                  <a:lnTo>
                    <a:pt x="1820" y="2334"/>
                  </a:lnTo>
                  <a:lnTo>
                    <a:pt x="1821" y="2330"/>
                  </a:lnTo>
                  <a:lnTo>
                    <a:pt x="1823" y="2327"/>
                  </a:lnTo>
                  <a:lnTo>
                    <a:pt x="1828" y="2319"/>
                  </a:lnTo>
                  <a:lnTo>
                    <a:pt x="1835" y="2313"/>
                  </a:lnTo>
                  <a:lnTo>
                    <a:pt x="1842" y="2308"/>
                  </a:lnTo>
                  <a:lnTo>
                    <a:pt x="1851" y="2303"/>
                  </a:lnTo>
                  <a:lnTo>
                    <a:pt x="1860" y="2300"/>
                  </a:lnTo>
                  <a:lnTo>
                    <a:pt x="1869" y="2295"/>
                  </a:lnTo>
                  <a:lnTo>
                    <a:pt x="1883" y="2290"/>
                  </a:lnTo>
                  <a:lnTo>
                    <a:pt x="1895" y="2284"/>
                  </a:lnTo>
                  <a:lnTo>
                    <a:pt x="1906" y="2278"/>
                  </a:lnTo>
                  <a:lnTo>
                    <a:pt x="1917" y="2271"/>
                  </a:lnTo>
                  <a:lnTo>
                    <a:pt x="1939" y="2259"/>
                  </a:lnTo>
                  <a:lnTo>
                    <a:pt x="1964" y="2246"/>
                  </a:lnTo>
                  <a:lnTo>
                    <a:pt x="1988" y="2234"/>
                  </a:lnTo>
                  <a:lnTo>
                    <a:pt x="2008" y="2221"/>
                  </a:lnTo>
                  <a:lnTo>
                    <a:pt x="2025" y="2208"/>
                  </a:lnTo>
                  <a:lnTo>
                    <a:pt x="2040" y="2195"/>
                  </a:lnTo>
                  <a:lnTo>
                    <a:pt x="2056" y="2181"/>
                  </a:lnTo>
                  <a:lnTo>
                    <a:pt x="2072" y="2167"/>
                  </a:lnTo>
                  <a:lnTo>
                    <a:pt x="2091" y="2152"/>
                  </a:lnTo>
                  <a:lnTo>
                    <a:pt x="2113" y="2136"/>
                  </a:lnTo>
                  <a:lnTo>
                    <a:pt x="2126" y="2119"/>
                  </a:lnTo>
                  <a:lnTo>
                    <a:pt x="2139" y="2105"/>
                  </a:lnTo>
                  <a:lnTo>
                    <a:pt x="2147" y="2099"/>
                  </a:lnTo>
                  <a:lnTo>
                    <a:pt x="2155" y="2094"/>
                  </a:lnTo>
                  <a:lnTo>
                    <a:pt x="2164" y="2092"/>
                  </a:lnTo>
                  <a:lnTo>
                    <a:pt x="2175" y="2091"/>
                  </a:lnTo>
                  <a:lnTo>
                    <a:pt x="2194" y="2091"/>
                  </a:lnTo>
                  <a:lnTo>
                    <a:pt x="2211" y="2091"/>
                  </a:lnTo>
                  <a:lnTo>
                    <a:pt x="2228" y="2091"/>
                  </a:lnTo>
                  <a:lnTo>
                    <a:pt x="2246" y="2091"/>
                  </a:lnTo>
                  <a:lnTo>
                    <a:pt x="2274" y="2091"/>
                  </a:lnTo>
                  <a:lnTo>
                    <a:pt x="2298" y="2093"/>
                  </a:lnTo>
                  <a:lnTo>
                    <a:pt x="2322" y="2097"/>
                  </a:lnTo>
                  <a:lnTo>
                    <a:pt x="2349" y="2102"/>
                  </a:lnTo>
                  <a:lnTo>
                    <a:pt x="2324" y="1607"/>
                  </a:lnTo>
                  <a:lnTo>
                    <a:pt x="2320" y="1602"/>
                  </a:lnTo>
                  <a:lnTo>
                    <a:pt x="2316" y="1596"/>
                  </a:lnTo>
                  <a:lnTo>
                    <a:pt x="2313" y="1590"/>
                  </a:lnTo>
                  <a:lnTo>
                    <a:pt x="2311" y="1584"/>
                  </a:lnTo>
                  <a:lnTo>
                    <a:pt x="2308" y="1577"/>
                  </a:lnTo>
                  <a:lnTo>
                    <a:pt x="2305" y="1571"/>
                  </a:lnTo>
                  <a:lnTo>
                    <a:pt x="2300" y="1564"/>
                  </a:lnTo>
                  <a:lnTo>
                    <a:pt x="2295" y="1559"/>
                  </a:lnTo>
                  <a:lnTo>
                    <a:pt x="2286" y="1552"/>
                  </a:lnTo>
                  <a:lnTo>
                    <a:pt x="2278" y="1547"/>
                  </a:lnTo>
                  <a:lnTo>
                    <a:pt x="2268" y="1544"/>
                  </a:lnTo>
                  <a:lnTo>
                    <a:pt x="2259" y="1539"/>
                  </a:lnTo>
                  <a:lnTo>
                    <a:pt x="2251" y="1536"/>
                  </a:lnTo>
                  <a:lnTo>
                    <a:pt x="2242" y="1531"/>
                  </a:lnTo>
                  <a:lnTo>
                    <a:pt x="2234" y="1525"/>
                  </a:lnTo>
                  <a:lnTo>
                    <a:pt x="2228" y="1517"/>
                  </a:lnTo>
                  <a:lnTo>
                    <a:pt x="2218" y="1501"/>
                  </a:lnTo>
                  <a:lnTo>
                    <a:pt x="2211" y="1486"/>
                  </a:lnTo>
                  <a:lnTo>
                    <a:pt x="2204" y="1472"/>
                  </a:lnTo>
                  <a:lnTo>
                    <a:pt x="2199" y="1457"/>
                  </a:lnTo>
                  <a:lnTo>
                    <a:pt x="2188" y="1428"/>
                  </a:lnTo>
                  <a:lnTo>
                    <a:pt x="2175" y="1396"/>
                  </a:lnTo>
                  <a:lnTo>
                    <a:pt x="2159" y="1369"/>
                  </a:lnTo>
                  <a:lnTo>
                    <a:pt x="2145" y="1345"/>
                  </a:lnTo>
                  <a:lnTo>
                    <a:pt x="2138" y="1333"/>
                  </a:lnTo>
                  <a:lnTo>
                    <a:pt x="2134" y="1320"/>
                  </a:lnTo>
                  <a:lnTo>
                    <a:pt x="2132" y="1314"/>
                  </a:lnTo>
                  <a:lnTo>
                    <a:pt x="2131" y="1306"/>
                  </a:lnTo>
                  <a:lnTo>
                    <a:pt x="2130" y="1298"/>
                  </a:lnTo>
                  <a:lnTo>
                    <a:pt x="2130" y="1291"/>
                  </a:lnTo>
                  <a:lnTo>
                    <a:pt x="2130" y="1270"/>
                  </a:lnTo>
                  <a:lnTo>
                    <a:pt x="2130" y="1253"/>
                  </a:lnTo>
                  <a:lnTo>
                    <a:pt x="2130" y="1236"/>
                  </a:lnTo>
                  <a:lnTo>
                    <a:pt x="2130" y="1216"/>
                  </a:lnTo>
                  <a:lnTo>
                    <a:pt x="2130" y="1202"/>
                  </a:lnTo>
                  <a:lnTo>
                    <a:pt x="2127" y="1189"/>
                  </a:lnTo>
                  <a:lnTo>
                    <a:pt x="2124" y="1177"/>
                  </a:lnTo>
                  <a:lnTo>
                    <a:pt x="2120" y="1167"/>
                  </a:lnTo>
                  <a:lnTo>
                    <a:pt x="2113" y="1156"/>
                  </a:lnTo>
                  <a:lnTo>
                    <a:pt x="2106" y="1146"/>
                  </a:lnTo>
                  <a:lnTo>
                    <a:pt x="2096" y="1137"/>
                  </a:lnTo>
                  <a:lnTo>
                    <a:pt x="2085" y="1130"/>
                  </a:lnTo>
                  <a:lnTo>
                    <a:pt x="2073" y="1122"/>
                  </a:lnTo>
                  <a:lnTo>
                    <a:pt x="2062" y="1116"/>
                  </a:lnTo>
                  <a:lnTo>
                    <a:pt x="2052" y="1108"/>
                  </a:lnTo>
                  <a:lnTo>
                    <a:pt x="2042" y="1101"/>
                  </a:lnTo>
                  <a:lnTo>
                    <a:pt x="2035" y="1092"/>
                  </a:lnTo>
                  <a:lnTo>
                    <a:pt x="2028" y="1082"/>
                  </a:lnTo>
                  <a:lnTo>
                    <a:pt x="2026" y="1077"/>
                  </a:lnTo>
                  <a:lnTo>
                    <a:pt x="2025" y="1071"/>
                  </a:lnTo>
                  <a:lnTo>
                    <a:pt x="2024" y="1064"/>
                  </a:lnTo>
                  <a:lnTo>
                    <a:pt x="2024" y="1058"/>
                  </a:lnTo>
                  <a:lnTo>
                    <a:pt x="2024" y="1041"/>
                  </a:lnTo>
                  <a:lnTo>
                    <a:pt x="2024" y="1027"/>
                  </a:lnTo>
                  <a:lnTo>
                    <a:pt x="2024" y="1013"/>
                  </a:lnTo>
                  <a:lnTo>
                    <a:pt x="2024" y="997"/>
                  </a:lnTo>
                  <a:lnTo>
                    <a:pt x="2024" y="955"/>
                  </a:lnTo>
                  <a:lnTo>
                    <a:pt x="2026" y="917"/>
                  </a:lnTo>
                  <a:lnTo>
                    <a:pt x="2027" y="899"/>
                  </a:lnTo>
                  <a:lnTo>
                    <a:pt x="2030" y="880"/>
                  </a:lnTo>
                  <a:lnTo>
                    <a:pt x="2033" y="860"/>
                  </a:lnTo>
                  <a:lnTo>
                    <a:pt x="2037" y="838"/>
                  </a:lnTo>
                  <a:lnTo>
                    <a:pt x="2039" y="834"/>
                  </a:lnTo>
                  <a:lnTo>
                    <a:pt x="2041" y="830"/>
                  </a:lnTo>
                  <a:lnTo>
                    <a:pt x="2043" y="825"/>
                  </a:lnTo>
                  <a:lnTo>
                    <a:pt x="2046" y="822"/>
                  </a:lnTo>
                  <a:lnTo>
                    <a:pt x="2050" y="819"/>
                  </a:lnTo>
                  <a:lnTo>
                    <a:pt x="2052" y="815"/>
                  </a:lnTo>
                  <a:lnTo>
                    <a:pt x="2053" y="810"/>
                  </a:lnTo>
                  <a:lnTo>
                    <a:pt x="2054" y="806"/>
                  </a:lnTo>
                  <a:lnTo>
                    <a:pt x="2054" y="788"/>
                  </a:lnTo>
                  <a:lnTo>
                    <a:pt x="2054" y="771"/>
                  </a:lnTo>
                  <a:lnTo>
                    <a:pt x="2054" y="755"/>
                  </a:lnTo>
                  <a:lnTo>
                    <a:pt x="2054" y="737"/>
                  </a:lnTo>
                  <a:lnTo>
                    <a:pt x="2054" y="726"/>
                  </a:lnTo>
                  <a:lnTo>
                    <a:pt x="2055" y="716"/>
                  </a:lnTo>
                  <a:lnTo>
                    <a:pt x="2057" y="708"/>
                  </a:lnTo>
                  <a:lnTo>
                    <a:pt x="2059" y="699"/>
                  </a:lnTo>
                  <a:lnTo>
                    <a:pt x="2065" y="682"/>
                  </a:lnTo>
                  <a:lnTo>
                    <a:pt x="2071" y="666"/>
                  </a:lnTo>
                  <a:lnTo>
                    <a:pt x="2077" y="649"/>
                  </a:lnTo>
                  <a:lnTo>
                    <a:pt x="2082" y="633"/>
                  </a:lnTo>
                  <a:lnTo>
                    <a:pt x="2084" y="624"/>
                  </a:lnTo>
                  <a:lnTo>
                    <a:pt x="2086" y="615"/>
                  </a:lnTo>
                  <a:lnTo>
                    <a:pt x="2087" y="605"/>
                  </a:lnTo>
                  <a:lnTo>
                    <a:pt x="2087" y="594"/>
                  </a:lnTo>
                  <a:lnTo>
                    <a:pt x="2096" y="581"/>
                  </a:lnTo>
                  <a:lnTo>
                    <a:pt x="2105" y="569"/>
                  </a:lnTo>
                  <a:lnTo>
                    <a:pt x="2113" y="559"/>
                  </a:lnTo>
                  <a:lnTo>
                    <a:pt x="2123" y="550"/>
                  </a:lnTo>
                  <a:lnTo>
                    <a:pt x="2134" y="541"/>
                  </a:lnTo>
                  <a:lnTo>
                    <a:pt x="2147" y="535"/>
                  </a:lnTo>
                  <a:lnTo>
                    <a:pt x="2160" y="531"/>
                  </a:lnTo>
                  <a:lnTo>
                    <a:pt x="2175" y="527"/>
                  </a:lnTo>
                  <a:lnTo>
                    <a:pt x="2175" y="499"/>
                  </a:lnTo>
                  <a:lnTo>
                    <a:pt x="2175" y="475"/>
                  </a:lnTo>
                  <a:lnTo>
                    <a:pt x="2175" y="451"/>
                  </a:lnTo>
                  <a:lnTo>
                    <a:pt x="2175" y="423"/>
                  </a:lnTo>
                  <a:lnTo>
                    <a:pt x="2174" y="413"/>
                  </a:lnTo>
                  <a:lnTo>
                    <a:pt x="2172" y="404"/>
                  </a:lnTo>
                  <a:lnTo>
                    <a:pt x="2168" y="397"/>
                  </a:lnTo>
                  <a:lnTo>
                    <a:pt x="2163" y="390"/>
                  </a:lnTo>
                  <a:lnTo>
                    <a:pt x="2158" y="384"/>
                  </a:lnTo>
                  <a:lnTo>
                    <a:pt x="2151" y="378"/>
                  </a:lnTo>
                  <a:lnTo>
                    <a:pt x="2144" y="374"/>
                  </a:lnTo>
                  <a:lnTo>
                    <a:pt x="2135" y="369"/>
                  </a:lnTo>
                  <a:lnTo>
                    <a:pt x="2119" y="360"/>
                  </a:lnTo>
                  <a:lnTo>
                    <a:pt x="2100" y="350"/>
                  </a:lnTo>
                  <a:lnTo>
                    <a:pt x="2092" y="345"/>
                  </a:lnTo>
                  <a:lnTo>
                    <a:pt x="2083" y="339"/>
                  </a:lnTo>
                  <a:lnTo>
                    <a:pt x="2076" y="333"/>
                  </a:lnTo>
                  <a:lnTo>
                    <a:pt x="2068" y="325"/>
                  </a:lnTo>
                  <a:lnTo>
                    <a:pt x="2054" y="310"/>
                  </a:lnTo>
                  <a:lnTo>
                    <a:pt x="2039" y="297"/>
                  </a:lnTo>
                  <a:lnTo>
                    <a:pt x="2025" y="286"/>
                  </a:lnTo>
                  <a:lnTo>
                    <a:pt x="2010" y="277"/>
                  </a:lnTo>
                  <a:lnTo>
                    <a:pt x="1993" y="268"/>
                  </a:lnTo>
                  <a:lnTo>
                    <a:pt x="1976" y="262"/>
                  </a:lnTo>
                  <a:lnTo>
                    <a:pt x="1957" y="256"/>
                  </a:lnTo>
                  <a:lnTo>
                    <a:pt x="1936" y="253"/>
                  </a:lnTo>
                  <a:lnTo>
                    <a:pt x="1938" y="236"/>
                  </a:lnTo>
                  <a:lnTo>
                    <a:pt x="1941" y="219"/>
                  </a:lnTo>
                  <a:lnTo>
                    <a:pt x="1944" y="205"/>
                  </a:lnTo>
                  <a:lnTo>
                    <a:pt x="1948" y="191"/>
                  </a:lnTo>
                  <a:lnTo>
                    <a:pt x="1958" y="163"/>
                  </a:lnTo>
                  <a:lnTo>
                    <a:pt x="1970" y="132"/>
                  </a:lnTo>
                  <a:lnTo>
                    <a:pt x="1975" y="120"/>
                  </a:lnTo>
                  <a:lnTo>
                    <a:pt x="1982" y="110"/>
                  </a:lnTo>
                  <a:lnTo>
                    <a:pt x="1988" y="101"/>
                  </a:lnTo>
                  <a:lnTo>
                    <a:pt x="1995" y="91"/>
                  </a:lnTo>
                  <a:lnTo>
                    <a:pt x="2000" y="81"/>
                  </a:lnTo>
                  <a:lnTo>
                    <a:pt x="2005" y="72"/>
                  </a:lnTo>
                  <a:lnTo>
                    <a:pt x="2006" y="66"/>
                  </a:lnTo>
                  <a:lnTo>
                    <a:pt x="2008" y="61"/>
                  </a:lnTo>
                  <a:lnTo>
                    <a:pt x="2009" y="54"/>
                  </a:lnTo>
                  <a:lnTo>
                    <a:pt x="2010" y="48"/>
                  </a:lnTo>
                  <a:lnTo>
                    <a:pt x="2009" y="42"/>
                  </a:lnTo>
                  <a:lnTo>
                    <a:pt x="2008" y="38"/>
                  </a:lnTo>
                  <a:lnTo>
                    <a:pt x="2006" y="33"/>
                  </a:lnTo>
                  <a:lnTo>
                    <a:pt x="2004" y="28"/>
                  </a:lnTo>
                  <a:lnTo>
                    <a:pt x="2001" y="24"/>
                  </a:lnTo>
                  <a:lnTo>
                    <a:pt x="1998" y="20"/>
                  </a:lnTo>
                  <a:lnTo>
                    <a:pt x="1995" y="16"/>
                  </a:lnTo>
                  <a:lnTo>
                    <a:pt x="1990" y="13"/>
                  </a:lnTo>
                  <a:lnTo>
                    <a:pt x="1982" y="8"/>
                  </a:lnTo>
                  <a:lnTo>
                    <a:pt x="1971" y="3"/>
                  </a:lnTo>
                  <a:lnTo>
                    <a:pt x="1961" y="1"/>
                  </a:lnTo>
                  <a:lnTo>
                    <a:pt x="1949" y="0"/>
                  </a:lnTo>
                  <a:lnTo>
                    <a:pt x="1920" y="1"/>
                  </a:lnTo>
                  <a:lnTo>
                    <a:pt x="1892" y="2"/>
                  </a:lnTo>
                  <a:lnTo>
                    <a:pt x="1866" y="5"/>
                  </a:lnTo>
                  <a:lnTo>
                    <a:pt x="1841" y="6"/>
                  </a:lnTo>
                  <a:lnTo>
                    <a:pt x="1815" y="8"/>
                  </a:lnTo>
                  <a:lnTo>
                    <a:pt x="1789" y="10"/>
                  </a:lnTo>
                  <a:lnTo>
                    <a:pt x="1761" y="11"/>
                  </a:lnTo>
                  <a:lnTo>
                    <a:pt x="1732" y="12"/>
                  </a:lnTo>
                  <a:lnTo>
                    <a:pt x="1732" y="12"/>
                  </a:lnTo>
                  <a:lnTo>
                    <a:pt x="1735" y="22"/>
                  </a:lnTo>
                  <a:lnTo>
                    <a:pt x="1740" y="29"/>
                  </a:lnTo>
                  <a:lnTo>
                    <a:pt x="1744" y="37"/>
                  </a:lnTo>
                  <a:lnTo>
                    <a:pt x="1748" y="43"/>
                  </a:lnTo>
                  <a:lnTo>
                    <a:pt x="1752" y="50"/>
                  </a:lnTo>
                  <a:lnTo>
                    <a:pt x="1755" y="57"/>
                  </a:lnTo>
                  <a:lnTo>
                    <a:pt x="1756" y="66"/>
                  </a:lnTo>
                  <a:lnTo>
                    <a:pt x="1757" y="76"/>
                  </a:lnTo>
                  <a:lnTo>
                    <a:pt x="1756" y="88"/>
                  </a:lnTo>
                  <a:lnTo>
                    <a:pt x="1753" y="97"/>
                  </a:lnTo>
                  <a:lnTo>
                    <a:pt x="1748" y="107"/>
                  </a:lnTo>
                  <a:lnTo>
                    <a:pt x="1743" y="115"/>
                  </a:lnTo>
                  <a:lnTo>
                    <a:pt x="1735" y="122"/>
                  </a:lnTo>
                  <a:lnTo>
                    <a:pt x="1728" y="130"/>
                  </a:lnTo>
                  <a:lnTo>
                    <a:pt x="1719" y="136"/>
                  </a:lnTo>
                  <a:lnTo>
                    <a:pt x="1709" y="144"/>
                  </a:lnTo>
                  <a:lnTo>
                    <a:pt x="1692" y="165"/>
                  </a:lnTo>
                  <a:lnTo>
                    <a:pt x="1677" y="185"/>
                  </a:lnTo>
                  <a:lnTo>
                    <a:pt x="1669" y="194"/>
                  </a:lnTo>
                  <a:lnTo>
                    <a:pt x="1661" y="201"/>
                  </a:lnTo>
                  <a:lnTo>
                    <a:pt x="1651" y="210"/>
                  </a:lnTo>
                  <a:lnTo>
                    <a:pt x="1639" y="219"/>
                  </a:lnTo>
                  <a:lnTo>
                    <a:pt x="1631" y="227"/>
                  </a:lnTo>
                  <a:lnTo>
                    <a:pt x="1622" y="234"/>
                  </a:lnTo>
                  <a:lnTo>
                    <a:pt x="1618" y="237"/>
                  </a:lnTo>
                  <a:lnTo>
                    <a:pt x="1613" y="239"/>
                  </a:lnTo>
                  <a:lnTo>
                    <a:pt x="1608" y="241"/>
                  </a:lnTo>
                  <a:lnTo>
                    <a:pt x="1602" y="241"/>
                  </a:lnTo>
                  <a:lnTo>
                    <a:pt x="1571" y="241"/>
                  </a:lnTo>
                  <a:lnTo>
                    <a:pt x="1543" y="241"/>
                  </a:lnTo>
                  <a:lnTo>
                    <a:pt x="1516" y="241"/>
                  </a:lnTo>
                  <a:lnTo>
                    <a:pt x="1485" y="241"/>
                  </a:lnTo>
                  <a:lnTo>
                    <a:pt x="1470" y="263"/>
                  </a:lnTo>
                  <a:lnTo>
                    <a:pt x="1457" y="282"/>
                  </a:lnTo>
                  <a:lnTo>
                    <a:pt x="1443" y="300"/>
                  </a:lnTo>
                  <a:lnTo>
                    <a:pt x="1429" y="323"/>
                  </a:lnTo>
                  <a:lnTo>
                    <a:pt x="1416" y="347"/>
                  </a:lnTo>
                  <a:lnTo>
                    <a:pt x="1403" y="367"/>
                  </a:lnTo>
                  <a:lnTo>
                    <a:pt x="1395" y="377"/>
                  </a:lnTo>
                  <a:lnTo>
                    <a:pt x="1386" y="386"/>
                  </a:lnTo>
                  <a:lnTo>
                    <a:pt x="1382" y="389"/>
                  </a:lnTo>
                  <a:lnTo>
                    <a:pt x="1377" y="392"/>
                  </a:lnTo>
                  <a:lnTo>
                    <a:pt x="1371" y="396"/>
                  </a:lnTo>
                  <a:lnTo>
                    <a:pt x="1365" y="399"/>
                  </a:lnTo>
                  <a:lnTo>
                    <a:pt x="1352" y="402"/>
                  </a:lnTo>
                  <a:lnTo>
                    <a:pt x="1341" y="404"/>
                  </a:lnTo>
                  <a:lnTo>
                    <a:pt x="1330" y="405"/>
                  </a:lnTo>
                  <a:lnTo>
                    <a:pt x="1319" y="404"/>
                  </a:lnTo>
                  <a:lnTo>
                    <a:pt x="1298" y="403"/>
                  </a:lnTo>
                  <a:lnTo>
                    <a:pt x="1273" y="401"/>
                  </a:lnTo>
                  <a:lnTo>
                    <a:pt x="1243" y="400"/>
                  </a:lnTo>
                  <a:lnTo>
                    <a:pt x="1216" y="399"/>
                  </a:lnTo>
                  <a:lnTo>
                    <a:pt x="1190" y="397"/>
                  </a:lnTo>
                  <a:lnTo>
                    <a:pt x="1160" y="396"/>
                  </a:lnTo>
                  <a:lnTo>
                    <a:pt x="1120" y="397"/>
                  </a:lnTo>
                  <a:lnTo>
                    <a:pt x="1084" y="397"/>
                  </a:lnTo>
                  <a:lnTo>
                    <a:pt x="1049" y="398"/>
                  </a:lnTo>
                  <a:lnTo>
                    <a:pt x="1010" y="399"/>
                  </a:lnTo>
                  <a:lnTo>
                    <a:pt x="978" y="399"/>
                  </a:lnTo>
                  <a:lnTo>
                    <a:pt x="949" y="400"/>
                  </a:lnTo>
                  <a:lnTo>
                    <a:pt x="923" y="402"/>
                  </a:lnTo>
                  <a:lnTo>
                    <a:pt x="897" y="405"/>
                  </a:lnTo>
                  <a:lnTo>
                    <a:pt x="871" y="411"/>
                  </a:lnTo>
                  <a:lnTo>
                    <a:pt x="845" y="418"/>
                  </a:lnTo>
                  <a:lnTo>
                    <a:pt x="818" y="427"/>
                  </a:lnTo>
                  <a:lnTo>
                    <a:pt x="790" y="438"/>
                  </a:lnTo>
                  <a:lnTo>
                    <a:pt x="771" y="458"/>
                  </a:lnTo>
                  <a:lnTo>
                    <a:pt x="754" y="477"/>
                  </a:lnTo>
                  <a:lnTo>
                    <a:pt x="744" y="485"/>
                  </a:lnTo>
                  <a:lnTo>
                    <a:pt x="734" y="491"/>
                  </a:lnTo>
                  <a:lnTo>
                    <a:pt x="729" y="494"/>
                  </a:lnTo>
                  <a:lnTo>
                    <a:pt x="722" y="495"/>
                  </a:lnTo>
                  <a:lnTo>
                    <a:pt x="716" y="496"/>
                  </a:lnTo>
                  <a:lnTo>
                    <a:pt x="708" y="497"/>
                  </a:lnTo>
                  <a:lnTo>
                    <a:pt x="700" y="496"/>
                  </a:lnTo>
                  <a:lnTo>
                    <a:pt x="692" y="495"/>
                  </a:lnTo>
                  <a:lnTo>
                    <a:pt x="684" y="493"/>
                  </a:lnTo>
                  <a:lnTo>
                    <a:pt x="677" y="491"/>
                  </a:lnTo>
                  <a:lnTo>
                    <a:pt x="663" y="484"/>
                  </a:lnTo>
                  <a:lnTo>
                    <a:pt x="650" y="477"/>
                  </a:lnTo>
                  <a:lnTo>
                    <a:pt x="636" y="470"/>
                  </a:lnTo>
                  <a:lnTo>
                    <a:pt x="623" y="464"/>
                  </a:lnTo>
                  <a:lnTo>
                    <a:pt x="615" y="461"/>
                  </a:lnTo>
                  <a:lnTo>
                    <a:pt x="608" y="459"/>
                  </a:lnTo>
                  <a:lnTo>
                    <a:pt x="599" y="458"/>
                  </a:lnTo>
                  <a:lnTo>
                    <a:pt x="590" y="457"/>
                  </a:lnTo>
                  <a:lnTo>
                    <a:pt x="565" y="457"/>
                  </a:lnTo>
                  <a:lnTo>
                    <a:pt x="542" y="457"/>
                  </a:lnTo>
                  <a:lnTo>
                    <a:pt x="520" y="457"/>
                  </a:lnTo>
                  <a:lnTo>
                    <a:pt x="500" y="457"/>
                  </a:lnTo>
                  <a:lnTo>
                    <a:pt x="479" y="457"/>
                  </a:lnTo>
                  <a:lnTo>
                    <a:pt x="458" y="457"/>
                  </a:lnTo>
                  <a:lnTo>
                    <a:pt x="435" y="457"/>
                  </a:lnTo>
                  <a:lnTo>
                    <a:pt x="409" y="457"/>
                  </a:lnTo>
                  <a:lnTo>
                    <a:pt x="396" y="457"/>
                  </a:lnTo>
                  <a:lnTo>
                    <a:pt x="384" y="456"/>
                  </a:lnTo>
                  <a:lnTo>
                    <a:pt x="372" y="455"/>
                  </a:lnTo>
                  <a:lnTo>
                    <a:pt x="360" y="453"/>
                  </a:lnTo>
                  <a:lnTo>
                    <a:pt x="339" y="448"/>
                  </a:lnTo>
                  <a:lnTo>
                    <a:pt x="318" y="442"/>
                  </a:lnTo>
                  <a:lnTo>
                    <a:pt x="299" y="433"/>
                  </a:lnTo>
                  <a:lnTo>
                    <a:pt x="278" y="425"/>
                  </a:lnTo>
                  <a:lnTo>
                    <a:pt x="256" y="415"/>
                  </a:lnTo>
                  <a:lnTo>
                    <a:pt x="232" y="404"/>
                  </a:lnTo>
                  <a:lnTo>
                    <a:pt x="215" y="396"/>
                  </a:lnTo>
                  <a:lnTo>
                    <a:pt x="199" y="387"/>
                  </a:lnTo>
                  <a:lnTo>
                    <a:pt x="191" y="384"/>
                  </a:lnTo>
                  <a:lnTo>
                    <a:pt x="183" y="381"/>
                  </a:lnTo>
                  <a:lnTo>
                    <a:pt x="175" y="379"/>
                  </a:lnTo>
                  <a:lnTo>
                    <a:pt x="164" y="379"/>
                  </a:lnTo>
                  <a:lnTo>
                    <a:pt x="141" y="379"/>
                  </a:lnTo>
                  <a:lnTo>
                    <a:pt x="121" y="379"/>
                  </a:lnTo>
                  <a:lnTo>
                    <a:pt x="101" y="379"/>
                  </a:lnTo>
                  <a:lnTo>
                    <a:pt x="82" y="379"/>
                  </a:lnTo>
                  <a:lnTo>
                    <a:pt x="63" y="379"/>
                  </a:lnTo>
                  <a:lnTo>
                    <a:pt x="44" y="379"/>
                  </a:lnTo>
                  <a:lnTo>
                    <a:pt x="22" y="379"/>
                  </a:lnTo>
                  <a:lnTo>
                    <a:pt x="0" y="379"/>
                  </a:lnTo>
                  <a:lnTo>
                    <a:pt x="0" y="392"/>
                  </a:lnTo>
                  <a:lnTo>
                    <a:pt x="0" y="404"/>
                  </a:lnTo>
                  <a:lnTo>
                    <a:pt x="0" y="415"/>
                  </a:lnTo>
                  <a:lnTo>
                    <a:pt x="0" y="429"/>
                  </a:lnTo>
                  <a:lnTo>
                    <a:pt x="0" y="438"/>
                  </a:lnTo>
                  <a:lnTo>
                    <a:pt x="1" y="446"/>
                  </a:lnTo>
                  <a:lnTo>
                    <a:pt x="2" y="454"/>
                  </a:lnTo>
                  <a:lnTo>
                    <a:pt x="4" y="461"/>
                  </a:lnTo>
                  <a:lnTo>
                    <a:pt x="6" y="469"/>
                  </a:lnTo>
                  <a:lnTo>
                    <a:pt x="9" y="477"/>
                  </a:lnTo>
                  <a:lnTo>
                    <a:pt x="14" y="484"/>
                  </a:lnTo>
                  <a:lnTo>
                    <a:pt x="19" y="491"/>
                  </a:lnTo>
                  <a:lnTo>
                    <a:pt x="23" y="496"/>
                  </a:lnTo>
                  <a:lnTo>
                    <a:pt x="29" y="500"/>
                  </a:lnTo>
                  <a:lnTo>
                    <a:pt x="33" y="505"/>
                  </a:lnTo>
                  <a:lnTo>
                    <a:pt x="39" y="508"/>
                  </a:lnTo>
                  <a:lnTo>
                    <a:pt x="49" y="511"/>
                  </a:lnTo>
                  <a:lnTo>
                    <a:pt x="62" y="514"/>
                  </a:lnTo>
                  <a:lnTo>
                    <a:pt x="74" y="516"/>
                  </a:lnTo>
                  <a:lnTo>
                    <a:pt x="87" y="518"/>
                  </a:lnTo>
                  <a:lnTo>
                    <a:pt x="101" y="521"/>
                  </a:lnTo>
                  <a:lnTo>
                    <a:pt x="114" y="524"/>
                  </a:lnTo>
                  <a:lnTo>
                    <a:pt x="137" y="534"/>
                  </a:lnTo>
                  <a:lnTo>
                    <a:pt x="156" y="542"/>
                  </a:lnTo>
                  <a:lnTo>
                    <a:pt x="176" y="552"/>
                  </a:lnTo>
                  <a:lnTo>
                    <a:pt x="198" y="561"/>
                  </a:lnTo>
                  <a:lnTo>
                    <a:pt x="206" y="563"/>
                  </a:lnTo>
                  <a:lnTo>
                    <a:pt x="215" y="564"/>
                  </a:lnTo>
                  <a:lnTo>
                    <a:pt x="222" y="564"/>
                  </a:lnTo>
                  <a:lnTo>
                    <a:pt x="229" y="563"/>
                  </a:lnTo>
                  <a:lnTo>
                    <a:pt x="236" y="563"/>
                  </a:lnTo>
                  <a:lnTo>
                    <a:pt x="243" y="564"/>
                  </a:lnTo>
                  <a:lnTo>
                    <a:pt x="249" y="567"/>
                  </a:lnTo>
                  <a:lnTo>
                    <a:pt x="255" y="573"/>
                  </a:lnTo>
                  <a:lnTo>
                    <a:pt x="257" y="576"/>
                  </a:lnTo>
                  <a:lnTo>
                    <a:pt x="259" y="580"/>
                  </a:lnTo>
                  <a:lnTo>
                    <a:pt x="259" y="583"/>
                  </a:lnTo>
                  <a:lnTo>
                    <a:pt x="259" y="588"/>
                  </a:lnTo>
                  <a:lnTo>
                    <a:pt x="258" y="596"/>
                  </a:lnTo>
                  <a:lnTo>
                    <a:pt x="258" y="606"/>
                  </a:lnTo>
                  <a:lnTo>
                    <a:pt x="257" y="623"/>
                  </a:lnTo>
                  <a:lnTo>
                    <a:pt x="255" y="639"/>
                  </a:lnTo>
                  <a:lnTo>
                    <a:pt x="252" y="655"/>
                  </a:lnTo>
                  <a:lnTo>
                    <a:pt x="249" y="669"/>
                  </a:lnTo>
                  <a:lnTo>
                    <a:pt x="239" y="697"/>
                  </a:lnTo>
                  <a:lnTo>
                    <a:pt x="230" y="723"/>
                  </a:lnTo>
                  <a:lnTo>
                    <a:pt x="219" y="750"/>
                  </a:lnTo>
                  <a:lnTo>
                    <a:pt x="210" y="777"/>
                  </a:lnTo>
                  <a:lnTo>
                    <a:pt x="207" y="792"/>
                  </a:lnTo>
                  <a:lnTo>
                    <a:pt x="204" y="807"/>
                  </a:lnTo>
                  <a:lnTo>
                    <a:pt x="202" y="823"/>
                  </a:lnTo>
                  <a:lnTo>
                    <a:pt x="202" y="839"/>
                  </a:lnTo>
                  <a:lnTo>
                    <a:pt x="202" y="873"/>
                  </a:lnTo>
                  <a:lnTo>
                    <a:pt x="202" y="904"/>
                  </a:lnTo>
                  <a:lnTo>
                    <a:pt x="203" y="933"/>
                  </a:lnTo>
                  <a:lnTo>
                    <a:pt x="206" y="963"/>
                  </a:lnTo>
                  <a:lnTo>
                    <a:pt x="209" y="975"/>
                  </a:lnTo>
                  <a:lnTo>
                    <a:pt x="212" y="990"/>
                  </a:lnTo>
                  <a:lnTo>
                    <a:pt x="216" y="1002"/>
                  </a:lnTo>
                  <a:lnTo>
                    <a:pt x="221" y="1017"/>
                  </a:lnTo>
                  <a:lnTo>
                    <a:pt x="228" y="1029"/>
                  </a:lnTo>
                  <a:lnTo>
                    <a:pt x="234" y="1044"/>
                  </a:lnTo>
                  <a:lnTo>
                    <a:pt x="243" y="1058"/>
                  </a:lnTo>
                  <a:lnTo>
                    <a:pt x="251" y="1071"/>
                  </a:lnTo>
                  <a:lnTo>
                    <a:pt x="261" y="1081"/>
                  </a:lnTo>
                  <a:lnTo>
                    <a:pt x="271" y="1090"/>
                  </a:lnTo>
                  <a:lnTo>
                    <a:pt x="280" y="1098"/>
                  </a:lnTo>
                  <a:lnTo>
                    <a:pt x="291" y="1107"/>
                  </a:lnTo>
                  <a:lnTo>
                    <a:pt x="314" y="1130"/>
                  </a:lnTo>
                  <a:lnTo>
                    <a:pt x="334" y="1149"/>
                  </a:lnTo>
                  <a:lnTo>
                    <a:pt x="355" y="1168"/>
                  </a:lnTo>
                  <a:lnTo>
                    <a:pt x="376" y="1184"/>
                  </a:lnTo>
                  <a:lnTo>
                    <a:pt x="397" y="1198"/>
                  </a:lnTo>
                  <a:lnTo>
                    <a:pt x="420" y="1213"/>
                  </a:lnTo>
                  <a:lnTo>
                    <a:pt x="445" y="1227"/>
                  </a:lnTo>
                  <a:lnTo>
                    <a:pt x="473" y="1242"/>
                  </a:lnTo>
                  <a:lnTo>
                    <a:pt x="473" y="1242"/>
                  </a:lnTo>
                  <a:close/>
                </a:path>
              </a:pathLst>
            </a:custGeom>
            <a:solidFill>
              <a:srgbClr val="9DC87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28">
              <a:extLst>
                <a:ext uri="{FF2B5EF4-FFF2-40B4-BE49-F238E27FC236}">
                  <a16:creationId xmlns:a16="http://schemas.microsoft.com/office/drawing/2014/main" id="{EB86B1F0-4841-4B73-A215-5B62B9DC9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700" y="150813"/>
              <a:ext cx="931863" cy="1076325"/>
            </a:xfrm>
            <a:custGeom>
              <a:avLst/>
              <a:gdLst>
                <a:gd name="T0" fmla="*/ 599 w 2349"/>
                <a:gd name="T1" fmla="*/ 1280 h 2711"/>
                <a:gd name="T2" fmla="*/ 674 w 2349"/>
                <a:gd name="T3" fmla="*/ 1425 h 2711"/>
                <a:gd name="T4" fmla="*/ 764 w 2349"/>
                <a:gd name="T5" fmla="*/ 1577 h 2711"/>
                <a:gd name="T6" fmla="*/ 899 w 2349"/>
                <a:gd name="T7" fmla="*/ 1690 h 2711"/>
                <a:gd name="T8" fmla="*/ 936 w 2349"/>
                <a:gd name="T9" fmla="*/ 1793 h 2711"/>
                <a:gd name="T10" fmla="*/ 945 w 2349"/>
                <a:gd name="T11" fmla="*/ 2018 h 2711"/>
                <a:gd name="T12" fmla="*/ 1040 w 2349"/>
                <a:gd name="T13" fmla="*/ 2181 h 2711"/>
                <a:gd name="T14" fmla="*/ 1056 w 2349"/>
                <a:gd name="T15" fmla="*/ 2300 h 2711"/>
                <a:gd name="T16" fmla="*/ 1115 w 2349"/>
                <a:gd name="T17" fmla="*/ 2500 h 2711"/>
                <a:gd name="T18" fmla="*/ 1130 w 2349"/>
                <a:gd name="T19" fmla="*/ 2621 h 2711"/>
                <a:gd name="T20" fmla="*/ 1192 w 2349"/>
                <a:gd name="T21" fmla="*/ 2681 h 2711"/>
                <a:gd name="T22" fmla="*/ 1334 w 2349"/>
                <a:gd name="T23" fmla="*/ 2710 h 2711"/>
                <a:gd name="T24" fmla="*/ 1364 w 2349"/>
                <a:gd name="T25" fmla="*/ 2613 h 2711"/>
                <a:gd name="T26" fmla="*/ 1439 w 2349"/>
                <a:gd name="T27" fmla="*/ 2446 h 2711"/>
                <a:gd name="T28" fmla="*/ 1516 w 2349"/>
                <a:gd name="T29" fmla="*/ 2383 h 2711"/>
                <a:gd name="T30" fmla="*/ 1617 w 2349"/>
                <a:gd name="T31" fmla="*/ 2397 h 2711"/>
                <a:gd name="T32" fmla="*/ 1708 w 2349"/>
                <a:gd name="T33" fmla="*/ 2465 h 2711"/>
                <a:gd name="T34" fmla="*/ 1810 w 2349"/>
                <a:gd name="T35" fmla="*/ 2437 h 2711"/>
                <a:gd name="T36" fmla="*/ 1820 w 2349"/>
                <a:gd name="T37" fmla="*/ 2334 h 2711"/>
                <a:gd name="T38" fmla="*/ 1895 w 2349"/>
                <a:gd name="T39" fmla="*/ 2284 h 2711"/>
                <a:gd name="T40" fmla="*/ 2072 w 2349"/>
                <a:gd name="T41" fmla="*/ 2167 h 2711"/>
                <a:gd name="T42" fmla="*/ 2211 w 2349"/>
                <a:gd name="T43" fmla="*/ 2091 h 2711"/>
                <a:gd name="T44" fmla="*/ 2313 w 2349"/>
                <a:gd name="T45" fmla="*/ 1590 h 2711"/>
                <a:gd name="T46" fmla="*/ 2251 w 2349"/>
                <a:gd name="T47" fmla="*/ 1536 h 2711"/>
                <a:gd name="T48" fmla="*/ 2159 w 2349"/>
                <a:gd name="T49" fmla="*/ 1369 h 2711"/>
                <a:gd name="T50" fmla="*/ 2130 w 2349"/>
                <a:gd name="T51" fmla="*/ 1236 h 2711"/>
                <a:gd name="T52" fmla="*/ 2073 w 2349"/>
                <a:gd name="T53" fmla="*/ 1122 h 2711"/>
                <a:gd name="T54" fmla="*/ 2024 w 2349"/>
                <a:gd name="T55" fmla="*/ 1041 h 2711"/>
                <a:gd name="T56" fmla="*/ 2039 w 2349"/>
                <a:gd name="T57" fmla="*/ 834 h 2711"/>
                <a:gd name="T58" fmla="*/ 2054 w 2349"/>
                <a:gd name="T59" fmla="*/ 755 h 2711"/>
                <a:gd name="T60" fmla="*/ 2084 w 2349"/>
                <a:gd name="T61" fmla="*/ 624 h 2711"/>
                <a:gd name="T62" fmla="*/ 2160 w 2349"/>
                <a:gd name="T63" fmla="*/ 531 h 2711"/>
                <a:gd name="T64" fmla="*/ 2158 w 2349"/>
                <a:gd name="T65" fmla="*/ 384 h 2711"/>
                <a:gd name="T66" fmla="*/ 2054 w 2349"/>
                <a:gd name="T67" fmla="*/ 310 h 2711"/>
                <a:gd name="T68" fmla="*/ 1944 w 2349"/>
                <a:gd name="T69" fmla="*/ 205 h 2711"/>
                <a:gd name="T70" fmla="*/ 2006 w 2349"/>
                <a:gd name="T71" fmla="*/ 66 h 2711"/>
                <a:gd name="T72" fmla="*/ 1995 w 2349"/>
                <a:gd name="T73" fmla="*/ 16 h 2711"/>
                <a:gd name="T74" fmla="*/ 1815 w 2349"/>
                <a:gd name="T75" fmla="*/ 8 h 2711"/>
                <a:gd name="T76" fmla="*/ 1755 w 2349"/>
                <a:gd name="T77" fmla="*/ 57 h 2711"/>
                <a:gd name="T78" fmla="*/ 1709 w 2349"/>
                <a:gd name="T79" fmla="*/ 144 h 2711"/>
                <a:gd name="T80" fmla="*/ 1613 w 2349"/>
                <a:gd name="T81" fmla="*/ 239 h 2711"/>
                <a:gd name="T82" fmla="*/ 1429 w 2349"/>
                <a:gd name="T83" fmla="*/ 323 h 2711"/>
                <a:gd name="T84" fmla="*/ 1341 w 2349"/>
                <a:gd name="T85" fmla="*/ 404 h 2711"/>
                <a:gd name="T86" fmla="*/ 1084 w 2349"/>
                <a:gd name="T87" fmla="*/ 397 h 2711"/>
                <a:gd name="T88" fmla="*/ 790 w 2349"/>
                <a:gd name="T89" fmla="*/ 438 h 2711"/>
                <a:gd name="T90" fmla="*/ 692 w 2349"/>
                <a:gd name="T91" fmla="*/ 495 h 2711"/>
                <a:gd name="T92" fmla="*/ 590 w 2349"/>
                <a:gd name="T93" fmla="*/ 457 h 2711"/>
                <a:gd name="T94" fmla="*/ 384 w 2349"/>
                <a:gd name="T95" fmla="*/ 456 h 2711"/>
                <a:gd name="T96" fmla="*/ 199 w 2349"/>
                <a:gd name="T97" fmla="*/ 387 h 2711"/>
                <a:gd name="T98" fmla="*/ 44 w 2349"/>
                <a:gd name="T99" fmla="*/ 379 h 2711"/>
                <a:gd name="T100" fmla="*/ 4 w 2349"/>
                <a:gd name="T101" fmla="*/ 461 h 2711"/>
                <a:gd name="T102" fmla="*/ 62 w 2349"/>
                <a:gd name="T103" fmla="*/ 514 h 2711"/>
                <a:gd name="T104" fmla="*/ 215 w 2349"/>
                <a:gd name="T105" fmla="*/ 564 h 2711"/>
                <a:gd name="T106" fmla="*/ 259 w 2349"/>
                <a:gd name="T107" fmla="*/ 588 h 2711"/>
                <a:gd name="T108" fmla="*/ 210 w 2349"/>
                <a:gd name="T109" fmla="*/ 777 h 2711"/>
                <a:gd name="T110" fmla="*/ 212 w 2349"/>
                <a:gd name="T111" fmla="*/ 990 h 2711"/>
                <a:gd name="T112" fmla="*/ 291 w 2349"/>
                <a:gd name="T113" fmla="*/ 1107 h 2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49" h="2711">
                  <a:moveTo>
                    <a:pt x="473" y="1242"/>
                  </a:moveTo>
                  <a:lnTo>
                    <a:pt x="489" y="1242"/>
                  </a:lnTo>
                  <a:lnTo>
                    <a:pt x="503" y="1243"/>
                  </a:lnTo>
                  <a:lnTo>
                    <a:pt x="517" y="1245"/>
                  </a:lnTo>
                  <a:lnTo>
                    <a:pt x="531" y="1248"/>
                  </a:lnTo>
                  <a:lnTo>
                    <a:pt x="544" y="1252"/>
                  </a:lnTo>
                  <a:lnTo>
                    <a:pt x="557" y="1256"/>
                  </a:lnTo>
                  <a:lnTo>
                    <a:pt x="570" y="1263"/>
                  </a:lnTo>
                  <a:lnTo>
                    <a:pt x="583" y="1270"/>
                  </a:lnTo>
                  <a:lnTo>
                    <a:pt x="599" y="1280"/>
                  </a:lnTo>
                  <a:lnTo>
                    <a:pt x="615" y="1290"/>
                  </a:lnTo>
                  <a:lnTo>
                    <a:pt x="622" y="1295"/>
                  </a:lnTo>
                  <a:lnTo>
                    <a:pt x="628" y="1302"/>
                  </a:lnTo>
                  <a:lnTo>
                    <a:pt x="633" y="1309"/>
                  </a:lnTo>
                  <a:lnTo>
                    <a:pt x="636" y="1318"/>
                  </a:lnTo>
                  <a:lnTo>
                    <a:pt x="643" y="1343"/>
                  </a:lnTo>
                  <a:lnTo>
                    <a:pt x="651" y="1364"/>
                  </a:lnTo>
                  <a:lnTo>
                    <a:pt x="658" y="1386"/>
                  </a:lnTo>
                  <a:lnTo>
                    <a:pt x="666" y="1405"/>
                  </a:lnTo>
                  <a:lnTo>
                    <a:pt x="674" y="1425"/>
                  </a:lnTo>
                  <a:lnTo>
                    <a:pt x="681" y="1445"/>
                  </a:lnTo>
                  <a:lnTo>
                    <a:pt x="689" y="1467"/>
                  </a:lnTo>
                  <a:lnTo>
                    <a:pt x="697" y="1492"/>
                  </a:lnTo>
                  <a:lnTo>
                    <a:pt x="704" y="1508"/>
                  </a:lnTo>
                  <a:lnTo>
                    <a:pt x="710" y="1522"/>
                  </a:lnTo>
                  <a:lnTo>
                    <a:pt x="719" y="1534"/>
                  </a:lnTo>
                  <a:lnTo>
                    <a:pt x="729" y="1546"/>
                  </a:lnTo>
                  <a:lnTo>
                    <a:pt x="739" y="1557"/>
                  </a:lnTo>
                  <a:lnTo>
                    <a:pt x="751" y="1566"/>
                  </a:lnTo>
                  <a:lnTo>
                    <a:pt x="764" y="1577"/>
                  </a:lnTo>
                  <a:lnTo>
                    <a:pt x="778" y="1587"/>
                  </a:lnTo>
                  <a:lnTo>
                    <a:pt x="789" y="1594"/>
                  </a:lnTo>
                  <a:lnTo>
                    <a:pt x="799" y="1603"/>
                  </a:lnTo>
                  <a:lnTo>
                    <a:pt x="808" y="1611"/>
                  </a:lnTo>
                  <a:lnTo>
                    <a:pt x="815" y="1618"/>
                  </a:lnTo>
                  <a:lnTo>
                    <a:pt x="831" y="1634"/>
                  </a:lnTo>
                  <a:lnTo>
                    <a:pt x="852" y="1652"/>
                  </a:lnTo>
                  <a:lnTo>
                    <a:pt x="869" y="1665"/>
                  </a:lnTo>
                  <a:lnTo>
                    <a:pt x="884" y="1677"/>
                  </a:lnTo>
                  <a:lnTo>
                    <a:pt x="899" y="1690"/>
                  </a:lnTo>
                  <a:lnTo>
                    <a:pt x="911" y="1704"/>
                  </a:lnTo>
                  <a:lnTo>
                    <a:pt x="917" y="1712"/>
                  </a:lnTo>
                  <a:lnTo>
                    <a:pt x="921" y="1721"/>
                  </a:lnTo>
                  <a:lnTo>
                    <a:pt x="925" y="1728"/>
                  </a:lnTo>
                  <a:lnTo>
                    <a:pt x="930" y="1737"/>
                  </a:lnTo>
                  <a:lnTo>
                    <a:pt x="932" y="1747"/>
                  </a:lnTo>
                  <a:lnTo>
                    <a:pt x="934" y="1755"/>
                  </a:lnTo>
                  <a:lnTo>
                    <a:pt x="935" y="1766"/>
                  </a:lnTo>
                  <a:lnTo>
                    <a:pt x="936" y="1777"/>
                  </a:lnTo>
                  <a:lnTo>
                    <a:pt x="936" y="1793"/>
                  </a:lnTo>
                  <a:lnTo>
                    <a:pt x="936" y="1808"/>
                  </a:lnTo>
                  <a:lnTo>
                    <a:pt x="936" y="1822"/>
                  </a:lnTo>
                  <a:lnTo>
                    <a:pt x="936" y="1838"/>
                  </a:lnTo>
                  <a:lnTo>
                    <a:pt x="944" y="1906"/>
                  </a:lnTo>
                  <a:lnTo>
                    <a:pt x="944" y="1927"/>
                  </a:lnTo>
                  <a:lnTo>
                    <a:pt x="944" y="1945"/>
                  </a:lnTo>
                  <a:lnTo>
                    <a:pt x="944" y="1965"/>
                  </a:lnTo>
                  <a:lnTo>
                    <a:pt x="944" y="1985"/>
                  </a:lnTo>
                  <a:lnTo>
                    <a:pt x="945" y="2001"/>
                  </a:lnTo>
                  <a:lnTo>
                    <a:pt x="945" y="2018"/>
                  </a:lnTo>
                  <a:lnTo>
                    <a:pt x="947" y="2032"/>
                  </a:lnTo>
                  <a:lnTo>
                    <a:pt x="949" y="2046"/>
                  </a:lnTo>
                  <a:lnTo>
                    <a:pt x="953" y="2060"/>
                  </a:lnTo>
                  <a:lnTo>
                    <a:pt x="959" y="2073"/>
                  </a:lnTo>
                  <a:lnTo>
                    <a:pt x="966" y="2086"/>
                  </a:lnTo>
                  <a:lnTo>
                    <a:pt x="975" y="2100"/>
                  </a:lnTo>
                  <a:lnTo>
                    <a:pt x="1003" y="2134"/>
                  </a:lnTo>
                  <a:lnTo>
                    <a:pt x="1029" y="2165"/>
                  </a:lnTo>
                  <a:lnTo>
                    <a:pt x="1035" y="2172"/>
                  </a:lnTo>
                  <a:lnTo>
                    <a:pt x="1040" y="2181"/>
                  </a:lnTo>
                  <a:lnTo>
                    <a:pt x="1045" y="2189"/>
                  </a:lnTo>
                  <a:lnTo>
                    <a:pt x="1048" y="2198"/>
                  </a:lnTo>
                  <a:lnTo>
                    <a:pt x="1052" y="2207"/>
                  </a:lnTo>
                  <a:lnTo>
                    <a:pt x="1054" y="2217"/>
                  </a:lnTo>
                  <a:lnTo>
                    <a:pt x="1056" y="2227"/>
                  </a:lnTo>
                  <a:lnTo>
                    <a:pt x="1056" y="2239"/>
                  </a:lnTo>
                  <a:lnTo>
                    <a:pt x="1056" y="2255"/>
                  </a:lnTo>
                  <a:lnTo>
                    <a:pt x="1056" y="2269"/>
                  </a:lnTo>
                  <a:lnTo>
                    <a:pt x="1056" y="2283"/>
                  </a:lnTo>
                  <a:lnTo>
                    <a:pt x="1056" y="2300"/>
                  </a:lnTo>
                  <a:lnTo>
                    <a:pt x="1057" y="2314"/>
                  </a:lnTo>
                  <a:lnTo>
                    <a:pt x="1058" y="2328"/>
                  </a:lnTo>
                  <a:lnTo>
                    <a:pt x="1060" y="2342"/>
                  </a:lnTo>
                  <a:lnTo>
                    <a:pt x="1062" y="2354"/>
                  </a:lnTo>
                  <a:lnTo>
                    <a:pt x="1070" y="2377"/>
                  </a:lnTo>
                  <a:lnTo>
                    <a:pt x="1079" y="2400"/>
                  </a:lnTo>
                  <a:lnTo>
                    <a:pt x="1088" y="2423"/>
                  </a:lnTo>
                  <a:lnTo>
                    <a:pt x="1098" y="2446"/>
                  </a:lnTo>
                  <a:lnTo>
                    <a:pt x="1107" y="2472"/>
                  </a:lnTo>
                  <a:lnTo>
                    <a:pt x="1115" y="2500"/>
                  </a:lnTo>
                  <a:lnTo>
                    <a:pt x="1118" y="2512"/>
                  </a:lnTo>
                  <a:lnTo>
                    <a:pt x="1119" y="2522"/>
                  </a:lnTo>
                  <a:lnTo>
                    <a:pt x="1119" y="2533"/>
                  </a:lnTo>
                  <a:lnTo>
                    <a:pt x="1120" y="2543"/>
                  </a:lnTo>
                  <a:lnTo>
                    <a:pt x="1119" y="2562"/>
                  </a:lnTo>
                  <a:lnTo>
                    <a:pt x="1121" y="2585"/>
                  </a:lnTo>
                  <a:lnTo>
                    <a:pt x="1122" y="2594"/>
                  </a:lnTo>
                  <a:lnTo>
                    <a:pt x="1124" y="2603"/>
                  </a:lnTo>
                  <a:lnTo>
                    <a:pt x="1127" y="2613"/>
                  </a:lnTo>
                  <a:lnTo>
                    <a:pt x="1130" y="2621"/>
                  </a:lnTo>
                  <a:lnTo>
                    <a:pt x="1134" y="2629"/>
                  </a:lnTo>
                  <a:lnTo>
                    <a:pt x="1138" y="2637"/>
                  </a:lnTo>
                  <a:lnTo>
                    <a:pt x="1143" y="2644"/>
                  </a:lnTo>
                  <a:lnTo>
                    <a:pt x="1149" y="2652"/>
                  </a:lnTo>
                  <a:lnTo>
                    <a:pt x="1154" y="2658"/>
                  </a:lnTo>
                  <a:lnTo>
                    <a:pt x="1161" y="2664"/>
                  </a:lnTo>
                  <a:lnTo>
                    <a:pt x="1168" y="2669"/>
                  </a:lnTo>
                  <a:lnTo>
                    <a:pt x="1176" y="2673"/>
                  </a:lnTo>
                  <a:lnTo>
                    <a:pt x="1183" y="2678"/>
                  </a:lnTo>
                  <a:lnTo>
                    <a:pt x="1192" y="2681"/>
                  </a:lnTo>
                  <a:lnTo>
                    <a:pt x="1201" y="2683"/>
                  </a:lnTo>
                  <a:lnTo>
                    <a:pt x="1210" y="2685"/>
                  </a:lnTo>
                  <a:lnTo>
                    <a:pt x="1232" y="2688"/>
                  </a:lnTo>
                  <a:lnTo>
                    <a:pt x="1251" y="2692"/>
                  </a:lnTo>
                  <a:lnTo>
                    <a:pt x="1271" y="2697"/>
                  </a:lnTo>
                  <a:lnTo>
                    <a:pt x="1291" y="2702"/>
                  </a:lnTo>
                  <a:lnTo>
                    <a:pt x="1307" y="2707"/>
                  </a:lnTo>
                  <a:lnTo>
                    <a:pt x="1321" y="2711"/>
                  </a:lnTo>
                  <a:lnTo>
                    <a:pt x="1328" y="2711"/>
                  </a:lnTo>
                  <a:lnTo>
                    <a:pt x="1334" y="2710"/>
                  </a:lnTo>
                  <a:lnTo>
                    <a:pt x="1337" y="2709"/>
                  </a:lnTo>
                  <a:lnTo>
                    <a:pt x="1339" y="2708"/>
                  </a:lnTo>
                  <a:lnTo>
                    <a:pt x="1341" y="2706"/>
                  </a:lnTo>
                  <a:lnTo>
                    <a:pt x="1342" y="2702"/>
                  </a:lnTo>
                  <a:lnTo>
                    <a:pt x="1348" y="2686"/>
                  </a:lnTo>
                  <a:lnTo>
                    <a:pt x="1352" y="2671"/>
                  </a:lnTo>
                  <a:lnTo>
                    <a:pt x="1355" y="2656"/>
                  </a:lnTo>
                  <a:lnTo>
                    <a:pt x="1358" y="2642"/>
                  </a:lnTo>
                  <a:lnTo>
                    <a:pt x="1361" y="2628"/>
                  </a:lnTo>
                  <a:lnTo>
                    <a:pt x="1364" y="2613"/>
                  </a:lnTo>
                  <a:lnTo>
                    <a:pt x="1367" y="2598"/>
                  </a:lnTo>
                  <a:lnTo>
                    <a:pt x="1372" y="2581"/>
                  </a:lnTo>
                  <a:lnTo>
                    <a:pt x="1379" y="2567"/>
                  </a:lnTo>
                  <a:lnTo>
                    <a:pt x="1384" y="2554"/>
                  </a:lnTo>
                  <a:lnTo>
                    <a:pt x="1391" y="2544"/>
                  </a:lnTo>
                  <a:lnTo>
                    <a:pt x="1397" y="2532"/>
                  </a:lnTo>
                  <a:lnTo>
                    <a:pt x="1410" y="2510"/>
                  </a:lnTo>
                  <a:lnTo>
                    <a:pt x="1423" y="2483"/>
                  </a:lnTo>
                  <a:lnTo>
                    <a:pt x="1432" y="2464"/>
                  </a:lnTo>
                  <a:lnTo>
                    <a:pt x="1439" y="2446"/>
                  </a:lnTo>
                  <a:lnTo>
                    <a:pt x="1444" y="2438"/>
                  </a:lnTo>
                  <a:lnTo>
                    <a:pt x="1449" y="2429"/>
                  </a:lnTo>
                  <a:lnTo>
                    <a:pt x="1456" y="2422"/>
                  </a:lnTo>
                  <a:lnTo>
                    <a:pt x="1463" y="2413"/>
                  </a:lnTo>
                  <a:lnTo>
                    <a:pt x="1471" y="2405"/>
                  </a:lnTo>
                  <a:lnTo>
                    <a:pt x="1479" y="2399"/>
                  </a:lnTo>
                  <a:lnTo>
                    <a:pt x="1488" y="2394"/>
                  </a:lnTo>
                  <a:lnTo>
                    <a:pt x="1497" y="2389"/>
                  </a:lnTo>
                  <a:lnTo>
                    <a:pt x="1506" y="2386"/>
                  </a:lnTo>
                  <a:lnTo>
                    <a:pt x="1516" y="2383"/>
                  </a:lnTo>
                  <a:lnTo>
                    <a:pt x="1525" y="2382"/>
                  </a:lnTo>
                  <a:lnTo>
                    <a:pt x="1534" y="2381"/>
                  </a:lnTo>
                  <a:lnTo>
                    <a:pt x="1545" y="2379"/>
                  </a:lnTo>
                  <a:lnTo>
                    <a:pt x="1555" y="2381"/>
                  </a:lnTo>
                  <a:lnTo>
                    <a:pt x="1565" y="2382"/>
                  </a:lnTo>
                  <a:lnTo>
                    <a:pt x="1575" y="2383"/>
                  </a:lnTo>
                  <a:lnTo>
                    <a:pt x="1585" y="2386"/>
                  </a:lnTo>
                  <a:lnTo>
                    <a:pt x="1596" y="2389"/>
                  </a:lnTo>
                  <a:lnTo>
                    <a:pt x="1607" y="2392"/>
                  </a:lnTo>
                  <a:lnTo>
                    <a:pt x="1617" y="2397"/>
                  </a:lnTo>
                  <a:lnTo>
                    <a:pt x="1625" y="2401"/>
                  </a:lnTo>
                  <a:lnTo>
                    <a:pt x="1633" y="2405"/>
                  </a:lnTo>
                  <a:lnTo>
                    <a:pt x="1639" y="2411"/>
                  </a:lnTo>
                  <a:lnTo>
                    <a:pt x="1647" y="2416"/>
                  </a:lnTo>
                  <a:lnTo>
                    <a:pt x="1659" y="2427"/>
                  </a:lnTo>
                  <a:lnTo>
                    <a:pt x="1669" y="2439"/>
                  </a:lnTo>
                  <a:lnTo>
                    <a:pt x="1681" y="2450"/>
                  </a:lnTo>
                  <a:lnTo>
                    <a:pt x="1694" y="2458"/>
                  </a:lnTo>
                  <a:lnTo>
                    <a:pt x="1701" y="2462"/>
                  </a:lnTo>
                  <a:lnTo>
                    <a:pt x="1708" y="2465"/>
                  </a:lnTo>
                  <a:lnTo>
                    <a:pt x="1717" y="2466"/>
                  </a:lnTo>
                  <a:lnTo>
                    <a:pt x="1726" y="2467"/>
                  </a:lnTo>
                  <a:lnTo>
                    <a:pt x="1742" y="2466"/>
                  </a:lnTo>
                  <a:lnTo>
                    <a:pt x="1758" y="2464"/>
                  </a:lnTo>
                  <a:lnTo>
                    <a:pt x="1774" y="2459"/>
                  </a:lnTo>
                  <a:lnTo>
                    <a:pt x="1788" y="2454"/>
                  </a:lnTo>
                  <a:lnTo>
                    <a:pt x="1795" y="2451"/>
                  </a:lnTo>
                  <a:lnTo>
                    <a:pt x="1800" y="2446"/>
                  </a:lnTo>
                  <a:lnTo>
                    <a:pt x="1806" y="2442"/>
                  </a:lnTo>
                  <a:lnTo>
                    <a:pt x="1810" y="2437"/>
                  </a:lnTo>
                  <a:lnTo>
                    <a:pt x="1813" y="2430"/>
                  </a:lnTo>
                  <a:lnTo>
                    <a:pt x="1816" y="2425"/>
                  </a:lnTo>
                  <a:lnTo>
                    <a:pt x="1818" y="2417"/>
                  </a:lnTo>
                  <a:lnTo>
                    <a:pt x="1818" y="2410"/>
                  </a:lnTo>
                  <a:lnTo>
                    <a:pt x="1818" y="2392"/>
                  </a:lnTo>
                  <a:lnTo>
                    <a:pt x="1818" y="2377"/>
                  </a:lnTo>
                  <a:lnTo>
                    <a:pt x="1818" y="2361"/>
                  </a:lnTo>
                  <a:lnTo>
                    <a:pt x="1818" y="2344"/>
                  </a:lnTo>
                  <a:lnTo>
                    <a:pt x="1818" y="2340"/>
                  </a:lnTo>
                  <a:lnTo>
                    <a:pt x="1820" y="2334"/>
                  </a:lnTo>
                  <a:lnTo>
                    <a:pt x="1821" y="2330"/>
                  </a:lnTo>
                  <a:lnTo>
                    <a:pt x="1823" y="2327"/>
                  </a:lnTo>
                  <a:lnTo>
                    <a:pt x="1828" y="2319"/>
                  </a:lnTo>
                  <a:lnTo>
                    <a:pt x="1835" y="2313"/>
                  </a:lnTo>
                  <a:lnTo>
                    <a:pt x="1842" y="2308"/>
                  </a:lnTo>
                  <a:lnTo>
                    <a:pt x="1851" y="2303"/>
                  </a:lnTo>
                  <a:lnTo>
                    <a:pt x="1860" y="2300"/>
                  </a:lnTo>
                  <a:lnTo>
                    <a:pt x="1869" y="2295"/>
                  </a:lnTo>
                  <a:lnTo>
                    <a:pt x="1883" y="2290"/>
                  </a:lnTo>
                  <a:lnTo>
                    <a:pt x="1895" y="2284"/>
                  </a:lnTo>
                  <a:lnTo>
                    <a:pt x="1906" y="2278"/>
                  </a:lnTo>
                  <a:lnTo>
                    <a:pt x="1917" y="2271"/>
                  </a:lnTo>
                  <a:lnTo>
                    <a:pt x="1939" y="2259"/>
                  </a:lnTo>
                  <a:lnTo>
                    <a:pt x="1964" y="2246"/>
                  </a:lnTo>
                  <a:lnTo>
                    <a:pt x="1988" y="2234"/>
                  </a:lnTo>
                  <a:lnTo>
                    <a:pt x="2008" y="2221"/>
                  </a:lnTo>
                  <a:lnTo>
                    <a:pt x="2025" y="2208"/>
                  </a:lnTo>
                  <a:lnTo>
                    <a:pt x="2040" y="2195"/>
                  </a:lnTo>
                  <a:lnTo>
                    <a:pt x="2056" y="2181"/>
                  </a:lnTo>
                  <a:lnTo>
                    <a:pt x="2072" y="2167"/>
                  </a:lnTo>
                  <a:lnTo>
                    <a:pt x="2091" y="2152"/>
                  </a:lnTo>
                  <a:lnTo>
                    <a:pt x="2113" y="2136"/>
                  </a:lnTo>
                  <a:lnTo>
                    <a:pt x="2126" y="2119"/>
                  </a:lnTo>
                  <a:lnTo>
                    <a:pt x="2139" y="2105"/>
                  </a:lnTo>
                  <a:lnTo>
                    <a:pt x="2147" y="2099"/>
                  </a:lnTo>
                  <a:lnTo>
                    <a:pt x="2155" y="2094"/>
                  </a:lnTo>
                  <a:lnTo>
                    <a:pt x="2164" y="2092"/>
                  </a:lnTo>
                  <a:lnTo>
                    <a:pt x="2175" y="2091"/>
                  </a:lnTo>
                  <a:lnTo>
                    <a:pt x="2194" y="2091"/>
                  </a:lnTo>
                  <a:lnTo>
                    <a:pt x="2211" y="2091"/>
                  </a:lnTo>
                  <a:lnTo>
                    <a:pt x="2228" y="2091"/>
                  </a:lnTo>
                  <a:lnTo>
                    <a:pt x="2246" y="2091"/>
                  </a:lnTo>
                  <a:lnTo>
                    <a:pt x="2274" y="2091"/>
                  </a:lnTo>
                  <a:lnTo>
                    <a:pt x="2298" y="2093"/>
                  </a:lnTo>
                  <a:lnTo>
                    <a:pt x="2322" y="2097"/>
                  </a:lnTo>
                  <a:lnTo>
                    <a:pt x="2349" y="2102"/>
                  </a:lnTo>
                  <a:lnTo>
                    <a:pt x="2324" y="1607"/>
                  </a:lnTo>
                  <a:lnTo>
                    <a:pt x="2320" y="1602"/>
                  </a:lnTo>
                  <a:lnTo>
                    <a:pt x="2316" y="1596"/>
                  </a:lnTo>
                  <a:lnTo>
                    <a:pt x="2313" y="1590"/>
                  </a:lnTo>
                  <a:lnTo>
                    <a:pt x="2311" y="1584"/>
                  </a:lnTo>
                  <a:lnTo>
                    <a:pt x="2308" y="1577"/>
                  </a:lnTo>
                  <a:lnTo>
                    <a:pt x="2305" y="1571"/>
                  </a:lnTo>
                  <a:lnTo>
                    <a:pt x="2300" y="1564"/>
                  </a:lnTo>
                  <a:lnTo>
                    <a:pt x="2295" y="1559"/>
                  </a:lnTo>
                  <a:lnTo>
                    <a:pt x="2286" y="1552"/>
                  </a:lnTo>
                  <a:lnTo>
                    <a:pt x="2278" y="1547"/>
                  </a:lnTo>
                  <a:lnTo>
                    <a:pt x="2268" y="1544"/>
                  </a:lnTo>
                  <a:lnTo>
                    <a:pt x="2259" y="1539"/>
                  </a:lnTo>
                  <a:lnTo>
                    <a:pt x="2251" y="1536"/>
                  </a:lnTo>
                  <a:lnTo>
                    <a:pt x="2242" y="1531"/>
                  </a:lnTo>
                  <a:lnTo>
                    <a:pt x="2234" y="1525"/>
                  </a:lnTo>
                  <a:lnTo>
                    <a:pt x="2228" y="1517"/>
                  </a:lnTo>
                  <a:lnTo>
                    <a:pt x="2218" y="1501"/>
                  </a:lnTo>
                  <a:lnTo>
                    <a:pt x="2211" y="1486"/>
                  </a:lnTo>
                  <a:lnTo>
                    <a:pt x="2204" y="1472"/>
                  </a:lnTo>
                  <a:lnTo>
                    <a:pt x="2199" y="1457"/>
                  </a:lnTo>
                  <a:lnTo>
                    <a:pt x="2188" y="1428"/>
                  </a:lnTo>
                  <a:lnTo>
                    <a:pt x="2175" y="1396"/>
                  </a:lnTo>
                  <a:lnTo>
                    <a:pt x="2159" y="1369"/>
                  </a:lnTo>
                  <a:lnTo>
                    <a:pt x="2145" y="1345"/>
                  </a:lnTo>
                  <a:lnTo>
                    <a:pt x="2138" y="1333"/>
                  </a:lnTo>
                  <a:lnTo>
                    <a:pt x="2134" y="1320"/>
                  </a:lnTo>
                  <a:lnTo>
                    <a:pt x="2132" y="1314"/>
                  </a:lnTo>
                  <a:lnTo>
                    <a:pt x="2131" y="1306"/>
                  </a:lnTo>
                  <a:lnTo>
                    <a:pt x="2130" y="1298"/>
                  </a:lnTo>
                  <a:lnTo>
                    <a:pt x="2130" y="1291"/>
                  </a:lnTo>
                  <a:lnTo>
                    <a:pt x="2130" y="1270"/>
                  </a:lnTo>
                  <a:lnTo>
                    <a:pt x="2130" y="1253"/>
                  </a:lnTo>
                  <a:lnTo>
                    <a:pt x="2130" y="1236"/>
                  </a:lnTo>
                  <a:lnTo>
                    <a:pt x="2130" y="1216"/>
                  </a:lnTo>
                  <a:lnTo>
                    <a:pt x="2130" y="1202"/>
                  </a:lnTo>
                  <a:lnTo>
                    <a:pt x="2127" y="1189"/>
                  </a:lnTo>
                  <a:lnTo>
                    <a:pt x="2124" y="1177"/>
                  </a:lnTo>
                  <a:lnTo>
                    <a:pt x="2120" y="1167"/>
                  </a:lnTo>
                  <a:lnTo>
                    <a:pt x="2113" y="1156"/>
                  </a:lnTo>
                  <a:lnTo>
                    <a:pt x="2106" y="1146"/>
                  </a:lnTo>
                  <a:lnTo>
                    <a:pt x="2096" y="1137"/>
                  </a:lnTo>
                  <a:lnTo>
                    <a:pt x="2085" y="1130"/>
                  </a:lnTo>
                  <a:lnTo>
                    <a:pt x="2073" y="1122"/>
                  </a:lnTo>
                  <a:lnTo>
                    <a:pt x="2062" y="1116"/>
                  </a:lnTo>
                  <a:lnTo>
                    <a:pt x="2052" y="1108"/>
                  </a:lnTo>
                  <a:lnTo>
                    <a:pt x="2042" y="1101"/>
                  </a:lnTo>
                  <a:lnTo>
                    <a:pt x="2035" y="1092"/>
                  </a:lnTo>
                  <a:lnTo>
                    <a:pt x="2028" y="1082"/>
                  </a:lnTo>
                  <a:lnTo>
                    <a:pt x="2026" y="1077"/>
                  </a:lnTo>
                  <a:lnTo>
                    <a:pt x="2025" y="1071"/>
                  </a:lnTo>
                  <a:lnTo>
                    <a:pt x="2024" y="1064"/>
                  </a:lnTo>
                  <a:lnTo>
                    <a:pt x="2024" y="1058"/>
                  </a:lnTo>
                  <a:lnTo>
                    <a:pt x="2024" y="1041"/>
                  </a:lnTo>
                  <a:lnTo>
                    <a:pt x="2024" y="1027"/>
                  </a:lnTo>
                  <a:lnTo>
                    <a:pt x="2024" y="1013"/>
                  </a:lnTo>
                  <a:lnTo>
                    <a:pt x="2024" y="997"/>
                  </a:lnTo>
                  <a:lnTo>
                    <a:pt x="2024" y="955"/>
                  </a:lnTo>
                  <a:lnTo>
                    <a:pt x="2026" y="917"/>
                  </a:lnTo>
                  <a:lnTo>
                    <a:pt x="2027" y="899"/>
                  </a:lnTo>
                  <a:lnTo>
                    <a:pt x="2030" y="880"/>
                  </a:lnTo>
                  <a:lnTo>
                    <a:pt x="2033" y="860"/>
                  </a:lnTo>
                  <a:lnTo>
                    <a:pt x="2037" y="838"/>
                  </a:lnTo>
                  <a:lnTo>
                    <a:pt x="2039" y="834"/>
                  </a:lnTo>
                  <a:lnTo>
                    <a:pt x="2041" y="830"/>
                  </a:lnTo>
                  <a:lnTo>
                    <a:pt x="2043" y="825"/>
                  </a:lnTo>
                  <a:lnTo>
                    <a:pt x="2046" y="822"/>
                  </a:lnTo>
                  <a:lnTo>
                    <a:pt x="2050" y="819"/>
                  </a:lnTo>
                  <a:lnTo>
                    <a:pt x="2052" y="815"/>
                  </a:lnTo>
                  <a:lnTo>
                    <a:pt x="2053" y="810"/>
                  </a:lnTo>
                  <a:lnTo>
                    <a:pt x="2054" y="806"/>
                  </a:lnTo>
                  <a:lnTo>
                    <a:pt x="2054" y="788"/>
                  </a:lnTo>
                  <a:lnTo>
                    <a:pt x="2054" y="771"/>
                  </a:lnTo>
                  <a:lnTo>
                    <a:pt x="2054" y="755"/>
                  </a:lnTo>
                  <a:lnTo>
                    <a:pt x="2054" y="737"/>
                  </a:lnTo>
                  <a:lnTo>
                    <a:pt x="2054" y="726"/>
                  </a:lnTo>
                  <a:lnTo>
                    <a:pt x="2055" y="716"/>
                  </a:lnTo>
                  <a:lnTo>
                    <a:pt x="2057" y="708"/>
                  </a:lnTo>
                  <a:lnTo>
                    <a:pt x="2059" y="699"/>
                  </a:lnTo>
                  <a:lnTo>
                    <a:pt x="2065" y="682"/>
                  </a:lnTo>
                  <a:lnTo>
                    <a:pt x="2071" y="666"/>
                  </a:lnTo>
                  <a:lnTo>
                    <a:pt x="2077" y="649"/>
                  </a:lnTo>
                  <a:lnTo>
                    <a:pt x="2082" y="633"/>
                  </a:lnTo>
                  <a:lnTo>
                    <a:pt x="2084" y="624"/>
                  </a:lnTo>
                  <a:lnTo>
                    <a:pt x="2086" y="615"/>
                  </a:lnTo>
                  <a:lnTo>
                    <a:pt x="2087" y="605"/>
                  </a:lnTo>
                  <a:lnTo>
                    <a:pt x="2087" y="594"/>
                  </a:lnTo>
                  <a:lnTo>
                    <a:pt x="2096" y="581"/>
                  </a:lnTo>
                  <a:lnTo>
                    <a:pt x="2105" y="569"/>
                  </a:lnTo>
                  <a:lnTo>
                    <a:pt x="2113" y="559"/>
                  </a:lnTo>
                  <a:lnTo>
                    <a:pt x="2123" y="550"/>
                  </a:lnTo>
                  <a:lnTo>
                    <a:pt x="2134" y="541"/>
                  </a:lnTo>
                  <a:lnTo>
                    <a:pt x="2147" y="535"/>
                  </a:lnTo>
                  <a:lnTo>
                    <a:pt x="2160" y="531"/>
                  </a:lnTo>
                  <a:lnTo>
                    <a:pt x="2175" y="527"/>
                  </a:lnTo>
                  <a:lnTo>
                    <a:pt x="2175" y="499"/>
                  </a:lnTo>
                  <a:lnTo>
                    <a:pt x="2175" y="475"/>
                  </a:lnTo>
                  <a:lnTo>
                    <a:pt x="2175" y="451"/>
                  </a:lnTo>
                  <a:lnTo>
                    <a:pt x="2175" y="423"/>
                  </a:lnTo>
                  <a:lnTo>
                    <a:pt x="2174" y="413"/>
                  </a:lnTo>
                  <a:lnTo>
                    <a:pt x="2172" y="404"/>
                  </a:lnTo>
                  <a:lnTo>
                    <a:pt x="2168" y="397"/>
                  </a:lnTo>
                  <a:lnTo>
                    <a:pt x="2163" y="390"/>
                  </a:lnTo>
                  <a:lnTo>
                    <a:pt x="2158" y="384"/>
                  </a:lnTo>
                  <a:lnTo>
                    <a:pt x="2151" y="378"/>
                  </a:lnTo>
                  <a:lnTo>
                    <a:pt x="2144" y="374"/>
                  </a:lnTo>
                  <a:lnTo>
                    <a:pt x="2135" y="369"/>
                  </a:lnTo>
                  <a:lnTo>
                    <a:pt x="2119" y="360"/>
                  </a:lnTo>
                  <a:lnTo>
                    <a:pt x="2100" y="350"/>
                  </a:lnTo>
                  <a:lnTo>
                    <a:pt x="2092" y="345"/>
                  </a:lnTo>
                  <a:lnTo>
                    <a:pt x="2083" y="339"/>
                  </a:lnTo>
                  <a:lnTo>
                    <a:pt x="2076" y="333"/>
                  </a:lnTo>
                  <a:lnTo>
                    <a:pt x="2068" y="325"/>
                  </a:lnTo>
                  <a:lnTo>
                    <a:pt x="2054" y="310"/>
                  </a:lnTo>
                  <a:lnTo>
                    <a:pt x="2039" y="297"/>
                  </a:lnTo>
                  <a:lnTo>
                    <a:pt x="2025" y="286"/>
                  </a:lnTo>
                  <a:lnTo>
                    <a:pt x="2010" y="277"/>
                  </a:lnTo>
                  <a:lnTo>
                    <a:pt x="1993" y="268"/>
                  </a:lnTo>
                  <a:lnTo>
                    <a:pt x="1976" y="262"/>
                  </a:lnTo>
                  <a:lnTo>
                    <a:pt x="1957" y="256"/>
                  </a:lnTo>
                  <a:lnTo>
                    <a:pt x="1936" y="253"/>
                  </a:lnTo>
                  <a:lnTo>
                    <a:pt x="1938" y="236"/>
                  </a:lnTo>
                  <a:lnTo>
                    <a:pt x="1941" y="219"/>
                  </a:lnTo>
                  <a:lnTo>
                    <a:pt x="1944" y="205"/>
                  </a:lnTo>
                  <a:lnTo>
                    <a:pt x="1948" y="191"/>
                  </a:lnTo>
                  <a:lnTo>
                    <a:pt x="1958" y="163"/>
                  </a:lnTo>
                  <a:lnTo>
                    <a:pt x="1970" y="132"/>
                  </a:lnTo>
                  <a:lnTo>
                    <a:pt x="1975" y="120"/>
                  </a:lnTo>
                  <a:lnTo>
                    <a:pt x="1982" y="110"/>
                  </a:lnTo>
                  <a:lnTo>
                    <a:pt x="1988" y="101"/>
                  </a:lnTo>
                  <a:lnTo>
                    <a:pt x="1995" y="91"/>
                  </a:lnTo>
                  <a:lnTo>
                    <a:pt x="2000" y="81"/>
                  </a:lnTo>
                  <a:lnTo>
                    <a:pt x="2005" y="72"/>
                  </a:lnTo>
                  <a:lnTo>
                    <a:pt x="2006" y="66"/>
                  </a:lnTo>
                  <a:lnTo>
                    <a:pt x="2008" y="61"/>
                  </a:lnTo>
                  <a:lnTo>
                    <a:pt x="2009" y="54"/>
                  </a:lnTo>
                  <a:lnTo>
                    <a:pt x="2010" y="48"/>
                  </a:lnTo>
                  <a:lnTo>
                    <a:pt x="2009" y="42"/>
                  </a:lnTo>
                  <a:lnTo>
                    <a:pt x="2008" y="38"/>
                  </a:lnTo>
                  <a:lnTo>
                    <a:pt x="2006" y="33"/>
                  </a:lnTo>
                  <a:lnTo>
                    <a:pt x="2004" y="28"/>
                  </a:lnTo>
                  <a:lnTo>
                    <a:pt x="2001" y="24"/>
                  </a:lnTo>
                  <a:lnTo>
                    <a:pt x="1998" y="20"/>
                  </a:lnTo>
                  <a:lnTo>
                    <a:pt x="1995" y="16"/>
                  </a:lnTo>
                  <a:lnTo>
                    <a:pt x="1990" y="13"/>
                  </a:lnTo>
                  <a:lnTo>
                    <a:pt x="1982" y="8"/>
                  </a:lnTo>
                  <a:lnTo>
                    <a:pt x="1971" y="3"/>
                  </a:lnTo>
                  <a:lnTo>
                    <a:pt x="1961" y="1"/>
                  </a:lnTo>
                  <a:lnTo>
                    <a:pt x="1949" y="0"/>
                  </a:lnTo>
                  <a:lnTo>
                    <a:pt x="1920" y="1"/>
                  </a:lnTo>
                  <a:lnTo>
                    <a:pt x="1892" y="2"/>
                  </a:lnTo>
                  <a:lnTo>
                    <a:pt x="1866" y="5"/>
                  </a:lnTo>
                  <a:lnTo>
                    <a:pt x="1841" y="6"/>
                  </a:lnTo>
                  <a:lnTo>
                    <a:pt x="1815" y="8"/>
                  </a:lnTo>
                  <a:lnTo>
                    <a:pt x="1789" y="10"/>
                  </a:lnTo>
                  <a:lnTo>
                    <a:pt x="1761" y="11"/>
                  </a:lnTo>
                  <a:lnTo>
                    <a:pt x="1732" y="12"/>
                  </a:lnTo>
                  <a:lnTo>
                    <a:pt x="1732" y="12"/>
                  </a:lnTo>
                  <a:lnTo>
                    <a:pt x="1735" y="22"/>
                  </a:lnTo>
                  <a:lnTo>
                    <a:pt x="1740" y="29"/>
                  </a:lnTo>
                  <a:lnTo>
                    <a:pt x="1744" y="37"/>
                  </a:lnTo>
                  <a:lnTo>
                    <a:pt x="1748" y="43"/>
                  </a:lnTo>
                  <a:lnTo>
                    <a:pt x="1752" y="50"/>
                  </a:lnTo>
                  <a:lnTo>
                    <a:pt x="1755" y="57"/>
                  </a:lnTo>
                  <a:lnTo>
                    <a:pt x="1756" y="66"/>
                  </a:lnTo>
                  <a:lnTo>
                    <a:pt x="1757" y="76"/>
                  </a:lnTo>
                  <a:lnTo>
                    <a:pt x="1756" y="88"/>
                  </a:lnTo>
                  <a:lnTo>
                    <a:pt x="1753" y="97"/>
                  </a:lnTo>
                  <a:lnTo>
                    <a:pt x="1748" y="107"/>
                  </a:lnTo>
                  <a:lnTo>
                    <a:pt x="1743" y="115"/>
                  </a:lnTo>
                  <a:lnTo>
                    <a:pt x="1735" y="122"/>
                  </a:lnTo>
                  <a:lnTo>
                    <a:pt x="1728" y="130"/>
                  </a:lnTo>
                  <a:lnTo>
                    <a:pt x="1719" y="136"/>
                  </a:lnTo>
                  <a:lnTo>
                    <a:pt x="1709" y="144"/>
                  </a:lnTo>
                  <a:lnTo>
                    <a:pt x="1692" y="165"/>
                  </a:lnTo>
                  <a:lnTo>
                    <a:pt x="1677" y="185"/>
                  </a:lnTo>
                  <a:lnTo>
                    <a:pt x="1669" y="194"/>
                  </a:lnTo>
                  <a:lnTo>
                    <a:pt x="1661" y="201"/>
                  </a:lnTo>
                  <a:lnTo>
                    <a:pt x="1651" y="210"/>
                  </a:lnTo>
                  <a:lnTo>
                    <a:pt x="1639" y="219"/>
                  </a:lnTo>
                  <a:lnTo>
                    <a:pt x="1631" y="227"/>
                  </a:lnTo>
                  <a:lnTo>
                    <a:pt x="1622" y="234"/>
                  </a:lnTo>
                  <a:lnTo>
                    <a:pt x="1618" y="237"/>
                  </a:lnTo>
                  <a:lnTo>
                    <a:pt x="1613" y="239"/>
                  </a:lnTo>
                  <a:lnTo>
                    <a:pt x="1608" y="241"/>
                  </a:lnTo>
                  <a:lnTo>
                    <a:pt x="1602" y="241"/>
                  </a:lnTo>
                  <a:lnTo>
                    <a:pt x="1571" y="241"/>
                  </a:lnTo>
                  <a:lnTo>
                    <a:pt x="1543" y="241"/>
                  </a:lnTo>
                  <a:lnTo>
                    <a:pt x="1516" y="241"/>
                  </a:lnTo>
                  <a:lnTo>
                    <a:pt x="1485" y="241"/>
                  </a:lnTo>
                  <a:lnTo>
                    <a:pt x="1470" y="263"/>
                  </a:lnTo>
                  <a:lnTo>
                    <a:pt x="1457" y="282"/>
                  </a:lnTo>
                  <a:lnTo>
                    <a:pt x="1443" y="300"/>
                  </a:lnTo>
                  <a:lnTo>
                    <a:pt x="1429" y="323"/>
                  </a:lnTo>
                  <a:lnTo>
                    <a:pt x="1416" y="347"/>
                  </a:lnTo>
                  <a:lnTo>
                    <a:pt x="1403" y="367"/>
                  </a:lnTo>
                  <a:lnTo>
                    <a:pt x="1395" y="377"/>
                  </a:lnTo>
                  <a:lnTo>
                    <a:pt x="1386" y="386"/>
                  </a:lnTo>
                  <a:lnTo>
                    <a:pt x="1382" y="389"/>
                  </a:lnTo>
                  <a:lnTo>
                    <a:pt x="1377" y="392"/>
                  </a:lnTo>
                  <a:lnTo>
                    <a:pt x="1371" y="396"/>
                  </a:lnTo>
                  <a:lnTo>
                    <a:pt x="1365" y="399"/>
                  </a:lnTo>
                  <a:lnTo>
                    <a:pt x="1352" y="402"/>
                  </a:lnTo>
                  <a:lnTo>
                    <a:pt x="1341" y="404"/>
                  </a:lnTo>
                  <a:lnTo>
                    <a:pt x="1330" y="405"/>
                  </a:lnTo>
                  <a:lnTo>
                    <a:pt x="1319" y="404"/>
                  </a:lnTo>
                  <a:lnTo>
                    <a:pt x="1298" y="403"/>
                  </a:lnTo>
                  <a:lnTo>
                    <a:pt x="1273" y="401"/>
                  </a:lnTo>
                  <a:lnTo>
                    <a:pt x="1243" y="400"/>
                  </a:lnTo>
                  <a:lnTo>
                    <a:pt x="1216" y="399"/>
                  </a:lnTo>
                  <a:lnTo>
                    <a:pt x="1190" y="397"/>
                  </a:lnTo>
                  <a:lnTo>
                    <a:pt x="1160" y="396"/>
                  </a:lnTo>
                  <a:lnTo>
                    <a:pt x="1120" y="397"/>
                  </a:lnTo>
                  <a:lnTo>
                    <a:pt x="1084" y="397"/>
                  </a:lnTo>
                  <a:lnTo>
                    <a:pt x="1049" y="398"/>
                  </a:lnTo>
                  <a:lnTo>
                    <a:pt x="1010" y="399"/>
                  </a:lnTo>
                  <a:lnTo>
                    <a:pt x="978" y="399"/>
                  </a:lnTo>
                  <a:lnTo>
                    <a:pt x="949" y="400"/>
                  </a:lnTo>
                  <a:lnTo>
                    <a:pt x="923" y="402"/>
                  </a:lnTo>
                  <a:lnTo>
                    <a:pt x="897" y="405"/>
                  </a:lnTo>
                  <a:lnTo>
                    <a:pt x="871" y="411"/>
                  </a:lnTo>
                  <a:lnTo>
                    <a:pt x="845" y="418"/>
                  </a:lnTo>
                  <a:lnTo>
                    <a:pt x="818" y="427"/>
                  </a:lnTo>
                  <a:lnTo>
                    <a:pt x="790" y="438"/>
                  </a:lnTo>
                  <a:lnTo>
                    <a:pt x="771" y="458"/>
                  </a:lnTo>
                  <a:lnTo>
                    <a:pt x="754" y="477"/>
                  </a:lnTo>
                  <a:lnTo>
                    <a:pt x="744" y="485"/>
                  </a:lnTo>
                  <a:lnTo>
                    <a:pt x="734" y="491"/>
                  </a:lnTo>
                  <a:lnTo>
                    <a:pt x="729" y="494"/>
                  </a:lnTo>
                  <a:lnTo>
                    <a:pt x="722" y="495"/>
                  </a:lnTo>
                  <a:lnTo>
                    <a:pt x="716" y="496"/>
                  </a:lnTo>
                  <a:lnTo>
                    <a:pt x="708" y="497"/>
                  </a:lnTo>
                  <a:lnTo>
                    <a:pt x="700" y="496"/>
                  </a:lnTo>
                  <a:lnTo>
                    <a:pt x="692" y="495"/>
                  </a:lnTo>
                  <a:lnTo>
                    <a:pt x="684" y="493"/>
                  </a:lnTo>
                  <a:lnTo>
                    <a:pt x="677" y="491"/>
                  </a:lnTo>
                  <a:lnTo>
                    <a:pt x="663" y="484"/>
                  </a:lnTo>
                  <a:lnTo>
                    <a:pt x="650" y="477"/>
                  </a:lnTo>
                  <a:lnTo>
                    <a:pt x="636" y="470"/>
                  </a:lnTo>
                  <a:lnTo>
                    <a:pt x="623" y="464"/>
                  </a:lnTo>
                  <a:lnTo>
                    <a:pt x="615" y="461"/>
                  </a:lnTo>
                  <a:lnTo>
                    <a:pt x="608" y="459"/>
                  </a:lnTo>
                  <a:lnTo>
                    <a:pt x="599" y="458"/>
                  </a:lnTo>
                  <a:lnTo>
                    <a:pt x="590" y="457"/>
                  </a:lnTo>
                  <a:lnTo>
                    <a:pt x="565" y="457"/>
                  </a:lnTo>
                  <a:lnTo>
                    <a:pt x="542" y="457"/>
                  </a:lnTo>
                  <a:lnTo>
                    <a:pt x="520" y="457"/>
                  </a:lnTo>
                  <a:lnTo>
                    <a:pt x="500" y="457"/>
                  </a:lnTo>
                  <a:lnTo>
                    <a:pt x="479" y="457"/>
                  </a:lnTo>
                  <a:lnTo>
                    <a:pt x="458" y="457"/>
                  </a:lnTo>
                  <a:lnTo>
                    <a:pt x="435" y="457"/>
                  </a:lnTo>
                  <a:lnTo>
                    <a:pt x="409" y="457"/>
                  </a:lnTo>
                  <a:lnTo>
                    <a:pt x="396" y="457"/>
                  </a:lnTo>
                  <a:lnTo>
                    <a:pt x="384" y="456"/>
                  </a:lnTo>
                  <a:lnTo>
                    <a:pt x="372" y="455"/>
                  </a:lnTo>
                  <a:lnTo>
                    <a:pt x="360" y="453"/>
                  </a:lnTo>
                  <a:lnTo>
                    <a:pt x="339" y="448"/>
                  </a:lnTo>
                  <a:lnTo>
                    <a:pt x="318" y="442"/>
                  </a:lnTo>
                  <a:lnTo>
                    <a:pt x="299" y="433"/>
                  </a:lnTo>
                  <a:lnTo>
                    <a:pt x="278" y="425"/>
                  </a:lnTo>
                  <a:lnTo>
                    <a:pt x="256" y="415"/>
                  </a:lnTo>
                  <a:lnTo>
                    <a:pt x="232" y="404"/>
                  </a:lnTo>
                  <a:lnTo>
                    <a:pt x="215" y="396"/>
                  </a:lnTo>
                  <a:lnTo>
                    <a:pt x="199" y="387"/>
                  </a:lnTo>
                  <a:lnTo>
                    <a:pt x="191" y="384"/>
                  </a:lnTo>
                  <a:lnTo>
                    <a:pt x="183" y="381"/>
                  </a:lnTo>
                  <a:lnTo>
                    <a:pt x="175" y="379"/>
                  </a:lnTo>
                  <a:lnTo>
                    <a:pt x="164" y="379"/>
                  </a:lnTo>
                  <a:lnTo>
                    <a:pt x="141" y="379"/>
                  </a:lnTo>
                  <a:lnTo>
                    <a:pt x="121" y="379"/>
                  </a:lnTo>
                  <a:lnTo>
                    <a:pt x="101" y="379"/>
                  </a:lnTo>
                  <a:lnTo>
                    <a:pt x="82" y="379"/>
                  </a:lnTo>
                  <a:lnTo>
                    <a:pt x="63" y="379"/>
                  </a:lnTo>
                  <a:lnTo>
                    <a:pt x="44" y="379"/>
                  </a:lnTo>
                  <a:lnTo>
                    <a:pt x="22" y="379"/>
                  </a:lnTo>
                  <a:lnTo>
                    <a:pt x="0" y="379"/>
                  </a:lnTo>
                  <a:lnTo>
                    <a:pt x="0" y="392"/>
                  </a:lnTo>
                  <a:lnTo>
                    <a:pt x="0" y="404"/>
                  </a:lnTo>
                  <a:lnTo>
                    <a:pt x="0" y="415"/>
                  </a:lnTo>
                  <a:lnTo>
                    <a:pt x="0" y="429"/>
                  </a:lnTo>
                  <a:lnTo>
                    <a:pt x="0" y="438"/>
                  </a:lnTo>
                  <a:lnTo>
                    <a:pt x="1" y="446"/>
                  </a:lnTo>
                  <a:lnTo>
                    <a:pt x="2" y="454"/>
                  </a:lnTo>
                  <a:lnTo>
                    <a:pt x="4" y="461"/>
                  </a:lnTo>
                  <a:lnTo>
                    <a:pt x="6" y="469"/>
                  </a:lnTo>
                  <a:lnTo>
                    <a:pt x="9" y="477"/>
                  </a:lnTo>
                  <a:lnTo>
                    <a:pt x="14" y="484"/>
                  </a:lnTo>
                  <a:lnTo>
                    <a:pt x="19" y="491"/>
                  </a:lnTo>
                  <a:lnTo>
                    <a:pt x="23" y="496"/>
                  </a:lnTo>
                  <a:lnTo>
                    <a:pt x="29" y="500"/>
                  </a:lnTo>
                  <a:lnTo>
                    <a:pt x="33" y="505"/>
                  </a:lnTo>
                  <a:lnTo>
                    <a:pt x="39" y="508"/>
                  </a:lnTo>
                  <a:lnTo>
                    <a:pt x="49" y="511"/>
                  </a:lnTo>
                  <a:lnTo>
                    <a:pt x="62" y="514"/>
                  </a:lnTo>
                  <a:lnTo>
                    <a:pt x="74" y="516"/>
                  </a:lnTo>
                  <a:lnTo>
                    <a:pt x="87" y="518"/>
                  </a:lnTo>
                  <a:lnTo>
                    <a:pt x="101" y="521"/>
                  </a:lnTo>
                  <a:lnTo>
                    <a:pt x="114" y="524"/>
                  </a:lnTo>
                  <a:lnTo>
                    <a:pt x="137" y="534"/>
                  </a:lnTo>
                  <a:lnTo>
                    <a:pt x="156" y="542"/>
                  </a:lnTo>
                  <a:lnTo>
                    <a:pt x="176" y="552"/>
                  </a:lnTo>
                  <a:lnTo>
                    <a:pt x="198" y="561"/>
                  </a:lnTo>
                  <a:lnTo>
                    <a:pt x="206" y="563"/>
                  </a:lnTo>
                  <a:lnTo>
                    <a:pt x="215" y="564"/>
                  </a:lnTo>
                  <a:lnTo>
                    <a:pt x="222" y="564"/>
                  </a:lnTo>
                  <a:lnTo>
                    <a:pt x="229" y="563"/>
                  </a:lnTo>
                  <a:lnTo>
                    <a:pt x="236" y="563"/>
                  </a:lnTo>
                  <a:lnTo>
                    <a:pt x="243" y="564"/>
                  </a:lnTo>
                  <a:lnTo>
                    <a:pt x="249" y="567"/>
                  </a:lnTo>
                  <a:lnTo>
                    <a:pt x="255" y="573"/>
                  </a:lnTo>
                  <a:lnTo>
                    <a:pt x="257" y="576"/>
                  </a:lnTo>
                  <a:lnTo>
                    <a:pt x="259" y="580"/>
                  </a:lnTo>
                  <a:lnTo>
                    <a:pt x="259" y="583"/>
                  </a:lnTo>
                  <a:lnTo>
                    <a:pt x="259" y="588"/>
                  </a:lnTo>
                  <a:lnTo>
                    <a:pt x="258" y="596"/>
                  </a:lnTo>
                  <a:lnTo>
                    <a:pt x="258" y="606"/>
                  </a:lnTo>
                  <a:lnTo>
                    <a:pt x="257" y="623"/>
                  </a:lnTo>
                  <a:lnTo>
                    <a:pt x="255" y="639"/>
                  </a:lnTo>
                  <a:lnTo>
                    <a:pt x="252" y="655"/>
                  </a:lnTo>
                  <a:lnTo>
                    <a:pt x="249" y="669"/>
                  </a:lnTo>
                  <a:lnTo>
                    <a:pt x="239" y="697"/>
                  </a:lnTo>
                  <a:lnTo>
                    <a:pt x="230" y="723"/>
                  </a:lnTo>
                  <a:lnTo>
                    <a:pt x="219" y="750"/>
                  </a:lnTo>
                  <a:lnTo>
                    <a:pt x="210" y="777"/>
                  </a:lnTo>
                  <a:lnTo>
                    <a:pt x="207" y="792"/>
                  </a:lnTo>
                  <a:lnTo>
                    <a:pt x="204" y="807"/>
                  </a:lnTo>
                  <a:lnTo>
                    <a:pt x="202" y="823"/>
                  </a:lnTo>
                  <a:lnTo>
                    <a:pt x="202" y="839"/>
                  </a:lnTo>
                  <a:lnTo>
                    <a:pt x="202" y="873"/>
                  </a:lnTo>
                  <a:lnTo>
                    <a:pt x="202" y="904"/>
                  </a:lnTo>
                  <a:lnTo>
                    <a:pt x="203" y="933"/>
                  </a:lnTo>
                  <a:lnTo>
                    <a:pt x="206" y="963"/>
                  </a:lnTo>
                  <a:lnTo>
                    <a:pt x="209" y="975"/>
                  </a:lnTo>
                  <a:lnTo>
                    <a:pt x="212" y="990"/>
                  </a:lnTo>
                  <a:lnTo>
                    <a:pt x="216" y="1002"/>
                  </a:lnTo>
                  <a:lnTo>
                    <a:pt x="221" y="1017"/>
                  </a:lnTo>
                  <a:lnTo>
                    <a:pt x="228" y="1029"/>
                  </a:lnTo>
                  <a:lnTo>
                    <a:pt x="234" y="1044"/>
                  </a:lnTo>
                  <a:lnTo>
                    <a:pt x="243" y="1058"/>
                  </a:lnTo>
                  <a:lnTo>
                    <a:pt x="251" y="1071"/>
                  </a:lnTo>
                  <a:lnTo>
                    <a:pt x="261" y="1081"/>
                  </a:lnTo>
                  <a:lnTo>
                    <a:pt x="271" y="1090"/>
                  </a:lnTo>
                  <a:lnTo>
                    <a:pt x="280" y="1098"/>
                  </a:lnTo>
                  <a:lnTo>
                    <a:pt x="291" y="1107"/>
                  </a:lnTo>
                  <a:lnTo>
                    <a:pt x="314" y="1130"/>
                  </a:lnTo>
                  <a:lnTo>
                    <a:pt x="334" y="1149"/>
                  </a:lnTo>
                  <a:lnTo>
                    <a:pt x="355" y="1168"/>
                  </a:lnTo>
                  <a:lnTo>
                    <a:pt x="376" y="1184"/>
                  </a:lnTo>
                  <a:lnTo>
                    <a:pt x="397" y="1198"/>
                  </a:lnTo>
                  <a:lnTo>
                    <a:pt x="420" y="1213"/>
                  </a:lnTo>
                  <a:lnTo>
                    <a:pt x="445" y="1227"/>
                  </a:lnTo>
                  <a:lnTo>
                    <a:pt x="473" y="1242"/>
                  </a:lnTo>
                  <a:lnTo>
                    <a:pt x="473" y="124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29">
              <a:extLst>
                <a:ext uri="{FF2B5EF4-FFF2-40B4-BE49-F238E27FC236}">
                  <a16:creationId xmlns:a16="http://schemas.microsoft.com/office/drawing/2014/main" id="{603D5C52-012E-4C59-B5A3-388CE8DDBA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51363" y="573088"/>
              <a:ext cx="2201863" cy="2124075"/>
            </a:xfrm>
            <a:custGeom>
              <a:avLst/>
              <a:gdLst>
                <a:gd name="T0" fmla="*/ 3525 w 5546"/>
                <a:gd name="T1" fmla="*/ 1395 h 5352"/>
                <a:gd name="T2" fmla="*/ 3436 w 5546"/>
                <a:gd name="T3" fmla="*/ 1327 h 5352"/>
                <a:gd name="T4" fmla="*/ 3638 w 5546"/>
                <a:gd name="T5" fmla="*/ 1242 h 5352"/>
                <a:gd name="T6" fmla="*/ 3996 w 5546"/>
                <a:gd name="T7" fmla="*/ 1260 h 5352"/>
                <a:gd name="T8" fmla="*/ 4110 w 5546"/>
                <a:gd name="T9" fmla="*/ 1233 h 5352"/>
                <a:gd name="T10" fmla="*/ 3894 w 5546"/>
                <a:gd name="T11" fmla="*/ 1113 h 5352"/>
                <a:gd name="T12" fmla="*/ 3699 w 5546"/>
                <a:gd name="T13" fmla="*/ 1075 h 5352"/>
                <a:gd name="T14" fmla="*/ 3842 w 5546"/>
                <a:gd name="T15" fmla="*/ 1235 h 5352"/>
                <a:gd name="T16" fmla="*/ 5440 w 5546"/>
                <a:gd name="T17" fmla="*/ 2027 h 5352"/>
                <a:gd name="T18" fmla="*/ 5450 w 5546"/>
                <a:gd name="T19" fmla="*/ 2196 h 5352"/>
                <a:gd name="T20" fmla="*/ 5260 w 5546"/>
                <a:gd name="T21" fmla="*/ 2511 h 5352"/>
                <a:gd name="T22" fmla="*/ 5143 w 5546"/>
                <a:gd name="T23" fmla="*/ 2800 h 5352"/>
                <a:gd name="T24" fmla="*/ 4943 w 5546"/>
                <a:gd name="T25" fmla="*/ 3047 h 5352"/>
                <a:gd name="T26" fmla="*/ 4795 w 5546"/>
                <a:gd name="T27" fmla="*/ 3185 h 5352"/>
                <a:gd name="T28" fmla="*/ 4467 w 5546"/>
                <a:gd name="T29" fmla="*/ 3447 h 5352"/>
                <a:gd name="T30" fmla="*/ 4549 w 5546"/>
                <a:gd name="T31" fmla="*/ 3710 h 5352"/>
                <a:gd name="T32" fmla="*/ 4460 w 5546"/>
                <a:gd name="T33" fmla="*/ 3989 h 5352"/>
                <a:gd name="T34" fmla="*/ 4331 w 5546"/>
                <a:gd name="T35" fmla="*/ 4126 h 5352"/>
                <a:gd name="T36" fmla="*/ 4098 w 5546"/>
                <a:gd name="T37" fmla="*/ 4396 h 5352"/>
                <a:gd name="T38" fmla="*/ 4100 w 5546"/>
                <a:gd name="T39" fmla="*/ 4604 h 5352"/>
                <a:gd name="T40" fmla="*/ 4055 w 5546"/>
                <a:gd name="T41" fmla="*/ 4837 h 5352"/>
                <a:gd name="T42" fmla="*/ 3721 w 5546"/>
                <a:gd name="T43" fmla="*/ 5244 h 5352"/>
                <a:gd name="T44" fmla="*/ 1095 w 5546"/>
                <a:gd name="T45" fmla="*/ 4984 h 5352"/>
                <a:gd name="T46" fmla="*/ 828 w 5546"/>
                <a:gd name="T47" fmla="*/ 4708 h 5352"/>
                <a:gd name="T48" fmla="*/ 806 w 5546"/>
                <a:gd name="T49" fmla="*/ 4437 h 5352"/>
                <a:gd name="T50" fmla="*/ 665 w 5546"/>
                <a:gd name="T51" fmla="*/ 4121 h 5352"/>
                <a:gd name="T52" fmla="*/ 734 w 5546"/>
                <a:gd name="T53" fmla="*/ 3869 h 5352"/>
                <a:gd name="T54" fmla="*/ 1038 w 5546"/>
                <a:gd name="T55" fmla="*/ 1940 h 5352"/>
                <a:gd name="T56" fmla="*/ 742 w 5546"/>
                <a:gd name="T57" fmla="*/ 1792 h 5352"/>
                <a:gd name="T58" fmla="*/ 416 w 5546"/>
                <a:gd name="T59" fmla="*/ 1693 h 5352"/>
                <a:gd name="T60" fmla="*/ 257 w 5546"/>
                <a:gd name="T61" fmla="*/ 1475 h 5352"/>
                <a:gd name="T62" fmla="*/ 32 w 5546"/>
                <a:gd name="T63" fmla="*/ 1244 h 5352"/>
                <a:gd name="T64" fmla="*/ 200 w 5546"/>
                <a:gd name="T65" fmla="*/ 584 h 5352"/>
                <a:gd name="T66" fmla="*/ 558 w 5546"/>
                <a:gd name="T67" fmla="*/ 436 h 5352"/>
                <a:gd name="T68" fmla="*/ 838 w 5546"/>
                <a:gd name="T69" fmla="*/ 295 h 5352"/>
                <a:gd name="T70" fmla="*/ 1111 w 5546"/>
                <a:gd name="T71" fmla="*/ 320 h 5352"/>
                <a:gd name="T72" fmla="*/ 1417 w 5546"/>
                <a:gd name="T73" fmla="*/ 306 h 5352"/>
                <a:gd name="T74" fmla="*/ 1331 w 5546"/>
                <a:gd name="T75" fmla="*/ 128 h 5352"/>
                <a:gd name="T76" fmla="*/ 1621 w 5546"/>
                <a:gd name="T77" fmla="*/ 51 h 5352"/>
                <a:gd name="T78" fmla="*/ 1898 w 5546"/>
                <a:gd name="T79" fmla="*/ 64 h 5352"/>
                <a:gd name="T80" fmla="*/ 1961 w 5546"/>
                <a:gd name="T81" fmla="*/ 361 h 5352"/>
                <a:gd name="T82" fmla="*/ 2149 w 5546"/>
                <a:gd name="T83" fmla="*/ 672 h 5352"/>
                <a:gd name="T84" fmla="*/ 2388 w 5546"/>
                <a:gd name="T85" fmla="*/ 837 h 5352"/>
                <a:gd name="T86" fmla="*/ 2642 w 5546"/>
                <a:gd name="T87" fmla="*/ 1223 h 5352"/>
                <a:gd name="T88" fmla="*/ 2815 w 5546"/>
                <a:gd name="T89" fmla="*/ 1469 h 5352"/>
                <a:gd name="T90" fmla="*/ 3018 w 5546"/>
                <a:gd name="T91" fmla="*/ 1656 h 5352"/>
                <a:gd name="T92" fmla="*/ 2960 w 5546"/>
                <a:gd name="T93" fmla="*/ 1805 h 5352"/>
                <a:gd name="T94" fmla="*/ 3183 w 5546"/>
                <a:gd name="T95" fmla="*/ 1787 h 5352"/>
                <a:gd name="T96" fmla="*/ 3424 w 5546"/>
                <a:gd name="T97" fmla="*/ 1642 h 5352"/>
                <a:gd name="T98" fmla="*/ 3527 w 5546"/>
                <a:gd name="T99" fmla="*/ 1635 h 5352"/>
                <a:gd name="T100" fmla="*/ 3680 w 5546"/>
                <a:gd name="T101" fmla="*/ 1385 h 5352"/>
                <a:gd name="T102" fmla="*/ 3992 w 5546"/>
                <a:gd name="T103" fmla="*/ 1359 h 5352"/>
                <a:gd name="T104" fmla="*/ 4367 w 5546"/>
                <a:gd name="T105" fmla="*/ 1339 h 5352"/>
                <a:gd name="T106" fmla="*/ 4494 w 5546"/>
                <a:gd name="T107" fmla="*/ 1477 h 5352"/>
                <a:gd name="T108" fmla="*/ 4316 w 5546"/>
                <a:gd name="T109" fmla="*/ 1850 h 5352"/>
                <a:gd name="T110" fmla="*/ 3756 w 5546"/>
                <a:gd name="T111" fmla="*/ 1920 h 5352"/>
                <a:gd name="T112" fmla="*/ 3756 w 5546"/>
                <a:gd name="T113" fmla="*/ 2009 h 5352"/>
                <a:gd name="T114" fmla="*/ 4074 w 5546"/>
                <a:gd name="T115" fmla="*/ 2271 h 5352"/>
                <a:gd name="T116" fmla="*/ 4362 w 5546"/>
                <a:gd name="T117" fmla="*/ 1892 h 5352"/>
                <a:gd name="T118" fmla="*/ 4559 w 5546"/>
                <a:gd name="T119" fmla="*/ 1859 h 5352"/>
                <a:gd name="T120" fmla="*/ 4636 w 5546"/>
                <a:gd name="T121" fmla="*/ 1618 h 5352"/>
                <a:gd name="T122" fmla="*/ 4973 w 5546"/>
                <a:gd name="T123" fmla="*/ 1569 h 5352"/>
                <a:gd name="T124" fmla="*/ 5385 w 5546"/>
                <a:gd name="T125" fmla="*/ 1676 h 5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46" h="5352">
                  <a:moveTo>
                    <a:pt x="3581" y="1362"/>
                  </a:moveTo>
                  <a:lnTo>
                    <a:pt x="3581" y="1328"/>
                  </a:lnTo>
                  <a:lnTo>
                    <a:pt x="3570" y="1325"/>
                  </a:lnTo>
                  <a:lnTo>
                    <a:pt x="3564" y="1314"/>
                  </a:lnTo>
                  <a:lnTo>
                    <a:pt x="3564" y="1314"/>
                  </a:lnTo>
                  <a:lnTo>
                    <a:pt x="3556" y="1310"/>
                  </a:lnTo>
                  <a:lnTo>
                    <a:pt x="3547" y="1308"/>
                  </a:lnTo>
                  <a:lnTo>
                    <a:pt x="3540" y="1309"/>
                  </a:lnTo>
                  <a:lnTo>
                    <a:pt x="3534" y="1312"/>
                  </a:lnTo>
                  <a:lnTo>
                    <a:pt x="3529" y="1315"/>
                  </a:lnTo>
                  <a:lnTo>
                    <a:pt x="3524" y="1320"/>
                  </a:lnTo>
                  <a:lnTo>
                    <a:pt x="3516" y="1332"/>
                  </a:lnTo>
                  <a:lnTo>
                    <a:pt x="3506" y="1342"/>
                  </a:lnTo>
                  <a:lnTo>
                    <a:pt x="3489" y="1356"/>
                  </a:lnTo>
                  <a:lnTo>
                    <a:pt x="3472" y="1369"/>
                  </a:lnTo>
                  <a:lnTo>
                    <a:pt x="3466" y="1376"/>
                  </a:lnTo>
                  <a:lnTo>
                    <a:pt x="3458" y="1385"/>
                  </a:lnTo>
                  <a:lnTo>
                    <a:pt x="3453" y="1393"/>
                  </a:lnTo>
                  <a:lnTo>
                    <a:pt x="3446" y="1404"/>
                  </a:lnTo>
                  <a:lnTo>
                    <a:pt x="3454" y="1405"/>
                  </a:lnTo>
                  <a:lnTo>
                    <a:pt x="3463" y="1406"/>
                  </a:lnTo>
                  <a:lnTo>
                    <a:pt x="3480" y="1406"/>
                  </a:lnTo>
                  <a:lnTo>
                    <a:pt x="3496" y="1404"/>
                  </a:lnTo>
                  <a:lnTo>
                    <a:pt x="3511" y="1400"/>
                  </a:lnTo>
                  <a:lnTo>
                    <a:pt x="3525" y="1395"/>
                  </a:lnTo>
                  <a:lnTo>
                    <a:pt x="3539" y="1389"/>
                  </a:lnTo>
                  <a:lnTo>
                    <a:pt x="3552" y="1380"/>
                  </a:lnTo>
                  <a:lnTo>
                    <a:pt x="3566" y="1372"/>
                  </a:lnTo>
                  <a:lnTo>
                    <a:pt x="3581" y="1362"/>
                  </a:lnTo>
                  <a:lnTo>
                    <a:pt x="3581" y="1362"/>
                  </a:lnTo>
                  <a:close/>
                  <a:moveTo>
                    <a:pt x="3606" y="1197"/>
                  </a:moveTo>
                  <a:lnTo>
                    <a:pt x="3591" y="1197"/>
                  </a:lnTo>
                  <a:lnTo>
                    <a:pt x="3578" y="1199"/>
                  </a:lnTo>
                  <a:lnTo>
                    <a:pt x="3566" y="1202"/>
                  </a:lnTo>
                  <a:lnTo>
                    <a:pt x="3554" y="1207"/>
                  </a:lnTo>
                  <a:lnTo>
                    <a:pt x="3543" y="1213"/>
                  </a:lnTo>
                  <a:lnTo>
                    <a:pt x="3532" y="1219"/>
                  </a:lnTo>
                  <a:lnTo>
                    <a:pt x="3520" y="1227"/>
                  </a:lnTo>
                  <a:lnTo>
                    <a:pt x="3508" y="1235"/>
                  </a:lnTo>
                  <a:lnTo>
                    <a:pt x="3482" y="1254"/>
                  </a:lnTo>
                  <a:lnTo>
                    <a:pt x="3458" y="1272"/>
                  </a:lnTo>
                  <a:lnTo>
                    <a:pt x="3453" y="1278"/>
                  </a:lnTo>
                  <a:lnTo>
                    <a:pt x="3449" y="1282"/>
                  </a:lnTo>
                  <a:lnTo>
                    <a:pt x="3445" y="1288"/>
                  </a:lnTo>
                  <a:lnTo>
                    <a:pt x="3442" y="1294"/>
                  </a:lnTo>
                  <a:lnTo>
                    <a:pt x="3439" y="1300"/>
                  </a:lnTo>
                  <a:lnTo>
                    <a:pt x="3437" y="1307"/>
                  </a:lnTo>
                  <a:lnTo>
                    <a:pt x="3436" y="1314"/>
                  </a:lnTo>
                  <a:lnTo>
                    <a:pt x="3436" y="1322"/>
                  </a:lnTo>
                  <a:lnTo>
                    <a:pt x="3436" y="1327"/>
                  </a:lnTo>
                  <a:lnTo>
                    <a:pt x="3438" y="1331"/>
                  </a:lnTo>
                  <a:lnTo>
                    <a:pt x="3440" y="1334"/>
                  </a:lnTo>
                  <a:lnTo>
                    <a:pt x="3443" y="1337"/>
                  </a:lnTo>
                  <a:lnTo>
                    <a:pt x="3446" y="1339"/>
                  </a:lnTo>
                  <a:lnTo>
                    <a:pt x="3451" y="1340"/>
                  </a:lnTo>
                  <a:lnTo>
                    <a:pt x="3456" y="1341"/>
                  </a:lnTo>
                  <a:lnTo>
                    <a:pt x="3461" y="1342"/>
                  </a:lnTo>
                  <a:lnTo>
                    <a:pt x="3466" y="1341"/>
                  </a:lnTo>
                  <a:lnTo>
                    <a:pt x="3470" y="1339"/>
                  </a:lnTo>
                  <a:lnTo>
                    <a:pt x="3473" y="1335"/>
                  </a:lnTo>
                  <a:lnTo>
                    <a:pt x="3476" y="1331"/>
                  </a:lnTo>
                  <a:lnTo>
                    <a:pt x="3481" y="1321"/>
                  </a:lnTo>
                  <a:lnTo>
                    <a:pt x="3489" y="1311"/>
                  </a:lnTo>
                  <a:lnTo>
                    <a:pt x="3507" y="1296"/>
                  </a:lnTo>
                  <a:lnTo>
                    <a:pt x="3525" y="1283"/>
                  </a:lnTo>
                  <a:lnTo>
                    <a:pt x="3534" y="1278"/>
                  </a:lnTo>
                  <a:lnTo>
                    <a:pt x="3544" y="1272"/>
                  </a:lnTo>
                  <a:lnTo>
                    <a:pt x="3556" y="1268"/>
                  </a:lnTo>
                  <a:lnTo>
                    <a:pt x="3567" y="1264"/>
                  </a:lnTo>
                  <a:lnTo>
                    <a:pt x="3593" y="1258"/>
                  </a:lnTo>
                  <a:lnTo>
                    <a:pt x="3618" y="1252"/>
                  </a:lnTo>
                  <a:lnTo>
                    <a:pt x="3625" y="1250"/>
                  </a:lnTo>
                  <a:lnTo>
                    <a:pt x="3629" y="1247"/>
                  </a:lnTo>
                  <a:lnTo>
                    <a:pt x="3634" y="1245"/>
                  </a:lnTo>
                  <a:lnTo>
                    <a:pt x="3638" y="1242"/>
                  </a:lnTo>
                  <a:lnTo>
                    <a:pt x="3641" y="1238"/>
                  </a:lnTo>
                  <a:lnTo>
                    <a:pt x="3643" y="1233"/>
                  </a:lnTo>
                  <a:lnTo>
                    <a:pt x="3645" y="1228"/>
                  </a:lnTo>
                  <a:lnTo>
                    <a:pt x="3645" y="1221"/>
                  </a:lnTo>
                  <a:lnTo>
                    <a:pt x="3644" y="1216"/>
                  </a:lnTo>
                  <a:lnTo>
                    <a:pt x="3641" y="1212"/>
                  </a:lnTo>
                  <a:lnTo>
                    <a:pt x="3637" y="1208"/>
                  </a:lnTo>
                  <a:lnTo>
                    <a:pt x="3631" y="1205"/>
                  </a:lnTo>
                  <a:lnTo>
                    <a:pt x="3618" y="1200"/>
                  </a:lnTo>
                  <a:lnTo>
                    <a:pt x="3606" y="1197"/>
                  </a:lnTo>
                  <a:lnTo>
                    <a:pt x="3606" y="1197"/>
                  </a:lnTo>
                  <a:close/>
                  <a:moveTo>
                    <a:pt x="4046" y="1207"/>
                  </a:moveTo>
                  <a:lnTo>
                    <a:pt x="4041" y="1208"/>
                  </a:lnTo>
                  <a:lnTo>
                    <a:pt x="4035" y="1211"/>
                  </a:lnTo>
                  <a:lnTo>
                    <a:pt x="4031" y="1214"/>
                  </a:lnTo>
                  <a:lnTo>
                    <a:pt x="4028" y="1217"/>
                  </a:lnTo>
                  <a:lnTo>
                    <a:pt x="4020" y="1227"/>
                  </a:lnTo>
                  <a:lnTo>
                    <a:pt x="4012" y="1235"/>
                  </a:lnTo>
                  <a:lnTo>
                    <a:pt x="4007" y="1240"/>
                  </a:lnTo>
                  <a:lnTo>
                    <a:pt x="4002" y="1244"/>
                  </a:lnTo>
                  <a:lnTo>
                    <a:pt x="3999" y="1246"/>
                  </a:lnTo>
                  <a:lnTo>
                    <a:pt x="3997" y="1248"/>
                  </a:lnTo>
                  <a:lnTo>
                    <a:pt x="3996" y="1252"/>
                  </a:lnTo>
                  <a:lnTo>
                    <a:pt x="3996" y="1255"/>
                  </a:lnTo>
                  <a:lnTo>
                    <a:pt x="3996" y="1260"/>
                  </a:lnTo>
                  <a:lnTo>
                    <a:pt x="3997" y="1265"/>
                  </a:lnTo>
                  <a:lnTo>
                    <a:pt x="3998" y="1269"/>
                  </a:lnTo>
                  <a:lnTo>
                    <a:pt x="4001" y="1273"/>
                  </a:lnTo>
                  <a:lnTo>
                    <a:pt x="4005" y="1281"/>
                  </a:lnTo>
                  <a:lnTo>
                    <a:pt x="4011" y="1287"/>
                  </a:lnTo>
                  <a:lnTo>
                    <a:pt x="4019" y="1293"/>
                  </a:lnTo>
                  <a:lnTo>
                    <a:pt x="4028" y="1297"/>
                  </a:lnTo>
                  <a:lnTo>
                    <a:pt x="4036" y="1299"/>
                  </a:lnTo>
                  <a:lnTo>
                    <a:pt x="4046" y="1300"/>
                  </a:lnTo>
                  <a:lnTo>
                    <a:pt x="4053" y="1299"/>
                  </a:lnTo>
                  <a:lnTo>
                    <a:pt x="4059" y="1297"/>
                  </a:lnTo>
                  <a:lnTo>
                    <a:pt x="4064" y="1295"/>
                  </a:lnTo>
                  <a:lnTo>
                    <a:pt x="4070" y="1292"/>
                  </a:lnTo>
                  <a:lnTo>
                    <a:pt x="4079" y="1284"/>
                  </a:lnTo>
                  <a:lnTo>
                    <a:pt x="4091" y="1278"/>
                  </a:lnTo>
                  <a:lnTo>
                    <a:pt x="4100" y="1274"/>
                  </a:lnTo>
                  <a:lnTo>
                    <a:pt x="4109" y="1269"/>
                  </a:lnTo>
                  <a:lnTo>
                    <a:pt x="4112" y="1267"/>
                  </a:lnTo>
                  <a:lnTo>
                    <a:pt x="4114" y="1264"/>
                  </a:lnTo>
                  <a:lnTo>
                    <a:pt x="4116" y="1259"/>
                  </a:lnTo>
                  <a:lnTo>
                    <a:pt x="4116" y="1255"/>
                  </a:lnTo>
                  <a:lnTo>
                    <a:pt x="4116" y="1250"/>
                  </a:lnTo>
                  <a:lnTo>
                    <a:pt x="4115" y="1244"/>
                  </a:lnTo>
                  <a:lnTo>
                    <a:pt x="4113" y="1239"/>
                  </a:lnTo>
                  <a:lnTo>
                    <a:pt x="4110" y="1233"/>
                  </a:lnTo>
                  <a:lnTo>
                    <a:pt x="4106" y="1229"/>
                  </a:lnTo>
                  <a:lnTo>
                    <a:pt x="4103" y="1226"/>
                  </a:lnTo>
                  <a:lnTo>
                    <a:pt x="4099" y="1223"/>
                  </a:lnTo>
                  <a:lnTo>
                    <a:pt x="4093" y="1219"/>
                  </a:lnTo>
                  <a:lnTo>
                    <a:pt x="4083" y="1214"/>
                  </a:lnTo>
                  <a:lnTo>
                    <a:pt x="4071" y="1211"/>
                  </a:lnTo>
                  <a:lnTo>
                    <a:pt x="4059" y="1208"/>
                  </a:lnTo>
                  <a:lnTo>
                    <a:pt x="4046" y="1207"/>
                  </a:lnTo>
                  <a:lnTo>
                    <a:pt x="4046" y="1207"/>
                  </a:lnTo>
                  <a:close/>
                  <a:moveTo>
                    <a:pt x="3950" y="1253"/>
                  </a:moveTo>
                  <a:lnTo>
                    <a:pt x="3950" y="1235"/>
                  </a:lnTo>
                  <a:lnTo>
                    <a:pt x="3950" y="1219"/>
                  </a:lnTo>
                  <a:lnTo>
                    <a:pt x="3950" y="1204"/>
                  </a:lnTo>
                  <a:lnTo>
                    <a:pt x="3950" y="1187"/>
                  </a:lnTo>
                  <a:lnTo>
                    <a:pt x="3951" y="1173"/>
                  </a:lnTo>
                  <a:lnTo>
                    <a:pt x="3951" y="1159"/>
                  </a:lnTo>
                  <a:lnTo>
                    <a:pt x="3951" y="1152"/>
                  </a:lnTo>
                  <a:lnTo>
                    <a:pt x="3950" y="1146"/>
                  </a:lnTo>
                  <a:lnTo>
                    <a:pt x="3947" y="1140"/>
                  </a:lnTo>
                  <a:lnTo>
                    <a:pt x="3942" y="1135"/>
                  </a:lnTo>
                  <a:lnTo>
                    <a:pt x="3935" y="1129"/>
                  </a:lnTo>
                  <a:lnTo>
                    <a:pt x="3927" y="1123"/>
                  </a:lnTo>
                  <a:lnTo>
                    <a:pt x="3920" y="1120"/>
                  </a:lnTo>
                  <a:lnTo>
                    <a:pt x="3911" y="1118"/>
                  </a:lnTo>
                  <a:lnTo>
                    <a:pt x="3894" y="1113"/>
                  </a:lnTo>
                  <a:lnTo>
                    <a:pt x="3875" y="1107"/>
                  </a:lnTo>
                  <a:lnTo>
                    <a:pt x="3863" y="1100"/>
                  </a:lnTo>
                  <a:lnTo>
                    <a:pt x="3854" y="1093"/>
                  </a:lnTo>
                  <a:lnTo>
                    <a:pt x="3843" y="1084"/>
                  </a:lnTo>
                  <a:lnTo>
                    <a:pt x="3833" y="1076"/>
                  </a:lnTo>
                  <a:lnTo>
                    <a:pt x="3823" y="1067"/>
                  </a:lnTo>
                  <a:lnTo>
                    <a:pt x="3814" y="1059"/>
                  </a:lnTo>
                  <a:lnTo>
                    <a:pt x="3803" y="1052"/>
                  </a:lnTo>
                  <a:lnTo>
                    <a:pt x="3791" y="1045"/>
                  </a:lnTo>
                  <a:lnTo>
                    <a:pt x="3791" y="1045"/>
                  </a:lnTo>
                  <a:lnTo>
                    <a:pt x="3780" y="1037"/>
                  </a:lnTo>
                  <a:lnTo>
                    <a:pt x="3771" y="1028"/>
                  </a:lnTo>
                  <a:lnTo>
                    <a:pt x="3765" y="1025"/>
                  </a:lnTo>
                  <a:lnTo>
                    <a:pt x="3760" y="1022"/>
                  </a:lnTo>
                  <a:lnTo>
                    <a:pt x="3753" y="1021"/>
                  </a:lnTo>
                  <a:lnTo>
                    <a:pt x="3747" y="1019"/>
                  </a:lnTo>
                  <a:lnTo>
                    <a:pt x="3741" y="1021"/>
                  </a:lnTo>
                  <a:lnTo>
                    <a:pt x="3737" y="1023"/>
                  </a:lnTo>
                  <a:lnTo>
                    <a:pt x="3734" y="1026"/>
                  </a:lnTo>
                  <a:lnTo>
                    <a:pt x="3732" y="1030"/>
                  </a:lnTo>
                  <a:lnTo>
                    <a:pt x="3726" y="1040"/>
                  </a:lnTo>
                  <a:lnTo>
                    <a:pt x="3721" y="1051"/>
                  </a:lnTo>
                  <a:lnTo>
                    <a:pt x="3712" y="1062"/>
                  </a:lnTo>
                  <a:lnTo>
                    <a:pt x="3704" y="1070"/>
                  </a:lnTo>
                  <a:lnTo>
                    <a:pt x="3699" y="1075"/>
                  </a:lnTo>
                  <a:lnTo>
                    <a:pt x="3696" y="1080"/>
                  </a:lnTo>
                  <a:lnTo>
                    <a:pt x="3694" y="1085"/>
                  </a:lnTo>
                  <a:lnTo>
                    <a:pt x="3693" y="1093"/>
                  </a:lnTo>
                  <a:lnTo>
                    <a:pt x="3694" y="1102"/>
                  </a:lnTo>
                  <a:lnTo>
                    <a:pt x="3697" y="1108"/>
                  </a:lnTo>
                  <a:lnTo>
                    <a:pt x="3700" y="1116"/>
                  </a:lnTo>
                  <a:lnTo>
                    <a:pt x="3706" y="1121"/>
                  </a:lnTo>
                  <a:lnTo>
                    <a:pt x="3710" y="1127"/>
                  </a:lnTo>
                  <a:lnTo>
                    <a:pt x="3715" y="1134"/>
                  </a:lnTo>
                  <a:lnTo>
                    <a:pt x="3720" y="1140"/>
                  </a:lnTo>
                  <a:lnTo>
                    <a:pt x="3724" y="1149"/>
                  </a:lnTo>
                  <a:lnTo>
                    <a:pt x="3729" y="1166"/>
                  </a:lnTo>
                  <a:lnTo>
                    <a:pt x="3734" y="1184"/>
                  </a:lnTo>
                  <a:lnTo>
                    <a:pt x="3737" y="1191"/>
                  </a:lnTo>
                  <a:lnTo>
                    <a:pt x="3740" y="1199"/>
                  </a:lnTo>
                  <a:lnTo>
                    <a:pt x="3746" y="1206"/>
                  </a:lnTo>
                  <a:lnTo>
                    <a:pt x="3752" y="1213"/>
                  </a:lnTo>
                  <a:lnTo>
                    <a:pt x="3756" y="1217"/>
                  </a:lnTo>
                  <a:lnTo>
                    <a:pt x="3762" y="1220"/>
                  </a:lnTo>
                  <a:lnTo>
                    <a:pt x="3767" y="1224"/>
                  </a:lnTo>
                  <a:lnTo>
                    <a:pt x="3772" y="1226"/>
                  </a:lnTo>
                  <a:lnTo>
                    <a:pt x="3782" y="1229"/>
                  </a:lnTo>
                  <a:lnTo>
                    <a:pt x="3793" y="1231"/>
                  </a:lnTo>
                  <a:lnTo>
                    <a:pt x="3817" y="1232"/>
                  </a:lnTo>
                  <a:lnTo>
                    <a:pt x="3842" y="1235"/>
                  </a:lnTo>
                  <a:lnTo>
                    <a:pt x="3866" y="1241"/>
                  </a:lnTo>
                  <a:lnTo>
                    <a:pt x="3886" y="1246"/>
                  </a:lnTo>
                  <a:lnTo>
                    <a:pt x="3907" y="1251"/>
                  </a:lnTo>
                  <a:lnTo>
                    <a:pt x="3931" y="1255"/>
                  </a:lnTo>
                  <a:lnTo>
                    <a:pt x="3950" y="1253"/>
                  </a:lnTo>
                  <a:close/>
                  <a:moveTo>
                    <a:pt x="3931" y="1255"/>
                  </a:moveTo>
                  <a:lnTo>
                    <a:pt x="3950" y="1253"/>
                  </a:lnTo>
                  <a:lnTo>
                    <a:pt x="3931" y="1255"/>
                  </a:lnTo>
                  <a:close/>
                  <a:moveTo>
                    <a:pt x="5546" y="1760"/>
                  </a:moveTo>
                  <a:lnTo>
                    <a:pt x="5538" y="1788"/>
                  </a:lnTo>
                  <a:lnTo>
                    <a:pt x="5530" y="1813"/>
                  </a:lnTo>
                  <a:lnTo>
                    <a:pt x="5525" y="1837"/>
                  </a:lnTo>
                  <a:lnTo>
                    <a:pt x="5518" y="1861"/>
                  </a:lnTo>
                  <a:lnTo>
                    <a:pt x="5513" y="1883"/>
                  </a:lnTo>
                  <a:lnTo>
                    <a:pt x="5505" y="1907"/>
                  </a:lnTo>
                  <a:lnTo>
                    <a:pt x="5498" y="1932"/>
                  </a:lnTo>
                  <a:lnTo>
                    <a:pt x="5487" y="1958"/>
                  </a:lnTo>
                  <a:lnTo>
                    <a:pt x="5481" y="1970"/>
                  </a:lnTo>
                  <a:lnTo>
                    <a:pt x="5474" y="1981"/>
                  </a:lnTo>
                  <a:lnTo>
                    <a:pt x="5466" y="1989"/>
                  </a:lnTo>
                  <a:lnTo>
                    <a:pt x="5458" y="1998"/>
                  </a:lnTo>
                  <a:lnTo>
                    <a:pt x="5451" y="2007"/>
                  </a:lnTo>
                  <a:lnTo>
                    <a:pt x="5445" y="2016"/>
                  </a:lnTo>
                  <a:lnTo>
                    <a:pt x="5442" y="2022"/>
                  </a:lnTo>
                  <a:lnTo>
                    <a:pt x="5440" y="2027"/>
                  </a:lnTo>
                  <a:lnTo>
                    <a:pt x="5439" y="2034"/>
                  </a:lnTo>
                  <a:lnTo>
                    <a:pt x="5439" y="2040"/>
                  </a:lnTo>
                  <a:lnTo>
                    <a:pt x="5439" y="2043"/>
                  </a:lnTo>
                  <a:lnTo>
                    <a:pt x="5440" y="2047"/>
                  </a:lnTo>
                  <a:lnTo>
                    <a:pt x="5441" y="2050"/>
                  </a:lnTo>
                  <a:lnTo>
                    <a:pt x="5444" y="2053"/>
                  </a:lnTo>
                  <a:lnTo>
                    <a:pt x="5448" y="2057"/>
                  </a:lnTo>
                  <a:lnTo>
                    <a:pt x="5453" y="2062"/>
                  </a:lnTo>
                  <a:lnTo>
                    <a:pt x="5459" y="2066"/>
                  </a:lnTo>
                  <a:lnTo>
                    <a:pt x="5464" y="2070"/>
                  </a:lnTo>
                  <a:lnTo>
                    <a:pt x="5469" y="2076"/>
                  </a:lnTo>
                  <a:lnTo>
                    <a:pt x="5473" y="2082"/>
                  </a:lnTo>
                  <a:lnTo>
                    <a:pt x="5475" y="2088"/>
                  </a:lnTo>
                  <a:lnTo>
                    <a:pt x="5476" y="2094"/>
                  </a:lnTo>
                  <a:lnTo>
                    <a:pt x="5477" y="2099"/>
                  </a:lnTo>
                  <a:lnTo>
                    <a:pt x="5477" y="2105"/>
                  </a:lnTo>
                  <a:lnTo>
                    <a:pt x="5476" y="2117"/>
                  </a:lnTo>
                  <a:lnTo>
                    <a:pt x="5476" y="2130"/>
                  </a:lnTo>
                  <a:lnTo>
                    <a:pt x="5475" y="2138"/>
                  </a:lnTo>
                  <a:lnTo>
                    <a:pt x="5475" y="2146"/>
                  </a:lnTo>
                  <a:lnTo>
                    <a:pt x="5473" y="2152"/>
                  </a:lnTo>
                  <a:lnTo>
                    <a:pt x="5471" y="2160"/>
                  </a:lnTo>
                  <a:lnTo>
                    <a:pt x="5465" y="2173"/>
                  </a:lnTo>
                  <a:lnTo>
                    <a:pt x="5458" y="2185"/>
                  </a:lnTo>
                  <a:lnTo>
                    <a:pt x="5450" y="2196"/>
                  </a:lnTo>
                  <a:lnTo>
                    <a:pt x="5441" y="2209"/>
                  </a:lnTo>
                  <a:lnTo>
                    <a:pt x="5433" y="2222"/>
                  </a:lnTo>
                  <a:lnTo>
                    <a:pt x="5425" y="2236"/>
                  </a:lnTo>
                  <a:lnTo>
                    <a:pt x="5417" y="2258"/>
                  </a:lnTo>
                  <a:lnTo>
                    <a:pt x="5409" y="2280"/>
                  </a:lnTo>
                  <a:lnTo>
                    <a:pt x="5402" y="2299"/>
                  </a:lnTo>
                  <a:lnTo>
                    <a:pt x="5397" y="2319"/>
                  </a:lnTo>
                  <a:lnTo>
                    <a:pt x="5391" y="2338"/>
                  </a:lnTo>
                  <a:lnTo>
                    <a:pt x="5383" y="2358"/>
                  </a:lnTo>
                  <a:lnTo>
                    <a:pt x="5373" y="2378"/>
                  </a:lnTo>
                  <a:lnTo>
                    <a:pt x="5360" y="2399"/>
                  </a:lnTo>
                  <a:lnTo>
                    <a:pt x="5353" y="2408"/>
                  </a:lnTo>
                  <a:lnTo>
                    <a:pt x="5345" y="2415"/>
                  </a:lnTo>
                  <a:lnTo>
                    <a:pt x="5336" y="2421"/>
                  </a:lnTo>
                  <a:lnTo>
                    <a:pt x="5326" y="2426"/>
                  </a:lnTo>
                  <a:lnTo>
                    <a:pt x="5316" y="2431"/>
                  </a:lnTo>
                  <a:lnTo>
                    <a:pt x="5305" y="2435"/>
                  </a:lnTo>
                  <a:lnTo>
                    <a:pt x="5296" y="2442"/>
                  </a:lnTo>
                  <a:lnTo>
                    <a:pt x="5285" y="2449"/>
                  </a:lnTo>
                  <a:lnTo>
                    <a:pt x="5279" y="2455"/>
                  </a:lnTo>
                  <a:lnTo>
                    <a:pt x="5274" y="2462"/>
                  </a:lnTo>
                  <a:lnTo>
                    <a:pt x="5272" y="2470"/>
                  </a:lnTo>
                  <a:lnTo>
                    <a:pt x="5270" y="2477"/>
                  </a:lnTo>
                  <a:lnTo>
                    <a:pt x="5265" y="2494"/>
                  </a:lnTo>
                  <a:lnTo>
                    <a:pt x="5260" y="2511"/>
                  </a:lnTo>
                  <a:lnTo>
                    <a:pt x="5250" y="2533"/>
                  </a:lnTo>
                  <a:lnTo>
                    <a:pt x="5242" y="2552"/>
                  </a:lnTo>
                  <a:lnTo>
                    <a:pt x="5234" y="2571"/>
                  </a:lnTo>
                  <a:lnTo>
                    <a:pt x="5226" y="2595"/>
                  </a:lnTo>
                  <a:lnTo>
                    <a:pt x="5220" y="2614"/>
                  </a:lnTo>
                  <a:lnTo>
                    <a:pt x="5216" y="2630"/>
                  </a:lnTo>
                  <a:lnTo>
                    <a:pt x="5210" y="2646"/>
                  </a:lnTo>
                  <a:lnTo>
                    <a:pt x="5204" y="2664"/>
                  </a:lnTo>
                  <a:lnTo>
                    <a:pt x="5201" y="2672"/>
                  </a:lnTo>
                  <a:lnTo>
                    <a:pt x="5196" y="2677"/>
                  </a:lnTo>
                  <a:lnTo>
                    <a:pt x="5192" y="2683"/>
                  </a:lnTo>
                  <a:lnTo>
                    <a:pt x="5188" y="2688"/>
                  </a:lnTo>
                  <a:lnTo>
                    <a:pt x="5183" y="2693"/>
                  </a:lnTo>
                  <a:lnTo>
                    <a:pt x="5179" y="2699"/>
                  </a:lnTo>
                  <a:lnTo>
                    <a:pt x="5177" y="2705"/>
                  </a:lnTo>
                  <a:lnTo>
                    <a:pt x="5176" y="2712"/>
                  </a:lnTo>
                  <a:lnTo>
                    <a:pt x="5179" y="2728"/>
                  </a:lnTo>
                  <a:lnTo>
                    <a:pt x="5181" y="2744"/>
                  </a:lnTo>
                  <a:lnTo>
                    <a:pt x="5181" y="2751"/>
                  </a:lnTo>
                  <a:lnTo>
                    <a:pt x="5180" y="2757"/>
                  </a:lnTo>
                  <a:lnTo>
                    <a:pt x="5178" y="2763"/>
                  </a:lnTo>
                  <a:lnTo>
                    <a:pt x="5176" y="2767"/>
                  </a:lnTo>
                  <a:lnTo>
                    <a:pt x="5169" y="2777"/>
                  </a:lnTo>
                  <a:lnTo>
                    <a:pt x="5162" y="2785"/>
                  </a:lnTo>
                  <a:lnTo>
                    <a:pt x="5143" y="2800"/>
                  </a:lnTo>
                  <a:lnTo>
                    <a:pt x="5125" y="2819"/>
                  </a:lnTo>
                  <a:lnTo>
                    <a:pt x="5114" y="2834"/>
                  </a:lnTo>
                  <a:lnTo>
                    <a:pt x="5105" y="2848"/>
                  </a:lnTo>
                  <a:lnTo>
                    <a:pt x="5098" y="2863"/>
                  </a:lnTo>
                  <a:lnTo>
                    <a:pt x="5089" y="2880"/>
                  </a:lnTo>
                  <a:lnTo>
                    <a:pt x="5074" y="2916"/>
                  </a:lnTo>
                  <a:lnTo>
                    <a:pt x="5063" y="2949"/>
                  </a:lnTo>
                  <a:lnTo>
                    <a:pt x="5060" y="2957"/>
                  </a:lnTo>
                  <a:lnTo>
                    <a:pt x="5057" y="2965"/>
                  </a:lnTo>
                  <a:lnTo>
                    <a:pt x="5053" y="2972"/>
                  </a:lnTo>
                  <a:lnTo>
                    <a:pt x="5048" y="2979"/>
                  </a:lnTo>
                  <a:lnTo>
                    <a:pt x="5043" y="2986"/>
                  </a:lnTo>
                  <a:lnTo>
                    <a:pt x="5036" y="2993"/>
                  </a:lnTo>
                  <a:lnTo>
                    <a:pt x="5030" y="2998"/>
                  </a:lnTo>
                  <a:lnTo>
                    <a:pt x="5021" y="3003"/>
                  </a:lnTo>
                  <a:lnTo>
                    <a:pt x="5016" y="3007"/>
                  </a:lnTo>
                  <a:lnTo>
                    <a:pt x="5010" y="3009"/>
                  </a:lnTo>
                  <a:lnTo>
                    <a:pt x="5005" y="3011"/>
                  </a:lnTo>
                  <a:lnTo>
                    <a:pt x="5000" y="3012"/>
                  </a:lnTo>
                  <a:lnTo>
                    <a:pt x="4989" y="3014"/>
                  </a:lnTo>
                  <a:lnTo>
                    <a:pt x="4977" y="3017"/>
                  </a:lnTo>
                  <a:lnTo>
                    <a:pt x="4966" y="3024"/>
                  </a:lnTo>
                  <a:lnTo>
                    <a:pt x="4958" y="3032"/>
                  </a:lnTo>
                  <a:lnTo>
                    <a:pt x="4950" y="3039"/>
                  </a:lnTo>
                  <a:lnTo>
                    <a:pt x="4943" y="3047"/>
                  </a:lnTo>
                  <a:lnTo>
                    <a:pt x="4938" y="3055"/>
                  </a:lnTo>
                  <a:lnTo>
                    <a:pt x="4932" y="3064"/>
                  </a:lnTo>
                  <a:lnTo>
                    <a:pt x="4924" y="3074"/>
                  </a:lnTo>
                  <a:lnTo>
                    <a:pt x="4915" y="3082"/>
                  </a:lnTo>
                  <a:lnTo>
                    <a:pt x="4911" y="3087"/>
                  </a:lnTo>
                  <a:lnTo>
                    <a:pt x="4909" y="3091"/>
                  </a:lnTo>
                  <a:lnTo>
                    <a:pt x="4907" y="3095"/>
                  </a:lnTo>
                  <a:lnTo>
                    <a:pt x="4905" y="3100"/>
                  </a:lnTo>
                  <a:lnTo>
                    <a:pt x="4901" y="3109"/>
                  </a:lnTo>
                  <a:lnTo>
                    <a:pt x="4896" y="3119"/>
                  </a:lnTo>
                  <a:lnTo>
                    <a:pt x="4888" y="3127"/>
                  </a:lnTo>
                  <a:lnTo>
                    <a:pt x="4881" y="3134"/>
                  </a:lnTo>
                  <a:lnTo>
                    <a:pt x="4874" y="3141"/>
                  </a:lnTo>
                  <a:lnTo>
                    <a:pt x="4867" y="3146"/>
                  </a:lnTo>
                  <a:lnTo>
                    <a:pt x="4859" y="3151"/>
                  </a:lnTo>
                  <a:lnTo>
                    <a:pt x="4851" y="3156"/>
                  </a:lnTo>
                  <a:lnTo>
                    <a:pt x="4842" y="3160"/>
                  </a:lnTo>
                  <a:lnTo>
                    <a:pt x="4831" y="3163"/>
                  </a:lnTo>
                  <a:lnTo>
                    <a:pt x="4825" y="3165"/>
                  </a:lnTo>
                  <a:lnTo>
                    <a:pt x="4819" y="3169"/>
                  </a:lnTo>
                  <a:lnTo>
                    <a:pt x="4815" y="3173"/>
                  </a:lnTo>
                  <a:lnTo>
                    <a:pt x="4811" y="3176"/>
                  </a:lnTo>
                  <a:lnTo>
                    <a:pt x="4806" y="3181"/>
                  </a:lnTo>
                  <a:lnTo>
                    <a:pt x="4801" y="3183"/>
                  </a:lnTo>
                  <a:lnTo>
                    <a:pt x="4795" y="3185"/>
                  </a:lnTo>
                  <a:lnTo>
                    <a:pt x="4789" y="3186"/>
                  </a:lnTo>
                  <a:lnTo>
                    <a:pt x="4780" y="3185"/>
                  </a:lnTo>
                  <a:lnTo>
                    <a:pt x="4772" y="3183"/>
                  </a:lnTo>
                  <a:lnTo>
                    <a:pt x="4764" y="3182"/>
                  </a:lnTo>
                  <a:lnTo>
                    <a:pt x="4756" y="3181"/>
                  </a:lnTo>
                  <a:lnTo>
                    <a:pt x="4736" y="3182"/>
                  </a:lnTo>
                  <a:lnTo>
                    <a:pt x="4718" y="3184"/>
                  </a:lnTo>
                  <a:lnTo>
                    <a:pt x="4700" y="3187"/>
                  </a:lnTo>
                  <a:lnTo>
                    <a:pt x="4684" y="3192"/>
                  </a:lnTo>
                  <a:lnTo>
                    <a:pt x="4669" y="3198"/>
                  </a:lnTo>
                  <a:lnTo>
                    <a:pt x="4654" y="3205"/>
                  </a:lnTo>
                  <a:lnTo>
                    <a:pt x="4640" y="3214"/>
                  </a:lnTo>
                  <a:lnTo>
                    <a:pt x="4626" y="3225"/>
                  </a:lnTo>
                  <a:lnTo>
                    <a:pt x="4613" y="3236"/>
                  </a:lnTo>
                  <a:lnTo>
                    <a:pt x="4601" y="3246"/>
                  </a:lnTo>
                  <a:lnTo>
                    <a:pt x="4589" y="3259"/>
                  </a:lnTo>
                  <a:lnTo>
                    <a:pt x="4577" y="3273"/>
                  </a:lnTo>
                  <a:lnTo>
                    <a:pt x="4567" y="3287"/>
                  </a:lnTo>
                  <a:lnTo>
                    <a:pt x="4556" y="3303"/>
                  </a:lnTo>
                  <a:lnTo>
                    <a:pt x="4545" y="3318"/>
                  </a:lnTo>
                  <a:lnTo>
                    <a:pt x="4534" y="3335"/>
                  </a:lnTo>
                  <a:lnTo>
                    <a:pt x="4508" y="3374"/>
                  </a:lnTo>
                  <a:lnTo>
                    <a:pt x="4487" y="3410"/>
                  </a:lnTo>
                  <a:lnTo>
                    <a:pt x="4477" y="3428"/>
                  </a:lnTo>
                  <a:lnTo>
                    <a:pt x="4467" y="3447"/>
                  </a:lnTo>
                  <a:lnTo>
                    <a:pt x="4459" y="3468"/>
                  </a:lnTo>
                  <a:lnTo>
                    <a:pt x="4450" y="3492"/>
                  </a:lnTo>
                  <a:lnTo>
                    <a:pt x="4450" y="3492"/>
                  </a:lnTo>
                  <a:lnTo>
                    <a:pt x="4446" y="3506"/>
                  </a:lnTo>
                  <a:lnTo>
                    <a:pt x="4441" y="3520"/>
                  </a:lnTo>
                  <a:lnTo>
                    <a:pt x="4442" y="3527"/>
                  </a:lnTo>
                  <a:lnTo>
                    <a:pt x="4446" y="3533"/>
                  </a:lnTo>
                  <a:lnTo>
                    <a:pt x="4450" y="3537"/>
                  </a:lnTo>
                  <a:lnTo>
                    <a:pt x="4455" y="3541"/>
                  </a:lnTo>
                  <a:lnTo>
                    <a:pt x="4467" y="3549"/>
                  </a:lnTo>
                  <a:lnTo>
                    <a:pt x="4478" y="3559"/>
                  </a:lnTo>
                  <a:lnTo>
                    <a:pt x="4506" y="3591"/>
                  </a:lnTo>
                  <a:lnTo>
                    <a:pt x="4530" y="3622"/>
                  </a:lnTo>
                  <a:lnTo>
                    <a:pt x="4535" y="3630"/>
                  </a:lnTo>
                  <a:lnTo>
                    <a:pt x="4540" y="3638"/>
                  </a:lnTo>
                  <a:lnTo>
                    <a:pt x="4544" y="3646"/>
                  </a:lnTo>
                  <a:lnTo>
                    <a:pt x="4547" y="3656"/>
                  </a:lnTo>
                  <a:lnTo>
                    <a:pt x="4550" y="3664"/>
                  </a:lnTo>
                  <a:lnTo>
                    <a:pt x="4552" y="3674"/>
                  </a:lnTo>
                  <a:lnTo>
                    <a:pt x="4554" y="3685"/>
                  </a:lnTo>
                  <a:lnTo>
                    <a:pt x="4554" y="3696"/>
                  </a:lnTo>
                  <a:lnTo>
                    <a:pt x="4554" y="3700"/>
                  </a:lnTo>
                  <a:lnTo>
                    <a:pt x="4552" y="3704"/>
                  </a:lnTo>
                  <a:lnTo>
                    <a:pt x="4551" y="3708"/>
                  </a:lnTo>
                  <a:lnTo>
                    <a:pt x="4549" y="3710"/>
                  </a:lnTo>
                  <a:lnTo>
                    <a:pt x="4544" y="3715"/>
                  </a:lnTo>
                  <a:lnTo>
                    <a:pt x="4538" y="3721"/>
                  </a:lnTo>
                  <a:lnTo>
                    <a:pt x="4532" y="3725"/>
                  </a:lnTo>
                  <a:lnTo>
                    <a:pt x="4527" y="3730"/>
                  </a:lnTo>
                  <a:lnTo>
                    <a:pt x="4521" y="3737"/>
                  </a:lnTo>
                  <a:lnTo>
                    <a:pt x="4517" y="3743"/>
                  </a:lnTo>
                  <a:lnTo>
                    <a:pt x="4514" y="3754"/>
                  </a:lnTo>
                  <a:lnTo>
                    <a:pt x="4513" y="3764"/>
                  </a:lnTo>
                  <a:lnTo>
                    <a:pt x="4511" y="3773"/>
                  </a:lnTo>
                  <a:lnTo>
                    <a:pt x="4510" y="3782"/>
                  </a:lnTo>
                  <a:lnTo>
                    <a:pt x="4510" y="3802"/>
                  </a:lnTo>
                  <a:lnTo>
                    <a:pt x="4509" y="3822"/>
                  </a:lnTo>
                  <a:lnTo>
                    <a:pt x="4507" y="3832"/>
                  </a:lnTo>
                  <a:lnTo>
                    <a:pt x="4504" y="3842"/>
                  </a:lnTo>
                  <a:lnTo>
                    <a:pt x="4501" y="3849"/>
                  </a:lnTo>
                  <a:lnTo>
                    <a:pt x="4496" y="3858"/>
                  </a:lnTo>
                  <a:lnTo>
                    <a:pt x="4493" y="3865"/>
                  </a:lnTo>
                  <a:lnTo>
                    <a:pt x="4489" y="3874"/>
                  </a:lnTo>
                  <a:lnTo>
                    <a:pt x="4487" y="3883"/>
                  </a:lnTo>
                  <a:lnTo>
                    <a:pt x="4483" y="3892"/>
                  </a:lnTo>
                  <a:lnTo>
                    <a:pt x="4478" y="3923"/>
                  </a:lnTo>
                  <a:lnTo>
                    <a:pt x="4473" y="3950"/>
                  </a:lnTo>
                  <a:lnTo>
                    <a:pt x="4469" y="3962"/>
                  </a:lnTo>
                  <a:lnTo>
                    <a:pt x="4465" y="3977"/>
                  </a:lnTo>
                  <a:lnTo>
                    <a:pt x="4460" y="3989"/>
                  </a:lnTo>
                  <a:lnTo>
                    <a:pt x="4453" y="4005"/>
                  </a:lnTo>
                  <a:lnTo>
                    <a:pt x="4443" y="4023"/>
                  </a:lnTo>
                  <a:lnTo>
                    <a:pt x="4434" y="4040"/>
                  </a:lnTo>
                  <a:lnTo>
                    <a:pt x="4427" y="4048"/>
                  </a:lnTo>
                  <a:lnTo>
                    <a:pt x="4421" y="4053"/>
                  </a:lnTo>
                  <a:lnTo>
                    <a:pt x="4416" y="4054"/>
                  </a:lnTo>
                  <a:lnTo>
                    <a:pt x="4412" y="4056"/>
                  </a:lnTo>
                  <a:lnTo>
                    <a:pt x="4408" y="4058"/>
                  </a:lnTo>
                  <a:lnTo>
                    <a:pt x="4402" y="4058"/>
                  </a:lnTo>
                  <a:lnTo>
                    <a:pt x="4388" y="4049"/>
                  </a:lnTo>
                  <a:lnTo>
                    <a:pt x="4374" y="4040"/>
                  </a:lnTo>
                  <a:lnTo>
                    <a:pt x="4369" y="4041"/>
                  </a:lnTo>
                  <a:lnTo>
                    <a:pt x="4365" y="4042"/>
                  </a:lnTo>
                  <a:lnTo>
                    <a:pt x="4360" y="4045"/>
                  </a:lnTo>
                  <a:lnTo>
                    <a:pt x="4356" y="4047"/>
                  </a:lnTo>
                  <a:lnTo>
                    <a:pt x="4353" y="4050"/>
                  </a:lnTo>
                  <a:lnTo>
                    <a:pt x="4349" y="4054"/>
                  </a:lnTo>
                  <a:lnTo>
                    <a:pt x="4347" y="4059"/>
                  </a:lnTo>
                  <a:lnTo>
                    <a:pt x="4345" y="4063"/>
                  </a:lnTo>
                  <a:lnTo>
                    <a:pt x="4342" y="4074"/>
                  </a:lnTo>
                  <a:lnTo>
                    <a:pt x="4339" y="4086"/>
                  </a:lnTo>
                  <a:lnTo>
                    <a:pt x="4336" y="4096"/>
                  </a:lnTo>
                  <a:lnTo>
                    <a:pt x="4335" y="4108"/>
                  </a:lnTo>
                  <a:lnTo>
                    <a:pt x="4333" y="4117"/>
                  </a:lnTo>
                  <a:lnTo>
                    <a:pt x="4331" y="4126"/>
                  </a:lnTo>
                  <a:lnTo>
                    <a:pt x="4328" y="4133"/>
                  </a:lnTo>
                  <a:lnTo>
                    <a:pt x="4325" y="4140"/>
                  </a:lnTo>
                  <a:lnTo>
                    <a:pt x="4316" y="4154"/>
                  </a:lnTo>
                  <a:lnTo>
                    <a:pt x="4304" y="4167"/>
                  </a:lnTo>
                  <a:lnTo>
                    <a:pt x="4296" y="4178"/>
                  </a:lnTo>
                  <a:lnTo>
                    <a:pt x="4291" y="4190"/>
                  </a:lnTo>
                  <a:lnTo>
                    <a:pt x="4288" y="4196"/>
                  </a:lnTo>
                  <a:lnTo>
                    <a:pt x="4284" y="4201"/>
                  </a:lnTo>
                  <a:lnTo>
                    <a:pt x="4279" y="4205"/>
                  </a:lnTo>
                  <a:lnTo>
                    <a:pt x="4274" y="4209"/>
                  </a:lnTo>
                  <a:lnTo>
                    <a:pt x="4246" y="4221"/>
                  </a:lnTo>
                  <a:lnTo>
                    <a:pt x="4220" y="4230"/>
                  </a:lnTo>
                  <a:lnTo>
                    <a:pt x="4207" y="4235"/>
                  </a:lnTo>
                  <a:lnTo>
                    <a:pt x="4195" y="4241"/>
                  </a:lnTo>
                  <a:lnTo>
                    <a:pt x="4182" y="4248"/>
                  </a:lnTo>
                  <a:lnTo>
                    <a:pt x="4170" y="4256"/>
                  </a:lnTo>
                  <a:lnTo>
                    <a:pt x="4161" y="4263"/>
                  </a:lnTo>
                  <a:lnTo>
                    <a:pt x="4155" y="4269"/>
                  </a:lnTo>
                  <a:lnTo>
                    <a:pt x="4149" y="4277"/>
                  </a:lnTo>
                  <a:lnTo>
                    <a:pt x="4143" y="4283"/>
                  </a:lnTo>
                  <a:lnTo>
                    <a:pt x="4134" y="4298"/>
                  </a:lnTo>
                  <a:lnTo>
                    <a:pt x="4127" y="4313"/>
                  </a:lnTo>
                  <a:lnTo>
                    <a:pt x="4115" y="4348"/>
                  </a:lnTo>
                  <a:lnTo>
                    <a:pt x="4102" y="4386"/>
                  </a:lnTo>
                  <a:lnTo>
                    <a:pt x="4098" y="4396"/>
                  </a:lnTo>
                  <a:lnTo>
                    <a:pt x="4092" y="4405"/>
                  </a:lnTo>
                  <a:lnTo>
                    <a:pt x="4087" y="4414"/>
                  </a:lnTo>
                  <a:lnTo>
                    <a:pt x="4082" y="4421"/>
                  </a:lnTo>
                  <a:lnTo>
                    <a:pt x="4069" y="4437"/>
                  </a:lnTo>
                  <a:lnTo>
                    <a:pt x="4056" y="4451"/>
                  </a:lnTo>
                  <a:lnTo>
                    <a:pt x="4050" y="4458"/>
                  </a:lnTo>
                  <a:lnTo>
                    <a:pt x="4045" y="4466"/>
                  </a:lnTo>
                  <a:lnTo>
                    <a:pt x="4039" y="4473"/>
                  </a:lnTo>
                  <a:lnTo>
                    <a:pt x="4035" y="4481"/>
                  </a:lnTo>
                  <a:lnTo>
                    <a:pt x="4032" y="4490"/>
                  </a:lnTo>
                  <a:lnTo>
                    <a:pt x="4029" y="4499"/>
                  </a:lnTo>
                  <a:lnTo>
                    <a:pt x="4028" y="4509"/>
                  </a:lnTo>
                  <a:lnTo>
                    <a:pt x="4026" y="4520"/>
                  </a:lnTo>
                  <a:lnTo>
                    <a:pt x="4028" y="4531"/>
                  </a:lnTo>
                  <a:lnTo>
                    <a:pt x="4031" y="4539"/>
                  </a:lnTo>
                  <a:lnTo>
                    <a:pt x="4035" y="4548"/>
                  </a:lnTo>
                  <a:lnTo>
                    <a:pt x="4041" y="4554"/>
                  </a:lnTo>
                  <a:lnTo>
                    <a:pt x="4047" y="4562"/>
                  </a:lnTo>
                  <a:lnTo>
                    <a:pt x="4055" y="4567"/>
                  </a:lnTo>
                  <a:lnTo>
                    <a:pt x="4062" y="4574"/>
                  </a:lnTo>
                  <a:lnTo>
                    <a:pt x="4070" y="4579"/>
                  </a:lnTo>
                  <a:lnTo>
                    <a:pt x="4078" y="4586"/>
                  </a:lnTo>
                  <a:lnTo>
                    <a:pt x="4086" y="4591"/>
                  </a:lnTo>
                  <a:lnTo>
                    <a:pt x="4093" y="4598"/>
                  </a:lnTo>
                  <a:lnTo>
                    <a:pt x="4100" y="4604"/>
                  </a:lnTo>
                  <a:lnTo>
                    <a:pt x="4105" y="4612"/>
                  </a:lnTo>
                  <a:lnTo>
                    <a:pt x="4110" y="4620"/>
                  </a:lnTo>
                  <a:lnTo>
                    <a:pt x="4113" y="4629"/>
                  </a:lnTo>
                  <a:lnTo>
                    <a:pt x="4114" y="4639"/>
                  </a:lnTo>
                  <a:lnTo>
                    <a:pt x="4114" y="4654"/>
                  </a:lnTo>
                  <a:lnTo>
                    <a:pt x="4113" y="4668"/>
                  </a:lnTo>
                  <a:lnTo>
                    <a:pt x="4112" y="4682"/>
                  </a:lnTo>
                  <a:lnTo>
                    <a:pt x="4110" y="4695"/>
                  </a:lnTo>
                  <a:lnTo>
                    <a:pt x="4106" y="4707"/>
                  </a:lnTo>
                  <a:lnTo>
                    <a:pt x="4101" y="4717"/>
                  </a:lnTo>
                  <a:lnTo>
                    <a:pt x="4097" y="4723"/>
                  </a:lnTo>
                  <a:lnTo>
                    <a:pt x="4093" y="4728"/>
                  </a:lnTo>
                  <a:lnTo>
                    <a:pt x="4088" y="4734"/>
                  </a:lnTo>
                  <a:lnTo>
                    <a:pt x="4083" y="4739"/>
                  </a:lnTo>
                  <a:lnTo>
                    <a:pt x="4073" y="4747"/>
                  </a:lnTo>
                  <a:lnTo>
                    <a:pt x="4063" y="4754"/>
                  </a:lnTo>
                  <a:lnTo>
                    <a:pt x="4060" y="4758"/>
                  </a:lnTo>
                  <a:lnTo>
                    <a:pt x="4057" y="4763"/>
                  </a:lnTo>
                  <a:lnTo>
                    <a:pt x="4056" y="4768"/>
                  </a:lnTo>
                  <a:lnTo>
                    <a:pt x="4055" y="4775"/>
                  </a:lnTo>
                  <a:lnTo>
                    <a:pt x="4055" y="4790"/>
                  </a:lnTo>
                  <a:lnTo>
                    <a:pt x="4055" y="4803"/>
                  </a:lnTo>
                  <a:lnTo>
                    <a:pt x="4055" y="4817"/>
                  </a:lnTo>
                  <a:lnTo>
                    <a:pt x="4055" y="4832"/>
                  </a:lnTo>
                  <a:lnTo>
                    <a:pt x="4055" y="4837"/>
                  </a:lnTo>
                  <a:lnTo>
                    <a:pt x="4053" y="4842"/>
                  </a:lnTo>
                  <a:lnTo>
                    <a:pt x="4052" y="4846"/>
                  </a:lnTo>
                  <a:lnTo>
                    <a:pt x="4050" y="4849"/>
                  </a:lnTo>
                  <a:lnTo>
                    <a:pt x="4046" y="4857"/>
                  </a:lnTo>
                  <a:lnTo>
                    <a:pt x="4039" y="4863"/>
                  </a:lnTo>
                  <a:lnTo>
                    <a:pt x="4026" y="4875"/>
                  </a:lnTo>
                  <a:lnTo>
                    <a:pt x="4012" y="4890"/>
                  </a:lnTo>
                  <a:lnTo>
                    <a:pt x="4002" y="4904"/>
                  </a:lnTo>
                  <a:lnTo>
                    <a:pt x="3990" y="4916"/>
                  </a:lnTo>
                  <a:lnTo>
                    <a:pt x="3978" y="4928"/>
                  </a:lnTo>
                  <a:lnTo>
                    <a:pt x="3965" y="4938"/>
                  </a:lnTo>
                  <a:lnTo>
                    <a:pt x="3940" y="4956"/>
                  </a:lnTo>
                  <a:lnTo>
                    <a:pt x="3915" y="4973"/>
                  </a:lnTo>
                  <a:lnTo>
                    <a:pt x="3890" y="4991"/>
                  </a:lnTo>
                  <a:lnTo>
                    <a:pt x="3866" y="5010"/>
                  </a:lnTo>
                  <a:lnTo>
                    <a:pt x="3854" y="5021"/>
                  </a:lnTo>
                  <a:lnTo>
                    <a:pt x="3843" y="5033"/>
                  </a:lnTo>
                  <a:lnTo>
                    <a:pt x="3832" y="5046"/>
                  </a:lnTo>
                  <a:lnTo>
                    <a:pt x="3822" y="5061"/>
                  </a:lnTo>
                  <a:lnTo>
                    <a:pt x="3800" y="5099"/>
                  </a:lnTo>
                  <a:lnTo>
                    <a:pt x="3781" y="5133"/>
                  </a:lnTo>
                  <a:lnTo>
                    <a:pt x="3763" y="5169"/>
                  </a:lnTo>
                  <a:lnTo>
                    <a:pt x="3744" y="5210"/>
                  </a:lnTo>
                  <a:lnTo>
                    <a:pt x="3733" y="5228"/>
                  </a:lnTo>
                  <a:lnTo>
                    <a:pt x="3721" y="5244"/>
                  </a:lnTo>
                  <a:lnTo>
                    <a:pt x="3715" y="5252"/>
                  </a:lnTo>
                  <a:lnTo>
                    <a:pt x="3711" y="5261"/>
                  </a:lnTo>
                  <a:lnTo>
                    <a:pt x="3706" y="5269"/>
                  </a:lnTo>
                  <a:lnTo>
                    <a:pt x="3701" y="5279"/>
                  </a:lnTo>
                  <a:lnTo>
                    <a:pt x="3694" y="5301"/>
                  </a:lnTo>
                  <a:lnTo>
                    <a:pt x="3687" y="5319"/>
                  </a:lnTo>
                  <a:lnTo>
                    <a:pt x="3682" y="5328"/>
                  </a:lnTo>
                  <a:lnTo>
                    <a:pt x="3677" y="5336"/>
                  </a:lnTo>
                  <a:lnTo>
                    <a:pt x="3670" y="5345"/>
                  </a:lnTo>
                  <a:lnTo>
                    <a:pt x="3662" y="5352"/>
                  </a:lnTo>
                  <a:lnTo>
                    <a:pt x="3662" y="5352"/>
                  </a:lnTo>
                  <a:lnTo>
                    <a:pt x="1151" y="5055"/>
                  </a:lnTo>
                  <a:lnTo>
                    <a:pt x="1147" y="5054"/>
                  </a:lnTo>
                  <a:lnTo>
                    <a:pt x="1144" y="5053"/>
                  </a:lnTo>
                  <a:lnTo>
                    <a:pt x="1141" y="5052"/>
                  </a:lnTo>
                  <a:lnTo>
                    <a:pt x="1138" y="5050"/>
                  </a:lnTo>
                  <a:lnTo>
                    <a:pt x="1134" y="5045"/>
                  </a:lnTo>
                  <a:lnTo>
                    <a:pt x="1132" y="5038"/>
                  </a:lnTo>
                  <a:lnTo>
                    <a:pt x="1130" y="5031"/>
                  </a:lnTo>
                  <a:lnTo>
                    <a:pt x="1128" y="5023"/>
                  </a:lnTo>
                  <a:lnTo>
                    <a:pt x="1124" y="5014"/>
                  </a:lnTo>
                  <a:lnTo>
                    <a:pt x="1120" y="5008"/>
                  </a:lnTo>
                  <a:lnTo>
                    <a:pt x="1112" y="4998"/>
                  </a:lnTo>
                  <a:lnTo>
                    <a:pt x="1104" y="4991"/>
                  </a:lnTo>
                  <a:lnTo>
                    <a:pt x="1095" y="4984"/>
                  </a:lnTo>
                  <a:lnTo>
                    <a:pt x="1087" y="4979"/>
                  </a:lnTo>
                  <a:lnTo>
                    <a:pt x="1078" y="4972"/>
                  </a:lnTo>
                  <a:lnTo>
                    <a:pt x="1069" y="4966"/>
                  </a:lnTo>
                  <a:lnTo>
                    <a:pt x="1061" y="4958"/>
                  </a:lnTo>
                  <a:lnTo>
                    <a:pt x="1053" y="4949"/>
                  </a:lnTo>
                  <a:lnTo>
                    <a:pt x="1027" y="4910"/>
                  </a:lnTo>
                  <a:lnTo>
                    <a:pt x="1002" y="4875"/>
                  </a:lnTo>
                  <a:lnTo>
                    <a:pt x="996" y="4868"/>
                  </a:lnTo>
                  <a:lnTo>
                    <a:pt x="988" y="4861"/>
                  </a:lnTo>
                  <a:lnTo>
                    <a:pt x="981" y="4855"/>
                  </a:lnTo>
                  <a:lnTo>
                    <a:pt x="973" y="4849"/>
                  </a:lnTo>
                  <a:lnTo>
                    <a:pt x="963" y="4844"/>
                  </a:lnTo>
                  <a:lnTo>
                    <a:pt x="954" y="4839"/>
                  </a:lnTo>
                  <a:lnTo>
                    <a:pt x="944" y="4836"/>
                  </a:lnTo>
                  <a:lnTo>
                    <a:pt x="932" y="4834"/>
                  </a:lnTo>
                  <a:lnTo>
                    <a:pt x="921" y="4831"/>
                  </a:lnTo>
                  <a:lnTo>
                    <a:pt x="912" y="4828"/>
                  </a:lnTo>
                  <a:lnTo>
                    <a:pt x="902" y="4823"/>
                  </a:lnTo>
                  <a:lnTo>
                    <a:pt x="894" y="4818"/>
                  </a:lnTo>
                  <a:lnTo>
                    <a:pt x="887" y="4811"/>
                  </a:lnTo>
                  <a:lnTo>
                    <a:pt x="880" y="4804"/>
                  </a:lnTo>
                  <a:lnTo>
                    <a:pt x="874" y="4796"/>
                  </a:lnTo>
                  <a:lnTo>
                    <a:pt x="868" y="4788"/>
                  </a:lnTo>
                  <a:lnTo>
                    <a:pt x="849" y="4750"/>
                  </a:lnTo>
                  <a:lnTo>
                    <a:pt x="828" y="4708"/>
                  </a:lnTo>
                  <a:lnTo>
                    <a:pt x="822" y="4694"/>
                  </a:lnTo>
                  <a:lnTo>
                    <a:pt x="815" y="4681"/>
                  </a:lnTo>
                  <a:lnTo>
                    <a:pt x="811" y="4668"/>
                  </a:lnTo>
                  <a:lnTo>
                    <a:pt x="807" y="4656"/>
                  </a:lnTo>
                  <a:lnTo>
                    <a:pt x="798" y="4630"/>
                  </a:lnTo>
                  <a:lnTo>
                    <a:pt x="789" y="4601"/>
                  </a:lnTo>
                  <a:lnTo>
                    <a:pt x="783" y="4587"/>
                  </a:lnTo>
                  <a:lnTo>
                    <a:pt x="775" y="4575"/>
                  </a:lnTo>
                  <a:lnTo>
                    <a:pt x="772" y="4569"/>
                  </a:lnTo>
                  <a:lnTo>
                    <a:pt x="770" y="4563"/>
                  </a:lnTo>
                  <a:lnTo>
                    <a:pt x="768" y="4555"/>
                  </a:lnTo>
                  <a:lnTo>
                    <a:pt x="767" y="4548"/>
                  </a:lnTo>
                  <a:lnTo>
                    <a:pt x="768" y="4540"/>
                  </a:lnTo>
                  <a:lnTo>
                    <a:pt x="769" y="4534"/>
                  </a:lnTo>
                  <a:lnTo>
                    <a:pt x="771" y="4526"/>
                  </a:lnTo>
                  <a:lnTo>
                    <a:pt x="773" y="4521"/>
                  </a:lnTo>
                  <a:lnTo>
                    <a:pt x="780" y="4509"/>
                  </a:lnTo>
                  <a:lnTo>
                    <a:pt x="786" y="4497"/>
                  </a:lnTo>
                  <a:lnTo>
                    <a:pt x="794" y="4486"/>
                  </a:lnTo>
                  <a:lnTo>
                    <a:pt x="800" y="4474"/>
                  </a:lnTo>
                  <a:lnTo>
                    <a:pt x="802" y="4468"/>
                  </a:lnTo>
                  <a:lnTo>
                    <a:pt x="805" y="4461"/>
                  </a:lnTo>
                  <a:lnTo>
                    <a:pt x="806" y="4455"/>
                  </a:lnTo>
                  <a:lnTo>
                    <a:pt x="807" y="4447"/>
                  </a:lnTo>
                  <a:lnTo>
                    <a:pt x="806" y="4437"/>
                  </a:lnTo>
                  <a:lnTo>
                    <a:pt x="805" y="4427"/>
                  </a:lnTo>
                  <a:lnTo>
                    <a:pt x="804" y="4418"/>
                  </a:lnTo>
                  <a:lnTo>
                    <a:pt x="801" y="4410"/>
                  </a:lnTo>
                  <a:lnTo>
                    <a:pt x="795" y="4393"/>
                  </a:lnTo>
                  <a:lnTo>
                    <a:pt x="787" y="4378"/>
                  </a:lnTo>
                  <a:lnTo>
                    <a:pt x="769" y="4348"/>
                  </a:lnTo>
                  <a:lnTo>
                    <a:pt x="747" y="4316"/>
                  </a:lnTo>
                  <a:lnTo>
                    <a:pt x="738" y="4301"/>
                  </a:lnTo>
                  <a:lnTo>
                    <a:pt x="728" y="4286"/>
                  </a:lnTo>
                  <a:lnTo>
                    <a:pt x="718" y="4274"/>
                  </a:lnTo>
                  <a:lnTo>
                    <a:pt x="707" y="4262"/>
                  </a:lnTo>
                  <a:lnTo>
                    <a:pt x="687" y="4238"/>
                  </a:lnTo>
                  <a:lnTo>
                    <a:pt x="663" y="4212"/>
                  </a:lnTo>
                  <a:lnTo>
                    <a:pt x="663" y="4212"/>
                  </a:lnTo>
                  <a:lnTo>
                    <a:pt x="661" y="4197"/>
                  </a:lnTo>
                  <a:lnTo>
                    <a:pt x="658" y="4184"/>
                  </a:lnTo>
                  <a:lnTo>
                    <a:pt x="656" y="4171"/>
                  </a:lnTo>
                  <a:lnTo>
                    <a:pt x="654" y="4156"/>
                  </a:lnTo>
                  <a:lnTo>
                    <a:pt x="656" y="4150"/>
                  </a:lnTo>
                  <a:lnTo>
                    <a:pt x="657" y="4145"/>
                  </a:lnTo>
                  <a:lnTo>
                    <a:pt x="659" y="4140"/>
                  </a:lnTo>
                  <a:lnTo>
                    <a:pt x="661" y="4135"/>
                  </a:lnTo>
                  <a:lnTo>
                    <a:pt x="662" y="4131"/>
                  </a:lnTo>
                  <a:lnTo>
                    <a:pt x="664" y="4126"/>
                  </a:lnTo>
                  <a:lnTo>
                    <a:pt x="665" y="4121"/>
                  </a:lnTo>
                  <a:lnTo>
                    <a:pt x="666" y="4115"/>
                  </a:lnTo>
                  <a:lnTo>
                    <a:pt x="665" y="4107"/>
                  </a:lnTo>
                  <a:lnTo>
                    <a:pt x="663" y="4101"/>
                  </a:lnTo>
                  <a:lnTo>
                    <a:pt x="660" y="4094"/>
                  </a:lnTo>
                  <a:lnTo>
                    <a:pt x="657" y="4088"/>
                  </a:lnTo>
                  <a:lnTo>
                    <a:pt x="653" y="4082"/>
                  </a:lnTo>
                  <a:lnTo>
                    <a:pt x="651" y="4076"/>
                  </a:lnTo>
                  <a:lnTo>
                    <a:pt x="649" y="4069"/>
                  </a:lnTo>
                  <a:lnTo>
                    <a:pt x="648" y="4061"/>
                  </a:lnTo>
                  <a:lnTo>
                    <a:pt x="648" y="4037"/>
                  </a:lnTo>
                  <a:lnTo>
                    <a:pt x="648" y="4015"/>
                  </a:lnTo>
                  <a:lnTo>
                    <a:pt x="648" y="3994"/>
                  </a:lnTo>
                  <a:lnTo>
                    <a:pt x="648" y="3970"/>
                  </a:lnTo>
                  <a:lnTo>
                    <a:pt x="648" y="3964"/>
                  </a:lnTo>
                  <a:lnTo>
                    <a:pt x="649" y="3958"/>
                  </a:lnTo>
                  <a:lnTo>
                    <a:pt x="651" y="3953"/>
                  </a:lnTo>
                  <a:lnTo>
                    <a:pt x="653" y="3947"/>
                  </a:lnTo>
                  <a:lnTo>
                    <a:pt x="659" y="3939"/>
                  </a:lnTo>
                  <a:lnTo>
                    <a:pt x="665" y="3931"/>
                  </a:lnTo>
                  <a:lnTo>
                    <a:pt x="684" y="3916"/>
                  </a:lnTo>
                  <a:lnTo>
                    <a:pt x="703" y="3901"/>
                  </a:lnTo>
                  <a:lnTo>
                    <a:pt x="714" y="3894"/>
                  </a:lnTo>
                  <a:lnTo>
                    <a:pt x="725" y="3887"/>
                  </a:lnTo>
                  <a:lnTo>
                    <a:pt x="730" y="3878"/>
                  </a:lnTo>
                  <a:lnTo>
                    <a:pt x="734" y="3869"/>
                  </a:lnTo>
                  <a:lnTo>
                    <a:pt x="738" y="3859"/>
                  </a:lnTo>
                  <a:lnTo>
                    <a:pt x="742" y="3850"/>
                  </a:lnTo>
                  <a:lnTo>
                    <a:pt x="746" y="3843"/>
                  </a:lnTo>
                  <a:lnTo>
                    <a:pt x="752" y="3836"/>
                  </a:lnTo>
                  <a:lnTo>
                    <a:pt x="754" y="3834"/>
                  </a:lnTo>
                  <a:lnTo>
                    <a:pt x="758" y="3832"/>
                  </a:lnTo>
                  <a:lnTo>
                    <a:pt x="762" y="3831"/>
                  </a:lnTo>
                  <a:lnTo>
                    <a:pt x="767" y="3831"/>
                  </a:lnTo>
                  <a:lnTo>
                    <a:pt x="779" y="3833"/>
                  </a:lnTo>
                  <a:lnTo>
                    <a:pt x="789" y="3836"/>
                  </a:lnTo>
                  <a:lnTo>
                    <a:pt x="1246" y="1998"/>
                  </a:lnTo>
                  <a:lnTo>
                    <a:pt x="1216" y="1987"/>
                  </a:lnTo>
                  <a:lnTo>
                    <a:pt x="1191" y="1976"/>
                  </a:lnTo>
                  <a:lnTo>
                    <a:pt x="1178" y="1972"/>
                  </a:lnTo>
                  <a:lnTo>
                    <a:pt x="1164" y="1968"/>
                  </a:lnTo>
                  <a:lnTo>
                    <a:pt x="1150" y="1964"/>
                  </a:lnTo>
                  <a:lnTo>
                    <a:pt x="1134" y="1961"/>
                  </a:lnTo>
                  <a:lnTo>
                    <a:pt x="1114" y="1960"/>
                  </a:lnTo>
                  <a:lnTo>
                    <a:pt x="1094" y="1960"/>
                  </a:lnTo>
                  <a:lnTo>
                    <a:pt x="1084" y="1960"/>
                  </a:lnTo>
                  <a:lnTo>
                    <a:pt x="1076" y="1959"/>
                  </a:lnTo>
                  <a:lnTo>
                    <a:pt x="1066" y="1957"/>
                  </a:lnTo>
                  <a:lnTo>
                    <a:pt x="1055" y="1953"/>
                  </a:lnTo>
                  <a:lnTo>
                    <a:pt x="1047" y="1947"/>
                  </a:lnTo>
                  <a:lnTo>
                    <a:pt x="1038" y="1940"/>
                  </a:lnTo>
                  <a:lnTo>
                    <a:pt x="1031" y="1932"/>
                  </a:lnTo>
                  <a:lnTo>
                    <a:pt x="1025" y="1923"/>
                  </a:lnTo>
                  <a:lnTo>
                    <a:pt x="1018" y="1916"/>
                  </a:lnTo>
                  <a:lnTo>
                    <a:pt x="1012" y="1908"/>
                  </a:lnTo>
                  <a:lnTo>
                    <a:pt x="1004" y="1902"/>
                  </a:lnTo>
                  <a:lnTo>
                    <a:pt x="994" y="1896"/>
                  </a:lnTo>
                  <a:lnTo>
                    <a:pt x="968" y="1888"/>
                  </a:lnTo>
                  <a:lnTo>
                    <a:pt x="945" y="1881"/>
                  </a:lnTo>
                  <a:lnTo>
                    <a:pt x="933" y="1877"/>
                  </a:lnTo>
                  <a:lnTo>
                    <a:pt x="922" y="1872"/>
                  </a:lnTo>
                  <a:lnTo>
                    <a:pt x="913" y="1864"/>
                  </a:lnTo>
                  <a:lnTo>
                    <a:pt x="902" y="1854"/>
                  </a:lnTo>
                  <a:lnTo>
                    <a:pt x="888" y="1848"/>
                  </a:lnTo>
                  <a:lnTo>
                    <a:pt x="877" y="1839"/>
                  </a:lnTo>
                  <a:lnTo>
                    <a:pt x="867" y="1831"/>
                  </a:lnTo>
                  <a:lnTo>
                    <a:pt x="858" y="1822"/>
                  </a:lnTo>
                  <a:lnTo>
                    <a:pt x="848" y="1814"/>
                  </a:lnTo>
                  <a:lnTo>
                    <a:pt x="837" y="1807"/>
                  </a:lnTo>
                  <a:lnTo>
                    <a:pt x="825" y="1799"/>
                  </a:lnTo>
                  <a:lnTo>
                    <a:pt x="812" y="1793"/>
                  </a:lnTo>
                  <a:lnTo>
                    <a:pt x="799" y="1790"/>
                  </a:lnTo>
                  <a:lnTo>
                    <a:pt x="787" y="1788"/>
                  </a:lnTo>
                  <a:lnTo>
                    <a:pt x="777" y="1788"/>
                  </a:lnTo>
                  <a:lnTo>
                    <a:pt x="766" y="1790"/>
                  </a:lnTo>
                  <a:lnTo>
                    <a:pt x="742" y="1792"/>
                  </a:lnTo>
                  <a:lnTo>
                    <a:pt x="716" y="1793"/>
                  </a:lnTo>
                  <a:lnTo>
                    <a:pt x="692" y="1792"/>
                  </a:lnTo>
                  <a:lnTo>
                    <a:pt x="671" y="1788"/>
                  </a:lnTo>
                  <a:lnTo>
                    <a:pt x="649" y="1786"/>
                  </a:lnTo>
                  <a:lnTo>
                    <a:pt x="624" y="1785"/>
                  </a:lnTo>
                  <a:lnTo>
                    <a:pt x="609" y="1786"/>
                  </a:lnTo>
                  <a:lnTo>
                    <a:pt x="596" y="1790"/>
                  </a:lnTo>
                  <a:lnTo>
                    <a:pt x="583" y="1792"/>
                  </a:lnTo>
                  <a:lnTo>
                    <a:pt x="568" y="1793"/>
                  </a:lnTo>
                  <a:lnTo>
                    <a:pt x="562" y="1793"/>
                  </a:lnTo>
                  <a:lnTo>
                    <a:pt x="556" y="1792"/>
                  </a:lnTo>
                  <a:lnTo>
                    <a:pt x="552" y="1790"/>
                  </a:lnTo>
                  <a:lnTo>
                    <a:pt x="548" y="1787"/>
                  </a:lnTo>
                  <a:lnTo>
                    <a:pt x="539" y="1781"/>
                  </a:lnTo>
                  <a:lnTo>
                    <a:pt x="532" y="1773"/>
                  </a:lnTo>
                  <a:lnTo>
                    <a:pt x="525" y="1765"/>
                  </a:lnTo>
                  <a:lnTo>
                    <a:pt x="518" y="1756"/>
                  </a:lnTo>
                  <a:lnTo>
                    <a:pt x="510" y="1747"/>
                  </a:lnTo>
                  <a:lnTo>
                    <a:pt x="501" y="1740"/>
                  </a:lnTo>
                  <a:lnTo>
                    <a:pt x="485" y="1730"/>
                  </a:lnTo>
                  <a:lnTo>
                    <a:pt x="471" y="1723"/>
                  </a:lnTo>
                  <a:lnTo>
                    <a:pt x="457" y="1715"/>
                  </a:lnTo>
                  <a:lnTo>
                    <a:pt x="443" y="1709"/>
                  </a:lnTo>
                  <a:lnTo>
                    <a:pt x="430" y="1701"/>
                  </a:lnTo>
                  <a:lnTo>
                    <a:pt x="416" y="1693"/>
                  </a:lnTo>
                  <a:lnTo>
                    <a:pt x="403" y="1684"/>
                  </a:lnTo>
                  <a:lnTo>
                    <a:pt x="389" y="1673"/>
                  </a:lnTo>
                  <a:lnTo>
                    <a:pt x="373" y="1660"/>
                  </a:lnTo>
                  <a:lnTo>
                    <a:pt x="356" y="1650"/>
                  </a:lnTo>
                  <a:lnTo>
                    <a:pt x="349" y="1645"/>
                  </a:lnTo>
                  <a:lnTo>
                    <a:pt x="341" y="1639"/>
                  </a:lnTo>
                  <a:lnTo>
                    <a:pt x="334" y="1633"/>
                  </a:lnTo>
                  <a:lnTo>
                    <a:pt x="327" y="1625"/>
                  </a:lnTo>
                  <a:lnTo>
                    <a:pt x="323" y="1619"/>
                  </a:lnTo>
                  <a:lnTo>
                    <a:pt x="320" y="1612"/>
                  </a:lnTo>
                  <a:lnTo>
                    <a:pt x="319" y="1606"/>
                  </a:lnTo>
                  <a:lnTo>
                    <a:pt x="318" y="1598"/>
                  </a:lnTo>
                  <a:lnTo>
                    <a:pt x="318" y="1584"/>
                  </a:lnTo>
                  <a:lnTo>
                    <a:pt x="315" y="1569"/>
                  </a:lnTo>
                  <a:lnTo>
                    <a:pt x="312" y="1553"/>
                  </a:lnTo>
                  <a:lnTo>
                    <a:pt x="308" y="1540"/>
                  </a:lnTo>
                  <a:lnTo>
                    <a:pt x="305" y="1526"/>
                  </a:lnTo>
                  <a:lnTo>
                    <a:pt x="301" y="1510"/>
                  </a:lnTo>
                  <a:lnTo>
                    <a:pt x="300" y="1504"/>
                  </a:lnTo>
                  <a:lnTo>
                    <a:pt x="299" y="1500"/>
                  </a:lnTo>
                  <a:lnTo>
                    <a:pt x="297" y="1496"/>
                  </a:lnTo>
                  <a:lnTo>
                    <a:pt x="294" y="1493"/>
                  </a:lnTo>
                  <a:lnTo>
                    <a:pt x="286" y="1486"/>
                  </a:lnTo>
                  <a:lnTo>
                    <a:pt x="278" y="1482"/>
                  </a:lnTo>
                  <a:lnTo>
                    <a:pt x="257" y="1475"/>
                  </a:lnTo>
                  <a:lnTo>
                    <a:pt x="234" y="1471"/>
                  </a:lnTo>
                  <a:lnTo>
                    <a:pt x="228" y="1469"/>
                  </a:lnTo>
                  <a:lnTo>
                    <a:pt x="221" y="1467"/>
                  </a:lnTo>
                  <a:lnTo>
                    <a:pt x="216" y="1463"/>
                  </a:lnTo>
                  <a:lnTo>
                    <a:pt x="211" y="1459"/>
                  </a:lnTo>
                  <a:lnTo>
                    <a:pt x="201" y="1451"/>
                  </a:lnTo>
                  <a:lnTo>
                    <a:pt x="193" y="1441"/>
                  </a:lnTo>
                  <a:lnTo>
                    <a:pt x="179" y="1419"/>
                  </a:lnTo>
                  <a:lnTo>
                    <a:pt x="164" y="1395"/>
                  </a:lnTo>
                  <a:lnTo>
                    <a:pt x="157" y="1386"/>
                  </a:lnTo>
                  <a:lnTo>
                    <a:pt x="148" y="1378"/>
                  </a:lnTo>
                  <a:lnTo>
                    <a:pt x="138" y="1372"/>
                  </a:lnTo>
                  <a:lnTo>
                    <a:pt x="128" y="1364"/>
                  </a:lnTo>
                  <a:lnTo>
                    <a:pt x="118" y="1355"/>
                  </a:lnTo>
                  <a:lnTo>
                    <a:pt x="109" y="1346"/>
                  </a:lnTo>
                  <a:lnTo>
                    <a:pt x="101" y="1336"/>
                  </a:lnTo>
                  <a:lnTo>
                    <a:pt x="95" y="1325"/>
                  </a:lnTo>
                  <a:lnTo>
                    <a:pt x="89" y="1315"/>
                  </a:lnTo>
                  <a:lnTo>
                    <a:pt x="81" y="1305"/>
                  </a:lnTo>
                  <a:lnTo>
                    <a:pt x="73" y="1294"/>
                  </a:lnTo>
                  <a:lnTo>
                    <a:pt x="64" y="1283"/>
                  </a:lnTo>
                  <a:lnTo>
                    <a:pt x="51" y="1271"/>
                  </a:lnTo>
                  <a:lnTo>
                    <a:pt x="40" y="1258"/>
                  </a:lnTo>
                  <a:lnTo>
                    <a:pt x="36" y="1252"/>
                  </a:lnTo>
                  <a:lnTo>
                    <a:pt x="32" y="1244"/>
                  </a:lnTo>
                  <a:lnTo>
                    <a:pt x="30" y="1237"/>
                  </a:lnTo>
                  <a:lnTo>
                    <a:pt x="30" y="1228"/>
                  </a:lnTo>
                  <a:lnTo>
                    <a:pt x="30" y="1202"/>
                  </a:lnTo>
                  <a:lnTo>
                    <a:pt x="30" y="1179"/>
                  </a:lnTo>
                  <a:lnTo>
                    <a:pt x="30" y="1157"/>
                  </a:lnTo>
                  <a:lnTo>
                    <a:pt x="30" y="1131"/>
                  </a:lnTo>
                  <a:lnTo>
                    <a:pt x="29" y="1107"/>
                  </a:lnTo>
                  <a:lnTo>
                    <a:pt x="27" y="1085"/>
                  </a:lnTo>
                  <a:lnTo>
                    <a:pt x="25" y="1064"/>
                  </a:lnTo>
                  <a:lnTo>
                    <a:pt x="25" y="1039"/>
                  </a:lnTo>
                  <a:lnTo>
                    <a:pt x="0" y="544"/>
                  </a:lnTo>
                  <a:lnTo>
                    <a:pt x="0" y="544"/>
                  </a:lnTo>
                  <a:lnTo>
                    <a:pt x="3" y="546"/>
                  </a:lnTo>
                  <a:lnTo>
                    <a:pt x="8" y="549"/>
                  </a:lnTo>
                  <a:lnTo>
                    <a:pt x="16" y="553"/>
                  </a:lnTo>
                  <a:lnTo>
                    <a:pt x="25" y="555"/>
                  </a:lnTo>
                  <a:lnTo>
                    <a:pt x="33" y="556"/>
                  </a:lnTo>
                  <a:lnTo>
                    <a:pt x="41" y="557"/>
                  </a:lnTo>
                  <a:lnTo>
                    <a:pt x="58" y="557"/>
                  </a:lnTo>
                  <a:lnTo>
                    <a:pt x="78" y="560"/>
                  </a:lnTo>
                  <a:lnTo>
                    <a:pt x="116" y="569"/>
                  </a:lnTo>
                  <a:lnTo>
                    <a:pt x="149" y="578"/>
                  </a:lnTo>
                  <a:lnTo>
                    <a:pt x="165" y="581"/>
                  </a:lnTo>
                  <a:lnTo>
                    <a:pt x="182" y="583"/>
                  </a:lnTo>
                  <a:lnTo>
                    <a:pt x="200" y="584"/>
                  </a:lnTo>
                  <a:lnTo>
                    <a:pt x="220" y="585"/>
                  </a:lnTo>
                  <a:lnTo>
                    <a:pt x="227" y="585"/>
                  </a:lnTo>
                  <a:lnTo>
                    <a:pt x="232" y="584"/>
                  </a:lnTo>
                  <a:lnTo>
                    <a:pt x="238" y="583"/>
                  </a:lnTo>
                  <a:lnTo>
                    <a:pt x="242" y="581"/>
                  </a:lnTo>
                  <a:lnTo>
                    <a:pt x="252" y="576"/>
                  </a:lnTo>
                  <a:lnTo>
                    <a:pt x="260" y="569"/>
                  </a:lnTo>
                  <a:lnTo>
                    <a:pt x="275" y="554"/>
                  </a:lnTo>
                  <a:lnTo>
                    <a:pt x="294" y="538"/>
                  </a:lnTo>
                  <a:lnTo>
                    <a:pt x="310" y="525"/>
                  </a:lnTo>
                  <a:lnTo>
                    <a:pt x="326" y="515"/>
                  </a:lnTo>
                  <a:lnTo>
                    <a:pt x="342" y="506"/>
                  </a:lnTo>
                  <a:lnTo>
                    <a:pt x="359" y="500"/>
                  </a:lnTo>
                  <a:lnTo>
                    <a:pt x="376" y="495"/>
                  </a:lnTo>
                  <a:lnTo>
                    <a:pt x="393" y="489"/>
                  </a:lnTo>
                  <a:lnTo>
                    <a:pt x="413" y="485"/>
                  </a:lnTo>
                  <a:lnTo>
                    <a:pt x="433" y="482"/>
                  </a:lnTo>
                  <a:lnTo>
                    <a:pt x="501" y="490"/>
                  </a:lnTo>
                  <a:lnTo>
                    <a:pt x="540" y="490"/>
                  </a:lnTo>
                  <a:lnTo>
                    <a:pt x="540" y="479"/>
                  </a:lnTo>
                  <a:lnTo>
                    <a:pt x="542" y="470"/>
                  </a:lnTo>
                  <a:lnTo>
                    <a:pt x="544" y="460"/>
                  </a:lnTo>
                  <a:lnTo>
                    <a:pt x="548" y="451"/>
                  </a:lnTo>
                  <a:lnTo>
                    <a:pt x="553" y="444"/>
                  </a:lnTo>
                  <a:lnTo>
                    <a:pt x="558" y="436"/>
                  </a:lnTo>
                  <a:lnTo>
                    <a:pt x="565" y="429"/>
                  </a:lnTo>
                  <a:lnTo>
                    <a:pt x="573" y="423"/>
                  </a:lnTo>
                  <a:lnTo>
                    <a:pt x="581" y="418"/>
                  </a:lnTo>
                  <a:lnTo>
                    <a:pt x="589" y="415"/>
                  </a:lnTo>
                  <a:lnTo>
                    <a:pt x="595" y="413"/>
                  </a:lnTo>
                  <a:lnTo>
                    <a:pt x="603" y="410"/>
                  </a:lnTo>
                  <a:lnTo>
                    <a:pt x="617" y="408"/>
                  </a:lnTo>
                  <a:lnTo>
                    <a:pt x="632" y="407"/>
                  </a:lnTo>
                  <a:lnTo>
                    <a:pt x="646" y="407"/>
                  </a:lnTo>
                  <a:lnTo>
                    <a:pt x="661" y="407"/>
                  </a:lnTo>
                  <a:lnTo>
                    <a:pt x="677" y="406"/>
                  </a:lnTo>
                  <a:lnTo>
                    <a:pt x="694" y="403"/>
                  </a:lnTo>
                  <a:lnTo>
                    <a:pt x="707" y="400"/>
                  </a:lnTo>
                  <a:lnTo>
                    <a:pt x="718" y="393"/>
                  </a:lnTo>
                  <a:lnTo>
                    <a:pt x="729" y="387"/>
                  </a:lnTo>
                  <a:lnTo>
                    <a:pt x="739" y="379"/>
                  </a:lnTo>
                  <a:lnTo>
                    <a:pt x="756" y="361"/>
                  </a:lnTo>
                  <a:lnTo>
                    <a:pt x="772" y="342"/>
                  </a:lnTo>
                  <a:lnTo>
                    <a:pt x="780" y="333"/>
                  </a:lnTo>
                  <a:lnTo>
                    <a:pt x="787" y="324"/>
                  </a:lnTo>
                  <a:lnTo>
                    <a:pt x="796" y="315"/>
                  </a:lnTo>
                  <a:lnTo>
                    <a:pt x="806" y="309"/>
                  </a:lnTo>
                  <a:lnTo>
                    <a:pt x="815" y="302"/>
                  </a:lnTo>
                  <a:lnTo>
                    <a:pt x="826" y="298"/>
                  </a:lnTo>
                  <a:lnTo>
                    <a:pt x="838" y="295"/>
                  </a:lnTo>
                  <a:lnTo>
                    <a:pt x="851" y="294"/>
                  </a:lnTo>
                  <a:lnTo>
                    <a:pt x="866" y="294"/>
                  </a:lnTo>
                  <a:lnTo>
                    <a:pt x="880" y="295"/>
                  </a:lnTo>
                  <a:lnTo>
                    <a:pt x="887" y="296"/>
                  </a:lnTo>
                  <a:lnTo>
                    <a:pt x="893" y="297"/>
                  </a:lnTo>
                  <a:lnTo>
                    <a:pt x="900" y="299"/>
                  </a:lnTo>
                  <a:lnTo>
                    <a:pt x="907" y="302"/>
                  </a:lnTo>
                  <a:lnTo>
                    <a:pt x="917" y="314"/>
                  </a:lnTo>
                  <a:lnTo>
                    <a:pt x="927" y="325"/>
                  </a:lnTo>
                  <a:lnTo>
                    <a:pt x="953" y="333"/>
                  </a:lnTo>
                  <a:lnTo>
                    <a:pt x="976" y="337"/>
                  </a:lnTo>
                  <a:lnTo>
                    <a:pt x="988" y="339"/>
                  </a:lnTo>
                  <a:lnTo>
                    <a:pt x="1001" y="340"/>
                  </a:lnTo>
                  <a:lnTo>
                    <a:pt x="1014" y="341"/>
                  </a:lnTo>
                  <a:lnTo>
                    <a:pt x="1028" y="341"/>
                  </a:lnTo>
                  <a:lnTo>
                    <a:pt x="1044" y="341"/>
                  </a:lnTo>
                  <a:lnTo>
                    <a:pt x="1058" y="341"/>
                  </a:lnTo>
                  <a:lnTo>
                    <a:pt x="1072" y="341"/>
                  </a:lnTo>
                  <a:lnTo>
                    <a:pt x="1089" y="341"/>
                  </a:lnTo>
                  <a:lnTo>
                    <a:pt x="1093" y="341"/>
                  </a:lnTo>
                  <a:lnTo>
                    <a:pt x="1096" y="339"/>
                  </a:lnTo>
                  <a:lnTo>
                    <a:pt x="1098" y="336"/>
                  </a:lnTo>
                  <a:lnTo>
                    <a:pt x="1102" y="333"/>
                  </a:lnTo>
                  <a:lnTo>
                    <a:pt x="1106" y="325"/>
                  </a:lnTo>
                  <a:lnTo>
                    <a:pt x="1111" y="320"/>
                  </a:lnTo>
                  <a:lnTo>
                    <a:pt x="1129" y="309"/>
                  </a:lnTo>
                  <a:lnTo>
                    <a:pt x="1146" y="300"/>
                  </a:lnTo>
                  <a:lnTo>
                    <a:pt x="1162" y="292"/>
                  </a:lnTo>
                  <a:lnTo>
                    <a:pt x="1179" y="280"/>
                  </a:lnTo>
                  <a:lnTo>
                    <a:pt x="1179" y="280"/>
                  </a:lnTo>
                  <a:lnTo>
                    <a:pt x="1191" y="286"/>
                  </a:lnTo>
                  <a:lnTo>
                    <a:pt x="1202" y="292"/>
                  </a:lnTo>
                  <a:lnTo>
                    <a:pt x="1214" y="296"/>
                  </a:lnTo>
                  <a:lnTo>
                    <a:pt x="1226" y="300"/>
                  </a:lnTo>
                  <a:lnTo>
                    <a:pt x="1249" y="308"/>
                  </a:lnTo>
                  <a:lnTo>
                    <a:pt x="1274" y="313"/>
                  </a:lnTo>
                  <a:lnTo>
                    <a:pt x="1301" y="322"/>
                  </a:lnTo>
                  <a:lnTo>
                    <a:pt x="1324" y="329"/>
                  </a:lnTo>
                  <a:lnTo>
                    <a:pt x="1336" y="333"/>
                  </a:lnTo>
                  <a:lnTo>
                    <a:pt x="1348" y="336"/>
                  </a:lnTo>
                  <a:lnTo>
                    <a:pt x="1361" y="338"/>
                  </a:lnTo>
                  <a:lnTo>
                    <a:pt x="1375" y="339"/>
                  </a:lnTo>
                  <a:lnTo>
                    <a:pt x="1380" y="338"/>
                  </a:lnTo>
                  <a:lnTo>
                    <a:pt x="1385" y="338"/>
                  </a:lnTo>
                  <a:lnTo>
                    <a:pt x="1390" y="336"/>
                  </a:lnTo>
                  <a:lnTo>
                    <a:pt x="1393" y="335"/>
                  </a:lnTo>
                  <a:lnTo>
                    <a:pt x="1402" y="329"/>
                  </a:lnTo>
                  <a:lnTo>
                    <a:pt x="1408" y="322"/>
                  </a:lnTo>
                  <a:lnTo>
                    <a:pt x="1413" y="314"/>
                  </a:lnTo>
                  <a:lnTo>
                    <a:pt x="1417" y="306"/>
                  </a:lnTo>
                  <a:lnTo>
                    <a:pt x="1419" y="296"/>
                  </a:lnTo>
                  <a:lnTo>
                    <a:pt x="1420" y="285"/>
                  </a:lnTo>
                  <a:lnTo>
                    <a:pt x="1419" y="282"/>
                  </a:lnTo>
                  <a:lnTo>
                    <a:pt x="1417" y="279"/>
                  </a:lnTo>
                  <a:lnTo>
                    <a:pt x="1415" y="276"/>
                  </a:lnTo>
                  <a:lnTo>
                    <a:pt x="1412" y="275"/>
                  </a:lnTo>
                  <a:lnTo>
                    <a:pt x="1404" y="271"/>
                  </a:lnTo>
                  <a:lnTo>
                    <a:pt x="1398" y="266"/>
                  </a:lnTo>
                  <a:lnTo>
                    <a:pt x="1386" y="251"/>
                  </a:lnTo>
                  <a:lnTo>
                    <a:pt x="1373" y="239"/>
                  </a:lnTo>
                  <a:lnTo>
                    <a:pt x="1360" y="227"/>
                  </a:lnTo>
                  <a:lnTo>
                    <a:pt x="1347" y="215"/>
                  </a:lnTo>
                  <a:lnTo>
                    <a:pt x="1341" y="209"/>
                  </a:lnTo>
                  <a:lnTo>
                    <a:pt x="1336" y="203"/>
                  </a:lnTo>
                  <a:lnTo>
                    <a:pt x="1332" y="197"/>
                  </a:lnTo>
                  <a:lnTo>
                    <a:pt x="1327" y="190"/>
                  </a:lnTo>
                  <a:lnTo>
                    <a:pt x="1324" y="182"/>
                  </a:lnTo>
                  <a:lnTo>
                    <a:pt x="1321" y="175"/>
                  </a:lnTo>
                  <a:lnTo>
                    <a:pt x="1320" y="166"/>
                  </a:lnTo>
                  <a:lnTo>
                    <a:pt x="1319" y="157"/>
                  </a:lnTo>
                  <a:lnTo>
                    <a:pt x="1320" y="151"/>
                  </a:lnTo>
                  <a:lnTo>
                    <a:pt x="1321" y="146"/>
                  </a:lnTo>
                  <a:lnTo>
                    <a:pt x="1322" y="140"/>
                  </a:lnTo>
                  <a:lnTo>
                    <a:pt x="1324" y="136"/>
                  </a:lnTo>
                  <a:lnTo>
                    <a:pt x="1331" y="128"/>
                  </a:lnTo>
                  <a:lnTo>
                    <a:pt x="1337" y="121"/>
                  </a:lnTo>
                  <a:lnTo>
                    <a:pt x="1346" y="114"/>
                  </a:lnTo>
                  <a:lnTo>
                    <a:pt x="1354" y="107"/>
                  </a:lnTo>
                  <a:lnTo>
                    <a:pt x="1362" y="98"/>
                  </a:lnTo>
                  <a:lnTo>
                    <a:pt x="1369" y="90"/>
                  </a:lnTo>
                  <a:lnTo>
                    <a:pt x="1376" y="79"/>
                  </a:lnTo>
                  <a:lnTo>
                    <a:pt x="1379" y="68"/>
                  </a:lnTo>
                  <a:lnTo>
                    <a:pt x="1381" y="58"/>
                  </a:lnTo>
                  <a:lnTo>
                    <a:pt x="1384" y="47"/>
                  </a:lnTo>
                  <a:lnTo>
                    <a:pt x="1386" y="38"/>
                  </a:lnTo>
                  <a:lnTo>
                    <a:pt x="1390" y="29"/>
                  </a:lnTo>
                  <a:lnTo>
                    <a:pt x="1392" y="24"/>
                  </a:lnTo>
                  <a:lnTo>
                    <a:pt x="1395" y="19"/>
                  </a:lnTo>
                  <a:lnTo>
                    <a:pt x="1399" y="15"/>
                  </a:lnTo>
                  <a:lnTo>
                    <a:pt x="1403" y="11"/>
                  </a:lnTo>
                  <a:lnTo>
                    <a:pt x="1429" y="22"/>
                  </a:lnTo>
                  <a:lnTo>
                    <a:pt x="1453" y="30"/>
                  </a:lnTo>
                  <a:lnTo>
                    <a:pt x="1475" y="37"/>
                  </a:lnTo>
                  <a:lnTo>
                    <a:pt x="1498" y="43"/>
                  </a:lnTo>
                  <a:lnTo>
                    <a:pt x="1521" y="47"/>
                  </a:lnTo>
                  <a:lnTo>
                    <a:pt x="1543" y="51"/>
                  </a:lnTo>
                  <a:lnTo>
                    <a:pt x="1569" y="52"/>
                  </a:lnTo>
                  <a:lnTo>
                    <a:pt x="1596" y="53"/>
                  </a:lnTo>
                  <a:lnTo>
                    <a:pt x="1609" y="52"/>
                  </a:lnTo>
                  <a:lnTo>
                    <a:pt x="1621" y="51"/>
                  </a:lnTo>
                  <a:lnTo>
                    <a:pt x="1633" y="47"/>
                  </a:lnTo>
                  <a:lnTo>
                    <a:pt x="1644" y="44"/>
                  </a:lnTo>
                  <a:lnTo>
                    <a:pt x="1664" y="36"/>
                  </a:lnTo>
                  <a:lnTo>
                    <a:pt x="1684" y="26"/>
                  </a:lnTo>
                  <a:lnTo>
                    <a:pt x="1703" y="16"/>
                  </a:lnTo>
                  <a:lnTo>
                    <a:pt x="1724" y="8"/>
                  </a:lnTo>
                  <a:lnTo>
                    <a:pt x="1735" y="4"/>
                  </a:lnTo>
                  <a:lnTo>
                    <a:pt x="1745" y="2"/>
                  </a:lnTo>
                  <a:lnTo>
                    <a:pt x="1757" y="0"/>
                  </a:lnTo>
                  <a:lnTo>
                    <a:pt x="1770" y="0"/>
                  </a:lnTo>
                  <a:lnTo>
                    <a:pt x="1782" y="0"/>
                  </a:lnTo>
                  <a:lnTo>
                    <a:pt x="1793" y="2"/>
                  </a:lnTo>
                  <a:lnTo>
                    <a:pt x="1803" y="5"/>
                  </a:lnTo>
                  <a:lnTo>
                    <a:pt x="1811" y="10"/>
                  </a:lnTo>
                  <a:lnTo>
                    <a:pt x="1820" y="15"/>
                  </a:lnTo>
                  <a:lnTo>
                    <a:pt x="1829" y="22"/>
                  </a:lnTo>
                  <a:lnTo>
                    <a:pt x="1837" y="29"/>
                  </a:lnTo>
                  <a:lnTo>
                    <a:pt x="1846" y="36"/>
                  </a:lnTo>
                  <a:lnTo>
                    <a:pt x="1853" y="42"/>
                  </a:lnTo>
                  <a:lnTo>
                    <a:pt x="1861" y="45"/>
                  </a:lnTo>
                  <a:lnTo>
                    <a:pt x="1868" y="50"/>
                  </a:lnTo>
                  <a:lnTo>
                    <a:pt x="1876" y="53"/>
                  </a:lnTo>
                  <a:lnTo>
                    <a:pt x="1884" y="55"/>
                  </a:lnTo>
                  <a:lnTo>
                    <a:pt x="1891" y="59"/>
                  </a:lnTo>
                  <a:lnTo>
                    <a:pt x="1898" y="64"/>
                  </a:lnTo>
                  <a:lnTo>
                    <a:pt x="1905" y="70"/>
                  </a:lnTo>
                  <a:lnTo>
                    <a:pt x="1916" y="81"/>
                  </a:lnTo>
                  <a:lnTo>
                    <a:pt x="1927" y="92"/>
                  </a:lnTo>
                  <a:lnTo>
                    <a:pt x="1938" y="103"/>
                  </a:lnTo>
                  <a:lnTo>
                    <a:pt x="1947" y="111"/>
                  </a:lnTo>
                  <a:lnTo>
                    <a:pt x="1947" y="111"/>
                  </a:lnTo>
                  <a:lnTo>
                    <a:pt x="1945" y="145"/>
                  </a:lnTo>
                  <a:lnTo>
                    <a:pt x="1942" y="174"/>
                  </a:lnTo>
                  <a:lnTo>
                    <a:pt x="1940" y="188"/>
                  </a:lnTo>
                  <a:lnTo>
                    <a:pt x="1937" y="203"/>
                  </a:lnTo>
                  <a:lnTo>
                    <a:pt x="1932" y="218"/>
                  </a:lnTo>
                  <a:lnTo>
                    <a:pt x="1928" y="235"/>
                  </a:lnTo>
                  <a:lnTo>
                    <a:pt x="1919" y="255"/>
                  </a:lnTo>
                  <a:lnTo>
                    <a:pt x="1910" y="272"/>
                  </a:lnTo>
                  <a:lnTo>
                    <a:pt x="1905" y="281"/>
                  </a:lnTo>
                  <a:lnTo>
                    <a:pt x="1902" y="289"/>
                  </a:lnTo>
                  <a:lnTo>
                    <a:pt x="1900" y="299"/>
                  </a:lnTo>
                  <a:lnTo>
                    <a:pt x="1900" y="311"/>
                  </a:lnTo>
                  <a:lnTo>
                    <a:pt x="1900" y="316"/>
                  </a:lnTo>
                  <a:lnTo>
                    <a:pt x="1902" y="321"/>
                  </a:lnTo>
                  <a:lnTo>
                    <a:pt x="1906" y="324"/>
                  </a:lnTo>
                  <a:lnTo>
                    <a:pt x="1910" y="327"/>
                  </a:lnTo>
                  <a:lnTo>
                    <a:pt x="1920" y="333"/>
                  </a:lnTo>
                  <a:lnTo>
                    <a:pt x="1930" y="339"/>
                  </a:lnTo>
                  <a:lnTo>
                    <a:pt x="1961" y="361"/>
                  </a:lnTo>
                  <a:lnTo>
                    <a:pt x="1988" y="380"/>
                  </a:lnTo>
                  <a:lnTo>
                    <a:pt x="2001" y="390"/>
                  </a:lnTo>
                  <a:lnTo>
                    <a:pt x="2014" y="402"/>
                  </a:lnTo>
                  <a:lnTo>
                    <a:pt x="2027" y="414"/>
                  </a:lnTo>
                  <a:lnTo>
                    <a:pt x="2039" y="429"/>
                  </a:lnTo>
                  <a:lnTo>
                    <a:pt x="2048" y="438"/>
                  </a:lnTo>
                  <a:lnTo>
                    <a:pt x="2054" y="449"/>
                  </a:lnTo>
                  <a:lnTo>
                    <a:pt x="2061" y="459"/>
                  </a:lnTo>
                  <a:lnTo>
                    <a:pt x="2066" y="469"/>
                  </a:lnTo>
                  <a:lnTo>
                    <a:pt x="2070" y="479"/>
                  </a:lnTo>
                  <a:lnTo>
                    <a:pt x="2075" y="489"/>
                  </a:lnTo>
                  <a:lnTo>
                    <a:pt x="2078" y="500"/>
                  </a:lnTo>
                  <a:lnTo>
                    <a:pt x="2080" y="511"/>
                  </a:lnTo>
                  <a:lnTo>
                    <a:pt x="2086" y="532"/>
                  </a:lnTo>
                  <a:lnTo>
                    <a:pt x="2089" y="555"/>
                  </a:lnTo>
                  <a:lnTo>
                    <a:pt x="2092" y="579"/>
                  </a:lnTo>
                  <a:lnTo>
                    <a:pt x="2095" y="605"/>
                  </a:lnTo>
                  <a:lnTo>
                    <a:pt x="2099" y="617"/>
                  </a:lnTo>
                  <a:lnTo>
                    <a:pt x="2102" y="627"/>
                  </a:lnTo>
                  <a:lnTo>
                    <a:pt x="2107" y="636"/>
                  </a:lnTo>
                  <a:lnTo>
                    <a:pt x="2113" y="645"/>
                  </a:lnTo>
                  <a:lnTo>
                    <a:pt x="2120" y="652"/>
                  </a:lnTo>
                  <a:lnTo>
                    <a:pt x="2129" y="660"/>
                  </a:lnTo>
                  <a:lnTo>
                    <a:pt x="2139" y="666"/>
                  </a:lnTo>
                  <a:lnTo>
                    <a:pt x="2149" y="672"/>
                  </a:lnTo>
                  <a:lnTo>
                    <a:pt x="2170" y="686"/>
                  </a:lnTo>
                  <a:lnTo>
                    <a:pt x="2187" y="700"/>
                  </a:lnTo>
                  <a:lnTo>
                    <a:pt x="2197" y="705"/>
                  </a:lnTo>
                  <a:lnTo>
                    <a:pt x="2207" y="711"/>
                  </a:lnTo>
                  <a:lnTo>
                    <a:pt x="2217" y="715"/>
                  </a:lnTo>
                  <a:lnTo>
                    <a:pt x="2230" y="717"/>
                  </a:lnTo>
                  <a:lnTo>
                    <a:pt x="2242" y="717"/>
                  </a:lnTo>
                  <a:lnTo>
                    <a:pt x="2253" y="716"/>
                  </a:lnTo>
                  <a:lnTo>
                    <a:pt x="2258" y="716"/>
                  </a:lnTo>
                  <a:lnTo>
                    <a:pt x="2264" y="716"/>
                  </a:lnTo>
                  <a:lnTo>
                    <a:pt x="2269" y="717"/>
                  </a:lnTo>
                  <a:lnTo>
                    <a:pt x="2275" y="720"/>
                  </a:lnTo>
                  <a:lnTo>
                    <a:pt x="2280" y="724"/>
                  </a:lnTo>
                  <a:lnTo>
                    <a:pt x="2284" y="728"/>
                  </a:lnTo>
                  <a:lnTo>
                    <a:pt x="2286" y="733"/>
                  </a:lnTo>
                  <a:lnTo>
                    <a:pt x="2289" y="740"/>
                  </a:lnTo>
                  <a:lnTo>
                    <a:pt x="2291" y="754"/>
                  </a:lnTo>
                  <a:lnTo>
                    <a:pt x="2294" y="768"/>
                  </a:lnTo>
                  <a:lnTo>
                    <a:pt x="2298" y="776"/>
                  </a:lnTo>
                  <a:lnTo>
                    <a:pt x="2304" y="784"/>
                  </a:lnTo>
                  <a:lnTo>
                    <a:pt x="2309" y="789"/>
                  </a:lnTo>
                  <a:lnTo>
                    <a:pt x="2317" y="796"/>
                  </a:lnTo>
                  <a:lnTo>
                    <a:pt x="2331" y="806"/>
                  </a:lnTo>
                  <a:lnTo>
                    <a:pt x="2348" y="815"/>
                  </a:lnTo>
                  <a:lnTo>
                    <a:pt x="2388" y="837"/>
                  </a:lnTo>
                  <a:lnTo>
                    <a:pt x="2426" y="855"/>
                  </a:lnTo>
                  <a:lnTo>
                    <a:pt x="2443" y="865"/>
                  </a:lnTo>
                  <a:lnTo>
                    <a:pt x="2460" y="877"/>
                  </a:lnTo>
                  <a:lnTo>
                    <a:pt x="2469" y="883"/>
                  </a:lnTo>
                  <a:lnTo>
                    <a:pt x="2478" y="890"/>
                  </a:lnTo>
                  <a:lnTo>
                    <a:pt x="2485" y="899"/>
                  </a:lnTo>
                  <a:lnTo>
                    <a:pt x="2494" y="907"/>
                  </a:lnTo>
                  <a:lnTo>
                    <a:pt x="2499" y="916"/>
                  </a:lnTo>
                  <a:lnTo>
                    <a:pt x="2504" y="923"/>
                  </a:lnTo>
                  <a:lnTo>
                    <a:pt x="2507" y="931"/>
                  </a:lnTo>
                  <a:lnTo>
                    <a:pt x="2509" y="940"/>
                  </a:lnTo>
                  <a:lnTo>
                    <a:pt x="2512" y="956"/>
                  </a:lnTo>
                  <a:lnTo>
                    <a:pt x="2515" y="975"/>
                  </a:lnTo>
                  <a:lnTo>
                    <a:pt x="2521" y="990"/>
                  </a:lnTo>
                  <a:lnTo>
                    <a:pt x="2526" y="1005"/>
                  </a:lnTo>
                  <a:lnTo>
                    <a:pt x="2532" y="1017"/>
                  </a:lnTo>
                  <a:lnTo>
                    <a:pt x="2539" y="1029"/>
                  </a:lnTo>
                  <a:lnTo>
                    <a:pt x="2554" y="1054"/>
                  </a:lnTo>
                  <a:lnTo>
                    <a:pt x="2569" y="1081"/>
                  </a:lnTo>
                  <a:lnTo>
                    <a:pt x="2589" y="1126"/>
                  </a:lnTo>
                  <a:lnTo>
                    <a:pt x="2606" y="1167"/>
                  </a:lnTo>
                  <a:lnTo>
                    <a:pt x="2616" y="1186"/>
                  </a:lnTo>
                  <a:lnTo>
                    <a:pt x="2628" y="1205"/>
                  </a:lnTo>
                  <a:lnTo>
                    <a:pt x="2634" y="1214"/>
                  </a:lnTo>
                  <a:lnTo>
                    <a:pt x="2642" y="1223"/>
                  </a:lnTo>
                  <a:lnTo>
                    <a:pt x="2649" y="1232"/>
                  </a:lnTo>
                  <a:lnTo>
                    <a:pt x="2659" y="1241"/>
                  </a:lnTo>
                  <a:lnTo>
                    <a:pt x="2676" y="1257"/>
                  </a:lnTo>
                  <a:lnTo>
                    <a:pt x="2692" y="1271"/>
                  </a:lnTo>
                  <a:lnTo>
                    <a:pt x="2708" y="1285"/>
                  </a:lnTo>
                  <a:lnTo>
                    <a:pt x="2726" y="1300"/>
                  </a:lnTo>
                  <a:lnTo>
                    <a:pt x="2748" y="1314"/>
                  </a:lnTo>
                  <a:lnTo>
                    <a:pt x="2767" y="1327"/>
                  </a:lnTo>
                  <a:lnTo>
                    <a:pt x="2776" y="1336"/>
                  </a:lnTo>
                  <a:lnTo>
                    <a:pt x="2782" y="1345"/>
                  </a:lnTo>
                  <a:lnTo>
                    <a:pt x="2784" y="1349"/>
                  </a:lnTo>
                  <a:lnTo>
                    <a:pt x="2787" y="1354"/>
                  </a:lnTo>
                  <a:lnTo>
                    <a:pt x="2788" y="1360"/>
                  </a:lnTo>
                  <a:lnTo>
                    <a:pt x="2788" y="1366"/>
                  </a:lnTo>
                  <a:lnTo>
                    <a:pt x="2788" y="1386"/>
                  </a:lnTo>
                  <a:lnTo>
                    <a:pt x="2788" y="1402"/>
                  </a:lnTo>
                  <a:lnTo>
                    <a:pt x="2788" y="1419"/>
                  </a:lnTo>
                  <a:lnTo>
                    <a:pt x="2788" y="1437"/>
                  </a:lnTo>
                  <a:lnTo>
                    <a:pt x="2789" y="1445"/>
                  </a:lnTo>
                  <a:lnTo>
                    <a:pt x="2791" y="1451"/>
                  </a:lnTo>
                  <a:lnTo>
                    <a:pt x="2793" y="1456"/>
                  </a:lnTo>
                  <a:lnTo>
                    <a:pt x="2797" y="1460"/>
                  </a:lnTo>
                  <a:lnTo>
                    <a:pt x="2803" y="1464"/>
                  </a:lnTo>
                  <a:lnTo>
                    <a:pt x="2808" y="1467"/>
                  </a:lnTo>
                  <a:lnTo>
                    <a:pt x="2815" y="1469"/>
                  </a:lnTo>
                  <a:lnTo>
                    <a:pt x="2822" y="1471"/>
                  </a:lnTo>
                  <a:lnTo>
                    <a:pt x="2854" y="1474"/>
                  </a:lnTo>
                  <a:lnTo>
                    <a:pt x="2886" y="1480"/>
                  </a:lnTo>
                  <a:lnTo>
                    <a:pt x="2892" y="1482"/>
                  </a:lnTo>
                  <a:lnTo>
                    <a:pt x="2898" y="1484"/>
                  </a:lnTo>
                  <a:lnTo>
                    <a:pt x="2903" y="1488"/>
                  </a:lnTo>
                  <a:lnTo>
                    <a:pt x="2906" y="1491"/>
                  </a:lnTo>
                  <a:lnTo>
                    <a:pt x="2911" y="1497"/>
                  </a:lnTo>
                  <a:lnTo>
                    <a:pt x="2913" y="1502"/>
                  </a:lnTo>
                  <a:lnTo>
                    <a:pt x="2915" y="1508"/>
                  </a:lnTo>
                  <a:lnTo>
                    <a:pt x="2917" y="1514"/>
                  </a:lnTo>
                  <a:lnTo>
                    <a:pt x="2923" y="1541"/>
                  </a:lnTo>
                  <a:lnTo>
                    <a:pt x="2928" y="1569"/>
                  </a:lnTo>
                  <a:lnTo>
                    <a:pt x="2930" y="1578"/>
                  </a:lnTo>
                  <a:lnTo>
                    <a:pt x="2933" y="1585"/>
                  </a:lnTo>
                  <a:lnTo>
                    <a:pt x="2937" y="1592"/>
                  </a:lnTo>
                  <a:lnTo>
                    <a:pt x="2941" y="1599"/>
                  </a:lnTo>
                  <a:lnTo>
                    <a:pt x="2945" y="1605"/>
                  </a:lnTo>
                  <a:lnTo>
                    <a:pt x="2951" y="1611"/>
                  </a:lnTo>
                  <a:lnTo>
                    <a:pt x="2956" y="1616"/>
                  </a:lnTo>
                  <a:lnTo>
                    <a:pt x="2962" y="1621"/>
                  </a:lnTo>
                  <a:lnTo>
                    <a:pt x="2974" y="1631"/>
                  </a:lnTo>
                  <a:lnTo>
                    <a:pt x="2987" y="1638"/>
                  </a:lnTo>
                  <a:lnTo>
                    <a:pt x="3003" y="1647"/>
                  </a:lnTo>
                  <a:lnTo>
                    <a:pt x="3018" y="1656"/>
                  </a:lnTo>
                  <a:lnTo>
                    <a:pt x="3036" y="1665"/>
                  </a:lnTo>
                  <a:lnTo>
                    <a:pt x="3052" y="1673"/>
                  </a:lnTo>
                  <a:lnTo>
                    <a:pt x="3068" y="1679"/>
                  </a:lnTo>
                  <a:lnTo>
                    <a:pt x="3088" y="1687"/>
                  </a:lnTo>
                  <a:lnTo>
                    <a:pt x="3079" y="1697"/>
                  </a:lnTo>
                  <a:lnTo>
                    <a:pt x="3073" y="1706"/>
                  </a:lnTo>
                  <a:lnTo>
                    <a:pt x="3070" y="1716"/>
                  </a:lnTo>
                  <a:lnTo>
                    <a:pt x="3067" y="1727"/>
                  </a:lnTo>
                  <a:lnTo>
                    <a:pt x="3065" y="1737"/>
                  </a:lnTo>
                  <a:lnTo>
                    <a:pt x="3063" y="1747"/>
                  </a:lnTo>
                  <a:lnTo>
                    <a:pt x="3061" y="1759"/>
                  </a:lnTo>
                  <a:lnTo>
                    <a:pt x="3057" y="1771"/>
                  </a:lnTo>
                  <a:lnTo>
                    <a:pt x="3057" y="1771"/>
                  </a:lnTo>
                  <a:lnTo>
                    <a:pt x="3053" y="1771"/>
                  </a:lnTo>
                  <a:lnTo>
                    <a:pt x="3051" y="1771"/>
                  </a:lnTo>
                  <a:lnTo>
                    <a:pt x="3041" y="1771"/>
                  </a:lnTo>
                  <a:lnTo>
                    <a:pt x="3034" y="1773"/>
                  </a:lnTo>
                  <a:lnTo>
                    <a:pt x="3026" y="1777"/>
                  </a:lnTo>
                  <a:lnTo>
                    <a:pt x="3019" y="1781"/>
                  </a:lnTo>
                  <a:lnTo>
                    <a:pt x="3011" y="1785"/>
                  </a:lnTo>
                  <a:lnTo>
                    <a:pt x="3004" y="1790"/>
                  </a:lnTo>
                  <a:lnTo>
                    <a:pt x="2996" y="1793"/>
                  </a:lnTo>
                  <a:lnTo>
                    <a:pt x="2986" y="1796"/>
                  </a:lnTo>
                  <a:lnTo>
                    <a:pt x="2973" y="1799"/>
                  </a:lnTo>
                  <a:lnTo>
                    <a:pt x="2960" y="1805"/>
                  </a:lnTo>
                  <a:lnTo>
                    <a:pt x="2955" y="1808"/>
                  </a:lnTo>
                  <a:lnTo>
                    <a:pt x="2952" y="1812"/>
                  </a:lnTo>
                  <a:lnTo>
                    <a:pt x="2949" y="1818"/>
                  </a:lnTo>
                  <a:lnTo>
                    <a:pt x="2947" y="1824"/>
                  </a:lnTo>
                  <a:lnTo>
                    <a:pt x="2949" y="1836"/>
                  </a:lnTo>
                  <a:lnTo>
                    <a:pt x="2950" y="1847"/>
                  </a:lnTo>
                  <a:lnTo>
                    <a:pt x="2952" y="1856"/>
                  </a:lnTo>
                  <a:lnTo>
                    <a:pt x="2955" y="1866"/>
                  </a:lnTo>
                  <a:lnTo>
                    <a:pt x="2958" y="1876"/>
                  </a:lnTo>
                  <a:lnTo>
                    <a:pt x="2960" y="1886"/>
                  </a:lnTo>
                  <a:lnTo>
                    <a:pt x="2963" y="1896"/>
                  </a:lnTo>
                  <a:lnTo>
                    <a:pt x="2965" y="1908"/>
                  </a:lnTo>
                  <a:lnTo>
                    <a:pt x="2986" y="1896"/>
                  </a:lnTo>
                  <a:lnTo>
                    <a:pt x="3007" y="1886"/>
                  </a:lnTo>
                  <a:lnTo>
                    <a:pt x="3026" y="1876"/>
                  </a:lnTo>
                  <a:lnTo>
                    <a:pt x="3045" y="1867"/>
                  </a:lnTo>
                  <a:lnTo>
                    <a:pt x="3064" y="1859"/>
                  </a:lnTo>
                  <a:lnTo>
                    <a:pt x="3084" y="1850"/>
                  </a:lnTo>
                  <a:lnTo>
                    <a:pt x="3104" y="1840"/>
                  </a:lnTo>
                  <a:lnTo>
                    <a:pt x="3127" y="1829"/>
                  </a:lnTo>
                  <a:lnTo>
                    <a:pt x="3138" y="1824"/>
                  </a:lnTo>
                  <a:lnTo>
                    <a:pt x="3148" y="1818"/>
                  </a:lnTo>
                  <a:lnTo>
                    <a:pt x="3157" y="1810"/>
                  </a:lnTo>
                  <a:lnTo>
                    <a:pt x="3167" y="1802"/>
                  </a:lnTo>
                  <a:lnTo>
                    <a:pt x="3183" y="1787"/>
                  </a:lnTo>
                  <a:lnTo>
                    <a:pt x="3199" y="1773"/>
                  </a:lnTo>
                  <a:lnTo>
                    <a:pt x="3207" y="1766"/>
                  </a:lnTo>
                  <a:lnTo>
                    <a:pt x="3214" y="1759"/>
                  </a:lnTo>
                  <a:lnTo>
                    <a:pt x="3223" y="1754"/>
                  </a:lnTo>
                  <a:lnTo>
                    <a:pt x="3233" y="1748"/>
                  </a:lnTo>
                  <a:lnTo>
                    <a:pt x="3242" y="1744"/>
                  </a:lnTo>
                  <a:lnTo>
                    <a:pt x="3252" y="1741"/>
                  </a:lnTo>
                  <a:lnTo>
                    <a:pt x="3263" y="1739"/>
                  </a:lnTo>
                  <a:lnTo>
                    <a:pt x="3276" y="1737"/>
                  </a:lnTo>
                  <a:lnTo>
                    <a:pt x="3288" y="1737"/>
                  </a:lnTo>
                  <a:lnTo>
                    <a:pt x="3301" y="1734"/>
                  </a:lnTo>
                  <a:lnTo>
                    <a:pt x="3311" y="1732"/>
                  </a:lnTo>
                  <a:lnTo>
                    <a:pt x="3322" y="1729"/>
                  </a:lnTo>
                  <a:lnTo>
                    <a:pt x="3333" y="1726"/>
                  </a:lnTo>
                  <a:lnTo>
                    <a:pt x="3343" y="1721"/>
                  </a:lnTo>
                  <a:lnTo>
                    <a:pt x="3353" y="1716"/>
                  </a:lnTo>
                  <a:lnTo>
                    <a:pt x="3362" y="1711"/>
                  </a:lnTo>
                  <a:lnTo>
                    <a:pt x="3371" y="1704"/>
                  </a:lnTo>
                  <a:lnTo>
                    <a:pt x="3380" y="1697"/>
                  </a:lnTo>
                  <a:lnTo>
                    <a:pt x="3388" y="1689"/>
                  </a:lnTo>
                  <a:lnTo>
                    <a:pt x="3396" y="1680"/>
                  </a:lnTo>
                  <a:lnTo>
                    <a:pt x="3403" y="1672"/>
                  </a:lnTo>
                  <a:lnTo>
                    <a:pt x="3410" y="1662"/>
                  </a:lnTo>
                  <a:lnTo>
                    <a:pt x="3417" y="1652"/>
                  </a:lnTo>
                  <a:lnTo>
                    <a:pt x="3424" y="1642"/>
                  </a:lnTo>
                  <a:lnTo>
                    <a:pt x="3430" y="1632"/>
                  </a:lnTo>
                  <a:lnTo>
                    <a:pt x="3435" y="1620"/>
                  </a:lnTo>
                  <a:lnTo>
                    <a:pt x="3439" y="1609"/>
                  </a:lnTo>
                  <a:lnTo>
                    <a:pt x="3443" y="1597"/>
                  </a:lnTo>
                  <a:lnTo>
                    <a:pt x="3451" y="1575"/>
                  </a:lnTo>
                  <a:lnTo>
                    <a:pt x="3457" y="1553"/>
                  </a:lnTo>
                  <a:lnTo>
                    <a:pt x="3462" y="1543"/>
                  </a:lnTo>
                  <a:lnTo>
                    <a:pt x="3466" y="1534"/>
                  </a:lnTo>
                  <a:lnTo>
                    <a:pt x="3471" y="1526"/>
                  </a:lnTo>
                  <a:lnTo>
                    <a:pt x="3478" y="1518"/>
                  </a:lnTo>
                  <a:lnTo>
                    <a:pt x="3484" y="1513"/>
                  </a:lnTo>
                  <a:lnTo>
                    <a:pt x="3493" y="1509"/>
                  </a:lnTo>
                  <a:lnTo>
                    <a:pt x="3503" y="1505"/>
                  </a:lnTo>
                  <a:lnTo>
                    <a:pt x="3513" y="1504"/>
                  </a:lnTo>
                  <a:lnTo>
                    <a:pt x="3517" y="1504"/>
                  </a:lnTo>
                  <a:lnTo>
                    <a:pt x="3520" y="1505"/>
                  </a:lnTo>
                  <a:lnTo>
                    <a:pt x="3522" y="1507"/>
                  </a:lnTo>
                  <a:lnTo>
                    <a:pt x="3524" y="1509"/>
                  </a:lnTo>
                  <a:lnTo>
                    <a:pt x="3526" y="1514"/>
                  </a:lnTo>
                  <a:lnTo>
                    <a:pt x="3529" y="1520"/>
                  </a:lnTo>
                  <a:lnTo>
                    <a:pt x="3530" y="1534"/>
                  </a:lnTo>
                  <a:lnTo>
                    <a:pt x="3530" y="1549"/>
                  </a:lnTo>
                  <a:lnTo>
                    <a:pt x="3529" y="1580"/>
                  </a:lnTo>
                  <a:lnTo>
                    <a:pt x="3529" y="1608"/>
                  </a:lnTo>
                  <a:lnTo>
                    <a:pt x="3527" y="1635"/>
                  </a:lnTo>
                  <a:lnTo>
                    <a:pt x="3527" y="1667"/>
                  </a:lnTo>
                  <a:lnTo>
                    <a:pt x="3547" y="1670"/>
                  </a:lnTo>
                  <a:lnTo>
                    <a:pt x="3564" y="1673"/>
                  </a:lnTo>
                  <a:lnTo>
                    <a:pt x="3581" y="1675"/>
                  </a:lnTo>
                  <a:lnTo>
                    <a:pt x="3601" y="1675"/>
                  </a:lnTo>
                  <a:lnTo>
                    <a:pt x="3605" y="1675"/>
                  </a:lnTo>
                  <a:lnTo>
                    <a:pt x="3608" y="1672"/>
                  </a:lnTo>
                  <a:lnTo>
                    <a:pt x="3612" y="1669"/>
                  </a:lnTo>
                  <a:lnTo>
                    <a:pt x="3613" y="1663"/>
                  </a:lnTo>
                  <a:lnTo>
                    <a:pt x="3615" y="1652"/>
                  </a:lnTo>
                  <a:lnTo>
                    <a:pt x="3617" y="1642"/>
                  </a:lnTo>
                  <a:lnTo>
                    <a:pt x="3624" y="1621"/>
                  </a:lnTo>
                  <a:lnTo>
                    <a:pt x="3628" y="1602"/>
                  </a:lnTo>
                  <a:lnTo>
                    <a:pt x="3631" y="1582"/>
                  </a:lnTo>
                  <a:lnTo>
                    <a:pt x="3634" y="1561"/>
                  </a:lnTo>
                  <a:lnTo>
                    <a:pt x="3638" y="1528"/>
                  </a:lnTo>
                  <a:lnTo>
                    <a:pt x="3642" y="1499"/>
                  </a:lnTo>
                  <a:lnTo>
                    <a:pt x="3644" y="1485"/>
                  </a:lnTo>
                  <a:lnTo>
                    <a:pt x="3648" y="1471"/>
                  </a:lnTo>
                  <a:lnTo>
                    <a:pt x="3653" y="1456"/>
                  </a:lnTo>
                  <a:lnTo>
                    <a:pt x="3659" y="1440"/>
                  </a:lnTo>
                  <a:lnTo>
                    <a:pt x="3667" y="1420"/>
                  </a:lnTo>
                  <a:lnTo>
                    <a:pt x="3672" y="1402"/>
                  </a:lnTo>
                  <a:lnTo>
                    <a:pt x="3675" y="1393"/>
                  </a:lnTo>
                  <a:lnTo>
                    <a:pt x="3680" y="1385"/>
                  </a:lnTo>
                  <a:lnTo>
                    <a:pt x="3685" y="1377"/>
                  </a:lnTo>
                  <a:lnTo>
                    <a:pt x="3693" y="1370"/>
                  </a:lnTo>
                  <a:lnTo>
                    <a:pt x="3702" y="1363"/>
                  </a:lnTo>
                  <a:lnTo>
                    <a:pt x="3712" y="1356"/>
                  </a:lnTo>
                  <a:lnTo>
                    <a:pt x="3722" y="1351"/>
                  </a:lnTo>
                  <a:lnTo>
                    <a:pt x="3732" y="1347"/>
                  </a:lnTo>
                  <a:lnTo>
                    <a:pt x="3740" y="1342"/>
                  </a:lnTo>
                  <a:lnTo>
                    <a:pt x="3750" y="1339"/>
                  </a:lnTo>
                  <a:lnTo>
                    <a:pt x="3760" y="1337"/>
                  </a:lnTo>
                  <a:lnTo>
                    <a:pt x="3769" y="1334"/>
                  </a:lnTo>
                  <a:lnTo>
                    <a:pt x="3789" y="1331"/>
                  </a:lnTo>
                  <a:lnTo>
                    <a:pt x="3810" y="1329"/>
                  </a:lnTo>
                  <a:lnTo>
                    <a:pt x="3832" y="1328"/>
                  </a:lnTo>
                  <a:lnTo>
                    <a:pt x="3856" y="1328"/>
                  </a:lnTo>
                  <a:lnTo>
                    <a:pt x="3867" y="1328"/>
                  </a:lnTo>
                  <a:lnTo>
                    <a:pt x="3876" y="1329"/>
                  </a:lnTo>
                  <a:lnTo>
                    <a:pt x="3886" y="1331"/>
                  </a:lnTo>
                  <a:lnTo>
                    <a:pt x="3895" y="1333"/>
                  </a:lnTo>
                  <a:lnTo>
                    <a:pt x="3912" y="1338"/>
                  </a:lnTo>
                  <a:lnTo>
                    <a:pt x="3929" y="1343"/>
                  </a:lnTo>
                  <a:lnTo>
                    <a:pt x="3947" y="1349"/>
                  </a:lnTo>
                  <a:lnTo>
                    <a:pt x="3964" y="1354"/>
                  </a:lnTo>
                  <a:lnTo>
                    <a:pt x="3972" y="1356"/>
                  </a:lnTo>
                  <a:lnTo>
                    <a:pt x="3982" y="1358"/>
                  </a:lnTo>
                  <a:lnTo>
                    <a:pt x="3992" y="1359"/>
                  </a:lnTo>
                  <a:lnTo>
                    <a:pt x="4003" y="1359"/>
                  </a:lnTo>
                  <a:lnTo>
                    <a:pt x="4020" y="1358"/>
                  </a:lnTo>
                  <a:lnTo>
                    <a:pt x="4035" y="1355"/>
                  </a:lnTo>
                  <a:lnTo>
                    <a:pt x="4050" y="1352"/>
                  </a:lnTo>
                  <a:lnTo>
                    <a:pt x="4064" y="1348"/>
                  </a:lnTo>
                  <a:lnTo>
                    <a:pt x="4091" y="1337"/>
                  </a:lnTo>
                  <a:lnTo>
                    <a:pt x="4117" y="1324"/>
                  </a:lnTo>
                  <a:lnTo>
                    <a:pt x="4143" y="1311"/>
                  </a:lnTo>
                  <a:lnTo>
                    <a:pt x="4169" y="1299"/>
                  </a:lnTo>
                  <a:lnTo>
                    <a:pt x="4183" y="1295"/>
                  </a:lnTo>
                  <a:lnTo>
                    <a:pt x="4198" y="1292"/>
                  </a:lnTo>
                  <a:lnTo>
                    <a:pt x="4214" y="1289"/>
                  </a:lnTo>
                  <a:lnTo>
                    <a:pt x="4232" y="1288"/>
                  </a:lnTo>
                  <a:lnTo>
                    <a:pt x="4239" y="1289"/>
                  </a:lnTo>
                  <a:lnTo>
                    <a:pt x="4246" y="1289"/>
                  </a:lnTo>
                  <a:lnTo>
                    <a:pt x="4252" y="1292"/>
                  </a:lnTo>
                  <a:lnTo>
                    <a:pt x="4259" y="1293"/>
                  </a:lnTo>
                  <a:lnTo>
                    <a:pt x="4271" y="1298"/>
                  </a:lnTo>
                  <a:lnTo>
                    <a:pt x="4281" y="1304"/>
                  </a:lnTo>
                  <a:lnTo>
                    <a:pt x="4304" y="1318"/>
                  </a:lnTo>
                  <a:lnTo>
                    <a:pt x="4329" y="1331"/>
                  </a:lnTo>
                  <a:lnTo>
                    <a:pt x="4340" y="1335"/>
                  </a:lnTo>
                  <a:lnTo>
                    <a:pt x="4349" y="1337"/>
                  </a:lnTo>
                  <a:lnTo>
                    <a:pt x="4358" y="1338"/>
                  </a:lnTo>
                  <a:lnTo>
                    <a:pt x="4367" y="1339"/>
                  </a:lnTo>
                  <a:lnTo>
                    <a:pt x="4385" y="1341"/>
                  </a:lnTo>
                  <a:lnTo>
                    <a:pt x="4406" y="1345"/>
                  </a:lnTo>
                  <a:lnTo>
                    <a:pt x="4420" y="1349"/>
                  </a:lnTo>
                  <a:lnTo>
                    <a:pt x="4433" y="1353"/>
                  </a:lnTo>
                  <a:lnTo>
                    <a:pt x="4447" y="1358"/>
                  </a:lnTo>
                  <a:lnTo>
                    <a:pt x="4461" y="1362"/>
                  </a:lnTo>
                  <a:lnTo>
                    <a:pt x="4474" y="1364"/>
                  </a:lnTo>
                  <a:lnTo>
                    <a:pt x="4486" y="1367"/>
                  </a:lnTo>
                  <a:lnTo>
                    <a:pt x="4497" y="1372"/>
                  </a:lnTo>
                  <a:lnTo>
                    <a:pt x="4508" y="1376"/>
                  </a:lnTo>
                  <a:lnTo>
                    <a:pt x="4514" y="1379"/>
                  </a:lnTo>
                  <a:lnTo>
                    <a:pt x="4518" y="1381"/>
                  </a:lnTo>
                  <a:lnTo>
                    <a:pt x="4521" y="1386"/>
                  </a:lnTo>
                  <a:lnTo>
                    <a:pt x="4524" y="1389"/>
                  </a:lnTo>
                  <a:lnTo>
                    <a:pt x="4528" y="1393"/>
                  </a:lnTo>
                  <a:lnTo>
                    <a:pt x="4530" y="1399"/>
                  </a:lnTo>
                  <a:lnTo>
                    <a:pt x="4531" y="1403"/>
                  </a:lnTo>
                  <a:lnTo>
                    <a:pt x="4531" y="1409"/>
                  </a:lnTo>
                  <a:lnTo>
                    <a:pt x="4531" y="1417"/>
                  </a:lnTo>
                  <a:lnTo>
                    <a:pt x="4528" y="1423"/>
                  </a:lnTo>
                  <a:lnTo>
                    <a:pt x="4524" y="1429"/>
                  </a:lnTo>
                  <a:lnTo>
                    <a:pt x="4520" y="1434"/>
                  </a:lnTo>
                  <a:lnTo>
                    <a:pt x="4511" y="1445"/>
                  </a:lnTo>
                  <a:lnTo>
                    <a:pt x="4503" y="1457"/>
                  </a:lnTo>
                  <a:lnTo>
                    <a:pt x="4494" y="1477"/>
                  </a:lnTo>
                  <a:lnTo>
                    <a:pt x="4487" y="1496"/>
                  </a:lnTo>
                  <a:lnTo>
                    <a:pt x="4484" y="1505"/>
                  </a:lnTo>
                  <a:lnTo>
                    <a:pt x="4482" y="1515"/>
                  </a:lnTo>
                  <a:lnTo>
                    <a:pt x="4481" y="1526"/>
                  </a:lnTo>
                  <a:lnTo>
                    <a:pt x="4481" y="1538"/>
                  </a:lnTo>
                  <a:lnTo>
                    <a:pt x="4481" y="1559"/>
                  </a:lnTo>
                  <a:lnTo>
                    <a:pt x="4481" y="1580"/>
                  </a:lnTo>
                  <a:lnTo>
                    <a:pt x="4481" y="1599"/>
                  </a:lnTo>
                  <a:lnTo>
                    <a:pt x="4481" y="1622"/>
                  </a:lnTo>
                  <a:lnTo>
                    <a:pt x="4474" y="1631"/>
                  </a:lnTo>
                  <a:lnTo>
                    <a:pt x="4468" y="1638"/>
                  </a:lnTo>
                  <a:lnTo>
                    <a:pt x="4463" y="1646"/>
                  </a:lnTo>
                  <a:lnTo>
                    <a:pt x="4460" y="1655"/>
                  </a:lnTo>
                  <a:lnTo>
                    <a:pt x="4453" y="1671"/>
                  </a:lnTo>
                  <a:lnTo>
                    <a:pt x="4444" y="1689"/>
                  </a:lnTo>
                  <a:lnTo>
                    <a:pt x="4426" y="1723"/>
                  </a:lnTo>
                  <a:lnTo>
                    <a:pt x="4408" y="1755"/>
                  </a:lnTo>
                  <a:lnTo>
                    <a:pt x="4398" y="1770"/>
                  </a:lnTo>
                  <a:lnTo>
                    <a:pt x="4388" y="1784"/>
                  </a:lnTo>
                  <a:lnTo>
                    <a:pt x="4378" y="1798"/>
                  </a:lnTo>
                  <a:lnTo>
                    <a:pt x="4367" y="1810"/>
                  </a:lnTo>
                  <a:lnTo>
                    <a:pt x="4355" y="1822"/>
                  </a:lnTo>
                  <a:lnTo>
                    <a:pt x="4343" y="1833"/>
                  </a:lnTo>
                  <a:lnTo>
                    <a:pt x="4330" y="1842"/>
                  </a:lnTo>
                  <a:lnTo>
                    <a:pt x="4316" y="1850"/>
                  </a:lnTo>
                  <a:lnTo>
                    <a:pt x="4301" y="1858"/>
                  </a:lnTo>
                  <a:lnTo>
                    <a:pt x="4285" y="1863"/>
                  </a:lnTo>
                  <a:lnTo>
                    <a:pt x="4267" y="1866"/>
                  </a:lnTo>
                  <a:lnTo>
                    <a:pt x="4248" y="1868"/>
                  </a:lnTo>
                  <a:lnTo>
                    <a:pt x="4223" y="1872"/>
                  </a:lnTo>
                  <a:lnTo>
                    <a:pt x="4200" y="1875"/>
                  </a:lnTo>
                  <a:lnTo>
                    <a:pt x="4178" y="1879"/>
                  </a:lnTo>
                  <a:lnTo>
                    <a:pt x="4156" y="1883"/>
                  </a:lnTo>
                  <a:lnTo>
                    <a:pt x="4116" y="1894"/>
                  </a:lnTo>
                  <a:lnTo>
                    <a:pt x="4077" y="1906"/>
                  </a:lnTo>
                  <a:lnTo>
                    <a:pt x="4038" y="1918"/>
                  </a:lnTo>
                  <a:lnTo>
                    <a:pt x="3997" y="1927"/>
                  </a:lnTo>
                  <a:lnTo>
                    <a:pt x="3977" y="1931"/>
                  </a:lnTo>
                  <a:lnTo>
                    <a:pt x="3954" y="1933"/>
                  </a:lnTo>
                  <a:lnTo>
                    <a:pt x="3931" y="1935"/>
                  </a:lnTo>
                  <a:lnTo>
                    <a:pt x="3907" y="1936"/>
                  </a:lnTo>
                  <a:lnTo>
                    <a:pt x="3887" y="1935"/>
                  </a:lnTo>
                  <a:lnTo>
                    <a:pt x="3871" y="1933"/>
                  </a:lnTo>
                  <a:lnTo>
                    <a:pt x="3855" y="1931"/>
                  </a:lnTo>
                  <a:lnTo>
                    <a:pt x="3840" y="1928"/>
                  </a:lnTo>
                  <a:lnTo>
                    <a:pt x="3825" y="1925"/>
                  </a:lnTo>
                  <a:lnTo>
                    <a:pt x="3808" y="1922"/>
                  </a:lnTo>
                  <a:lnTo>
                    <a:pt x="3791" y="1920"/>
                  </a:lnTo>
                  <a:lnTo>
                    <a:pt x="3773" y="1919"/>
                  </a:lnTo>
                  <a:lnTo>
                    <a:pt x="3756" y="1920"/>
                  </a:lnTo>
                  <a:lnTo>
                    <a:pt x="3742" y="1921"/>
                  </a:lnTo>
                  <a:lnTo>
                    <a:pt x="3728" y="1923"/>
                  </a:lnTo>
                  <a:lnTo>
                    <a:pt x="3714" y="1926"/>
                  </a:lnTo>
                  <a:lnTo>
                    <a:pt x="3687" y="1931"/>
                  </a:lnTo>
                  <a:lnTo>
                    <a:pt x="3657" y="1936"/>
                  </a:lnTo>
                  <a:lnTo>
                    <a:pt x="3632" y="1937"/>
                  </a:lnTo>
                  <a:lnTo>
                    <a:pt x="3610" y="1936"/>
                  </a:lnTo>
                  <a:lnTo>
                    <a:pt x="3599" y="1936"/>
                  </a:lnTo>
                  <a:lnTo>
                    <a:pt x="3588" y="1936"/>
                  </a:lnTo>
                  <a:lnTo>
                    <a:pt x="3576" y="1939"/>
                  </a:lnTo>
                  <a:lnTo>
                    <a:pt x="3564" y="1942"/>
                  </a:lnTo>
                  <a:lnTo>
                    <a:pt x="3570" y="1949"/>
                  </a:lnTo>
                  <a:lnTo>
                    <a:pt x="3575" y="1955"/>
                  </a:lnTo>
                  <a:lnTo>
                    <a:pt x="3581" y="1960"/>
                  </a:lnTo>
                  <a:lnTo>
                    <a:pt x="3589" y="1963"/>
                  </a:lnTo>
                  <a:lnTo>
                    <a:pt x="3605" y="1970"/>
                  </a:lnTo>
                  <a:lnTo>
                    <a:pt x="3624" y="1975"/>
                  </a:lnTo>
                  <a:lnTo>
                    <a:pt x="3651" y="1987"/>
                  </a:lnTo>
                  <a:lnTo>
                    <a:pt x="3674" y="1998"/>
                  </a:lnTo>
                  <a:lnTo>
                    <a:pt x="3686" y="2002"/>
                  </a:lnTo>
                  <a:lnTo>
                    <a:pt x="3699" y="2006"/>
                  </a:lnTo>
                  <a:lnTo>
                    <a:pt x="3712" y="2008"/>
                  </a:lnTo>
                  <a:lnTo>
                    <a:pt x="3727" y="2009"/>
                  </a:lnTo>
                  <a:lnTo>
                    <a:pt x="3742" y="2009"/>
                  </a:lnTo>
                  <a:lnTo>
                    <a:pt x="3756" y="2009"/>
                  </a:lnTo>
                  <a:lnTo>
                    <a:pt x="3771" y="2009"/>
                  </a:lnTo>
                  <a:lnTo>
                    <a:pt x="3786" y="2009"/>
                  </a:lnTo>
                  <a:lnTo>
                    <a:pt x="3786" y="2009"/>
                  </a:lnTo>
                  <a:lnTo>
                    <a:pt x="4152" y="1956"/>
                  </a:lnTo>
                  <a:lnTo>
                    <a:pt x="4152" y="1956"/>
                  </a:lnTo>
                  <a:lnTo>
                    <a:pt x="4152" y="1964"/>
                  </a:lnTo>
                  <a:lnTo>
                    <a:pt x="4152" y="1973"/>
                  </a:lnTo>
                  <a:lnTo>
                    <a:pt x="4152" y="1981"/>
                  </a:lnTo>
                  <a:lnTo>
                    <a:pt x="4152" y="1990"/>
                  </a:lnTo>
                  <a:lnTo>
                    <a:pt x="4151" y="2001"/>
                  </a:lnTo>
                  <a:lnTo>
                    <a:pt x="4150" y="2011"/>
                  </a:lnTo>
                  <a:lnTo>
                    <a:pt x="4149" y="2021"/>
                  </a:lnTo>
                  <a:lnTo>
                    <a:pt x="4145" y="2030"/>
                  </a:lnTo>
                  <a:lnTo>
                    <a:pt x="4140" y="2048"/>
                  </a:lnTo>
                  <a:lnTo>
                    <a:pt x="4131" y="2064"/>
                  </a:lnTo>
                  <a:lnTo>
                    <a:pt x="4112" y="2096"/>
                  </a:lnTo>
                  <a:lnTo>
                    <a:pt x="4091" y="2132"/>
                  </a:lnTo>
                  <a:lnTo>
                    <a:pt x="4084" y="2148"/>
                  </a:lnTo>
                  <a:lnTo>
                    <a:pt x="4078" y="2164"/>
                  </a:lnTo>
                  <a:lnTo>
                    <a:pt x="4075" y="2178"/>
                  </a:lnTo>
                  <a:lnTo>
                    <a:pt x="4073" y="2193"/>
                  </a:lnTo>
                  <a:lnTo>
                    <a:pt x="4072" y="2224"/>
                  </a:lnTo>
                  <a:lnTo>
                    <a:pt x="4072" y="2258"/>
                  </a:lnTo>
                  <a:lnTo>
                    <a:pt x="4072" y="2266"/>
                  </a:lnTo>
                  <a:lnTo>
                    <a:pt x="4074" y="2271"/>
                  </a:lnTo>
                  <a:lnTo>
                    <a:pt x="4076" y="2278"/>
                  </a:lnTo>
                  <a:lnTo>
                    <a:pt x="4079" y="2283"/>
                  </a:lnTo>
                  <a:lnTo>
                    <a:pt x="4086" y="2277"/>
                  </a:lnTo>
                  <a:lnTo>
                    <a:pt x="4091" y="2269"/>
                  </a:lnTo>
                  <a:lnTo>
                    <a:pt x="4095" y="2260"/>
                  </a:lnTo>
                  <a:lnTo>
                    <a:pt x="4097" y="2253"/>
                  </a:lnTo>
                  <a:lnTo>
                    <a:pt x="4101" y="2237"/>
                  </a:lnTo>
                  <a:lnTo>
                    <a:pt x="4107" y="2219"/>
                  </a:lnTo>
                  <a:lnTo>
                    <a:pt x="4119" y="2198"/>
                  </a:lnTo>
                  <a:lnTo>
                    <a:pt x="4130" y="2177"/>
                  </a:lnTo>
                  <a:lnTo>
                    <a:pt x="4142" y="2159"/>
                  </a:lnTo>
                  <a:lnTo>
                    <a:pt x="4156" y="2138"/>
                  </a:lnTo>
                  <a:lnTo>
                    <a:pt x="4172" y="2111"/>
                  </a:lnTo>
                  <a:lnTo>
                    <a:pt x="4185" y="2088"/>
                  </a:lnTo>
                  <a:lnTo>
                    <a:pt x="4198" y="2064"/>
                  </a:lnTo>
                  <a:lnTo>
                    <a:pt x="4214" y="2037"/>
                  </a:lnTo>
                  <a:lnTo>
                    <a:pt x="4224" y="2023"/>
                  </a:lnTo>
                  <a:lnTo>
                    <a:pt x="4234" y="2010"/>
                  </a:lnTo>
                  <a:lnTo>
                    <a:pt x="4244" y="1997"/>
                  </a:lnTo>
                  <a:lnTo>
                    <a:pt x="4253" y="1986"/>
                  </a:lnTo>
                  <a:lnTo>
                    <a:pt x="4273" y="1966"/>
                  </a:lnTo>
                  <a:lnTo>
                    <a:pt x="4293" y="1946"/>
                  </a:lnTo>
                  <a:lnTo>
                    <a:pt x="4315" y="1929"/>
                  </a:lnTo>
                  <a:lnTo>
                    <a:pt x="4338" y="1910"/>
                  </a:lnTo>
                  <a:lnTo>
                    <a:pt x="4362" y="1892"/>
                  </a:lnTo>
                  <a:lnTo>
                    <a:pt x="4388" y="1872"/>
                  </a:lnTo>
                  <a:lnTo>
                    <a:pt x="4394" y="1878"/>
                  </a:lnTo>
                  <a:lnTo>
                    <a:pt x="4398" y="1885"/>
                  </a:lnTo>
                  <a:lnTo>
                    <a:pt x="4402" y="1891"/>
                  </a:lnTo>
                  <a:lnTo>
                    <a:pt x="4406" y="1898"/>
                  </a:lnTo>
                  <a:lnTo>
                    <a:pt x="4410" y="1904"/>
                  </a:lnTo>
                  <a:lnTo>
                    <a:pt x="4414" y="1909"/>
                  </a:lnTo>
                  <a:lnTo>
                    <a:pt x="4420" y="1914"/>
                  </a:lnTo>
                  <a:lnTo>
                    <a:pt x="4427" y="1917"/>
                  </a:lnTo>
                  <a:lnTo>
                    <a:pt x="4459" y="1925"/>
                  </a:lnTo>
                  <a:lnTo>
                    <a:pt x="4486" y="1929"/>
                  </a:lnTo>
                  <a:lnTo>
                    <a:pt x="4500" y="1931"/>
                  </a:lnTo>
                  <a:lnTo>
                    <a:pt x="4514" y="1932"/>
                  </a:lnTo>
                  <a:lnTo>
                    <a:pt x="4529" y="1933"/>
                  </a:lnTo>
                  <a:lnTo>
                    <a:pt x="4545" y="1933"/>
                  </a:lnTo>
                  <a:lnTo>
                    <a:pt x="4548" y="1933"/>
                  </a:lnTo>
                  <a:lnTo>
                    <a:pt x="4550" y="1932"/>
                  </a:lnTo>
                  <a:lnTo>
                    <a:pt x="4552" y="1931"/>
                  </a:lnTo>
                  <a:lnTo>
                    <a:pt x="4555" y="1929"/>
                  </a:lnTo>
                  <a:lnTo>
                    <a:pt x="4557" y="1925"/>
                  </a:lnTo>
                  <a:lnTo>
                    <a:pt x="4558" y="1919"/>
                  </a:lnTo>
                  <a:lnTo>
                    <a:pt x="4559" y="1906"/>
                  </a:lnTo>
                  <a:lnTo>
                    <a:pt x="4559" y="1893"/>
                  </a:lnTo>
                  <a:lnTo>
                    <a:pt x="4559" y="1875"/>
                  </a:lnTo>
                  <a:lnTo>
                    <a:pt x="4559" y="1859"/>
                  </a:lnTo>
                  <a:lnTo>
                    <a:pt x="4559" y="1842"/>
                  </a:lnTo>
                  <a:lnTo>
                    <a:pt x="4559" y="1825"/>
                  </a:lnTo>
                  <a:lnTo>
                    <a:pt x="4560" y="1819"/>
                  </a:lnTo>
                  <a:lnTo>
                    <a:pt x="4560" y="1813"/>
                  </a:lnTo>
                  <a:lnTo>
                    <a:pt x="4562" y="1808"/>
                  </a:lnTo>
                  <a:lnTo>
                    <a:pt x="4563" y="1804"/>
                  </a:lnTo>
                  <a:lnTo>
                    <a:pt x="4568" y="1795"/>
                  </a:lnTo>
                  <a:lnTo>
                    <a:pt x="4573" y="1786"/>
                  </a:lnTo>
                  <a:lnTo>
                    <a:pt x="4578" y="1778"/>
                  </a:lnTo>
                  <a:lnTo>
                    <a:pt x="4583" y="1769"/>
                  </a:lnTo>
                  <a:lnTo>
                    <a:pt x="4585" y="1764"/>
                  </a:lnTo>
                  <a:lnTo>
                    <a:pt x="4586" y="1759"/>
                  </a:lnTo>
                  <a:lnTo>
                    <a:pt x="4587" y="1754"/>
                  </a:lnTo>
                  <a:lnTo>
                    <a:pt x="4587" y="1747"/>
                  </a:lnTo>
                  <a:lnTo>
                    <a:pt x="4587" y="1725"/>
                  </a:lnTo>
                  <a:lnTo>
                    <a:pt x="4587" y="1703"/>
                  </a:lnTo>
                  <a:lnTo>
                    <a:pt x="4587" y="1683"/>
                  </a:lnTo>
                  <a:lnTo>
                    <a:pt x="4587" y="1659"/>
                  </a:lnTo>
                  <a:lnTo>
                    <a:pt x="4588" y="1652"/>
                  </a:lnTo>
                  <a:lnTo>
                    <a:pt x="4590" y="1647"/>
                  </a:lnTo>
                  <a:lnTo>
                    <a:pt x="4595" y="1643"/>
                  </a:lnTo>
                  <a:lnTo>
                    <a:pt x="4599" y="1638"/>
                  </a:lnTo>
                  <a:lnTo>
                    <a:pt x="4611" y="1632"/>
                  </a:lnTo>
                  <a:lnTo>
                    <a:pt x="4624" y="1625"/>
                  </a:lnTo>
                  <a:lnTo>
                    <a:pt x="4636" y="1618"/>
                  </a:lnTo>
                  <a:lnTo>
                    <a:pt x="4648" y="1610"/>
                  </a:lnTo>
                  <a:lnTo>
                    <a:pt x="4656" y="1604"/>
                  </a:lnTo>
                  <a:lnTo>
                    <a:pt x="4666" y="1596"/>
                  </a:lnTo>
                  <a:lnTo>
                    <a:pt x="4673" y="1589"/>
                  </a:lnTo>
                  <a:lnTo>
                    <a:pt x="4682" y="1580"/>
                  </a:lnTo>
                  <a:lnTo>
                    <a:pt x="4691" y="1569"/>
                  </a:lnTo>
                  <a:lnTo>
                    <a:pt x="4699" y="1557"/>
                  </a:lnTo>
                  <a:lnTo>
                    <a:pt x="4705" y="1559"/>
                  </a:lnTo>
                  <a:lnTo>
                    <a:pt x="4710" y="1561"/>
                  </a:lnTo>
                  <a:lnTo>
                    <a:pt x="4730" y="1559"/>
                  </a:lnTo>
                  <a:lnTo>
                    <a:pt x="4748" y="1558"/>
                  </a:lnTo>
                  <a:lnTo>
                    <a:pt x="4764" y="1556"/>
                  </a:lnTo>
                  <a:lnTo>
                    <a:pt x="4781" y="1554"/>
                  </a:lnTo>
                  <a:lnTo>
                    <a:pt x="4798" y="1551"/>
                  </a:lnTo>
                  <a:lnTo>
                    <a:pt x="4814" y="1549"/>
                  </a:lnTo>
                  <a:lnTo>
                    <a:pt x="4832" y="1548"/>
                  </a:lnTo>
                  <a:lnTo>
                    <a:pt x="4852" y="1547"/>
                  </a:lnTo>
                  <a:lnTo>
                    <a:pt x="4876" y="1547"/>
                  </a:lnTo>
                  <a:lnTo>
                    <a:pt x="4898" y="1547"/>
                  </a:lnTo>
                  <a:lnTo>
                    <a:pt x="4920" y="1549"/>
                  </a:lnTo>
                  <a:lnTo>
                    <a:pt x="4943" y="1552"/>
                  </a:lnTo>
                  <a:lnTo>
                    <a:pt x="4952" y="1554"/>
                  </a:lnTo>
                  <a:lnTo>
                    <a:pt x="4960" y="1558"/>
                  </a:lnTo>
                  <a:lnTo>
                    <a:pt x="4967" y="1564"/>
                  </a:lnTo>
                  <a:lnTo>
                    <a:pt x="4973" y="1569"/>
                  </a:lnTo>
                  <a:lnTo>
                    <a:pt x="4979" y="1575"/>
                  </a:lnTo>
                  <a:lnTo>
                    <a:pt x="4987" y="1580"/>
                  </a:lnTo>
                  <a:lnTo>
                    <a:pt x="4993" y="1584"/>
                  </a:lnTo>
                  <a:lnTo>
                    <a:pt x="5002" y="1589"/>
                  </a:lnTo>
                  <a:lnTo>
                    <a:pt x="5024" y="1596"/>
                  </a:lnTo>
                  <a:lnTo>
                    <a:pt x="5046" y="1602"/>
                  </a:lnTo>
                  <a:lnTo>
                    <a:pt x="5067" y="1605"/>
                  </a:lnTo>
                  <a:lnTo>
                    <a:pt x="5086" y="1608"/>
                  </a:lnTo>
                  <a:lnTo>
                    <a:pt x="5105" y="1610"/>
                  </a:lnTo>
                  <a:lnTo>
                    <a:pt x="5127" y="1612"/>
                  </a:lnTo>
                  <a:lnTo>
                    <a:pt x="5149" y="1615"/>
                  </a:lnTo>
                  <a:lnTo>
                    <a:pt x="5174" y="1617"/>
                  </a:lnTo>
                  <a:lnTo>
                    <a:pt x="5186" y="1619"/>
                  </a:lnTo>
                  <a:lnTo>
                    <a:pt x="5199" y="1621"/>
                  </a:lnTo>
                  <a:lnTo>
                    <a:pt x="5212" y="1623"/>
                  </a:lnTo>
                  <a:lnTo>
                    <a:pt x="5223" y="1626"/>
                  </a:lnTo>
                  <a:lnTo>
                    <a:pt x="5246" y="1634"/>
                  </a:lnTo>
                  <a:lnTo>
                    <a:pt x="5266" y="1642"/>
                  </a:lnTo>
                  <a:lnTo>
                    <a:pt x="5288" y="1649"/>
                  </a:lnTo>
                  <a:lnTo>
                    <a:pt x="5311" y="1656"/>
                  </a:lnTo>
                  <a:lnTo>
                    <a:pt x="5321" y="1658"/>
                  </a:lnTo>
                  <a:lnTo>
                    <a:pt x="5334" y="1661"/>
                  </a:lnTo>
                  <a:lnTo>
                    <a:pt x="5347" y="1663"/>
                  </a:lnTo>
                  <a:lnTo>
                    <a:pt x="5360" y="1664"/>
                  </a:lnTo>
                  <a:lnTo>
                    <a:pt x="5385" y="1676"/>
                  </a:lnTo>
                  <a:lnTo>
                    <a:pt x="5408" y="1686"/>
                  </a:lnTo>
                  <a:lnTo>
                    <a:pt x="5428" y="1696"/>
                  </a:lnTo>
                  <a:lnTo>
                    <a:pt x="5449" y="1704"/>
                  </a:lnTo>
                  <a:lnTo>
                    <a:pt x="5469" y="1714"/>
                  </a:lnTo>
                  <a:lnTo>
                    <a:pt x="5489" y="1724"/>
                  </a:lnTo>
                  <a:lnTo>
                    <a:pt x="5509" y="1737"/>
                  </a:lnTo>
                  <a:lnTo>
                    <a:pt x="5532" y="1751"/>
                  </a:lnTo>
                  <a:lnTo>
                    <a:pt x="5539" y="1756"/>
                  </a:lnTo>
                  <a:lnTo>
                    <a:pt x="5546" y="1760"/>
                  </a:lnTo>
                  <a:lnTo>
                    <a:pt x="5546" y="1760"/>
                  </a:lnTo>
                  <a:close/>
                </a:path>
              </a:pathLst>
            </a:custGeom>
            <a:solidFill>
              <a:srgbClr val="C1EFA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30">
              <a:extLst>
                <a:ext uri="{FF2B5EF4-FFF2-40B4-BE49-F238E27FC236}">
                  <a16:creationId xmlns:a16="http://schemas.microsoft.com/office/drawing/2014/main" id="{D4104EC0-4A00-4753-B34B-654986AE0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2938" y="1092201"/>
              <a:ext cx="53975" cy="39688"/>
            </a:xfrm>
            <a:custGeom>
              <a:avLst/>
              <a:gdLst>
                <a:gd name="T0" fmla="*/ 135 w 135"/>
                <a:gd name="T1" fmla="*/ 54 h 98"/>
                <a:gd name="T2" fmla="*/ 135 w 135"/>
                <a:gd name="T3" fmla="*/ 20 h 98"/>
                <a:gd name="T4" fmla="*/ 124 w 135"/>
                <a:gd name="T5" fmla="*/ 17 h 98"/>
                <a:gd name="T6" fmla="*/ 118 w 135"/>
                <a:gd name="T7" fmla="*/ 6 h 98"/>
                <a:gd name="T8" fmla="*/ 118 w 135"/>
                <a:gd name="T9" fmla="*/ 6 h 98"/>
                <a:gd name="T10" fmla="*/ 110 w 135"/>
                <a:gd name="T11" fmla="*/ 2 h 98"/>
                <a:gd name="T12" fmla="*/ 101 w 135"/>
                <a:gd name="T13" fmla="*/ 0 h 98"/>
                <a:gd name="T14" fmla="*/ 94 w 135"/>
                <a:gd name="T15" fmla="*/ 1 h 98"/>
                <a:gd name="T16" fmla="*/ 88 w 135"/>
                <a:gd name="T17" fmla="*/ 4 h 98"/>
                <a:gd name="T18" fmla="*/ 83 w 135"/>
                <a:gd name="T19" fmla="*/ 7 h 98"/>
                <a:gd name="T20" fmla="*/ 78 w 135"/>
                <a:gd name="T21" fmla="*/ 12 h 98"/>
                <a:gd name="T22" fmla="*/ 70 w 135"/>
                <a:gd name="T23" fmla="*/ 24 h 98"/>
                <a:gd name="T24" fmla="*/ 60 w 135"/>
                <a:gd name="T25" fmla="*/ 34 h 98"/>
                <a:gd name="T26" fmla="*/ 43 w 135"/>
                <a:gd name="T27" fmla="*/ 48 h 98"/>
                <a:gd name="T28" fmla="*/ 26 w 135"/>
                <a:gd name="T29" fmla="*/ 61 h 98"/>
                <a:gd name="T30" fmla="*/ 20 w 135"/>
                <a:gd name="T31" fmla="*/ 68 h 98"/>
                <a:gd name="T32" fmla="*/ 12 w 135"/>
                <a:gd name="T33" fmla="*/ 77 h 98"/>
                <a:gd name="T34" fmla="*/ 7 w 135"/>
                <a:gd name="T35" fmla="*/ 85 h 98"/>
                <a:gd name="T36" fmla="*/ 0 w 135"/>
                <a:gd name="T37" fmla="*/ 96 h 98"/>
                <a:gd name="T38" fmla="*/ 8 w 135"/>
                <a:gd name="T39" fmla="*/ 97 h 98"/>
                <a:gd name="T40" fmla="*/ 17 w 135"/>
                <a:gd name="T41" fmla="*/ 98 h 98"/>
                <a:gd name="T42" fmla="*/ 34 w 135"/>
                <a:gd name="T43" fmla="*/ 98 h 98"/>
                <a:gd name="T44" fmla="*/ 50 w 135"/>
                <a:gd name="T45" fmla="*/ 96 h 98"/>
                <a:gd name="T46" fmla="*/ 65 w 135"/>
                <a:gd name="T47" fmla="*/ 92 h 98"/>
                <a:gd name="T48" fmla="*/ 79 w 135"/>
                <a:gd name="T49" fmla="*/ 87 h 98"/>
                <a:gd name="T50" fmla="*/ 93 w 135"/>
                <a:gd name="T51" fmla="*/ 81 h 98"/>
                <a:gd name="T52" fmla="*/ 106 w 135"/>
                <a:gd name="T53" fmla="*/ 72 h 98"/>
                <a:gd name="T54" fmla="*/ 120 w 135"/>
                <a:gd name="T55" fmla="*/ 64 h 98"/>
                <a:gd name="T56" fmla="*/ 135 w 135"/>
                <a:gd name="T57" fmla="*/ 54 h 98"/>
                <a:gd name="T58" fmla="*/ 135 w 135"/>
                <a:gd name="T59" fmla="*/ 5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5" h="98">
                  <a:moveTo>
                    <a:pt x="135" y="54"/>
                  </a:moveTo>
                  <a:lnTo>
                    <a:pt x="135" y="20"/>
                  </a:lnTo>
                  <a:lnTo>
                    <a:pt x="124" y="17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0" y="2"/>
                  </a:lnTo>
                  <a:lnTo>
                    <a:pt x="101" y="0"/>
                  </a:lnTo>
                  <a:lnTo>
                    <a:pt x="94" y="1"/>
                  </a:lnTo>
                  <a:lnTo>
                    <a:pt x="88" y="4"/>
                  </a:lnTo>
                  <a:lnTo>
                    <a:pt x="83" y="7"/>
                  </a:lnTo>
                  <a:lnTo>
                    <a:pt x="78" y="12"/>
                  </a:lnTo>
                  <a:lnTo>
                    <a:pt x="70" y="24"/>
                  </a:lnTo>
                  <a:lnTo>
                    <a:pt x="60" y="34"/>
                  </a:lnTo>
                  <a:lnTo>
                    <a:pt x="43" y="48"/>
                  </a:lnTo>
                  <a:lnTo>
                    <a:pt x="26" y="61"/>
                  </a:lnTo>
                  <a:lnTo>
                    <a:pt x="20" y="68"/>
                  </a:lnTo>
                  <a:lnTo>
                    <a:pt x="12" y="77"/>
                  </a:lnTo>
                  <a:lnTo>
                    <a:pt x="7" y="85"/>
                  </a:lnTo>
                  <a:lnTo>
                    <a:pt x="0" y="96"/>
                  </a:lnTo>
                  <a:lnTo>
                    <a:pt x="8" y="97"/>
                  </a:lnTo>
                  <a:lnTo>
                    <a:pt x="17" y="98"/>
                  </a:lnTo>
                  <a:lnTo>
                    <a:pt x="34" y="98"/>
                  </a:lnTo>
                  <a:lnTo>
                    <a:pt x="50" y="96"/>
                  </a:lnTo>
                  <a:lnTo>
                    <a:pt x="65" y="92"/>
                  </a:lnTo>
                  <a:lnTo>
                    <a:pt x="79" y="87"/>
                  </a:lnTo>
                  <a:lnTo>
                    <a:pt x="93" y="81"/>
                  </a:lnTo>
                  <a:lnTo>
                    <a:pt x="106" y="72"/>
                  </a:lnTo>
                  <a:lnTo>
                    <a:pt x="120" y="64"/>
                  </a:lnTo>
                  <a:lnTo>
                    <a:pt x="135" y="54"/>
                  </a:lnTo>
                  <a:lnTo>
                    <a:pt x="135" y="5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31">
              <a:extLst>
                <a:ext uri="{FF2B5EF4-FFF2-40B4-BE49-F238E27FC236}">
                  <a16:creationId xmlns:a16="http://schemas.microsoft.com/office/drawing/2014/main" id="{5CD9B370-115E-4BF5-8D6B-73E8E2504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7700" y="1047751"/>
              <a:ext cx="84138" cy="58738"/>
            </a:xfrm>
            <a:custGeom>
              <a:avLst/>
              <a:gdLst>
                <a:gd name="T0" fmla="*/ 170 w 209"/>
                <a:gd name="T1" fmla="*/ 0 h 145"/>
                <a:gd name="T2" fmla="*/ 155 w 209"/>
                <a:gd name="T3" fmla="*/ 0 h 145"/>
                <a:gd name="T4" fmla="*/ 142 w 209"/>
                <a:gd name="T5" fmla="*/ 2 h 145"/>
                <a:gd name="T6" fmla="*/ 130 w 209"/>
                <a:gd name="T7" fmla="*/ 5 h 145"/>
                <a:gd name="T8" fmla="*/ 118 w 209"/>
                <a:gd name="T9" fmla="*/ 10 h 145"/>
                <a:gd name="T10" fmla="*/ 107 w 209"/>
                <a:gd name="T11" fmla="*/ 16 h 145"/>
                <a:gd name="T12" fmla="*/ 96 w 209"/>
                <a:gd name="T13" fmla="*/ 22 h 145"/>
                <a:gd name="T14" fmla="*/ 84 w 209"/>
                <a:gd name="T15" fmla="*/ 30 h 145"/>
                <a:gd name="T16" fmla="*/ 72 w 209"/>
                <a:gd name="T17" fmla="*/ 38 h 145"/>
                <a:gd name="T18" fmla="*/ 46 w 209"/>
                <a:gd name="T19" fmla="*/ 57 h 145"/>
                <a:gd name="T20" fmla="*/ 22 w 209"/>
                <a:gd name="T21" fmla="*/ 75 h 145"/>
                <a:gd name="T22" fmla="*/ 17 w 209"/>
                <a:gd name="T23" fmla="*/ 81 h 145"/>
                <a:gd name="T24" fmla="*/ 13 w 209"/>
                <a:gd name="T25" fmla="*/ 85 h 145"/>
                <a:gd name="T26" fmla="*/ 9 w 209"/>
                <a:gd name="T27" fmla="*/ 91 h 145"/>
                <a:gd name="T28" fmla="*/ 6 w 209"/>
                <a:gd name="T29" fmla="*/ 97 h 145"/>
                <a:gd name="T30" fmla="*/ 3 w 209"/>
                <a:gd name="T31" fmla="*/ 103 h 145"/>
                <a:gd name="T32" fmla="*/ 1 w 209"/>
                <a:gd name="T33" fmla="*/ 110 h 145"/>
                <a:gd name="T34" fmla="*/ 0 w 209"/>
                <a:gd name="T35" fmla="*/ 117 h 145"/>
                <a:gd name="T36" fmla="*/ 0 w 209"/>
                <a:gd name="T37" fmla="*/ 125 h 145"/>
                <a:gd name="T38" fmla="*/ 0 w 209"/>
                <a:gd name="T39" fmla="*/ 130 h 145"/>
                <a:gd name="T40" fmla="*/ 2 w 209"/>
                <a:gd name="T41" fmla="*/ 134 h 145"/>
                <a:gd name="T42" fmla="*/ 4 w 209"/>
                <a:gd name="T43" fmla="*/ 137 h 145"/>
                <a:gd name="T44" fmla="*/ 7 w 209"/>
                <a:gd name="T45" fmla="*/ 140 h 145"/>
                <a:gd name="T46" fmla="*/ 10 w 209"/>
                <a:gd name="T47" fmla="*/ 142 h 145"/>
                <a:gd name="T48" fmla="*/ 15 w 209"/>
                <a:gd name="T49" fmla="*/ 143 h 145"/>
                <a:gd name="T50" fmla="*/ 20 w 209"/>
                <a:gd name="T51" fmla="*/ 144 h 145"/>
                <a:gd name="T52" fmla="*/ 25 w 209"/>
                <a:gd name="T53" fmla="*/ 145 h 145"/>
                <a:gd name="T54" fmla="*/ 30 w 209"/>
                <a:gd name="T55" fmla="*/ 144 h 145"/>
                <a:gd name="T56" fmla="*/ 34 w 209"/>
                <a:gd name="T57" fmla="*/ 142 h 145"/>
                <a:gd name="T58" fmla="*/ 37 w 209"/>
                <a:gd name="T59" fmla="*/ 138 h 145"/>
                <a:gd name="T60" fmla="*/ 40 w 209"/>
                <a:gd name="T61" fmla="*/ 134 h 145"/>
                <a:gd name="T62" fmla="*/ 45 w 209"/>
                <a:gd name="T63" fmla="*/ 124 h 145"/>
                <a:gd name="T64" fmla="*/ 53 w 209"/>
                <a:gd name="T65" fmla="*/ 114 h 145"/>
                <a:gd name="T66" fmla="*/ 71 w 209"/>
                <a:gd name="T67" fmla="*/ 99 h 145"/>
                <a:gd name="T68" fmla="*/ 89 w 209"/>
                <a:gd name="T69" fmla="*/ 86 h 145"/>
                <a:gd name="T70" fmla="*/ 98 w 209"/>
                <a:gd name="T71" fmla="*/ 81 h 145"/>
                <a:gd name="T72" fmla="*/ 108 w 209"/>
                <a:gd name="T73" fmla="*/ 75 h 145"/>
                <a:gd name="T74" fmla="*/ 120 w 209"/>
                <a:gd name="T75" fmla="*/ 71 h 145"/>
                <a:gd name="T76" fmla="*/ 131 w 209"/>
                <a:gd name="T77" fmla="*/ 67 h 145"/>
                <a:gd name="T78" fmla="*/ 157 w 209"/>
                <a:gd name="T79" fmla="*/ 61 h 145"/>
                <a:gd name="T80" fmla="*/ 182 w 209"/>
                <a:gd name="T81" fmla="*/ 55 h 145"/>
                <a:gd name="T82" fmla="*/ 189 w 209"/>
                <a:gd name="T83" fmla="*/ 53 h 145"/>
                <a:gd name="T84" fmla="*/ 193 w 209"/>
                <a:gd name="T85" fmla="*/ 50 h 145"/>
                <a:gd name="T86" fmla="*/ 198 w 209"/>
                <a:gd name="T87" fmla="*/ 48 h 145"/>
                <a:gd name="T88" fmla="*/ 202 w 209"/>
                <a:gd name="T89" fmla="*/ 45 h 145"/>
                <a:gd name="T90" fmla="*/ 205 w 209"/>
                <a:gd name="T91" fmla="*/ 41 h 145"/>
                <a:gd name="T92" fmla="*/ 207 w 209"/>
                <a:gd name="T93" fmla="*/ 36 h 145"/>
                <a:gd name="T94" fmla="*/ 209 w 209"/>
                <a:gd name="T95" fmla="*/ 31 h 145"/>
                <a:gd name="T96" fmla="*/ 209 w 209"/>
                <a:gd name="T97" fmla="*/ 24 h 145"/>
                <a:gd name="T98" fmla="*/ 208 w 209"/>
                <a:gd name="T99" fmla="*/ 19 h 145"/>
                <a:gd name="T100" fmla="*/ 205 w 209"/>
                <a:gd name="T101" fmla="*/ 15 h 145"/>
                <a:gd name="T102" fmla="*/ 201 w 209"/>
                <a:gd name="T103" fmla="*/ 11 h 145"/>
                <a:gd name="T104" fmla="*/ 195 w 209"/>
                <a:gd name="T105" fmla="*/ 8 h 145"/>
                <a:gd name="T106" fmla="*/ 182 w 209"/>
                <a:gd name="T107" fmla="*/ 3 h 145"/>
                <a:gd name="T108" fmla="*/ 170 w 209"/>
                <a:gd name="T109" fmla="*/ 0 h 145"/>
                <a:gd name="T110" fmla="*/ 170 w 209"/>
                <a:gd name="T111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9" h="145">
                  <a:moveTo>
                    <a:pt x="170" y="0"/>
                  </a:moveTo>
                  <a:lnTo>
                    <a:pt x="155" y="0"/>
                  </a:lnTo>
                  <a:lnTo>
                    <a:pt x="142" y="2"/>
                  </a:lnTo>
                  <a:lnTo>
                    <a:pt x="130" y="5"/>
                  </a:lnTo>
                  <a:lnTo>
                    <a:pt x="118" y="10"/>
                  </a:lnTo>
                  <a:lnTo>
                    <a:pt x="107" y="16"/>
                  </a:lnTo>
                  <a:lnTo>
                    <a:pt x="96" y="22"/>
                  </a:lnTo>
                  <a:lnTo>
                    <a:pt x="84" y="30"/>
                  </a:lnTo>
                  <a:lnTo>
                    <a:pt x="72" y="38"/>
                  </a:lnTo>
                  <a:lnTo>
                    <a:pt x="46" y="57"/>
                  </a:lnTo>
                  <a:lnTo>
                    <a:pt x="22" y="75"/>
                  </a:lnTo>
                  <a:lnTo>
                    <a:pt x="17" y="81"/>
                  </a:lnTo>
                  <a:lnTo>
                    <a:pt x="13" y="85"/>
                  </a:lnTo>
                  <a:lnTo>
                    <a:pt x="9" y="91"/>
                  </a:lnTo>
                  <a:lnTo>
                    <a:pt x="6" y="97"/>
                  </a:lnTo>
                  <a:lnTo>
                    <a:pt x="3" y="103"/>
                  </a:lnTo>
                  <a:lnTo>
                    <a:pt x="1" y="110"/>
                  </a:lnTo>
                  <a:lnTo>
                    <a:pt x="0" y="117"/>
                  </a:lnTo>
                  <a:lnTo>
                    <a:pt x="0" y="125"/>
                  </a:lnTo>
                  <a:lnTo>
                    <a:pt x="0" y="130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5" y="143"/>
                  </a:lnTo>
                  <a:lnTo>
                    <a:pt x="20" y="144"/>
                  </a:lnTo>
                  <a:lnTo>
                    <a:pt x="25" y="145"/>
                  </a:lnTo>
                  <a:lnTo>
                    <a:pt x="30" y="144"/>
                  </a:lnTo>
                  <a:lnTo>
                    <a:pt x="34" y="142"/>
                  </a:lnTo>
                  <a:lnTo>
                    <a:pt x="37" y="138"/>
                  </a:lnTo>
                  <a:lnTo>
                    <a:pt x="40" y="134"/>
                  </a:lnTo>
                  <a:lnTo>
                    <a:pt x="45" y="124"/>
                  </a:lnTo>
                  <a:lnTo>
                    <a:pt x="53" y="114"/>
                  </a:lnTo>
                  <a:lnTo>
                    <a:pt x="71" y="99"/>
                  </a:lnTo>
                  <a:lnTo>
                    <a:pt x="89" y="86"/>
                  </a:lnTo>
                  <a:lnTo>
                    <a:pt x="98" y="81"/>
                  </a:lnTo>
                  <a:lnTo>
                    <a:pt x="108" y="75"/>
                  </a:lnTo>
                  <a:lnTo>
                    <a:pt x="120" y="71"/>
                  </a:lnTo>
                  <a:lnTo>
                    <a:pt x="131" y="67"/>
                  </a:lnTo>
                  <a:lnTo>
                    <a:pt x="157" y="61"/>
                  </a:lnTo>
                  <a:lnTo>
                    <a:pt x="182" y="55"/>
                  </a:lnTo>
                  <a:lnTo>
                    <a:pt x="189" y="53"/>
                  </a:lnTo>
                  <a:lnTo>
                    <a:pt x="193" y="50"/>
                  </a:lnTo>
                  <a:lnTo>
                    <a:pt x="198" y="48"/>
                  </a:lnTo>
                  <a:lnTo>
                    <a:pt x="202" y="45"/>
                  </a:lnTo>
                  <a:lnTo>
                    <a:pt x="205" y="41"/>
                  </a:lnTo>
                  <a:lnTo>
                    <a:pt x="207" y="36"/>
                  </a:lnTo>
                  <a:lnTo>
                    <a:pt x="209" y="31"/>
                  </a:lnTo>
                  <a:lnTo>
                    <a:pt x="209" y="24"/>
                  </a:lnTo>
                  <a:lnTo>
                    <a:pt x="208" y="19"/>
                  </a:lnTo>
                  <a:lnTo>
                    <a:pt x="205" y="15"/>
                  </a:lnTo>
                  <a:lnTo>
                    <a:pt x="201" y="11"/>
                  </a:lnTo>
                  <a:lnTo>
                    <a:pt x="195" y="8"/>
                  </a:lnTo>
                  <a:lnTo>
                    <a:pt x="182" y="3"/>
                  </a:lnTo>
                  <a:lnTo>
                    <a:pt x="170" y="0"/>
                  </a:lnTo>
                  <a:lnTo>
                    <a:pt x="17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32">
              <a:extLst>
                <a:ext uri="{FF2B5EF4-FFF2-40B4-BE49-F238E27FC236}">
                  <a16:creationId xmlns:a16="http://schemas.microsoft.com/office/drawing/2014/main" id="{EB4CACBD-DFE5-4C35-8541-38DC1E50C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65450" y="1052513"/>
              <a:ext cx="47625" cy="36513"/>
            </a:xfrm>
            <a:custGeom>
              <a:avLst/>
              <a:gdLst>
                <a:gd name="T0" fmla="*/ 50 w 120"/>
                <a:gd name="T1" fmla="*/ 0 h 93"/>
                <a:gd name="T2" fmla="*/ 45 w 120"/>
                <a:gd name="T3" fmla="*/ 1 h 93"/>
                <a:gd name="T4" fmla="*/ 39 w 120"/>
                <a:gd name="T5" fmla="*/ 4 h 93"/>
                <a:gd name="T6" fmla="*/ 35 w 120"/>
                <a:gd name="T7" fmla="*/ 7 h 93"/>
                <a:gd name="T8" fmla="*/ 32 w 120"/>
                <a:gd name="T9" fmla="*/ 10 h 93"/>
                <a:gd name="T10" fmla="*/ 24 w 120"/>
                <a:gd name="T11" fmla="*/ 20 h 93"/>
                <a:gd name="T12" fmla="*/ 16 w 120"/>
                <a:gd name="T13" fmla="*/ 28 h 93"/>
                <a:gd name="T14" fmla="*/ 11 w 120"/>
                <a:gd name="T15" fmla="*/ 33 h 93"/>
                <a:gd name="T16" fmla="*/ 6 w 120"/>
                <a:gd name="T17" fmla="*/ 37 h 93"/>
                <a:gd name="T18" fmla="*/ 3 w 120"/>
                <a:gd name="T19" fmla="*/ 39 h 93"/>
                <a:gd name="T20" fmla="*/ 1 w 120"/>
                <a:gd name="T21" fmla="*/ 41 h 93"/>
                <a:gd name="T22" fmla="*/ 0 w 120"/>
                <a:gd name="T23" fmla="*/ 45 h 93"/>
                <a:gd name="T24" fmla="*/ 0 w 120"/>
                <a:gd name="T25" fmla="*/ 48 h 93"/>
                <a:gd name="T26" fmla="*/ 0 w 120"/>
                <a:gd name="T27" fmla="*/ 53 h 93"/>
                <a:gd name="T28" fmla="*/ 1 w 120"/>
                <a:gd name="T29" fmla="*/ 58 h 93"/>
                <a:gd name="T30" fmla="*/ 2 w 120"/>
                <a:gd name="T31" fmla="*/ 62 h 93"/>
                <a:gd name="T32" fmla="*/ 5 w 120"/>
                <a:gd name="T33" fmla="*/ 66 h 93"/>
                <a:gd name="T34" fmla="*/ 9 w 120"/>
                <a:gd name="T35" fmla="*/ 74 h 93"/>
                <a:gd name="T36" fmla="*/ 15 w 120"/>
                <a:gd name="T37" fmla="*/ 80 h 93"/>
                <a:gd name="T38" fmla="*/ 23 w 120"/>
                <a:gd name="T39" fmla="*/ 86 h 93"/>
                <a:gd name="T40" fmla="*/ 32 w 120"/>
                <a:gd name="T41" fmla="*/ 90 h 93"/>
                <a:gd name="T42" fmla="*/ 40 w 120"/>
                <a:gd name="T43" fmla="*/ 92 h 93"/>
                <a:gd name="T44" fmla="*/ 50 w 120"/>
                <a:gd name="T45" fmla="*/ 93 h 93"/>
                <a:gd name="T46" fmla="*/ 57 w 120"/>
                <a:gd name="T47" fmla="*/ 92 h 93"/>
                <a:gd name="T48" fmla="*/ 63 w 120"/>
                <a:gd name="T49" fmla="*/ 90 h 93"/>
                <a:gd name="T50" fmla="*/ 68 w 120"/>
                <a:gd name="T51" fmla="*/ 88 h 93"/>
                <a:gd name="T52" fmla="*/ 74 w 120"/>
                <a:gd name="T53" fmla="*/ 85 h 93"/>
                <a:gd name="T54" fmla="*/ 83 w 120"/>
                <a:gd name="T55" fmla="*/ 77 h 93"/>
                <a:gd name="T56" fmla="*/ 95 w 120"/>
                <a:gd name="T57" fmla="*/ 71 h 93"/>
                <a:gd name="T58" fmla="*/ 104 w 120"/>
                <a:gd name="T59" fmla="*/ 67 h 93"/>
                <a:gd name="T60" fmla="*/ 113 w 120"/>
                <a:gd name="T61" fmla="*/ 62 h 93"/>
                <a:gd name="T62" fmla="*/ 116 w 120"/>
                <a:gd name="T63" fmla="*/ 60 h 93"/>
                <a:gd name="T64" fmla="*/ 118 w 120"/>
                <a:gd name="T65" fmla="*/ 57 h 93"/>
                <a:gd name="T66" fmla="*/ 120 w 120"/>
                <a:gd name="T67" fmla="*/ 52 h 93"/>
                <a:gd name="T68" fmla="*/ 120 w 120"/>
                <a:gd name="T69" fmla="*/ 48 h 93"/>
                <a:gd name="T70" fmla="*/ 120 w 120"/>
                <a:gd name="T71" fmla="*/ 43 h 93"/>
                <a:gd name="T72" fmla="*/ 119 w 120"/>
                <a:gd name="T73" fmla="*/ 37 h 93"/>
                <a:gd name="T74" fmla="*/ 117 w 120"/>
                <a:gd name="T75" fmla="*/ 32 h 93"/>
                <a:gd name="T76" fmla="*/ 114 w 120"/>
                <a:gd name="T77" fmla="*/ 26 h 93"/>
                <a:gd name="T78" fmla="*/ 110 w 120"/>
                <a:gd name="T79" fmla="*/ 22 h 93"/>
                <a:gd name="T80" fmla="*/ 107 w 120"/>
                <a:gd name="T81" fmla="*/ 19 h 93"/>
                <a:gd name="T82" fmla="*/ 103 w 120"/>
                <a:gd name="T83" fmla="*/ 16 h 93"/>
                <a:gd name="T84" fmla="*/ 97 w 120"/>
                <a:gd name="T85" fmla="*/ 12 h 93"/>
                <a:gd name="T86" fmla="*/ 87 w 120"/>
                <a:gd name="T87" fmla="*/ 7 h 93"/>
                <a:gd name="T88" fmla="*/ 75 w 120"/>
                <a:gd name="T89" fmla="*/ 4 h 93"/>
                <a:gd name="T90" fmla="*/ 63 w 120"/>
                <a:gd name="T91" fmla="*/ 1 h 93"/>
                <a:gd name="T92" fmla="*/ 50 w 120"/>
                <a:gd name="T93" fmla="*/ 0 h 93"/>
                <a:gd name="T94" fmla="*/ 50 w 120"/>
                <a:gd name="T9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93">
                  <a:moveTo>
                    <a:pt x="50" y="0"/>
                  </a:moveTo>
                  <a:lnTo>
                    <a:pt x="45" y="1"/>
                  </a:lnTo>
                  <a:lnTo>
                    <a:pt x="39" y="4"/>
                  </a:lnTo>
                  <a:lnTo>
                    <a:pt x="35" y="7"/>
                  </a:lnTo>
                  <a:lnTo>
                    <a:pt x="32" y="10"/>
                  </a:lnTo>
                  <a:lnTo>
                    <a:pt x="24" y="20"/>
                  </a:lnTo>
                  <a:lnTo>
                    <a:pt x="16" y="28"/>
                  </a:lnTo>
                  <a:lnTo>
                    <a:pt x="11" y="33"/>
                  </a:lnTo>
                  <a:lnTo>
                    <a:pt x="6" y="37"/>
                  </a:lnTo>
                  <a:lnTo>
                    <a:pt x="3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1" y="58"/>
                  </a:lnTo>
                  <a:lnTo>
                    <a:pt x="2" y="62"/>
                  </a:lnTo>
                  <a:lnTo>
                    <a:pt x="5" y="66"/>
                  </a:lnTo>
                  <a:lnTo>
                    <a:pt x="9" y="74"/>
                  </a:lnTo>
                  <a:lnTo>
                    <a:pt x="15" y="80"/>
                  </a:lnTo>
                  <a:lnTo>
                    <a:pt x="23" y="86"/>
                  </a:lnTo>
                  <a:lnTo>
                    <a:pt x="32" y="90"/>
                  </a:lnTo>
                  <a:lnTo>
                    <a:pt x="40" y="92"/>
                  </a:lnTo>
                  <a:lnTo>
                    <a:pt x="50" y="93"/>
                  </a:lnTo>
                  <a:lnTo>
                    <a:pt x="57" y="92"/>
                  </a:lnTo>
                  <a:lnTo>
                    <a:pt x="63" y="90"/>
                  </a:lnTo>
                  <a:lnTo>
                    <a:pt x="68" y="88"/>
                  </a:lnTo>
                  <a:lnTo>
                    <a:pt x="74" y="85"/>
                  </a:lnTo>
                  <a:lnTo>
                    <a:pt x="83" y="77"/>
                  </a:lnTo>
                  <a:lnTo>
                    <a:pt x="95" y="71"/>
                  </a:lnTo>
                  <a:lnTo>
                    <a:pt x="104" y="67"/>
                  </a:lnTo>
                  <a:lnTo>
                    <a:pt x="113" y="62"/>
                  </a:lnTo>
                  <a:lnTo>
                    <a:pt x="116" y="60"/>
                  </a:lnTo>
                  <a:lnTo>
                    <a:pt x="118" y="57"/>
                  </a:lnTo>
                  <a:lnTo>
                    <a:pt x="120" y="52"/>
                  </a:lnTo>
                  <a:lnTo>
                    <a:pt x="120" y="48"/>
                  </a:lnTo>
                  <a:lnTo>
                    <a:pt x="120" y="43"/>
                  </a:lnTo>
                  <a:lnTo>
                    <a:pt x="119" y="37"/>
                  </a:lnTo>
                  <a:lnTo>
                    <a:pt x="117" y="32"/>
                  </a:lnTo>
                  <a:lnTo>
                    <a:pt x="114" y="26"/>
                  </a:lnTo>
                  <a:lnTo>
                    <a:pt x="110" y="22"/>
                  </a:lnTo>
                  <a:lnTo>
                    <a:pt x="107" y="19"/>
                  </a:lnTo>
                  <a:lnTo>
                    <a:pt x="103" y="16"/>
                  </a:lnTo>
                  <a:lnTo>
                    <a:pt x="97" y="12"/>
                  </a:lnTo>
                  <a:lnTo>
                    <a:pt x="87" y="7"/>
                  </a:lnTo>
                  <a:lnTo>
                    <a:pt x="75" y="4"/>
                  </a:lnTo>
                  <a:lnTo>
                    <a:pt x="63" y="1"/>
                  </a:lnTo>
                  <a:lnTo>
                    <a:pt x="50" y="0"/>
                  </a:lnTo>
                  <a:lnTo>
                    <a:pt x="5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33">
              <a:extLst>
                <a:ext uri="{FF2B5EF4-FFF2-40B4-BE49-F238E27FC236}">
                  <a16:creationId xmlns:a16="http://schemas.microsoft.com/office/drawing/2014/main" id="{ACB38B1B-9499-469A-9E10-FFFBCE498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86100" y="977901"/>
              <a:ext cx="103188" cy="93663"/>
            </a:xfrm>
            <a:custGeom>
              <a:avLst/>
              <a:gdLst>
                <a:gd name="T0" fmla="*/ 257 w 258"/>
                <a:gd name="T1" fmla="*/ 216 h 236"/>
                <a:gd name="T2" fmla="*/ 257 w 258"/>
                <a:gd name="T3" fmla="*/ 185 h 236"/>
                <a:gd name="T4" fmla="*/ 258 w 258"/>
                <a:gd name="T5" fmla="*/ 154 h 236"/>
                <a:gd name="T6" fmla="*/ 258 w 258"/>
                <a:gd name="T7" fmla="*/ 133 h 236"/>
                <a:gd name="T8" fmla="*/ 254 w 258"/>
                <a:gd name="T9" fmla="*/ 121 h 236"/>
                <a:gd name="T10" fmla="*/ 242 w 258"/>
                <a:gd name="T11" fmla="*/ 110 h 236"/>
                <a:gd name="T12" fmla="*/ 227 w 258"/>
                <a:gd name="T13" fmla="*/ 101 h 236"/>
                <a:gd name="T14" fmla="*/ 201 w 258"/>
                <a:gd name="T15" fmla="*/ 94 h 236"/>
                <a:gd name="T16" fmla="*/ 170 w 258"/>
                <a:gd name="T17" fmla="*/ 81 h 236"/>
                <a:gd name="T18" fmla="*/ 150 w 258"/>
                <a:gd name="T19" fmla="*/ 65 h 236"/>
                <a:gd name="T20" fmla="*/ 130 w 258"/>
                <a:gd name="T21" fmla="*/ 48 h 236"/>
                <a:gd name="T22" fmla="*/ 110 w 258"/>
                <a:gd name="T23" fmla="*/ 33 h 236"/>
                <a:gd name="T24" fmla="*/ 98 w 258"/>
                <a:gd name="T25" fmla="*/ 26 h 236"/>
                <a:gd name="T26" fmla="*/ 78 w 258"/>
                <a:gd name="T27" fmla="*/ 9 h 236"/>
                <a:gd name="T28" fmla="*/ 67 w 258"/>
                <a:gd name="T29" fmla="*/ 3 h 236"/>
                <a:gd name="T30" fmla="*/ 54 w 258"/>
                <a:gd name="T31" fmla="*/ 0 h 236"/>
                <a:gd name="T32" fmla="*/ 44 w 258"/>
                <a:gd name="T33" fmla="*/ 4 h 236"/>
                <a:gd name="T34" fmla="*/ 39 w 258"/>
                <a:gd name="T35" fmla="*/ 11 h 236"/>
                <a:gd name="T36" fmla="*/ 28 w 258"/>
                <a:gd name="T37" fmla="*/ 32 h 236"/>
                <a:gd name="T38" fmla="*/ 11 w 258"/>
                <a:gd name="T39" fmla="*/ 51 h 236"/>
                <a:gd name="T40" fmla="*/ 3 w 258"/>
                <a:gd name="T41" fmla="*/ 61 h 236"/>
                <a:gd name="T42" fmla="*/ 0 w 258"/>
                <a:gd name="T43" fmla="*/ 74 h 236"/>
                <a:gd name="T44" fmla="*/ 4 w 258"/>
                <a:gd name="T45" fmla="*/ 89 h 236"/>
                <a:gd name="T46" fmla="*/ 13 w 258"/>
                <a:gd name="T47" fmla="*/ 102 h 236"/>
                <a:gd name="T48" fmla="*/ 22 w 258"/>
                <a:gd name="T49" fmla="*/ 115 h 236"/>
                <a:gd name="T50" fmla="*/ 31 w 258"/>
                <a:gd name="T51" fmla="*/ 130 h 236"/>
                <a:gd name="T52" fmla="*/ 41 w 258"/>
                <a:gd name="T53" fmla="*/ 165 h 236"/>
                <a:gd name="T54" fmla="*/ 47 w 258"/>
                <a:gd name="T55" fmla="*/ 180 h 236"/>
                <a:gd name="T56" fmla="*/ 59 w 258"/>
                <a:gd name="T57" fmla="*/ 194 h 236"/>
                <a:gd name="T58" fmla="*/ 69 w 258"/>
                <a:gd name="T59" fmla="*/ 201 h 236"/>
                <a:gd name="T60" fmla="*/ 79 w 258"/>
                <a:gd name="T61" fmla="*/ 207 h 236"/>
                <a:gd name="T62" fmla="*/ 100 w 258"/>
                <a:gd name="T63" fmla="*/ 212 h 236"/>
                <a:gd name="T64" fmla="*/ 149 w 258"/>
                <a:gd name="T65" fmla="*/ 216 h 236"/>
                <a:gd name="T66" fmla="*/ 193 w 258"/>
                <a:gd name="T67" fmla="*/ 227 h 236"/>
                <a:gd name="T68" fmla="*/ 238 w 258"/>
                <a:gd name="T6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8" h="236">
                  <a:moveTo>
                    <a:pt x="257" y="234"/>
                  </a:moveTo>
                  <a:lnTo>
                    <a:pt x="257" y="216"/>
                  </a:lnTo>
                  <a:lnTo>
                    <a:pt x="257" y="200"/>
                  </a:lnTo>
                  <a:lnTo>
                    <a:pt x="257" y="185"/>
                  </a:lnTo>
                  <a:lnTo>
                    <a:pt x="257" y="168"/>
                  </a:lnTo>
                  <a:lnTo>
                    <a:pt x="258" y="154"/>
                  </a:lnTo>
                  <a:lnTo>
                    <a:pt x="258" y="140"/>
                  </a:lnTo>
                  <a:lnTo>
                    <a:pt x="258" y="133"/>
                  </a:lnTo>
                  <a:lnTo>
                    <a:pt x="257" y="127"/>
                  </a:lnTo>
                  <a:lnTo>
                    <a:pt x="254" y="121"/>
                  </a:lnTo>
                  <a:lnTo>
                    <a:pt x="249" y="116"/>
                  </a:lnTo>
                  <a:lnTo>
                    <a:pt x="242" y="110"/>
                  </a:lnTo>
                  <a:lnTo>
                    <a:pt x="234" y="104"/>
                  </a:lnTo>
                  <a:lnTo>
                    <a:pt x="227" y="101"/>
                  </a:lnTo>
                  <a:lnTo>
                    <a:pt x="218" y="99"/>
                  </a:lnTo>
                  <a:lnTo>
                    <a:pt x="201" y="94"/>
                  </a:lnTo>
                  <a:lnTo>
                    <a:pt x="182" y="88"/>
                  </a:lnTo>
                  <a:lnTo>
                    <a:pt x="170" y="81"/>
                  </a:lnTo>
                  <a:lnTo>
                    <a:pt x="161" y="74"/>
                  </a:lnTo>
                  <a:lnTo>
                    <a:pt x="150" y="65"/>
                  </a:lnTo>
                  <a:lnTo>
                    <a:pt x="140" y="57"/>
                  </a:lnTo>
                  <a:lnTo>
                    <a:pt x="130" y="48"/>
                  </a:lnTo>
                  <a:lnTo>
                    <a:pt x="121" y="40"/>
                  </a:lnTo>
                  <a:lnTo>
                    <a:pt x="110" y="33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87" y="18"/>
                  </a:lnTo>
                  <a:lnTo>
                    <a:pt x="78" y="9"/>
                  </a:lnTo>
                  <a:lnTo>
                    <a:pt x="72" y="6"/>
                  </a:lnTo>
                  <a:lnTo>
                    <a:pt x="67" y="3"/>
                  </a:lnTo>
                  <a:lnTo>
                    <a:pt x="60" y="2"/>
                  </a:lnTo>
                  <a:lnTo>
                    <a:pt x="54" y="0"/>
                  </a:lnTo>
                  <a:lnTo>
                    <a:pt x="48" y="2"/>
                  </a:lnTo>
                  <a:lnTo>
                    <a:pt x="44" y="4"/>
                  </a:lnTo>
                  <a:lnTo>
                    <a:pt x="41" y="7"/>
                  </a:lnTo>
                  <a:lnTo>
                    <a:pt x="39" y="11"/>
                  </a:lnTo>
                  <a:lnTo>
                    <a:pt x="33" y="21"/>
                  </a:lnTo>
                  <a:lnTo>
                    <a:pt x="28" y="32"/>
                  </a:lnTo>
                  <a:lnTo>
                    <a:pt x="19" y="43"/>
                  </a:lnTo>
                  <a:lnTo>
                    <a:pt x="11" y="51"/>
                  </a:lnTo>
                  <a:lnTo>
                    <a:pt x="6" y="56"/>
                  </a:lnTo>
                  <a:lnTo>
                    <a:pt x="3" y="61"/>
                  </a:lnTo>
                  <a:lnTo>
                    <a:pt x="1" y="66"/>
                  </a:lnTo>
                  <a:lnTo>
                    <a:pt x="0" y="74"/>
                  </a:lnTo>
                  <a:lnTo>
                    <a:pt x="1" y="83"/>
                  </a:lnTo>
                  <a:lnTo>
                    <a:pt x="4" y="89"/>
                  </a:lnTo>
                  <a:lnTo>
                    <a:pt x="7" y="97"/>
                  </a:lnTo>
                  <a:lnTo>
                    <a:pt x="13" y="102"/>
                  </a:lnTo>
                  <a:lnTo>
                    <a:pt x="17" y="108"/>
                  </a:lnTo>
                  <a:lnTo>
                    <a:pt x="22" y="115"/>
                  </a:lnTo>
                  <a:lnTo>
                    <a:pt x="27" y="121"/>
                  </a:lnTo>
                  <a:lnTo>
                    <a:pt x="31" y="130"/>
                  </a:lnTo>
                  <a:lnTo>
                    <a:pt x="36" y="147"/>
                  </a:lnTo>
                  <a:lnTo>
                    <a:pt x="41" y="165"/>
                  </a:lnTo>
                  <a:lnTo>
                    <a:pt x="44" y="172"/>
                  </a:lnTo>
                  <a:lnTo>
                    <a:pt x="47" y="180"/>
                  </a:lnTo>
                  <a:lnTo>
                    <a:pt x="53" y="187"/>
                  </a:lnTo>
                  <a:lnTo>
                    <a:pt x="59" y="194"/>
                  </a:lnTo>
                  <a:lnTo>
                    <a:pt x="63" y="198"/>
                  </a:lnTo>
                  <a:lnTo>
                    <a:pt x="69" y="201"/>
                  </a:lnTo>
                  <a:lnTo>
                    <a:pt x="74" y="205"/>
                  </a:lnTo>
                  <a:lnTo>
                    <a:pt x="79" y="207"/>
                  </a:lnTo>
                  <a:lnTo>
                    <a:pt x="89" y="210"/>
                  </a:lnTo>
                  <a:lnTo>
                    <a:pt x="100" y="212"/>
                  </a:lnTo>
                  <a:lnTo>
                    <a:pt x="124" y="213"/>
                  </a:lnTo>
                  <a:lnTo>
                    <a:pt x="149" y="216"/>
                  </a:lnTo>
                  <a:lnTo>
                    <a:pt x="173" y="222"/>
                  </a:lnTo>
                  <a:lnTo>
                    <a:pt x="193" y="227"/>
                  </a:lnTo>
                  <a:lnTo>
                    <a:pt x="214" y="232"/>
                  </a:lnTo>
                  <a:lnTo>
                    <a:pt x="238" y="236"/>
                  </a:lnTo>
                  <a:lnTo>
                    <a:pt x="257" y="23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36">
              <a:extLst>
                <a:ext uri="{FF2B5EF4-FFF2-40B4-BE49-F238E27FC236}">
                  <a16:creationId xmlns:a16="http://schemas.microsoft.com/office/drawing/2014/main" id="{9C7E88AB-0BF3-4985-B74F-726519F071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797300" y="330201"/>
              <a:ext cx="793750" cy="949325"/>
            </a:xfrm>
            <a:custGeom>
              <a:avLst/>
              <a:gdLst>
                <a:gd name="T0" fmla="*/ 1768 w 2000"/>
                <a:gd name="T1" fmla="*/ 860 h 2393"/>
                <a:gd name="T2" fmla="*/ 1793 w 2000"/>
                <a:gd name="T3" fmla="*/ 976 h 2393"/>
                <a:gd name="T4" fmla="*/ 1849 w 2000"/>
                <a:gd name="T5" fmla="*/ 1018 h 2393"/>
                <a:gd name="T6" fmla="*/ 1890 w 2000"/>
                <a:gd name="T7" fmla="*/ 947 h 2393"/>
                <a:gd name="T8" fmla="*/ 1862 w 2000"/>
                <a:gd name="T9" fmla="*/ 853 h 2393"/>
                <a:gd name="T10" fmla="*/ 81 w 2000"/>
                <a:gd name="T11" fmla="*/ 745 h 2393"/>
                <a:gd name="T12" fmla="*/ 170 w 2000"/>
                <a:gd name="T13" fmla="*/ 860 h 2393"/>
                <a:gd name="T14" fmla="*/ 274 w 2000"/>
                <a:gd name="T15" fmla="*/ 910 h 2393"/>
                <a:gd name="T16" fmla="*/ 375 w 2000"/>
                <a:gd name="T17" fmla="*/ 907 h 2393"/>
                <a:gd name="T18" fmla="*/ 563 w 2000"/>
                <a:gd name="T19" fmla="*/ 1003 h 2393"/>
                <a:gd name="T20" fmla="*/ 574 w 2000"/>
                <a:gd name="T21" fmla="*/ 896 h 2393"/>
                <a:gd name="T22" fmla="*/ 726 w 2000"/>
                <a:gd name="T23" fmla="*/ 831 h 2393"/>
                <a:gd name="T24" fmla="*/ 908 w 2000"/>
                <a:gd name="T25" fmla="*/ 756 h 2393"/>
                <a:gd name="T26" fmla="*/ 951 w 2000"/>
                <a:gd name="T27" fmla="*/ 646 h 2393"/>
                <a:gd name="T28" fmla="*/ 1013 w 2000"/>
                <a:gd name="T29" fmla="*/ 532 h 2393"/>
                <a:gd name="T30" fmla="*/ 1070 w 2000"/>
                <a:gd name="T31" fmla="*/ 363 h 2393"/>
                <a:gd name="T32" fmla="*/ 1195 w 2000"/>
                <a:gd name="T33" fmla="*/ 211 h 2393"/>
                <a:gd name="T34" fmla="*/ 1329 w 2000"/>
                <a:gd name="T35" fmla="*/ 18 h 2393"/>
                <a:gd name="T36" fmla="*/ 1406 w 2000"/>
                <a:gd name="T37" fmla="*/ 6 h 2393"/>
                <a:gd name="T38" fmla="*/ 1489 w 2000"/>
                <a:gd name="T39" fmla="*/ 155 h 2393"/>
                <a:gd name="T40" fmla="*/ 1516 w 2000"/>
                <a:gd name="T41" fmla="*/ 199 h 2393"/>
                <a:gd name="T42" fmla="*/ 1563 w 2000"/>
                <a:gd name="T43" fmla="*/ 278 h 2393"/>
                <a:gd name="T44" fmla="*/ 1550 w 2000"/>
                <a:gd name="T45" fmla="*/ 386 h 2393"/>
                <a:gd name="T46" fmla="*/ 1630 w 2000"/>
                <a:gd name="T47" fmla="*/ 658 h 2393"/>
                <a:gd name="T48" fmla="*/ 1664 w 2000"/>
                <a:gd name="T49" fmla="*/ 860 h 2393"/>
                <a:gd name="T50" fmla="*/ 1716 w 2000"/>
                <a:gd name="T51" fmla="*/ 951 h 2393"/>
                <a:gd name="T52" fmla="*/ 1755 w 2000"/>
                <a:gd name="T53" fmla="*/ 1035 h 2393"/>
                <a:gd name="T54" fmla="*/ 1887 w 2000"/>
                <a:gd name="T55" fmla="*/ 1071 h 2393"/>
                <a:gd name="T56" fmla="*/ 1976 w 2000"/>
                <a:gd name="T57" fmla="*/ 1107 h 2393"/>
                <a:gd name="T58" fmla="*/ 2000 w 2000"/>
                <a:gd name="T59" fmla="*/ 1203 h 2393"/>
                <a:gd name="T60" fmla="*/ 1939 w 2000"/>
                <a:gd name="T61" fmla="*/ 1250 h 2393"/>
                <a:gd name="T62" fmla="*/ 1901 w 2000"/>
                <a:gd name="T63" fmla="*/ 1290 h 2393"/>
                <a:gd name="T64" fmla="*/ 1981 w 2000"/>
                <a:gd name="T65" fmla="*/ 1322 h 2393"/>
                <a:gd name="T66" fmla="*/ 1977 w 2000"/>
                <a:gd name="T67" fmla="*/ 1380 h 2393"/>
                <a:gd name="T68" fmla="*/ 1887 w 2000"/>
                <a:gd name="T69" fmla="*/ 1460 h 2393"/>
                <a:gd name="T70" fmla="*/ 1729 w 2000"/>
                <a:gd name="T71" fmla="*/ 1599 h 2393"/>
                <a:gd name="T72" fmla="*/ 1561 w 2000"/>
                <a:gd name="T73" fmla="*/ 1708 h 2393"/>
                <a:gd name="T74" fmla="*/ 1457 w 2000"/>
                <a:gd name="T75" fmla="*/ 1797 h 2393"/>
                <a:gd name="T76" fmla="*/ 1362 w 2000"/>
                <a:gd name="T77" fmla="*/ 2026 h 2393"/>
                <a:gd name="T78" fmla="*/ 1404 w 2000"/>
                <a:gd name="T79" fmla="*/ 2093 h 2393"/>
                <a:gd name="T80" fmla="*/ 1390 w 2000"/>
                <a:gd name="T81" fmla="*/ 2197 h 2393"/>
                <a:gd name="T82" fmla="*/ 1308 w 2000"/>
                <a:gd name="T83" fmla="*/ 2310 h 2393"/>
                <a:gd name="T84" fmla="*/ 1189 w 2000"/>
                <a:gd name="T85" fmla="*/ 2393 h 2393"/>
                <a:gd name="T86" fmla="*/ 1173 w 2000"/>
                <a:gd name="T87" fmla="*/ 2317 h 2393"/>
                <a:gd name="T88" fmla="*/ 1062 w 2000"/>
                <a:gd name="T89" fmla="*/ 2232 h 2393"/>
                <a:gd name="T90" fmla="*/ 1017 w 2000"/>
                <a:gd name="T91" fmla="*/ 2125 h 2393"/>
                <a:gd name="T92" fmla="*/ 922 w 2000"/>
                <a:gd name="T93" fmla="*/ 2082 h 2393"/>
                <a:gd name="T94" fmla="*/ 888 w 2000"/>
                <a:gd name="T95" fmla="*/ 2013 h 2393"/>
                <a:gd name="T96" fmla="*/ 826 w 2000"/>
                <a:gd name="T97" fmla="*/ 1911 h 2393"/>
                <a:gd name="T98" fmla="*/ 706 w 2000"/>
                <a:gd name="T99" fmla="*/ 1778 h 2393"/>
                <a:gd name="T100" fmla="*/ 609 w 2000"/>
                <a:gd name="T101" fmla="*/ 1551 h 2393"/>
                <a:gd name="T102" fmla="*/ 526 w 2000"/>
                <a:gd name="T103" fmla="*/ 1466 h 2393"/>
                <a:gd name="T104" fmla="*/ 389 w 2000"/>
                <a:gd name="T105" fmla="*/ 1351 h 2393"/>
                <a:gd name="T106" fmla="*/ 330 w 2000"/>
                <a:gd name="T107" fmla="*/ 1328 h 2393"/>
                <a:gd name="T108" fmla="*/ 213 w 2000"/>
                <a:gd name="T109" fmla="*/ 1256 h 2393"/>
                <a:gd name="T110" fmla="*/ 175 w 2000"/>
                <a:gd name="T111" fmla="*/ 1100 h 2393"/>
                <a:gd name="T112" fmla="*/ 88 w 2000"/>
                <a:gd name="T113" fmla="*/ 991 h 2393"/>
                <a:gd name="T114" fmla="*/ 2 w 2000"/>
                <a:gd name="T115" fmla="*/ 900 h 2393"/>
                <a:gd name="T116" fmla="*/ 47 w 2000"/>
                <a:gd name="T117" fmla="*/ 722 h 2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00" h="2393">
                  <a:moveTo>
                    <a:pt x="1829" y="835"/>
                  </a:moveTo>
                  <a:lnTo>
                    <a:pt x="1810" y="831"/>
                  </a:lnTo>
                  <a:lnTo>
                    <a:pt x="1793" y="828"/>
                  </a:lnTo>
                  <a:lnTo>
                    <a:pt x="1777" y="822"/>
                  </a:lnTo>
                  <a:lnTo>
                    <a:pt x="1759" y="813"/>
                  </a:lnTo>
                  <a:lnTo>
                    <a:pt x="1761" y="822"/>
                  </a:lnTo>
                  <a:lnTo>
                    <a:pt x="1764" y="829"/>
                  </a:lnTo>
                  <a:lnTo>
                    <a:pt x="1767" y="837"/>
                  </a:lnTo>
                  <a:lnTo>
                    <a:pt x="1768" y="845"/>
                  </a:lnTo>
                  <a:lnTo>
                    <a:pt x="1768" y="860"/>
                  </a:lnTo>
                  <a:lnTo>
                    <a:pt x="1768" y="874"/>
                  </a:lnTo>
                  <a:lnTo>
                    <a:pt x="1768" y="887"/>
                  </a:lnTo>
                  <a:lnTo>
                    <a:pt x="1768" y="903"/>
                  </a:lnTo>
                  <a:lnTo>
                    <a:pt x="1768" y="911"/>
                  </a:lnTo>
                  <a:lnTo>
                    <a:pt x="1769" y="920"/>
                  </a:lnTo>
                  <a:lnTo>
                    <a:pt x="1771" y="927"/>
                  </a:lnTo>
                  <a:lnTo>
                    <a:pt x="1773" y="935"/>
                  </a:lnTo>
                  <a:lnTo>
                    <a:pt x="1780" y="949"/>
                  </a:lnTo>
                  <a:lnTo>
                    <a:pt x="1786" y="963"/>
                  </a:lnTo>
                  <a:lnTo>
                    <a:pt x="1793" y="976"/>
                  </a:lnTo>
                  <a:lnTo>
                    <a:pt x="1798" y="990"/>
                  </a:lnTo>
                  <a:lnTo>
                    <a:pt x="1801" y="998"/>
                  </a:lnTo>
                  <a:lnTo>
                    <a:pt x="1802" y="1005"/>
                  </a:lnTo>
                  <a:lnTo>
                    <a:pt x="1804" y="1014"/>
                  </a:lnTo>
                  <a:lnTo>
                    <a:pt x="1805" y="1022"/>
                  </a:lnTo>
                  <a:lnTo>
                    <a:pt x="1815" y="1022"/>
                  </a:lnTo>
                  <a:lnTo>
                    <a:pt x="1826" y="1022"/>
                  </a:lnTo>
                  <a:lnTo>
                    <a:pt x="1834" y="1022"/>
                  </a:lnTo>
                  <a:lnTo>
                    <a:pt x="1841" y="1020"/>
                  </a:lnTo>
                  <a:lnTo>
                    <a:pt x="1849" y="1018"/>
                  </a:lnTo>
                  <a:lnTo>
                    <a:pt x="1855" y="1014"/>
                  </a:lnTo>
                  <a:lnTo>
                    <a:pt x="1861" y="1009"/>
                  </a:lnTo>
                  <a:lnTo>
                    <a:pt x="1866" y="1005"/>
                  </a:lnTo>
                  <a:lnTo>
                    <a:pt x="1871" y="999"/>
                  </a:lnTo>
                  <a:lnTo>
                    <a:pt x="1875" y="993"/>
                  </a:lnTo>
                  <a:lnTo>
                    <a:pt x="1879" y="986"/>
                  </a:lnTo>
                  <a:lnTo>
                    <a:pt x="1882" y="979"/>
                  </a:lnTo>
                  <a:lnTo>
                    <a:pt x="1885" y="971"/>
                  </a:lnTo>
                  <a:lnTo>
                    <a:pt x="1888" y="963"/>
                  </a:lnTo>
                  <a:lnTo>
                    <a:pt x="1890" y="947"/>
                  </a:lnTo>
                  <a:lnTo>
                    <a:pt x="1891" y="931"/>
                  </a:lnTo>
                  <a:lnTo>
                    <a:pt x="1890" y="914"/>
                  </a:lnTo>
                  <a:lnTo>
                    <a:pt x="1887" y="899"/>
                  </a:lnTo>
                  <a:lnTo>
                    <a:pt x="1885" y="892"/>
                  </a:lnTo>
                  <a:lnTo>
                    <a:pt x="1882" y="884"/>
                  </a:lnTo>
                  <a:lnTo>
                    <a:pt x="1879" y="878"/>
                  </a:lnTo>
                  <a:lnTo>
                    <a:pt x="1876" y="870"/>
                  </a:lnTo>
                  <a:lnTo>
                    <a:pt x="1872" y="865"/>
                  </a:lnTo>
                  <a:lnTo>
                    <a:pt x="1866" y="858"/>
                  </a:lnTo>
                  <a:lnTo>
                    <a:pt x="1862" y="853"/>
                  </a:lnTo>
                  <a:lnTo>
                    <a:pt x="1856" y="849"/>
                  </a:lnTo>
                  <a:lnTo>
                    <a:pt x="1850" y="844"/>
                  </a:lnTo>
                  <a:lnTo>
                    <a:pt x="1844" y="840"/>
                  </a:lnTo>
                  <a:lnTo>
                    <a:pt x="1837" y="837"/>
                  </a:lnTo>
                  <a:lnTo>
                    <a:pt x="1829" y="835"/>
                  </a:lnTo>
                  <a:lnTo>
                    <a:pt x="1829" y="835"/>
                  </a:lnTo>
                  <a:close/>
                  <a:moveTo>
                    <a:pt x="47" y="722"/>
                  </a:moveTo>
                  <a:lnTo>
                    <a:pt x="58" y="731"/>
                  </a:lnTo>
                  <a:lnTo>
                    <a:pt x="69" y="737"/>
                  </a:lnTo>
                  <a:lnTo>
                    <a:pt x="81" y="745"/>
                  </a:lnTo>
                  <a:lnTo>
                    <a:pt x="95" y="750"/>
                  </a:lnTo>
                  <a:lnTo>
                    <a:pt x="95" y="750"/>
                  </a:lnTo>
                  <a:lnTo>
                    <a:pt x="104" y="768"/>
                  </a:lnTo>
                  <a:lnTo>
                    <a:pt x="111" y="783"/>
                  </a:lnTo>
                  <a:lnTo>
                    <a:pt x="120" y="797"/>
                  </a:lnTo>
                  <a:lnTo>
                    <a:pt x="128" y="810"/>
                  </a:lnTo>
                  <a:lnTo>
                    <a:pt x="137" y="822"/>
                  </a:lnTo>
                  <a:lnTo>
                    <a:pt x="147" y="835"/>
                  </a:lnTo>
                  <a:lnTo>
                    <a:pt x="158" y="846"/>
                  </a:lnTo>
                  <a:lnTo>
                    <a:pt x="170" y="860"/>
                  </a:lnTo>
                  <a:lnTo>
                    <a:pt x="188" y="879"/>
                  </a:lnTo>
                  <a:lnTo>
                    <a:pt x="204" y="895"/>
                  </a:lnTo>
                  <a:lnTo>
                    <a:pt x="213" y="901"/>
                  </a:lnTo>
                  <a:lnTo>
                    <a:pt x="223" y="906"/>
                  </a:lnTo>
                  <a:lnTo>
                    <a:pt x="229" y="908"/>
                  </a:lnTo>
                  <a:lnTo>
                    <a:pt x="234" y="909"/>
                  </a:lnTo>
                  <a:lnTo>
                    <a:pt x="241" y="910"/>
                  </a:lnTo>
                  <a:lnTo>
                    <a:pt x="247" y="910"/>
                  </a:lnTo>
                  <a:lnTo>
                    <a:pt x="261" y="910"/>
                  </a:lnTo>
                  <a:lnTo>
                    <a:pt x="274" y="910"/>
                  </a:lnTo>
                  <a:lnTo>
                    <a:pt x="287" y="910"/>
                  </a:lnTo>
                  <a:lnTo>
                    <a:pt x="301" y="910"/>
                  </a:lnTo>
                  <a:lnTo>
                    <a:pt x="314" y="909"/>
                  </a:lnTo>
                  <a:lnTo>
                    <a:pt x="326" y="906"/>
                  </a:lnTo>
                  <a:lnTo>
                    <a:pt x="337" y="904"/>
                  </a:lnTo>
                  <a:lnTo>
                    <a:pt x="350" y="903"/>
                  </a:lnTo>
                  <a:lnTo>
                    <a:pt x="356" y="903"/>
                  </a:lnTo>
                  <a:lnTo>
                    <a:pt x="363" y="904"/>
                  </a:lnTo>
                  <a:lnTo>
                    <a:pt x="368" y="905"/>
                  </a:lnTo>
                  <a:lnTo>
                    <a:pt x="375" y="907"/>
                  </a:lnTo>
                  <a:lnTo>
                    <a:pt x="384" y="911"/>
                  </a:lnTo>
                  <a:lnTo>
                    <a:pt x="394" y="918"/>
                  </a:lnTo>
                  <a:lnTo>
                    <a:pt x="404" y="924"/>
                  </a:lnTo>
                  <a:lnTo>
                    <a:pt x="413" y="932"/>
                  </a:lnTo>
                  <a:lnTo>
                    <a:pt x="424" y="938"/>
                  </a:lnTo>
                  <a:lnTo>
                    <a:pt x="436" y="944"/>
                  </a:lnTo>
                  <a:lnTo>
                    <a:pt x="471" y="959"/>
                  </a:lnTo>
                  <a:lnTo>
                    <a:pt x="500" y="973"/>
                  </a:lnTo>
                  <a:lnTo>
                    <a:pt x="530" y="987"/>
                  </a:lnTo>
                  <a:lnTo>
                    <a:pt x="563" y="1003"/>
                  </a:lnTo>
                  <a:lnTo>
                    <a:pt x="566" y="998"/>
                  </a:lnTo>
                  <a:lnTo>
                    <a:pt x="568" y="992"/>
                  </a:lnTo>
                  <a:lnTo>
                    <a:pt x="566" y="978"/>
                  </a:lnTo>
                  <a:lnTo>
                    <a:pt x="563" y="964"/>
                  </a:lnTo>
                  <a:lnTo>
                    <a:pt x="563" y="951"/>
                  </a:lnTo>
                  <a:lnTo>
                    <a:pt x="564" y="939"/>
                  </a:lnTo>
                  <a:lnTo>
                    <a:pt x="565" y="927"/>
                  </a:lnTo>
                  <a:lnTo>
                    <a:pt x="567" y="917"/>
                  </a:lnTo>
                  <a:lnTo>
                    <a:pt x="570" y="907"/>
                  </a:lnTo>
                  <a:lnTo>
                    <a:pt x="574" y="896"/>
                  </a:lnTo>
                  <a:lnTo>
                    <a:pt x="580" y="886"/>
                  </a:lnTo>
                  <a:lnTo>
                    <a:pt x="588" y="877"/>
                  </a:lnTo>
                  <a:lnTo>
                    <a:pt x="594" y="871"/>
                  </a:lnTo>
                  <a:lnTo>
                    <a:pt x="601" y="867"/>
                  </a:lnTo>
                  <a:lnTo>
                    <a:pt x="608" y="864"/>
                  </a:lnTo>
                  <a:lnTo>
                    <a:pt x="615" y="862"/>
                  </a:lnTo>
                  <a:lnTo>
                    <a:pt x="632" y="859"/>
                  </a:lnTo>
                  <a:lnTo>
                    <a:pt x="650" y="854"/>
                  </a:lnTo>
                  <a:lnTo>
                    <a:pt x="690" y="841"/>
                  </a:lnTo>
                  <a:lnTo>
                    <a:pt x="726" y="831"/>
                  </a:lnTo>
                  <a:lnTo>
                    <a:pt x="761" y="820"/>
                  </a:lnTo>
                  <a:lnTo>
                    <a:pt x="801" y="806"/>
                  </a:lnTo>
                  <a:lnTo>
                    <a:pt x="823" y="799"/>
                  </a:lnTo>
                  <a:lnTo>
                    <a:pt x="841" y="791"/>
                  </a:lnTo>
                  <a:lnTo>
                    <a:pt x="860" y="782"/>
                  </a:lnTo>
                  <a:lnTo>
                    <a:pt x="879" y="771"/>
                  </a:lnTo>
                  <a:lnTo>
                    <a:pt x="890" y="765"/>
                  </a:lnTo>
                  <a:lnTo>
                    <a:pt x="900" y="761"/>
                  </a:lnTo>
                  <a:lnTo>
                    <a:pt x="904" y="759"/>
                  </a:lnTo>
                  <a:lnTo>
                    <a:pt x="908" y="756"/>
                  </a:lnTo>
                  <a:lnTo>
                    <a:pt x="912" y="752"/>
                  </a:lnTo>
                  <a:lnTo>
                    <a:pt x="916" y="748"/>
                  </a:lnTo>
                  <a:lnTo>
                    <a:pt x="921" y="737"/>
                  </a:lnTo>
                  <a:lnTo>
                    <a:pt x="925" y="728"/>
                  </a:lnTo>
                  <a:lnTo>
                    <a:pt x="929" y="718"/>
                  </a:lnTo>
                  <a:lnTo>
                    <a:pt x="931" y="708"/>
                  </a:lnTo>
                  <a:lnTo>
                    <a:pt x="935" y="689"/>
                  </a:lnTo>
                  <a:lnTo>
                    <a:pt x="941" y="667"/>
                  </a:lnTo>
                  <a:lnTo>
                    <a:pt x="946" y="655"/>
                  </a:lnTo>
                  <a:lnTo>
                    <a:pt x="951" y="646"/>
                  </a:lnTo>
                  <a:lnTo>
                    <a:pt x="958" y="637"/>
                  </a:lnTo>
                  <a:lnTo>
                    <a:pt x="963" y="629"/>
                  </a:lnTo>
                  <a:lnTo>
                    <a:pt x="977" y="613"/>
                  </a:lnTo>
                  <a:lnTo>
                    <a:pt x="991" y="594"/>
                  </a:lnTo>
                  <a:lnTo>
                    <a:pt x="997" y="586"/>
                  </a:lnTo>
                  <a:lnTo>
                    <a:pt x="1001" y="579"/>
                  </a:lnTo>
                  <a:lnTo>
                    <a:pt x="1004" y="571"/>
                  </a:lnTo>
                  <a:lnTo>
                    <a:pt x="1006" y="563"/>
                  </a:lnTo>
                  <a:lnTo>
                    <a:pt x="1011" y="547"/>
                  </a:lnTo>
                  <a:lnTo>
                    <a:pt x="1013" y="532"/>
                  </a:lnTo>
                  <a:lnTo>
                    <a:pt x="1016" y="500"/>
                  </a:lnTo>
                  <a:lnTo>
                    <a:pt x="1019" y="465"/>
                  </a:lnTo>
                  <a:lnTo>
                    <a:pt x="1020" y="460"/>
                  </a:lnTo>
                  <a:lnTo>
                    <a:pt x="1023" y="454"/>
                  </a:lnTo>
                  <a:lnTo>
                    <a:pt x="1025" y="450"/>
                  </a:lnTo>
                  <a:lnTo>
                    <a:pt x="1028" y="447"/>
                  </a:lnTo>
                  <a:lnTo>
                    <a:pt x="1033" y="438"/>
                  </a:lnTo>
                  <a:lnTo>
                    <a:pt x="1039" y="428"/>
                  </a:lnTo>
                  <a:lnTo>
                    <a:pt x="1055" y="394"/>
                  </a:lnTo>
                  <a:lnTo>
                    <a:pt x="1070" y="363"/>
                  </a:lnTo>
                  <a:lnTo>
                    <a:pt x="1078" y="349"/>
                  </a:lnTo>
                  <a:lnTo>
                    <a:pt x="1087" y="333"/>
                  </a:lnTo>
                  <a:lnTo>
                    <a:pt x="1097" y="318"/>
                  </a:lnTo>
                  <a:lnTo>
                    <a:pt x="1109" y="302"/>
                  </a:lnTo>
                  <a:lnTo>
                    <a:pt x="1124" y="284"/>
                  </a:lnTo>
                  <a:lnTo>
                    <a:pt x="1138" y="268"/>
                  </a:lnTo>
                  <a:lnTo>
                    <a:pt x="1153" y="253"/>
                  </a:lnTo>
                  <a:lnTo>
                    <a:pt x="1167" y="239"/>
                  </a:lnTo>
                  <a:lnTo>
                    <a:pt x="1181" y="225"/>
                  </a:lnTo>
                  <a:lnTo>
                    <a:pt x="1195" y="211"/>
                  </a:lnTo>
                  <a:lnTo>
                    <a:pt x="1209" y="195"/>
                  </a:lnTo>
                  <a:lnTo>
                    <a:pt x="1225" y="176"/>
                  </a:lnTo>
                  <a:lnTo>
                    <a:pt x="1239" y="155"/>
                  </a:lnTo>
                  <a:lnTo>
                    <a:pt x="1252" y="137"/>
                  </a:lnTo>
                  <a:lnTo>
                    <a:pt x="1264" y="117"/>
                  </a:lnTo>
                  <a:lnTo>
                    <a:pt x="1274" y="99"/>
                  </a:lnTo>
                  <a:lnTo>
                    <a:pt x="1295" y="61"/>
                  </a:lnTo>
                  <a:lnTo>
                    <a:pt x="1320" y="19"/>
                  </a:lnTo>
                  <a:lnTo>
                    <a:pt x="1320" y="19"/>
                  </a:lnTo>
                  <a:lnTo>
                    <a:pt x="1329" y="18"/>
                  </a:lnTo>
                  <a:lnTo>
                    <a:pt x="1338" y="16"/>
                  </a:lnTo>
                  <a:lnTo>
                    <a:pt x="1346" y="13"/>
                  </a:lnTo>
                  <a:lnTo>
                    <a:pt x="1354" y="9"/>
                  </a:lnTo>
                  <a:lnTo>
                    <a:pt x="1362" y="5"/>
                  </a:lnTo>
                  <a:lnTo>
                    <a:pt x="1370" y="3"/>
                  </a:lnTo>
                  <a:lnTo>
                    <a:pt x="1379" y="1"/>
                  </a:lnTo>
                  <a:lnTo>
                    <a:pt x="1390" y="0"/>
                  </a:lnTo>
                  <a:lnTo>
                    <a:pt x="1396" y="1"/>
                  </a:lnTo>
                  <a:lnTo>
                    <a:pt x="1402" y="3"/>
                  </a:lnTo>
                  <a:lnTo>
                    <a:pt x="1406" y="6"/>
                  </a:lnTo>
                  <a:lnTo>
                    <a:pt x="1410" y="10"/>
                  </a:lnTo>
                  <a:lnTo>
                    <a:pt x="1418" y="22"/>
                  </a:lnTo>
                  <a:lnTo>
                    <a:pt x="1426" y="33"/>
                  </a:lnTo>
                  <a:lnTo>
                    <a:pt x="1446" y="60"/>
                  </a:lnTo>
                  <a:lnTo>
                    <a:pt x="1463" y="85"/>
                  </a:lnTo>
                  <a:lnTo>
                    <a:pt x="1471" y="98"/>
                  </a:lnTo>
                  <a:lnTo>
                    <a:pt x="1477" y="111"/>
                  </a:lnTo>
                  <a:lnTo>
                    <a:pt x="1483" y="126"/>
                  </a:lnTo>
                  <a:lnTo>
                    <a:pt x="1488" y="142"/>
                  </a:lnTo>
                  <a:lnTo>
                    <a:pt x="1489" y="155"/>
                  </a:lnTo>
                  <a:lnTo>
                    <a:pt x="1489" y="168"/>
                  </a:lnTo>
                  <a:lnTo>
                    <a:pt x="1489" y="174"/>
                  </a:lnTo>
                  <a:lnTo>
                    <a:pt x="1490" y="179"/>
                  </a:lnTo>
                  <a:lnTo>
                    <a:pt x="1492" y="184"/>
                  </a:lnTo>
                  <a:lnTo>
                    <a:pt x="1496" y="190"/>
                  </a:lnTo>
                  <a:lnTo>
                    <a:pt x="1499" y="194"/>
                  </a:lnTo>
                  <a:lnTo>
                    <a:pt x="1503" y="196"/>
                  </a:lnTo>
                  <a:lnTo>
                    <a:pt x="1508" y="197"/>
                  </a:lnTo>
                  <a:lnTo>
                    <a:pt x="1512" y="198"/>
                  </a:lnTo>
                  <a:lnTo>
                    <a:pt x="1516" y="199"/>
                  </a:lnTo>
                  <a:lnTo>
                    <a:pt x="1522" y="201"/>
                  </a:lnTo>
                  <a:lnTo>
                    <a:pt x="1526" y="202"/>
                  </a:lnTo>
                  <a:lnTo>
                    <a:pt x="1529" y="204"/>
                  </a:lnTo>
                  <a:lnTo>
                    <a:pt x="1539" y="214"/>
                  </a:lnTo>
                  <a:lnTo>
                    <a:pt x="1546" y="222"/>
                  </a:lnTo>
                  <a:lnTo>
                    <a:pt x="1552" y="233"/>
                  </a:lnTo>
                  <a:lnTo>
                    <a:pt x="1557" y="243"/>
                  </a:lnTo>
                  <a:lnTo>
                    <a:pt x="1559" y="255"/>
                  </a:lnTo>
                  <a:lnTo>
                    <a:pt x="1562" y="265"/>
                  </a:lnTo>
                  <a:lnTo>
                    <a:pt x="1563" y="278"/>
                  </a:lnTo>
                  <a:lnTo>
                    <a:pt x="1564" y="291"/>
                  </a:lnTo>
                  <a:lnTo>
                    <a:pt x="1563" y="301"/>
                  </a:lnTo>
                  <a:lnTo>
                    <a:pt x="1562" y="311"/>
                  </a:lnTo>
                  <a:lnTo>
                    <a:pt x="1558" y="319"/>
                  </a:lnTo>
                  <a:lnTo>
                    <a:pt x="1556" y="328"/>
                  </a:lnTo>
                  <a:lnTo>
                    <a:pt x="1554" y="336"/>
                  </a:lnTo>
                  <a:lnTo>
                    <a:pt x="1552" y="344"/>
                  </a:lnTo>
                  <a:lnTo>
                    <a:pt x="1550" y="354"/>
                  </a:lnTo>
                  <a:lnTo>
                    <a:pt x="1550" y="364"/>
                  </a:lnTo>
                  <a:lnTo>
                    <a:pt x="1550" y="386"/>
                  </a:lnTo>
                  <a:lnTo>
                    <a:pt x="1552" y="406"/>
                  </a:lnTo>
                  <a:lnTo>
                    <a:pt x="1555" y="425"/>
                  </a:lnTo>
                  <a:lnTo>
                    <a:pt x="1559" y="442"/>
                  </a:lnTo>
                  <a:lnTo>
                    <a:pt x="1571" y="478"/>
                  </a:lnTo>
                  <a:lnTo>
                    <a:pt x="1585" y="518"/>
                  </a:lnTo>
                  <a:lnTo>
                    <a:pt x="1595" y="547"/>
                  </a:lnTo>
                  <a:lnTo>
                    <a:pt x="1603" y="574"/>
                  </a:lnTo>
                  <a:lnTo>
                    <a:pt x="1610" y="600"/>
                  </a:lnTo>
                  <a:lnTo>
                    <a:pt x="1619" y="630"/>
                  </a:lnTo>
                  <a:lnTo>
                    <a:pt x="1630" y="658"/>
                  </a:lnTo>
                  <a:lnTo>
                    <a:pt x="1639" y="684"/>
                  </a:lnTo>
                  <a:lnTo>
                    <a:pt x="1648" y="709"/>
                  </a:lnTo>
                  <a:lnTo>
                    <a:pt x="1656" y="733"/>
                  </a:lnTo>
                  <a:lnTo>
                    <a:pt x="1662" y="758"/>
                  </a:lnTo>
                  <a:lnTo>
                    <a:pt x="1666" y="783"/>
                  </a:lnTo>
                  <a:lnTo>
                    <a:pt x="1669" y="811"/>
                  </a:lnTo>
                  <a:lnTo>
                    <a:pt x="1670" y="840"/>
                  </a:lnTo>
                  <a:lnTo>
                    <a:pt x="1670" y="847"/>
                  </a:lnTo>
                  <a:lnTo>
                    <a:pt x="1667" y="854"/>
                  </a:lnTo>
                  <a:lnTo>
                    <a:pt x="1664" y="860"/>
                  </a:lnTo>
                  <a:lnTo>
                    <a:pt x="1661" y="866"/>
                  </a:lnTo>
                  <a:lnTo>
                    <a:pt x="1651" y="877"/>
                  </a:lnTo>
                  <a:lnTo>
                    <a:pt x="1642" y="889"/>
                  </a:lnTo>
                  <a:lnTo>
                    <a:pt x="1651" y="894"/>
                  </a:lnTo>
                  <a:lnTo>
                    <a:pt x="1660" y="899"/>
                  </a:lnTo>
                  <a:lnTo>
                    <a:pt x="1667" y="906"/>
                  </a:lnTo>
                  <a:lnTo>
                    <a:pt x="1674" y="912"/>
                  </a:lnTo>
                  <a:lnTo>
                    <a:pt x="1688" y="926"/>
                  </a:lnTo>
                  <a:lnTo>
                    <a:pt x="1703" y="941"/>
                  </a:lnTo>
                  <a:lnTo>
                    <a:pt x="1716" y="951"/>
                  </a:lnTo>
                  <a:lnTo>
                    <a:pt x="1727" y="960"/>
                  </a:lnTo>
                  <a:lnTo>
                    <a:pt x="1732" y="964"/>
                  </a:lnTo>
                  <a:lnTo>
                    <a:pt x="1737" y="970"/>
                  </a:lnTo>
                  <a:lnTo>
                    <a:pt x="1740" y="976"/>
                  </a:lnTo>
                  <a:lnTo>
                    <a:pt x="1743" y="984"/>
                  </a:lnTo>
                  <a:lnTo>
                    <a:pt x="1746" y="1000"/>
                  </a:lnTo>
                  <a:lnTo>
                    <a:pt x="1747" y="1015"/>
                  </a:lnTo>
                  <a:lnTo>
                    <a:pt x="1750" y="1021"/>
                  </a:lnTo>
                  <a:lnTo>
                    <a:pt x="1752" y="1029"/>
                  </a:lnTo>
                  <a:lnTo>
                    <a:pt x="1755" y="1035"/>
                  </a:lnTo>
                  <a:lnTo>
                    <a:pt x="1759" y="1042"/>
                  </a:lnTo>
                  <a:lnTo>
                    <a:pt x="1768" y="1051"/>
                  </a:lnTo>
                  <a:lnTo>
                    <a:pt x="1777" y="1056"/>
                  </a:lnTo>
                  <a:lnTo>
                    <a:pt x="1785" y="1059"/>
                  </a:lnTo>
                  <a:lnTo>
                    <a:pt x="1795" y="1061"/>
                  </a:lnTo>
                  <a:lnTo>
                    <a:pt x="1815" y="1065"/>
                  </a:lnTo>
                  <a:lnTo>
                    <a:pt x="1838" y="1068"/>
                  </a:lnTo>
                  <a:lnTo>
                    <a:pt x="1855" y="1070"/>
                  </a:lnTo>
                  <a:lnTo>
                    <a:pt x="1872" y="1071"/>
                  </a:lnTo>
                  <a:lnTo>
                    <a:pt x="1887" y="1071"/>
                  </a:lnTo>
                  <a:lnTo>
                    <a:pt x="1902" y="1072"/>
                  </a:lnTo>
                  <a:lnTo>
                    <a:pt x="1917" y="1073"/>
                  </a:lnTo>
                  <a:lnTo>
                    <a:pt x="1932" y="1076"/>
                  </a:lnTo>
                  <a:lnTo>
                    <a:pt x="1940" y="1079"/>
                  </a:lnTo>
                  <a:lnTo>
                    <a:pt x="1946" y="1082"/>
                  </a:lnTo>
                  <a:lnTo>
                    <a:pt x="1954" y="1085"/>
                  </a:lnTo>
                  <a:lnTo>
                    <a:pt x="1961" y="1089"/>
                  </a:lnTo>
                  <a:lnTo>
                    <a:pt x="1968" y="1095"/>
                  </a:lnTo>
                  <a:lnTo>
                    <a:pt x="1972" y="1100"/>
                  </a:lnTo>
                  <a:lnTo>
                    <a:pt x="1976" y="1107"/>
                  </a:lnTo>
                  <a:lnTo>
                    <a:pt x="1979" y="1113"/>
                  </a:lnTo>
                  <a:lnTo>
                    <a:pt x="1983" y="1127"/>
                  </a:lnTo>
                  <a:lnTo>
                    <a:pt x="1986" y="1143"/>
                  </a:lnTo>
                  <a:lnTo>
                    <a:pt x="1990" y="1156"/>
                  </a:lnTo>
                  <a:lnTo>
                    <a:pt x="1996" y="1168"/>
                  </a:lnTo>
                  <a:lnTo>
                    <a:pt x="1997" y="1174"/>
                  </a:lnTo>
                  <a:lnTo>
                    <a:pt x="1999" y="1180"/>
                  </a:lnTo>
                  <a:lnTo>
                    <a:pt x="2000" y="1187"/>
                  </a:lnTo>
                  <a:lnTo>
                    <a:pt x="2000" y="1193"/>
                  </a:lnTo>
                  <a:lnTo>
                    <a:pt x="2000" y="1203"/>
                  </a:lnTo>
                  <a:lnTo>
                    <a:pt x="1998" y="1210"/>
                  </a:lnTo>
                  <a:lnTo>
                    <a:pt x="1995" y="1218"/>
                  </a:lnTo>
                  <a:lnTo>
                    <a:pt x="1990" y="1223"/>
                  </a:lnTo>
                  <a:lnTo>
                    <a:pt x="1985" y="1230"/>
                  </a:lnTo>
                  <a:lnTo>
                    <a:pt x="1979" y="1234"/>
                  </a:lnTo>
                  <a:lnTo>
                    <a:pt x="1972" y="1238"/>
                  </a:lnTo>
                  <a:lnTo>
                    <a:pt x="1964" y="1243"/>
                  </a:lnTo>
                  <a:lnTo>
                    <a:pt x="1956" y="1246"/>
                  </a:lnTo>
                  <a:lnTo>
                    <a:pt x="1947" y="1248"/>
                  </a:lnTo>
                  <a:lnTo>
                    <a:pt x="1939" y="1250"/>
                  </a:lnTo>
                  <a:lnTo>
                    <a:pt x="1929" y="1252"/>
                  </a:lnTo>
                  <a:lnTo>
                    <a:pt x="1910" y="1255"/>
                  </a:lnTo>
                  <a:lnTo>
                    <a:pt x="1891" y="1256"/>
                  </a:lnTo>
                  <a:lnTo>
                    <a:pt x="1891" y="1262"/>
                  </a:lnTo>
                  <a:lnTo>
                    <a:pt x="1891" y="1270"/>
                  </a:lnTo>
                  <a:lnTo>
                    <a:pt x="1891" y="1274"/>
                  </a:lnTo>
                  <a:lnTo>
                    <a:pt x="1892" y="1278"/>
                  </a:lnTo>
                  <a:lnTo>
                    <a:pt x="1893" y="1282"/>
                  </a:lnTo>
                  <a:lnTo>
                    <a:pt x="1895" y="1285"/>
                  </a:lnTo>
                  <a:lnTo>
                    <a:pt x="1901" y="1290"/>
                  </a:lnTo>
                  <a:lnTo>
                    <a:pt x="1906" y="1295"/>
                  </a:lnTo>
                  <a:lnTo>
                    <a:pt x="1914" y="1298"/>
                  </a:lnTo>
                  <a:lnTo>
                    <a:pt x="1922" y="1301"/>
                  </a:lnTo>
                  <a:lnTo>
                    <a:pt x="1931" y="1303"/>
                  </a:lnTo>
                  <a:lnTo>
                    <a:pt x="1941" y="1306"/>
                  </a:lnTo>
                  <a:lnTo>
                    <a:pt x="1949" y="1309"/>
                  </a:lnTo>
                  <a:lnTo>
                    <a:pt x="1958" y="1311"/>
                  </a:lnTo>
                  <a:lnTo>
                    <a:pt x="1967" y="1314"/>
                  </a:lnTo>
                  <a:lnTo>
                    <a:pt x="1974" y="1317"/>
                  </a:lnTo>
                  <a:lnTo>
                    <a:pt x="1981" y="1322"/>
                  </a:lnTo>
                  <a:lnTo>
                    <a:pt x="1985" y="1327"/>
                  </a:lnTo>
                  <a:lnTo>
                    <a:pt x="1987" y="1330"/>
                  </a:lnTo>
                  <a:lnTo>
                    <a:pt x="1988" y="1335"/>
                  </a:lnTo>
                  <a:lnTo>
                    <a:pt x="1989" y="1338"/>
                  </a:lnTo>
                  <a:lnTo>
                    <a:pt x="1989" y="1342"/>
                  </a:lnTo>
                  <a:lnTo>
                    <a:pt x="1989" y="1351"/>
                  </a:lnTo>
                  <a:lnTo>
                    <a:pt x="1987" y="1358"/>
                  </a:lnTo>
                  <a:lnTo>
                    <a:pt x="1985" y="1366"/>
                  </a:lnTo>
                  <a:lnTo>
                    <a:pt x="1982" y="1373"/>
                  </a:lnTo>
                  <a:lnTo>
                    <a:pt x="1977" y="1380"/>
                  </a:lnTo>
                  <a:lnTo>
                    <a:pt x="1973" y="1386"/>
                  </a:lnTo>
                  <a:lnTo>
                    <a:pt x="1968" y="1393"/>
                  </a:lnTo>
                  <a:lnTo>
                    <a:pt x="1961" y="1398"/>
                  </a:lnTo>
                  <a:lnTo>
                    <a:pt x="1947" y="1405"/>
                  </a:lnTo>
                  <a:lnTo>
                    <a:pt x="1934" y="1412"/>
                  </a:lnTo>
                  <a:lnTo>
                    <a:pt x="1922" y="1421"/>
                  </a:lnTo>
                  <a:lnTo>
                    <a:pt x="1913" y="1430"/>
                  </a:lnTo>
                  <a:lnTo>
                    <a:pt x="1903" y="1439"/>
                  </a:lnTo>
                  <a:lnTo>
                    <a:pt x="1894" y="1449"/>
                  </a:lnTo>
                  <a:lnTo>
                    <a:pt x="1887" y="1460"/>
                  </a:lnTo>
                  <a:lnTo>
                    <a:pt x="1879" y="1471"/>
                  </a:lnTo>
                  <a:lnTo>
                    <a:pt x="1863" y="1492"/>
                  </a:lnTo>
                  <a:lnTo>
                    <a:pt x="1847" y="1513"/>
                  </a:lnTo>
                  <a:lnTo>
                    <a:pt x="1837" y="1522"/>
                  </a:lnTo>
                  <a:lnTo>
                    <a:pt x="1826" y="1532"/>
                  </a:lnTo>
                  <a:lnTo>
                    <a:pt x="1814" y="1541"/>
                  </a:lnTo>
                  <a:lnTo>
                    <a:pt x="1801" y="1549"/>
                  </a:lnTo>
                  <a:lnTo>
                    <a:pt x="1774" y="1566"/>
                  </a:lnTo>
                  <a:lnTo>
                    <a:pt x="1751" y="1582"/>
                  </a:lnTo>
                  <a:lnTo>
                    <a:pt x="1729" y="1599"/>
                  </a:lnTo>
                  <a:lnTo>
                    <a:pt x="1708" y="1615"/>
                  </a:lnTo>
                  <a:lnTo>
                    <a:pt x="1688" y="1633"/>
                  </a:lnTo>
                  <a:lnTo>
                    <a:pt x="1666" y="1650"/>
                  </a:lnTo>
                  <a:lnTo>
                    <a:pt x="1643" y="1667"/>
                  </a:lnTo>
                  <a:lnTo>
                    <a:pt x="1617" y="1684"/>
                  </a:lnTo>
                  <a:lnTo>
                    <a:pt x="1605" y="1691"/>
                  </a:lnTo>
                  <a:lnTo>
                    <a:pt x="1593" y="1695"/>
                  </a:lnTo>
                  <a:lnTo>
                    <a:pt x="1582" y="1700"/>
                  </a:lnTo>
                  <a:lnTo>
                    <a:pt x="1571" y="1704"/>
                  </a:lnTo>
                  <a:lnTo>
                    <a:pt x="1561" y="1708"/>
                  </a:lnTo>
                  <a:lnTo>
                    <a:pt x="1550" y="1713"/>
                  </a:lnTo>
                  <a:lnTo>
                    <a:pt x="1538" y="1719"/>
                  </a:lnTo>
                  <a:lnTo>
                    <a:pt x="1527" y="1726"/>
                  </a:lnTo>
                  <a:lnTo>
                    <a:pt x="1514" y="1735"/>
                  </a:lnTo>
                  <a:lnTo>
                    <a:pt x="1502" y="1745"/>
                  </a:lnTo>
                  <a:lnTo>
                    <a:pt x="1491" y="1756"/>
                  </a:lnTo>
                  <a:lnTo>
                    <a:pt x="1482" y="1765"/>
                  </a:lnTo>
                  <a:lnTo>
                    <a:pt x="1473" y="1775"/>
                  </a:lnTo>
                  <a:lnTo>
                    <a:pt x="1464" y="1786"/>
                  </a:lnTo>
                  <a:lnTo>
                    <a:pt x="1457" y="1797"/>
                  </a:lnTo>
                  <a:lnTo>
                    <a:pt x="1450" y="1809"/>
                  </a:lnTo>
                  <a:lnTo>
                    <a:pt x="1437" y="1831"/>
                  </a:lnTo>
                  <a:lnTo>
                    <a:pt x="1427" y="1857"/>
                  </a:lnTo>
                  <a:lnTo>
                    <a:pt x="1417" y="1884"/>
                  </a:lnTo>
                  <a:lnTo>
                    <a:pt x="1406" y="1913"/>
                  </a:lnTo>
                  <a:lnTo>
                    <a:pt x="1395" y="1944"/>
                  </a:lnTo>
                  <a:lnTo>
                    <a:pt x="1384" y="1970"/>
                  </a:lnTo>
                  <a:lnTo>
                    <a:pt x="1373" y="1996"/>
                  </a:lnTo>
                  <a:lnTo>
                    <a:pt x="1362" y="2026"/>
                  </a:lnTo>
                  <a:lnTo>
                    <a:pt x="1362" y="2026"/>
                  </a:lnTo>
                  <a:lnTo>
                    <a:pt x="1418" y="2026"/>
                  </a:lnTo>
                  <a:lnTo>
                    <a:pt x="1418" y="2026"/>
                  </a:lnTo>
                  <a:lnTo>
                    <a:pt x="1418" y="2038"/>
                  </a:lnTo>
                  <a:lnTo>
                    <a:pt x="1418" y="2048"/>
                  </a:lnTo>
                  <a:lnTo>
                    <a:pt x="1417" y="2056"/>
                  </a:lnTo>
                  <a:lnTo>
                    <a:pt x="1417" y="2061"/>
                  </a:lnTo>
                  <a:lnTo>
                    <a:pt x="1415" y="2067"/>
                  </a:lnTo>
                  <a:lnTo>
                    <a:pt x="1414" y="2073"/>
                  </a:lnTo>
                  <a:lnTo>
                    <a:pt x="1408" y="2083"/>
                  </a:lnTo>
                  <a:lnTo>
                    <a:pt x="1404" y="2093"/>
                  </a:lnTo>
                  <a:lnTo>
                    <a:pt x="1399" y="2104"/>
                  </a:lnTo>
                  <a:lnTo>
                    <a:pt x="1394" y="2113"/>
                  </a:lnTo>
                  <a:lnTo>
                    <a:pt x="1392" y="2119"/>
                  </a:lnTo>
                  <a:lnTo>
                    <a:pt x="1391" y="2125"/>
                  </a:lnTo>
                  <a:lnTo>
                    <a:pt x="1390" y="2131"/>
                  </a:lnTo>
                  <a:lnTo>
                    <a:pt x="1390" y="2137"/>
                  </a:lnTo>
                  <a:lnTo>
                    <a:pt x="1390" y="2153"/>
                  </a:lnTo>
                  <a:lnTo>
                    <a:pt x="1390" y="2167"/>
                  </a:lnTo>
                  <a:lnTo>
                    <a:pt x="1390" y="2181"/>
                  </a:lnTo>
                  <a:lnTo>
                    <a:pt x="1390" y="2197"/>
                  </a:lnTo>
                  <a:lnTo>
                    <a:pt x="1389" y="2206"/>
                  </a:lnTo>
                  <a:lnTo>
                    <a:pt x="1387" y="2214"/>
                  </a:lnTo>
                  <a:lnTo>
                    <a:pt x="1384" y="2220"/>
                  </a:lnTo>
                  <a:lnTo>
                    <a:pt x="1380" y="2227"/>
                  </a:lnTo>
                  <a:lnTo>
                    <a:pt x="1370" y="2239"/>
                  </a:lnTo>
                  <a:lnTo>
                    <a:pt x="1359" y="2250"/>
                  </a:lnTo>
                  <a:lnTo>
                    <a:pt x="1328" y="2281"/>
                  </a:lnTo>
                  <a:lnTo>
                    <a:pt x="1322" y="2293"/>
                  </a:lnTo>
                  <a:lnTo>
                    <a:pt x="1315" y="2301"/>
                  </a:lnTo>
                  <a:lnTo>
                    <a:pt x="1308" y="2310"/>
                  </a:lnTo>
                  <a:lnTo>
                    <a:pt x="1300" y="2316"/>
                  </a:lnTo>
                  <a:lnTo>
                    <a:pt x="1283" y="2330"/>
                  </a:lnTo>
                  <a:lnTo>
                    <a:pt x="1264" y="2345"/>
                  </a:lnTo>
                  <a:lnTo>
                    <a:pt x="1244" y="2363"/>
                  </a:lnTo>
                  <a:lnTo>
                    <a:pt x="1226" y="2378"/>
                  </a:lnTo>
                  <a:lnTo>
                    <a:pt x="1216" y="2384"/>
                  </a:lnTo>
                  <a:lnTo>
                    <a:pt x="1206" y="2389"/>
                  </a:lnTo>
                  <a:lnTo>
                    <a:pt x="1201" y="2391"/>
                  </a:lnTo>
                  <a:lnTo>
                    <a:pt x="1194" y="2392"/>
                  </a:lnTo>
                  <a:lnTo>
                    <a:pt x="1189" y="2393"/>
                  </a:lnTo>
                  <a:lnTo>
                    <a:pt x="1182" y="2393"/>
                  </a:lnTo>
                  <a:lnTo>
                    <a:pt x="1168" y="2389"/>
                  </a:lnTo>
                  <a:lnTo>
                    <a:pt x="1157" y="2382"/>
                  </a:lnTo>
                  <a:lnTo>
                    <a:pt x="1157" y="2382"/>
                  </a:lnTo>
                  <a:lnTo>
                    <a:pt x="1161" y="2370"/>
                  </a:lnTo>
                  <a:lnTo>
                    <a:pt x="1163" y="2358"/>
                  </a:lnTo>
                  <a:lnTo>
                    <a:pt x="1165" y="2348"/>
                  </a:lnTo>
                  <a:lnTo>
                    <a:pt x="1167" y="2338"/>
                  </a:lnTo>
                  <a:lnTo>
                    <a:pt x="1170" y="2327"/>
                  </a:lnTo>
                  <a:lnTo>
                    <a:pt x="1173" y="2317"/>
                  </a:lnTo>
                  <a:lnTo>
                    <a:pt x="1179" y="2308"/>
                  </a:lnTo>
                  <a:lnTo>
                    <a:pt x="1188" y="2298"/>
                  </a:lnTo>
                  <a:lnTo>
                    <a:pt x="1168" y="2290"/>
                  </a:lnTo>
                  <a:lnTo>
                    <a:pt x="1152" y="2284"/>
                  </a:lnTo>
                  <a:lnTo>
                    <a:pt x="1136" y="2276"/>
                  </a:lnTo>
                  <a:lnTo>
                    <a:pt x="1118" y="2267"/>
                  </a:lnTo>
                  <a:lnTo>
                    <a:pt x="1103" y="2258"/>
                  </a:lnTo>
                  <a:lnTo>
                    <a:pt x="1087" y="2249"/>
                  </a:lnTo>
                  <a:lnTo>
                    <a:pt x="1074" y="2242"/>
                  </a:lnTo>
                  <a:lnTo>
                    <a:pt x="1062" y="2232"/>
                  </a:lnTo>
                  <a:lnTo>
                    <a:pt x="1056" y="2227"/>
                  </a:lnTo>
                  <a:lnTo>
                    <a:pt x="1051" y="2222"/>
                  </a:lnTo>
                  <a:lnTo>
                    <a:pt x="1045" y="2216"/>
                  </a:lnTo>
                  <a:lnTo>
                    <a:pt x="1041" y="2210"/>
                  </a:lnTo>
                  <a:lnTo>
                    <a:pt x="1037" y="2203"/>
                  </a:lnTo>
                  <a:lnTo>
                    <a:pt x="1033" y="2196"/>
                  </a:lnTo>
                  <a:lnTo>
                    <a:pt x="1030" y="2189"/>
                  </a:lnTo>
                  <a:lnTo>
                    <a:pt x="1028" y="2180"/>
                  </a:lnTo>
                  <a:lnTo>
                    <a:pt x="1023" y="2152"/>
                  </a:lnTo>
                  <a:lnTo>
                    <a:pt x="1017" y="2125"/>
                  </a:lnTo>
                  <a:lnTo>
                    <a:pt x="1015" y="2119"/>
                  </a:lnTo>
                  <a:lnTo>
                    <a:pt x="1013" y="2113"/>
                  </a:lnTo>
                  <a:lnTo>
                    <a:pt x="1011" y="2108"/>
                  </a:lnTo>
                  <a:lnTo>
                    <a:pt x="1006" y="2102"/>
                  </a:lnTo>
                  <a:lnTo>
                    <a:pt x="1003" y="2099"/>
                  </a:lnTo>
                  <a:lnTo>
                    <a:pt x="998" y="2095"/>
                  </a:lnTo>
                  <a:lnTo>
                    <a:pt x="992" y="2093"/>
                  </a:lnTo>
                  <a:lnTo>
                    <a:pt x="986" y="2091"/>
                  </a:lnTo>
                  <a:lnTo>
                    <a:pt x="954" y="2085"/>
                  </a:lnTo>
                  <a:lnTo>
                    <a:pt x="922" y="2082"/>
                  </a:lnTo>
                  <a:lnTo>
                    <a:pt x="915" y="2080"/>
                  </a:lnTo>
                  <a:lnTo>
                    <a:pt x="908" y="2078"/>
                  </a:lnTo>
                  <a:lnTo>
                    <a:pt x="903" y="2075"/>
                  </a:lnTo>
                  <a:lnTo>
                    <a:pt x="897" y="2071"/>
                  </a:lnTo>
                  <a:lnTo>
                    <a:pt x="893" y="2067"/>
                  </a:lnTo>
                  <a:lnTo>
                    <a:pt x="891" y="2062"/>
                  </a:lnTo>
                  <a:lnTo>
                    <a:pt x="889" y="2056"/>
                  </a:lnTo>
                  <a:lnTo>
                    <a:pt x="888" y="2048"/>
                  </a:lnTo>
                  <a:lnTo>
                    <a:pt x="888" y="2030"/>
                  </a:lnTo>
                  <a:lnTo>
                    <a:pt x="888" y="2013"/>
                  </a:lnTo>
                  <a:lnTo>
                    <a:pt x="888" y="1997"/>
                  </a:lnTo>
                  <a:lnTo>
                    <a:pt x="888" y="1977"/>
                  </a:lnTo>
                  <a:lnTo>
                    <a:pt x="888" y="1971"/>
                  </a:lnTo>
                  <a:lnTo>
                    <a:pt x="887" y="1965"/>
                  </a:lnTo>
                  <a:lnTo>
                    <a:pt x="884" y="1960"/>
                  </a:lnTo>
                  <a:lnTo>
                    <a:pt x="882" y="1956"/>
                  </a:lnTo>
                  <a:lnTo>
                    <a:pt x="876" y="1947"/>
                  </a:lnTo>
                  <a:lnTo>
                    <a:pt x="867" y="1938"/>
                  </a:lnTo>
                  <a:lnTo>
                    <a:pt x="848" y="1925"/>
                  </a:lnTo>
                  <a:lnTo>
                    <a:pt x="826" y="1911"/>
                  </a:lnTo>
                  <a:lnTo>
                    <a:pt x="808" y="1896"/>
                  </a:lnTo>
                  <a:lnTo>
                    <a:pt x="792" y="1882"/>
                  </a:lnTo>
                  <a:lnTo>
                    <a:pt x="776" y="1868"/>
                  </a:lnTo>
                  <a:lnTo>
                    <a:pt x="759" y="1852"/>
                  </a:lnTo>
                  <a:lnTo>
                    <a:pt x="749" y="1843"/>
                  </a:lnTo>
                  <a:lnTo>
                    <a:pt x="742" y="1834"/>
                  </a:lnTo>
                  <a:lnTo>
                    <a:pt x="734" y="1825"/>
                  </a:lnTo>
                  <a:lnTo>
                    <a:pt x="728" y="1816"/>
                  </a:lnTo>
                  <a:lnTo>
                    <a:pt x="716" y="1797"/>
                  </a:lnTo>
                  <a:lnTo>
                    <a:pt x="706" y="1778"/>
                  </a:lnTo>
                  <a:lnTo>
                    <a:pt x="689" y="1737"/>
                  </a:lnTo>
                  <a:lnTo>
                    <a:pt x="669" y="1692"/>
                  </a:lnTo>
                  <a:lnTo>
                    <a:pt x="654" y="1665"/>
                  </a:lnTo>
                  <a:lnTo>
                    <a:pt x="639" y="1640"/>
                  </a:lnTo>
                  <a:lnTo>
                    <a:pt x="632" y="1628"/>
                  </a:lnTo>
                  <a:lnTo>
                    <a:pt x="626" y="1616"/>
                  </a:lnTo>
                  <a:lnTo>
                    <a:pt x="621" y="1601"/>
                  </a:lnTo>
                  <a:lnTo>
                    <a:pt x="615" y="1586"/>
                  </a:lnTo>
                  <a:lnTo>
                    <a:pt x="612" y="1567"/>
                  </a:lnTo>
                  <a:lnTo>
                    <a:pt x="609" y="1551"/>
                  </a:lnTo>
                  <a:lnTo>
                    <a:pt x="607" y="1542"/>
                  </a:lnTo>
                  <a:lnTo>
                    <a:pt x="604" y="1534"/>
                  </a:lnTo>
                  <a:lnTo>
                    <a:pt x="599" y="1527"/>
                  </a:lnTo>
                  <a:lnTo>
                    <a:pt x="594" y="1518"/>
                  </a:lnTo>
                  <a:lnTo>
                    <a:pt x="585" y="1510"/>
                  </a:lnTo>
                  <a:lnTo>
                    <a:pt x="578" y="1501"/>
                  </a:lnTo>
                  <a:lnTo>
                    <a:pt x="569" y="1494"/>
                  </a:lnTo>
                  <a:lnTo>
                    <a:pt x="560" y="1488"/>
                  </a:lnTo>
                  <a:lnTo>
                    <a:pt x="543" y="1476"/>
                  </a:lnTo>
                  <a:lnTo>
                    <a:pt x="526" y="1466"/>
                  </a:lnTo>
                  <a:lnTo>
                    <a:pt x="488" y="1448"/>
                  </a:lnTo>
                  <a:lnTo>
                    <a:pt x="448" y="1426"/>
                  </a:lnTo>
                  <a:lnTo>
                    <a:pt x="431" y="1417"/>
                  </a:lnTo>
                  <a:lnTo>
                    <a:pt x="417" y="1407"/>
                  </a:lnTo>
                  <a:lnTo>
                    <a:pt x="409" y="1400"/>
                  </a:lnTo>
                  <a:lnTo>
                    <a:pt x="404" y="1395"/>
                  </a:lnTo>
                  <a:lnTo>
                    <a:pt x="398" y="1387"/>
                  </a:lnTo>
                  <a:lnTo>
                    <a:pt x="394" y="1379"/>
                  </a:lnTo>
                  <a:lnTo>
                    <a:pt x="391" y="1365"/>
                  </a:lnTo>
                  <a:lnTo>
                    <a:pt x="389" y="1351"/>
                  </a:lnTo>
                  <a:lnTo>
                    <a:pt x="386" y="1344"/>
                  </a:lnTo>
                  <a:lnTo>
                    <a:pt x="384" y="1339"/>
                  </a:lnTo>
                  <a:lnTo>
                    <a:pt x="380" y="1335"/>
                  </a:lnTo>
                  <a:lnTo>
                    <a:pt x="375" y="1331"/>
                  </a:lnTo>
                  <a:lnTo>
                    <a:pt x="369" y="1328"/>
                  </a:lnTo>
                  <a:lnTo>
                    <a:pt x="364" y="1327"/>
                  </a:lnTo>
                  <a:lnTo>
                    <a:pt x="358" y="1327"/>
                  </a:lnTo>
                  <a:lnTo>
                    <a:pt x="353" y="1327"/>
                  </a:lnTo>
                  <a:lnTo>
                    <a:pt x="342" y="1328"/>
                  </a:lnTo>
                  <a:lnTo>
                    <a:pt x="330" y="1328"/>
                  </a:lnTo>
                  <a:lnTo>
                    <a:pt x="317" y="1326"/>
                  </a:lnTo>
                  <a:lnTo>
                    <a:pt x="307" y="1322"/>
                  </a:lnTo>
                  <a:lnTo>
                    <a:pt x="297" y="1316"/>
                  </a:lnTo>
                  <a:lnTo>
                    <a:pt x="287" y="1311"/>
                  </a:lnTo>
                  <a:lnTo>
                    <a:pt x="270" y="1297"/>
                  </a:lnTo>
                  <a:lnTo>
                    <a:pt x="249" y="1283"/>
                  </a:lnTo>
                  <a:lnTo>
                    <a:pt x="239" y="1277"/>
                  </a:lnTo>
                  <a:lnTo>
                    <a:pt x="229" y="1271"/>
                  </a:lnTo>
                  <a:lnTo>
                    <a:pt x="220" y="1263"/>
                  </a:lnTo>
                  <a:lnTo>
                    <a:pt x="213" y="1256"/>
                  </a:lnTo>
                  <a:lnTo>
                    <a:pt x="207" y="1247"/>
                  </a:lnTo>
                  <a:lnTo>
                    <a:pt x="202" y="1238"/>
                  </a:lnTo>
                  <a:lnTo>
                    <a:pt x="199" y="1228"/>
                  </a:lnTo>
                  <a:lnTo>
                    <a:pt x="195" y="1216"/>
                  </a:lnTo>
                  <a:lnTo>
                    <a:pt x="192" y="1190"/>
                  </a:lnTo>
                  <a:lnTo>
                    <a:pt x="189" y="1166"/>
                  </a:lnTo>
                  <a:lnTo>
                    <a:pt x="186" y="1143"/>
                  </a:lnTo>
                  <a:lnTo>
                    <a:pt x="180" y="1122"/>
                  </a:lnTo>
                  <a:lnTo>
                    <a:pt x="178" y="1111"/>
                  </a:lnTo>
                  <a:lnTo>
                    <a:pt x="175" y="1100"/>
                  </a:lnTo>
                  <a:lnTo>
                    <a:pt x="170" y="1090"/>
                  </a:lnTo>
                  <a:lnTo>
                    <a:pt x="166" y="1080"/>
                  </a:lnTo>
                  <a:lnTo>
                    <a:pt x="161" y="1070"/>
                  </a:lnTo>
                  <a:lnTo>
                    <a:pt x="154" y="1060"/>
                  </a:lnTo>
                  <a:lnTo>
                    <a:pt x="148" y="1049"/>
                  </a:lnTo>
                  <a:lnTo>
                    <a:pt x="139" y="1040"/>
                  </a:lnTo>
                  <a:lnTo>
                    <a:pt x="127" y="1025"/>
                  </a:lnTo>
                  <a:lnTo>
                    <a:pt x="114" y="1013"/>
                  </a:lnTo>
                  <a:lnTo>
                    <a:pt x="101" y="1001"/>
                  </a:lnTo>
                  <a:lnTo>
                    <a:pt x="88" y="991"/>
                  </a:lnTo>
                  <a:lnTo>
                    <a:pt x="61" y="972"/>
                  </a:lnTo>
                  <a:lnTo>
                    <a:pt x="30" y="950"/>
                  </a:lnTo>
                  <a:lnTo>
                    <a:pt x="20" y="944"/>
                  </a:lnTo>
                  <a:lnTo>
                    <a:pt x="10" y="938"/>
                  </a:lnTo>
                  <a:lnTo>
                    <a:pt x="6" y="935"/>
                  </a:lnTo>
                  <a:lnTo>
                    <a:pt x="2" y="932"/>
                  </a:lnTo>
                  <a:lnTo>
                    <a:pt x="0" y="927"/>
                  </a:lnTo>
                  <a:lnTo>
                    <a:pt x="0" y="922"/>
                  </a:lnTo>
                  <a:lnTo>
                    <a:pt x="0" y="910"/>
                  </a:lnTo>
                  <a:lnTo>
                    <a:pt x="2" y="900"/>
                  </a:lnTo>
                  <a:lnTo>
                    <a:pt x="5" y="892"/>
                  </a:lnTo>
                  <a:lnTo>
                    <a:pt x="10" y="883"/>
                  </a:lnTo>
                  <a:lnTo>
                    <a:pt x="19" y="866"/>
                  </a:lnTo>
                  <a:lnTo>
                    <a:pt x="28" y="846"/>
                  </a:lnTo>
                  <a:lnTo>
                    <a:pt x="32" y="829"/>
                  </a:lnTo>
                  <a:lnTo>
                    <a:pt x="37" y="814"/>
                  </a:lnTo>
                  <a:lnTo>
                    <a:pt x="40" y="799"/>
                  </a:lnTo>
                  <a:lnTo>
                    <a:pt x="42" y="785"/>
                  </a:lnTo>
                  <a:lnTo>
                    <a:pt x="45" y="756"/>
                  </a:lnTo>
                  <a:lnTo>
                    <a:pt x="47" y="722"/>
                  </a:lnTo>
                  <a:lnTo>
                    <a:pt x="47" y="722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37">
              <a:extLst>
                <a:ext uri="{FF2B5EF4-FFF2-40B4-BE49-F238E27FC236}">
                  <a16:creationId xmlns:a16="http://schemas.microsoft.com/office/drawing/2014/main" id="{08831513-6C0C-4601-85A8-119393880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8800" y="652463"/>
              <a:ext cx="52388" cy="84138"/>
            </a:xfrm>
            <a:custGeom>
              <a:avLst/>
              <a:gdLst>
                <a:gd name="T0" fmla="*/ 70 w 132"/>
                <a:gd name="T1" fmla="*/ 22 h 209"/>
                <a:gd name="T2" fmla="*/ 51 w 132"/>
                <a:gd name="T3" fmla="*/ 18 h 209"/>
                <a:gd name="T4" fmla="*/ 34 w 132"/>
                <a:gd name="T5" fmla="*/ 15 h 209"/>
                <a:gd name="T6" fmla="*/ 18 w 132"/>
                <a:gd name="T7" fmla="*/ 9 h 209"/>
                <a:gd name="T8" fmla="*/ 0 w 132"/>
                <a:gd name="T9" fmla="*/ 0 h 209"/>
                <a:gd name="T10" fmla="*/ 2 w 132"/>
                <a:gd name="T11" fmla="*/ 9 h 209"/>
                <a:gd name="T12" fmla="*/ 5 w 132"/>
                <a:gd name="T13" fmla="*/ 16 h 209"/>
                <a:gd name="T14" fmla="*/ 8 w 132"/>
                <a:gd name="T15" fmla="*/ 24 h 209"/>
                <a:gd name="T16" fmla="*/ 9 w 132"/>
                <a:gd name="T17" fmla="*/ 32 h 209"/>
                <a:gd name="T18" fmla="*/ 9 w 132"/>
                <a:gd name="T19" fmla="*/ 47 h 209"/>
                <a:gd name="T20" fmla="*/ 9 w 132"/>
                <a:gd name="T21" fmla="*/ 61 h 209"/>
                <a:gd name="T22" fmla="*/ 9 w 132"/>
                <a:gd name="T23" fmla="*/ 74 h 209"/>
                <a:gd name="T24" fmla="*/ 9 w 132"/>
                <a:gd name="T25" fmla="*/ 90 h 209"/>
                <a:gd name="T26" fmla="*/ 9 w 132"/>
                <a:gd name="T27" fmla="*/ 98 h 209"/>
                <a:gd name="T28" fmla="*/ 10 w 132"/>
                <a:gd name="T29" fmla="*/ 107 h 209"/>
                <a:gd name="T30" fmla="*/ 12 w 132"/>
                <a:gd name="T31" fmla="*/ 114 h 209"/>
                <a:gd name="T32" fmla="*/ 14 w 132"/>
                <a:gd name="T33" fmla="*/ 122 h 209"/>
                <a:gd name="T34" fmla="*/ 21 w 132"/>
                <a:gd name="T35" fmla="*/ 136 h 209"/>
                <a:gd name="T36" fmla="*/ 27 w 132"/>
                <a:gd name="T37" fmla="*/ 150 h 209"/>
                <a:gd name="T38" fmla="*/ 34 w 132"/>
                <a:gd name="T39" fmla="*/ 163 h 209"/>
                <a:gd name="T40" fmla="*/ 39 w 132"/>
                <a:gd name="T41" fmla="*/ 177 h 209"/>
                <a:gd name="T42" fmla="*/ 42 w 132"/>
                <a:gd name="T43" fmla="*/ 185 h 209"/>
                <a:gd name="T44" fmla="*/ 43 w 132"/>
                <a:gd name="T45" fmla="*/ 192 h 209"/>
                <a:gd name="T46" fmla="*/ 45 w 132"/>
                <a:gd name="T47" fmla="*/ 201 h 209"/>
                <a:gd name="T48" fmla="*/ 46 w 132"/>
                <a:gd name="T49" fmla="*/ 209 h 209"/>
                <a:gd name="T50" fmla="*/ 56 w 132"/>
                <a:gd name="T51" fmla="*/ 209 h 209"/>
                <a:gd name="T52" fmla="*/ 67 w 132"/>
                <a:gd name="T53" fmla="*/ 209 h 209"/>
                <a:gd name="T54" fmla="*/ 75 w 132"/>
                <a:gd name="T55" fmla="*/ 209 h 209"/>
                <a:gd name="T56" fmla="*/ 82 w 132"/>
                <a:gd name="T57" fmla="*/ 207 h 209"/>
                <a:gd name="T58" fmla="*/ 90 w 132"/>
                <a:gd name="T59" fmla="*/ 205 h 209"/>
                <a:gd name="T60" fmla="*/ 96 w 132"/>
                <a:gd name="T61" fmla="*/ 201 h 209"/>
                <a:gd name="T62" fmla="*/ 102 w 132"/>
                <a:gd name="T63" fmla="*/ 196 h 209"/>
                <a:gd name="T64" fmla="*/ 107 w 132"/>
                <a:gd name="T65" fmla="*/ 192 h 209"/>
                <a:gd name="T66" fmla="*/ 112 w 132"/>
                <a:gd name="T67" fmla="*/ 186 h 209"/>
                <a:gd name="T68" fmla="*/ 116 w 132"/>
                <a:gd name="T69" fmla="*/ 180 h 209"/>
                <a:gd name="T70" fmla="*/ 120 w 132"/>
                <a:gd name="T71" fmla="*/ 173 h 209"/>
                <a:gd name="T72" fmla="*/ 123 w 132"/>
                <a:gd name="T73" fmla="*/ 166 h 209"/>
                <a:gd name="T74" fmla="*/ 126 w 132"/>
                <a:gd name="T75" fmla="*/ 158 h 209"/>
                <a:gd name="T76" fmla="*/ 129 w 132"/>
                <a:gd name="T77" fmla="*/ 150 h 209"/>
                <a:gd name="T78" fmla="*/ 131 w 132"/>
                <a:gd name="T79" fmla="*/ 134 h 209"/>
                <a:gd name="T80" fmla="*/ 132 w 132"/>
                <a:gd name="T81" fmla="*/ 118 h 209"/>
                <a:gd name="T82" fmla="*/ 131 w 132"/>
                <a:gd name="T83" fmla="*/ 101 h 209"/>
                <a:gd name="T84" fmla="*/ 128 w 132"/>
                <a:gd name="T85" fmla="*/ 86 h 209"/>
                <a:gd name="T86" fmla="*/ 126 w 132"/>
                <a:gd name="T87" fmla="*/ 79 h 209"/>
                <a:gd name="T88" fmla="*/ 123 w 132"/>
                <a:gd name="T89" fmla="*/ 71 h 209"/>
                <a:gd name="T90" fmla="*/ 120 w 132"/>
                <a:gd name="T91" fmla="*/ 65 h 209"/>
                <a:gd name="T92" fmla="*/ 117 w 132"/>
                <a:gd name="T93" fmla="*/ 57 h 209"/>
                <a:gd name="T94" fmla="*/ 113 w 132"/>
                <a:gd name="T95" fmla="*/ 52 h 209"/>
                <a:gd name="T96" fmla="*/ 107 w 132"/>
                <a:gd name="T97" fmla="*/ 45 h 209"/>
                <a:gd name="T98" fmla="*/ 103 w 132"/>
                <a:gd name="T99" fmla="*/ 40 h 209"/>
                <a:gd name="T100" fmla="*/ 97 w 132"/>
                <a:gd name="T101" fmla="*/ 36 h 209"/>
                <a:gd name="T102" fmla="*/ 91 w 132"/>
                <a:gd name="T103" fmla="*/ 31 h 209"/>
                <a:gd name="T104" fmla="*/ 85 w 132"/>
                <a:gd name="T105" fmla="*/ 27 h 209"/>
                <a:gd name="T106" fmla="*/ 78 w 132"/>
                <a:gd name="T107" fmla="*/ 24 h 209"/>
                <a:gd name="T108" fmla="*/ 70 w 132"/>
                <a:gd name="T109" fmla="*/ 22 h 209"/>
                <a:gd name="T110" fmla="*/ 70 w 132"/>
                <a:gd name="T111" fmla="*/ 2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209">
                  <a:moveTo>
                    <a:pt x="70" y="22"/>
                  </a:moveTo>
                  <a:lnTo>
                    <a:pt x="51" y="18"/>
                  </a:lnTo>
                  <a:lnTo>
                    <a:pt x="34" y="15"/>
                  </a:lnTo>
                  <a:lnTo>
                    <a:pt x="18" y="9"/>
                  </a:lnTo>
                  <a:lnTo>
                    <a:pt x="0" y="0"/>
                  </a:lnTo>
                  <a:lnTo>
                    <a:pt x="2" y="9"/>
                  </a:lnTo>
                  <a:lnTo>
                    <a:pt x="5" y="16"/>
                  </a:lnTo>
                  <a:lnTo>
                    <a:pt x="8" y="24"/>
                  </a:lnTo>
                  <a:lnTo>
                    <a:pt x="9" y="32"/>
                  </a:lnTo>
                  <a:lnTo>
                    <a:pt x="9" y="47"/>
                  </a:lnTo>
                  <a:lnTo>
                    <a:pt x="9" y="61"/>
                  </a:lnTo>
                  <a:lnTo>
                    <a:pt x="9" y="74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10" y="107"/>
                  </a:lnTo>
                  <a:lnTo>
                    <a:pt x="12" y="114"/>
                  </a:lnTo>
                  <a:lnTo>
                    <a:pt x="14" y="122"/>
                  </a:lnTo>
                  <a:lnTo>
                    <a:pt x="21" y="136"/>
                  </a:lnTo>
                  <a:lnTo>
                    <a:pt x="27" y="150"/>
                  </a:lnTo>
                  <a:lnTo>
                    <a:pt x="34" y="163"/>
                  </a:lnTo>
                  <a:lnTo>
                    <a:pt x="39" y="177"/>
                  </a:lnTo>
                  <a:lnTo>
                    <a:pt x="42" y="185"/>
                  </a:lnTo>
                  <a:lnTo>
                    <a:pt x="43" y="192"/>
                  </a:lnTo>
                  <a:lnTo>
                    <a:pt x="45" y="201"/>
                  </a:lnTo>
                  <a:lnTo>
                    <a:pt x="46" y="209"/>
                  </a:lnTo>
                  <a:lnTo>
                    <a:pt x="56" y="209"/>
                  </a:lnTo>
                  <a:lnTo>
                    <a:pt x="67" y="209"/>
                  </a:lnTo>
                  <a:lnTo>
                    <a:pt x="75" y="209"/>
                  </a:lnTo>
                  <a:lnTo>
                    <a:pt x="82" y="207"/>
                  </a:lnTo>
                  <a:lnTo>
                    <a:pt x="90" y="205"/>
                  </a:lnTo>
                  <a:lnTo>
                    <a:pt x="96" y="201"/>
                  </a:lnTo>
                  <a:lnTo>
                    <a:pt x="102" y="196"/>
                  </a:lnTo>
                  <a:lnTo>
                    <a:pt x="107" y="192"/>
                  </a:lnTo>
                  <a:lnTo>
                    <a:pt x="112" y="186"/>
                  </a:lnTo>
                  <a:lnTo>
                    <a:pt x="116" y="180"/>
                  </a:lnTo>
                  <a:lnTo>
                    <a:pt x="120" y="173"/>
                  </a:lnTo>
                  <a:lnTo>
                    <a:pt x="123" y="166"/>
                  </a:lnTo>
                  <a:lnTo>
                    <a:pt x="126" y="158"/>
                  </a:lnTo>
                  <a:lnTo>
                    <a:pt x="129" y="150"/>
                  </a:lnTo>
                  <a:lnTo>
                    <a:pt x="131" y="134"/>
                  </a:lnTo>
                  <a:lnTo>
                    <a:pt x="132" y="118"/>
                  </a:lnTo>
                  <a:lnTo>
                    <a:pt x="131" y="101"/>
                  </a:lnTo>
                  <a:lnTo>
                    <a:pt x="128" y="86"/>
                  </a:lnTo>
                  <a:lnTo>
                    <a:pt x="126" y="79"/>
                  </a:lnTo>
                  <a:lnTo>
                    <a:pt x="123" y="71"/>
                  </a:lnTo>
                  <a:lnTo>
                    <a:pt x="120" y="65"/>
                  </a:lnTo>
                  <a:lnTo>
                    <a:pt x="117" y="57"/>
                  </a:lnTo>
                  <a:lnTo>
                    <a:pt x="113" y="52"/>
                  </a:lnTo>
                  <a:lnTo>
                    <a:pt x="107" y="45"/>
                  </a:lnTo>
                  <a:lnTo>
                    <a:pt x="103" y="40"/>
                  </a:lnTo>
                  <a:lnTo>
                    <a:pt x="97" y="36"/>
                  </a:lnTo>
                  <a:lnTo>
                    <a:pt x="91" y="31"/>
                  </a:lnTo>
                  <a:lnTo>
                    <a:pt x="85" y="27"/>
                  </a:lnTo>
                  <a:lnTo>
                    <a:pt x="78" y="24"/>
                  </a:lnTo>
                  <a:lnTo>
                    <a:pt x="70" y="22"/>
                  </a:lnTo>
                  <a:lnTo>
                    <a:pt x="70" y="2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39">
              <a:extLst>
                <a:ext uri="{FF2B5EF4-FFF2-40B4-BE49-F238E27FC236}">
                  <a16:creationId xmlns:a16="http://schemas.microsoft.com/office/drawing/2014/main" id="{B61D3551-4AC8-4759-A95A-BA8748173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5000" y="2192338"/>
              <a:ext cx="1204913" cy="669925"/>
            </a:xfrm>
            <a:custGeom>
              <a:avLst/>
              <a:gdLst>
                <a:gd name="T0" fmla="*/ 2986 w 3033"/>
                <a:gd name="T1" fmla="*/ 1095 h 1686"/>
                <a:gd name="T2" fmla="*/ 3008 w 3033"/>
                <a:gd name="T3" fmla="*/ 1134 h 1686"/>
                <a:gd name="T4" fmla="*/ 2938 w 3033"/>
                <a:gd name="T5" fmla="*/ 1199 h 1686"/>
                <a:gd name="T6" fmla="*/ 2905 w 3033"/>
                <a:gd name="T7" fmla="*/ 1249 h 1686"/>
                <a:gd name="T8" fmla="*/ 2865 w 3033"/>
                <a:gd name="T9" fmla="*/ 1269 h 1686"/>
                <a:gd name="T10" fmla="*/ 2798 w 3033"/>
                <a:gd name="T11" fmla="*/ 1284 h 1686"/>
                <a:gd name="T12" fmla="*/ 2725 w 3033"/>
                <a:gd name="T13" fmla="*/ 1357 h 1686"/>
                <a:gd name="T14" fmla="*/ 2656 w 3033"/>
                <a:gd name="T15" fmla="*/ 1433 h 1686"/>
                <a:gd name="T16" fmla="*/ 2636 w 3033"/>
                <a:gd name="T17" fmla="*/ 1466 h 1686"/>
                <a:gd name="T18" fmla="*/ 2577 w 3033"/>
                <a:gd name="T19" fmla="*/ 1455 h 1686"/>
                <a:gd name="T20" fmla="*/ 2516 w 3033"/>
                <a:gd name="T21" fmla="*/ 1443 h 1686"/>
                <a:gd name="T22" fmla="*/ 2482 w 3033"/>
                <a:gd name="T23" fmla="*/ 1479 h 1686"/>
                <a:gd name="T24" fmla="*/ 2375 w 3033"/>
                <a:gd name="T25" fmla="*/ 1588 h 1686"/>
                <a:gd name="T26" fmla="*/ 2303 w 3033"/>
                <a:gd name="T27" fmla="*/ 1655 h 1686"/>
                <a:gd name="T28" fmla="*/ 2248 w 3033"/>
                <a:gd name="T29" fmla="*/ 1657 h 1686"/>
                <a:gd name="T30" fmla="*/ 2182 w 3033"/>
                <a:gd name="T31" fmla="*/ 1621 h 1686"/>
                <a:gd name="T32" fmla="*/ 2112 w 3033"/>
                <a:gd name="T33" fmla="*/ 1616 h 1686"/>
                <a:gd name="T34" fmla="*/ 2029 w 3033"/>
                <a:gd name="T35" fmla="*/ 1614 h 1686"/>
                <a:gd name="T36" fmla="*/ 1905 w 3033"/>
                <a:gd name="T37" fmla="*/ 1653 h 1686"/>
                <a:gd name="T38" fmla="*/ 1813 w 3033"/>
                <a:gd name="T39" fmla="*/ 1624 h 1686"/>
                <a:gd name="T40" fmla="*/ 1767 w 3033"/>
                <a:gd name="T41" fmla="*/ 1611 h 1686"/>
                <a:gd name="T42" fmla="*/ 1680 w 3033"/>
                <a:gd name="T43" fmla="*/ 1632 h 1686"/>
                <a:gd name="T44" fmla="*/ 1560 w 3033"/>
                <a:gd name="T45" fmla="*/ 1668 h 1686"/>
                <a:gd name="T46" fmla="*/ 1496 w 3033"/>
                <a:gd name="T47" fmla="*/ 1685 h 1686"/>
                <a:gd name="T48" fmla="*/ 1454 w 3033"/>
                <a:gd name="T49" fmla="*/ 1662 h 1686"/>
                <a:gd name="T50" fmla="*/ 1404 w 3033"/>
                <a:gd name="T51" fmla="*/ 1551 h 1686"/>
                <a:gd name="T52" fmla="*/ 1375 w 3033"/>
                <a:gd name="T53" fmla="*/ 1451 h 1686"/>
                <a:gd name="T54" fmla="*/ 1376 w 3033"/>
                <a:gd name="T55" fmla="*/ 1355 h 1686"/>
                <a:gd name="T56" fmla="*/ 1376 w 3033"/>
                <a:gd name="T57" fmla="*/ 1213 h 1686"/>
                <a:gd name="T58" fmla="*/ 1389 w 3033"/>
                <a:gd name="T59" fmla="*/ 1143 h 1686"/>
                <a:gd name="T60" fmla="*/ 1414 w 3033"/>
                <a:gd name="T61" fmla="*/ 1049 h 1686"/>
                <a:gd name="T62" fmla="*/ 1427 w 3033"/>
                <a:gd name="T63" fmla="*/ 936 h 1686"/>
                <a:gd name="T64" fmla="*/ 1358 w 3033"/>
                <a:gd name="T65" fmla="*/ 981 h 1686"/>
                <a:gd name="T66" fmla="*/ 1226 w 3033"/>
                <a:gd name="T67" fmla="*/ 1069 h 1686"/>
                <a:gd name="T68" fmla="*/ 1150 w 3033"/>
                <a:gd name="T69" fmla="*/ 1150 h 1686"/>
                <a:gd name="T70" fmla="*/ 1088 w 3033"/>
                <a:gd name="T71" fmla="*/ 1193 h 1686"/>
                <a:gd name="T72" fmla="*/ 949 w 3033"/>
                <a:gd name="T73" fmla="*/ 1195 h 1686"/>
                <a:gd name="T74" fmla="*/ 804 w 3033"/>
                <a:gd name="T75" fmla="*/ 1207 h 1686"/>
                <a:gd name="T76" fmla="*/ 741 w 3033"/>
                <a:gd name="T77" fmla="*/ 1195 h 1686"/>
                <a:gd name="T78" fmla="*/ 706 w 3033"/>
                <a:gd name="T79" fmla="*/ 1133 h 1686"/>
                <a:gd name="T80" fmla="*/ 664 w 3033"/>
                <a:gd name="T81" fmla="*/ 1036 h 1686"/>
                <a:gd name="T82" fmla="*/ 610 w 3033"/>
                <a:gd name="T83" fmla="*/ 995 h 1686"/>
                <a:gd name="T84" fmla="*/ 489 w 3033"/>
                <a:gd name="T85" fmla="*/ 942 h 1686"/>
                <a:gd name="T86" fmla="*/ 359 w 3033"/>
                <a:gd name="T87" fmla="*/ 938 h 1686"/>
                <a:gd name="T88" fmla="*/ 352 w 3033"/>
                <a:gd name="T89" fmla="*/ 771 h 1686"/>
                <a:gd name="T90" fmla="*/ 290 w 3033"/>
                <a:gd name="T91" fmla="*/ 663 h 1686"/>
                <a:gd name="T92" fmla="*/ 236 w 3033"/>
                <a:gd name="T93" fmla="*/ 623 h 1686"/>
                <a:gd name="T94" fmla="*/ 216 w 3033"/>
                <a:gd name="T95" fmla="*/ 582 h 1686"/>
                <a:gd name="T96" fmla="*/ 198 w 3033"/>
                <a:gd name="T97" fmla="*/ 523 h 1686"/>
                <a:gd name="T98" fmla="*/ 140 w 3033"/>
                <a:gd name="T99" fmla="*/ 445 h 1686"/>
                <a:gd name="T100" fmla="*/ 128 w 3033"/>
                <a:gd name="T101" fmla="*/ 388 h 1686"/>
                <a:gd name="T102" fmla="*/ 113 w 3033"/>
                <a:gd name="T103" fmla="*/ 271 h 1686"/>
                <a:gd name="T104" fmla="*/ 92 w 3033"/>
                <a:gd name="T105" fmla="*/ 236 h 1686"/>
                <a:gd name="T106" fmla="*/ 50 w 3033"/>
                <a:gd name="T107" fmla="*/ 222 h 1686"/>
                <a:gd name="T108" fmla="*/ 33 w 3033"/>
                <a:gd name="T109" fmla="*/ 185 h 1686"/>
                <a:gd name="T110" fmla="*/ 18 w 3033"/>
                <a:gd name="T111" fmla="*/ 148 h 1686"/>
                <a:gd name="T112" fmla="*/ 1 w 3033"/>
                <a:gd name="T113" fmla="*/ 117 h 1686"/>
                <a:gd name="T114" fmla="*/ 46 w 3033"/>
                <a:gd name="T115" fmla="*/ 102 h 1686"/>
                <a:gd name="T116" fmla="*/ 91 w 3033"/>
                <a:gd name="T117" fmla="*/ 97 h 1686"/>
                <a:gd name="T118" fmla="*/ 98 w 3033"/>
                <a:gd name="T119" fmla="*/ 32 h 1686"/>
                <a:gd name="T120" fmla="*/ 2909 w 3033"/>
                <a:gd name="T121" fmla="*/ 1049 h 1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33" h="1686">
                  <a:moveTo>
                    <a:pt x="2909" y="1049"/>
                  </a:moveTo>
                  <a:lnTo>
                    <a:pt x="2924" y="1062"/>
                  </a:lnTo>
                  <a:lnTo>
                    <a:pt x="2939" y="1072"/>
                  </a:lnTo>
                  <a:lnTo>
                    <a:pt x="2954" y="1080"/>
                  </a:lnTo>
                  <a:lnTo>
                    <a:pt x="2971" y="1088"/>
                  </a:lnTo>
                  <a:lnTo>
                    <a:pt x="2986" y="1095"/>
                  </a:lnTo>
                  <a:lnTo>
                    <a:pt x="3002" y="1103"/>
                  </a:lnTo>
                  <a:lnTo>
                    <a:pt x="3017" y="1113"/>
                  </a:lnTo>
                  <a:lnTo>
                    <a:pt x="3033" y="1123"/>
                  </a:lnTo>
                  <a:lnTo>
                    <a:pt x="3033" y="1123"/>
                  </a:lnTo>
                  <a:lnTo>
                    <a:pt x="3021" y="1128"/>
                  </a:lnTo>
                  <a:lnTo>
                    <a:pt x="3008" y="1134"/>
                  </a:lnTo>
                  <a:lnTo>
                    <a:pt x="2993" y="1144"/>
                  </a:lnTo>
                  <a:lnTo>
                    <a:pt x="2980" y="1155"/>
                  </a:lnTo>
                  <a:lnTo>
                    <a:pt x="2970" y="1167"/>
                  </a:lnTo>
                  <a:lnTo>
                    <a:pt x="2955" y="1179"/>
                  </a:lnTo>
                  <a:lnTo>
                    <a:pt x="2946" y="1188"/>
                  </a:lnTo>
                  <a:lnTo>
                    <a:pt x="2938" y="1199"/>
                  </a:lnTo>
                  <a:lnTo>
                    <a:pt x="2932" y="1209"/>
                  </a:lnTo>
                  <a:lnTo>
                    <a:pt x="2926" y="1220"/>
                  </a:lnTo>
                  <a:lnTo>
                    <a:pt x="2920" y="1230"/>
                  </a:lnTo>
                  <a:lnTo>
                    <a:pt x="2913" y="1240"/>
                  </a:lnTo>
                  <a:lnTo>
                    <a:pt x="2909" y="1244"/>
                  </a:lnTo>
                  <a:lnTo>
                    <a:pt x="2905" y="1249"/>
                  </a:lnTo>
                  <a:lnTo>
                    <a:pt x="2899" y="1253"/>
                  </a:lnTo>
                  <a:lnTo>
                    <a:pt x="2894" y="1257"/>
                  </a:lnTo>
                  <a:lnTo>
                    <a:pt x="2886" y="1262"/>
                  </a:lnTo>
                  <a:lnTo>
                    <a:pt x="2880" y="1265"/>
                  </a:lnTo>
                  <a:lnTo>
                    <a:pt x="2872" y="1267"/>
                  </a:lnTo>
                  <a:lnTo>
                    <a:pt x="2865" y="1269"/>
                  </a:lnTo>
                  <a:lnTo>
                    <a:pt x="2851" y="1271"/>
                  </a:lnTo>
                  <a:lnTo>
                    <a:pt x="2838" y="1274"/>
                  </a:lnTo>
                  <a:lnTo>
                    <a:pt x="2824" y="1276"/>
                  </a:lnTo>
                  <a:lnTo>
                    <a:pt x="2811" y="1279"/>
                  </a:lnTo>
                  <a:lnTo>
                    <a:pt x="2804" y="1281"/>
                  </a:lnTo>
                  <a:lnTo>
                    <a:pt x="2798" y="1284"/>
                  </a:lnTo>
                  <a:lnTo>
                    <a:pt x="2791" y="1289"/>
                  </a:lnTo>
                  <a:lnTo>
                    <a:pt x="2785" y="1294"/>
                  </a:lnTo>
                  <a:lnTo>
                    <a:pt x="2766" y="1310"/>
                  </a:lnTo>
                  <a:lnTo>
                    <a:pt x="2751" y="1325"/>
                  </a:lnTo>
                  <a:lnTo>
                    <a:pt x="2738" y="1342"/>
                  </a:lnTo>
                  <a:lnTo>
                    <a:pt x="2725" y="1357"/>
                  </a:lnTo>
                  <a:lnTo>
                    <a:pt x="2714" y="1372"/>
                  </a:lnTo>
                  <a:lnTo>
                    <a:pt x="2699" y="1388"/>
                  </a:lnTo>
                  <a:lnTo>
                    <a:pt x="2684" y="1403"/>
                  </a:lnTo>
                  <a:lnTo>
                    <a:pt x="2667" y="1419"/>
                  </a:lnTo>
                  <a:lnTo>
                    <a:pt x="2661" y="1426"/>
                  </a:lnTo>
                  <a:lnTo>
                    <a:pt x="2656" y="1433"/>
                  </a:lnTo>
                  <a:lnTo>
                    <a:pt x="2653" y="1441"/>
                  </a:lnTo>
                  <a:lnTo>
                    <a:pt x="2650" y="1450"/>
                  </a:lnTo>
                  <a:lnTo>
                    <a:pt x="2645" y="1456"/>
                  </a:lnTo>
                  <a:lnTo>
                    <a:pt x="2641" y="1463"/>
                  </a:lnTo>
                  <a:lnTo>
                    <a:pt x="2639" y="1465"/>
                  </a:lnTo>
                  <a:lnTo>
                    <a:pt x="2636" y="1466"/>
                  </a:lnTo>
                  <a:lnTo>
                    <a:pt x="2631" y="1467"/>
                  </a:lnTo>
                  <a:lnTo>
                    <a:pt x="2627" y="1467"/>
                  </a:lnTo>
                  <a:lnTo>
                    <a:pt x="2613" y="1466"/>
                  </a:lnTo>
                  <a:lnTo>
                    <a:pt x="2600" y="1464"/>
                  </a:lnTo>
                  <a:lnTo>
                    <a:pt x="2588" y="1459"/>
                  </a:lnTo>
                  <a:lnTo>
                    <a:pt x="2577" y="1455"/>
                  </a:lnTo>
                  <a:lnTo>
                    <a:pt x="2566" y="1451"/>
                  </a:lnTo>
                  <a:lnTo>
                    <a:pt x="2554" y="1446"/>
                  </a:lnTo>
                  <a:lnTo>
                    <a:pt x="2541" y="1443"/>
                  </a:lnTo>
                  <a:lnTo>
                    <a:pt x="2527" y="1442"/>
                  </a:lnTo>
                  <a:lnTo>
                    <a:pt x="2521" y="1442"/>
                  </a:lnTo>
                  <a:lnTo>
                    <a:pt x="2516" y="1443"/>
                  </a:lnTo>
                  <a:lnTo>
                    <a:pt x="2512" y="1445"/>
                  </a:lnTo>
                  <a:lnTo>
                    <a:pt x="2507" y="1447"/>
                  </a:lnTo>
                  <a:lnTo>
                    <a:pt x="2501" y="1454"/>
                  </a:lnTo>
                  <a:lnTo>
                    <a:pt x="2494" y="1462"/>
                  </a:lnTo>
                  <a:lnTo>
                    <a:pt x="2489" y="1470"/>
                  </a:lnTo>
                  <a:lnTo>
                    <a:pt x="2482" y="1479"/>
                  </a:lnTo>
                  <a:lnTo>
                    <a:pt x="2476" y="1487"/>
                  </a:lnTo>
                  <a:lnTo>
                    <a:pt x="2467" y="1495"/>
                  </a:lnTo>
                  <a:lnTo>
                    <a:pt x="2442" y="1520"/>
                  </a:lnTo>
                  <a:lnTo>
                    <a:pt x="2421" y="1541"/>
                  </a:lnTo>
                  <a:lnTo>
                    <a:pt x="2399" y="1563"/>
                  </a:lnTo>
                  <a:lnTo>
                    <a:pt x="2375" y="1588"/>
                  </a:lnTo>
                  <a:lnTo>
                    <a:pt x="2351" y="1614"/>
                  </a:lnTo>
                  <a:lnTo>
                    <a:pt x="2328" y="1638"/>
                  </a:lnTo>
                  <a:lnTo>
                    <a:pt x="2323" y="1643"/>
                  </a:lnTo>
                  <a:lnTo>
                    <a:pt x="2316" y="1647"/>
                  </a:lnTo>
                  <a:lnTo>
                    <a:pt x="2310" y="1651"/>
                  </a:lnTo>
                  <a:lnTo>
                    <a:pt x="2303" y="1655"/>
                  </a:lnTo>
                  <a:lnTo>
                    <a:pt x="2296" y="1657"/>
                  </a:lnTo>
                  <a:lnTo>
                    <a:pt x="2288" y="1659"/>
                  </a:lnTo>
                  <a:lnTo>
                    <a:pt x="2279" y="1660"/>
                  </a:lnTo>
                  <a:lnTo>
                    <a:pt x="2271" y="1661"/>
                  </a:lnTo>
                  <a:lnTo>
                    <a:pt x="2259" y="1660"/>
                  </a:lnTo>
                  <a:lnTo>
                    <a:pt x="2248" y="1657"/>
                  </a:lnTo>
                  <a:lnTo>
                    <a:pt x="2239" y="1653"/>
                  </a:lnTo>
                  <a:lnTo>
                    <a:pt x="2231" y="1648"/>
                  </a:lnTo>
                  <a:lnTo>
                    <a:pt x="2213" y="1636"/>
                  </a:lnTo>
                  <a:lnTo>
                    <a:pt x="2193" y="1625"/>
                  </a:lnTo>
                  <a:lnTo>
                    <a:pt x="2188" y="1622"/>
                  </a:lnTo>
                  <a:lnTo>
                    <a:pt x="2182" y="1621"/>
                  </a:lnTo>
                  <a:lnTo>
                    <a:pt x="2177" y="1621"/>
                  </a:lnTo>
                  <a:lnTo>
                    <a:pt x="2171" y="1622"/>
                  </a:lnTo>
                  <a:lnTo>
                    <a:pt x="2161" y="1625"/>
                  </a:lnTo>
                  <a:lnTo>
                    <a:pt x="2149" y="1625"/>
                  </a:lnTo>
                  <a:lnTo>
                    <a:pt x="2129" y="1620"/>
                  </a:lnTo>
                  <a:lnTo>
                    <a:pt x="2112" y="1616"/>
                  </a:lnTo>
                  <a:lnTo>
                    <a:pt x="2103" y="1614"/>
                  </a:lnTo>
                  <a:lnTo>
                    <a:pt x="2095" y="1612"/>
                  </a:lnTo>
                  <a:lnTo>
                    <a:pt x="2086" y="1611"/>
                  </a:lnTo>
                  <a:lnTo>
                    <a:pt x="2075" y="1611"/>
                  </a:lnTo>
                  <a:lnTo>
                    <a:pt x="2051" y="1612"/>
                  </a:lnTo>
                  <a:lnTo>
                    <a:pt x="2029" y="1614"/>
                  </a:lnTo>
                  <a:lnTo>
                    <a:pt x="2008" y="1617"/>
                  </a:lnTo>
                  <a:lnTo>
                    <a:pt x="1988" y="1622"/>
                  </a:lnTo>
                  <a:lnTo>
                    <a:pt x="1968" y="1628"/>
                  </a:lnTo>
                  <a:lnTo>
                    <a:pt x="1948" y="1635"/>
                  </a:lnTo>
                  <a:lnTo>
                    <a:pt x="1927" y="1644"/>
                  </a:lnTo>
                  <a:lnTo>
                    <a:pt x="1905" y="1653"/>
                  </a:lnTo>
                  <a:lnTo>
                    <a:pt x="1905" y="1653"/>
                  </a:lnTo>
                  <a:lnTo>
                    <a:pt x="1884" y="1646"/>
                  </a:lnTo>
                  <a:lnTo>
                    <a:pt x="1865" y="1642"/>
                  </a:lnTo>
                  <a:lnTo>
                    <a:pt x="1846" y="1636"/>
                  </a:lnTo>
                  <a:lnTo>
                    <a:pt x="1826" y="1630"/>
                  </a:lnTo>
                  <a:lnTo>
                    <a:pt x="1813" y="1624"/>
                  </a:lnTo>
                  <a:lnTo>
                    <a:pt x="1801" y="1617"/>
                  </a:lnTo>
                  <a:lnTo>
                    <a:pt x="1795" y="1615"/>
                  </a:lnTo>
                  <a:lnTo>
                    <a:pt x="1789" y="1613"/>
                  </a:lnTo>
                  <a:lnTo>
                    <a:pt x="1783" y="1611"/>
                  </a:lnTo>
                  <a:lnTo>
                    <a:pt x="1776" y="1611"/>
                  </a:lnTo>
                  <a:lnTo>
                    <a:pt x="1767" y="1611"/>
                  </a:lnTo>
                  <a:lnTo>
                    <a:pt x="1760" y="1612"/>
                  </a:lnTo>
                  <a:lnTo>
                    <a:pt x="1752" y="1614"/>
                  </a:lnTo>
                  <a:lnTo>
                    <a:pt x="1746" y="1616"/>
                  </a:lnTo>
                  <a:lnTo>
                    <a:pt x="1732" y="1620"/>
                  </a:lnTo>
                  <a:lnTo>
                    <a:pt x="1717" y="1625"/>
                  </a:lnTo>
                  <a:lnTo>
                    <a:pt x="1680" y="1632"/>
                  </a:lnTo>
                  <a:lnTo>
                    <a:pt x="1646" y="1638"/>
                  </a:lnTo>
                  <a:lnTo>
                    <a:pt x="1630" y="1641"/>
                  </a:lnTo>
                  <a:lnTo>
                    <a:pt x="1614" y="1645"/>
                  </a:lnTo>
                  <a:lnTo>
                    <a:pt x="1598" y="1651"/>
                  </a:lnTo>
                  <a:lnTo>
                    <a:pt x="1579" y="1658"/>
                  </a:lnTo>
                  <a:lnTo>
                    <a:pt x="1560" y="1668"/>
                  </a:lnTo>
                  <a:lnTo>
                    <a:pt x="1543" y="1676"/>
                  </a:lnTo>
                  <a:lnTo>
                    <a:pt x="1535" y="1681"/>
                  </a:lnTo>
                  <a:lnTo>
                    <a:pt x="1525" y="1683"/>
                  </a:lnTo>
                  <a:lnTo>
                    <a:pt x="1516" y="1685"/>
                  </a:lnTo>
                  <a:lnTo>
                    <a:pt x="1505" y="1686"/>
                  </a:lnTo>
                  <a:lnTo>
                    <a:pt x="1496" y="1685"/>
                  </a:lnTo>
                  <a:lnTo>
                    <a:pt x="1488" y="1684"/>
                  </a:lnTo>
                  <a:lnTo>
                    <a:pt x="1480" y="1682"/>
                  </a:lnTo>
                  <a:lnTo>
                    <a:pt x="1473" y="1678"/>
                  </a:lnTo>
                  <a:lnTo>
                    <a:pt x="1466" y="1673"/>
                  </a:lnTo>
                  <a:lnTo>
                    <a:pt x="1460" y="1669"/>
                  </a:lnTo>
                  <a:lnTo>
                    <a:pt x="1454" y="1662"/>
                  </a:lnTo>
                  <a:lnTo>
                    <a:pt x="1449" y="1656"/>
                  </a:lnTo>
                  <a:lnTo>
                    <a:pt x="1440" y="1642"/>
                  </a:lnTo>
                  <a:lnTo>
                    <a:pt x="1433" y="1626"/>
                  </a:lnTo>
                  <a:lnTo>
                    <a:pt x="1425" y="1608"/>
                  </a:lnTo>
                  <a:lnTo>
                    <a:pt x="1420" y="1591"/>
                  </a:lnTo>
                  <a:lnTo>
                    <a:pt x="1404" y="1551"/>
                  </a:lnTo>
                  <a:lnTo>
                    <a:pt x="1390" y="1517"/>
                  </a:lnTo>
                  <a:lnTo>
                    <a:pt x="1384" y="1499"/>
                  </a:lnTo>
                  <a:lnTo>
                    <a:pt x="1380" y="1481"/>
                  </a:lnTo>
                  <a:lnTo>
                    <a:pt x="1377" y="1471"/>
                  </a:lnTo>
                  <a:lnTo>
                    <a:pt x="1376" y="1462"/>
                  </a:lnTo>
                  <a:lnTo>
                    <a:pt x="1375" y="1451"/>
                  </a:lnTo>
                  <a:lnTo>
                    <a:pt x="1374" y="1440"/>
                  </a:lnTo>
                  <a:lnTo>
                    <a:pt x="1374" y="1425"/>
                  </a:lnTo>
                  <a:lnTo>
                    <a:pt x="1374" y="1412"/>
                  </a:lnTo>
                  <a:lnTo>
                    <a:pt x="1374" y="1398"/>
                  </a:lnTo>
                  <a:lnTo>
                    <a:pt x="1374" y="1383"/>
                  </a:lnTo>
                  <a:lnTo>
                    <a:pt x="1376" y="1355"/>
                  </a:lnTo>
                  <a:lnTo>
                    <a:pt x="1379" y="1329"/>
                  </a:lnTo>
                  <a:lnTo>
                    <a:pt x="1382" y="1304"/>
                  </a:lnTo>
                  <a:lnTo>
                    <a:pt x="1383" y="1276"/>
                  </a:lnTo>
                  <a:lnTo>
                    <a:pt x="1382" y="1253"/>
                  </a:lnTo>
                  <a:lnTo>
                    <a:pt x="1379" y="1233"/>
                  </a:lnTo>
                  <a:lnTo>
                    <a:pt x="1376" y="1213"/>
                  </a:lnTo>
                  <a:lnTo>
                    <a:pt x="1374" y="1190"/>
                  </a:lnTo>
                  <a:lnTo>
                    <a:pt x="1375" y="1180"/>
                  </a:lnTo>
                  <a:lnTo>
                    <a:pt x="1377" y="1170"/>
                  </a:lnTo>
                  <a:lnTo>
                    <a:pt x="1382" y="1160"/>
                  </a:lnTo>
                  <a:lnTo>
                    <a:pt x="1385" y="1152"/>
                  </a:lnTo>
                  <a:lnTo>
                    <a:pt x="1389" y="1143"/>
                  </a:lnTo>
                  <a:lnTo>
                    <a:pt x="1394" y="1134"/>
                  </a:lnTo>
                  <a:lnTo>
                    <a:pt x="1397" y="1125"/>
                  </a:lnTo>
                  <a:lnTo>
                    <a:pt x="1400" y="1115"/>
                  </a:lnTo>
                  <a:lnTo>
                    <a:pt x="1404" y="1091"/>
                  </a:lnTo>
                  <a:lnTo>
                    <a:pt x="1409" y="1069"/>
                  </a:lnTo>
                  <a:lnTo>
                    <a:pt x="1414" y="1049"/>
                  </a:lnTo>
                  <a:lnTo>
                    <a:pt x="1419" y="1030"/>
                  </a:lnTo>
                  <a:lnTo>
                    <a:pt x="1422" y="1010"/>
                  </a:lnTo>
                  <a:lnTo>
                    <a:pt x="1425" y="990"/>
                  </a:lnTo>
                  <a:lnTo>
                    <a:pt x="1427" y="968"/>
                  </a:lnTo>
                  <a:lnTo>
                    <a:pt x="1428" y="944"/>
                  </a:lnTo>
                  <a:lnTo>
                    <a:pt x="1427" y="936"/>
                  </a:lnTo>
                  <a:lnTo>
                    <a:pt x="1425" y="927"/>
                  </a:lnTo>
                  <a:lnTo>
                    <a:pt x="1413" y="938"/>
                  </a:lnTo>
                  <a:lnTo>
                    <a:pt x="1402" y="949"/>
                  </a:lnTo>
                  <a:lnTo>
                    <a:pt x="1390" y="957"/>
                  </a:lnTo>
                  <a:lnTo>
                    <a:pt x="1380" y="966"/>
                  </a:lnTo>
                  <a:lnTo>
                    <a:pt x="1358" y="981"/>
                  </a:lnTo>
                  <a:lnTo>
                    <a:pt x="1336" y="995"/>
                  </a:lnTo>
                  <a:lnTo>
                    <a:pt x="1314" y="1008"/>
                  </a:lnTo>
                  <a:lnTo>
                    <a:pt x="1291" y="1022"/>
                  </a:lnTo>
                  <a:lnTo>
                    <a:pt x="1267" y="1037"/>
                  </a:lnTo>
                  <a:lnTo>
                    <a:pt x="1242" y="1055"/>
                  </a:lnTo>
                  <a:lnTo>
                    <a:pt x="1226" y="1069"/>
                  </a:lnTo>
                  <a:lnTo>
                    <a:pt x="1212" y="1084"/>
                  </a:lnTo>
                  <a:lnTo>
                    <a:pt x="1200" y="1096"/>
                  </a:lnTo>
                  <a:lnTo>
                    <a:pt x="1188" y="1111"/>
                  </a:lnTo>
                  <a:lnTo>
                    <a:pt x="1177" y="1123"/>
                  </a:lnTo>
                  <a:lnTo>
                    <a:pt x="1164" y="1138"/>
                  </a:lnTo>
                  <a:lnTo>
                    <a:pt x="1150" y="1150"/>
                  </a:lnTo>
                  <a:lnTo>
                    <a:pt x="1133" y="1165"/>
                  </a:lnTo>
                  <a:lnTo>
                    <a:pt x="1120" y="1175"/>
                  </a:lnTo>
                  <a:lnTo>
                    <a:pt x="1109" y="1184"/>
                  </a:lnTo>
                  <a:lnTo>
                    <a:pt x="1102" y="1187"/>
                  </a:lnTo>
                  <a:lnTo>
                    <a:pt x="1096" y="1190"/>
                  </a:lnTo>
                  <a:lnTo>
                    <a:pt x="1088" y="1193"/>
                  </a:lnTo>
                  <a:lnTo>
                    <a:pt x="1079" y="1193"/>
                  </a:lnTo>
                  <a:lnTo>
                    <a:pt x="1052" y="1193"/>
                  </a:lnTo>
                  <a:lnTo>
                    <a:pt x="1029" y="1193"/>
                  </a:lnTo>
                  <a:lnTo>
                    <a:pt x="1004" y="1193"/>
                  </a:lnTo>
                  <a:lnTo>
                    <a:pt x="977" y="1193"/>
                  </a:lnTo>
                  <a:lnTo>
                    <a:pt x="949" y="1195"/>
                  </a:lnTo>
                  <a:lnTo>
                    <a:pt x="924" y="1197"/>
                  </a:lnTo>
                  <a:lnTo>
                    <a:pt x="899" y="1199"/>
                  </a:lnTo>
                  <a:lnTo>
                    <a:pt x="876" y="1201"/>
                  </a:lnTo>
                  <a:lnTo>
                    <a:pt x="854" y="1203"/>
                  </a:lnTo>
                  <a:lnTo>
                    <a:pt x="830" y="1206"/>
                  </a:lnTo>
                  <a:lnTo>
                    <a:pt x="804" y="1207"/>
                  </a:lnTo>
                  <a:lnTo>
                    <a:pt x="776" y="1207"/>
                  </a:lnTo>
                  <a:lnTo>
                    <a:pt x="768" y="1207"/>
                  </a:lnTo>
                  <a:lnTo>
                    <a:pt x="761" y="1204"/>
                  </a:lnTo>
                  <a:lnTo>
                    <a:pt x="753" y="1202"/>
                  </a:lnTo>
                  <a:lnTo>
                    <a:pt x="747" y="1199"/>
                  </a:lnTo>
                  <a:lnTo>
                    <a:pt x="741" y="1195"/>
                  </a:lnTo>
                  <a:lnTo>
                    <a:pt x="736" y="1190"/>
                  </a:lnTo>
                  <a:lnTo>
                    <a:pt x="731" y="1184"/>
                  </a:lnTo>
                  <a:lnTo>
                    <a:pt x="726" y="1179"/>
                  </a:lnTo>
                  <a:lnTo>
                    <a:pt x="719" y="1165"/>
                  </a:lnTo>
                  <a:lnTo>
                    <a:pt x="711" y="1149"/>
                  </a:lnTo>
                  <a:lnTo>
                    <a:pt x="706" y="1133"/>
                  </a:lnTo>
                  <a:lnTo>
                    <a:pt x="699" y="1117"/>
                  </a:lnTo>
                  <a:lnTo>
                    <a:pt x="691" y="1091"/>
                  </a:lnTo>
                  <a:lnTo>
                    <a:pt x="681" y="1068"/>
                  </a:lnTo>
                  <a:lnTo>
                    <a:pt x="677" y="1058"/>
                  </a:lnTo>
                  <a:lnTo>
                    <a:pt x="670" y="1047"/>
                  </a:lnTo>
                  <a:lnTo>
                    <a:pt x="664" y="1036"/>
                  </a:lnTo>
                  <a:lnTo>
                    <a:pt x="655" y="1025"/>
                  </a:lnTo>
                  <a:lnTo>
                    <a:pt x="647" y="1018"/>
                  </a:lnTo>
                  <a:lnTo>
                    <a:pt x="641" y="1011"/>
                  </a:lnTo>
                  <a:lnTo>
                    <a:pt x="633" y="1007"/>
                  </a:lnTo>
                  <a:lnTo>
                    <a:pt x="626" y="1003"/>
                  </a:lnTo>
                  <a:lnTo>
                    <a:pt x="610" y="995"/>
                  </a:lnTo>
                  <a:lnTo>
                    <a:pt x="592" y="985"/>
                  </a:lnTo>
                  <a:lnTo>
                    <a:pt x="572" y="972"/>
                  </a:lnTo>
                  <a:lnTo>
                    <a:pt x="550" y="961"/>
                  </a:lnTo>
                  <a:lnTo>
                    <a:pt x="531" y="953"/>
                  </a:lnTo>
                  <a:lnTo>
                    <a:pt x="510" y="946"/>
                  </a:lnTo>
                  <a:lnTo>
                    <a:pt x="489" y="942"/>
                  </a:lnTo>
                  <a:lnTo>
                    <a:pt x="467" y="940"/>
                  </a:lnTo>
                  <a:lnTo>
                    <a:pt x="443" y="938"/>
                  </a:lnTo>
                  <a:lnTo>
                    <a:pt x="418" y="938"/>
                  </a:lnTo>
                  <a:lnTo>
                    <a:pt x="397" y="938"/>
                  </a:lnTo>
                  <a:lnTo>
                    <a:pt x="378" y="938"/>
                  </a:lnTo>
                  <a:lnTo>
                    <a:pt x="359" y="938"/>
                  </a:lnTo>
                  <a:lnTo>
                    <a:pt x="337" y="937"/>
                  </a:lnTo>
                  <a:lnTo>
                    <a:pt x="360" y="816"/>
                  </a:lnTo>
                  <a:lnTo>
                    <a:pt x="359" y="804"/>
                  </a:lnTo>
                  <a:lnTo>
                    <a:pt x="357" y="793"/>
                  </a:lnTo>
                  <a:lnTo>
                    <a:pt x="356" y="782"/>
                  </a:lnTo>
                  <a:lnTo>
                    <a:pt x="352" y="771"/>
                  </a:lnTo>
                  <a:lnTo>
                    <a:pt x="346" y="752"/>
                  </a:lnTo>
                  <a:lnTo>
                    <a:pt x="338" y="735"/>
                  </a:lnTo>
                  <a:lnTo>
                    <a:pt x="328" y="716"/>
                  </a:lnTo>
                  <a:lnTo>
                    <a:pt x="317" y="699"/>
                  </a:lnTo>
                  <a:lnTo>
                    <a:pt x="304" y="682"/>
                  </a:lnTo>
                  <a:lnTo>
                    <a:pt x="290" y="663"/>
                  </a:lnTo>
                  <a:lnTo>
                    <a:pt x="281" y="654"/>
                  </a:lnTo>
                  <a:lnTo>
                    <a:pt x="273" y="647"/>
                  </a:lnTo>
                  <a:lnTo>
                    <a:pt x="263" y="641"/>
                  </a:lnTo>
                  <a:lnTo>
                    <a:pt x="254" y="635"/>
                  </a:lnTo>
                  <a:lnTo>
                    <a:pt x="244" y="630"/>
                  </a:lnTo>
                  <a:lnTo>
                    <a:pt x="236" y="623"/>
                  </a:lnTo>
                  <a:lnTo>
                    <a:pt x="233" y="619"/>
                  </a:lnTo>
                  <a:lnTo>
                    <a:pt x="229" y="615"/>
                  </a:lnTo>
                  <a:lnTo>
                    <a:pt x="226" y="609"/>
                  </a:lnTo>
                  <a:lnTo>
                    <a:pt x="223" y="604"/>
                  </a:lnTo>
                  <a:lnTo>
                    <a:pt x="219" y="593"/>
                  </a:lnTo>
                  <a:lnTo>
                    <a:pt x="216" y="582"/>
                  </a:lnTo>
                  <a:lnTo>
                    <a:pt x="214" y="573"/>
                  </a:lnTo>
                  <a:lnTo>
                    <a:pt x="213" y="562"/>
                  </a:lnTo>
                  <a:lnTo>
                    <a:pt x="211" y="552"/>
                  </a:lnTo>
                  <a:lnTo>
                    <a:pt x="209" y="542"/>
                  </a:lnTo>
                  <a:lnTo>
                    <a:pt x="205" y="533"/>
                  </a:lnTo>
                  <a:lnTo>
                    <a:pt x="198" y="523"/>
                  </a:lnTo>
                  <a:lnTo>
                    <a:pt x="184" y="507"/>
                  </a:lnTo>
                  <a:lnTo>
                    <a:pt x="171" y="492"/>
                  </a:lnTo>
                  <a:lnTo>
                    <a:pt x="159" y="477"/>
                  </a:lnTo>
                  <a:lnTo>
                    <a:pt x="148" y="461"/>
                  </a:lnTo>
                  <a:lnTo>
                    <a:pt x="144" y="453"/>
                  </a:lnTo>
                  <a:lnTo>
                    <a:pt x="140" y="445"/>
                  </a:lnTo>
                  <a:lnTo>
                    <a:pt x="136" y="437"/>
                  </a:lnTo>
                  <a:lnTo>
                    <a:pt x="133" y="428"/>
                  </a:lnTo>
                  <a:lnTo>
                    <a:pt x="131" y="419"/>
                  </a:lnTo>
                  <a:lnTo>
                    <a:pt x="129" y="410"/>
                  </a:lnTo>
                  <a:lnTo>
                    <a:pt x="128" y="399"/>
                  </a:lnTo>
                  <a:lnTo>
                    <a:pt x="128" y="388"/>
                  </a:lnTo>
                  <a:lnTo>
                    <a:pt x="114" y="338"/>
                  </a:lnTo>
                  <a:lnTo>
                    <a:pt x="114" y="323"/>
                  </a:lnTo>
                  <a:lnTo>
                    <a:pt x="114" y="310"/>
                  </a:lnTo>
                  <a:lnTo>
                    <a:pt x="114" y="297"/>
                  </a:lnTo>
                  <a:lnTo>
                    <a:pt x="114" y="284"/>
                  </a:lnTo>
                  <a:lnTo>
                    <a:pt x="113" y="271"/>
                  </a:lnTo>
                  <a:lnTo>
                    <a:pt x="112" y="259"/>
                  </a:lnTo>
                  <a:lnTo>
                    <a:pt x="111" y="254"/>
                  </a:lnTo>
                  <a:lnTo>
                    <a:pt x="107" y="249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2" y="236"/>
                  </a:lnTo>
                  <a:lnTo>
                    <a:pt x="86" y="232"/>
                  </a:lnTo>
                  <a:lnTo>
                    <a:pt x="78" y="230"/>
                  </a:lnTo>
                  <a:lnTo>
                    <a:pt x="71" y="229"/>
                  </a:lnTo>
                  <a:lnTo>
                    <a:pt x="64" y="227"/>
                  </a:lnTo>
                  <a:lnTo>
                    <a:pt x="58" y="225"/>
                  </a:lnTo>
                  <a:lnTo>
                    <a:pt x="50" y="222"/>
                  </a:lnTo>
                  <a:lnTo>
                    <a:pt x="44" y="217"/>
                  </a:lnTo>
                  <a:lnTo>
                    <a:pt x="39" y="213"/>
                  </a:lnTo>
                  <a:lnTo>
                    <a:pt x="36" y="209"/>
                  </a:lnTo>
                  <a:lnTo>
                    <a:pt x="35" y="203"/>
                  </a:lnTo>
                  <a:lnTo>
                    <a:pt x="34" y="197"/>
                  </a:lnTo>
                  <a:lnTo>
                    <a:pt x="33" y="185"/>
                  </a:lnTo>
                  <a:lnTo>
                    <a:pt x="32" y="173"/>
                  </a:lnTo>
                  <a:lnTo>
                    <a:pt x="31" y="169"/>
                  </a:lnTo>
                  <a:lnTo>
                    <a:pt x="30" y="164"/>
                  </a:lnTo>
                  <a:lnTo>
                    <a:pt x="26" y="160"/>
                  </a:lnTo>
                  <a:lnTo>
                    <a:pt x="24" y="156"/>
                  </a:lnTo>
                  <a:lnTo>
                    <a:pt x="18" y="148"/>
                  </a:lnTo>
                  <a:lnTo>
                    <a:pt x="10" y="141"/>
                  </a:lnTo>
                  <a:lnTo>
                    <a:pt x="5" y="13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1" y="117"/>
                  </a:lnTo>
                  <a:lnTo>
                    <a:pt x="4" y="114"/>
                  </a:lnTo>
                  <a:lnTo>
                    <a:pt x="10" y="109"/>
                  </a:lnTo>
                  <a:lnTo>
                    <a:pt x="16" y="106"/>
                  </a:lnTo>
                  <a:lnTo>
                    <a:pt x="23" y="104"/>
                  </a:lnTo>
                  <a:lnTo>
                    <a:pt x="30" y="102"/>
                  </a:lnTo>
                  <a:lnTo>
                    <a:pt x="46" y="102"/>
                  </a:lnTo>
                  <a:lnTo>
                    <a:pt x="61" y="102"/>
                  </a:lnTo>
                  <a:lnTo>
                    <a:pt x="68" y="102"/>
                  </a:lnTo>
                  <a:lnTo>
                    <a:pt x="75" y="102"/>
                  </a:lnTo>
                  <a:lnTo>
                    <a:pt x="81" y="101"/>
                  </a:lnTo>
                  <a:lnTo>
                    <a:pt x="87" y="100"/>
                  </a:lnTo>
                  <a:lnTo>
                    <a:pt x="91" y="97"/>
                  </a:lnTo>
                  <a:lnTo>
                    <a:pt x="95" y="93"/>
                  </a:lnTo>
                  <a:lnTo>
                    <a:pt x="98" y="89"/>
                  </a:lnTo>
                  <a:lnTo>
                    <a:pt x="98" y="82"/>
                  </a:lnTo>
                  <a:lnTo>
                    <a:pt x="98" y="64"/>
                  </a:lnTo>
                  <a:lnTo>
                    <a:pt x="98" y="48"/>
                  </a:lnTo>
                  <a:lnTo>
                    <a:pt x="98" y="32"/>
                  </a:lnTo>
                  <a:lnTo>
                    <a:pt x="98" y="13"/>
                  </a:lnTo>
                  <a:lnTo>
                    <a:pt x="99" y="7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2418" y="837"/>
                  </a:lnTo>
                  <a:lnTo>
                    <a:pt x="2909" y="1049"/>
                  </a:lnTo>
                  <a:lnTo>
                    <a:pt x="2909" y="1049"/>
                  </a:lnTo>
                  <a:close/>
                </a:path>
              </a:pathLst>
            </a:custGeom>
            <a:solidFill>
              <a:srgbClr val="73B84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40">
              <a:extLst>
                <a:ext uri="{FF2B5EF4-FFF2-40B4-BE49-F238E27FC236}">
                  <a16:creationId xmlns:a16="http://schemas.microsoft.com/office/drawing/2014/main" id="{60097EF8-F83E-42FE-B2A4-89D91EC23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5000" y="2192338"/>
              <a:ext cx="1204913" cy="669925"/>
            </a:xfrm>
            <a:custGeom>
              <a:avLst/>
              <a:gdLst>
                <a:gd name="T0" fmla="*/ 2986 w 3033"/>
                <a:gd name="T1" fmla="*/ 1095 h 1686"/>
                <a:gd name="T2" fmla="*/ 3008 w 3033"/>
                <a:gd name="T3" fmla="*/ 1134 h 1686"/>
                <a:gd name="T4" fmla="*/ 2938 w 3033"/>
                <a:gd name="T5" fmla="*/ 1199 h 1686"/>
                <a:gd name="T6" fmla="*/ 2905 w 3033"/>
                <a:gd name="T7" fmla="*/ 1249 h 1686"/>
                <a:gd name="T8" fmla="*/ 2865 w 3033"/>
                <a:gd name="T9" fmla="*/ 1269 h 1686"/>
                <a:gd name="T10" fmla="*/ 2798 w 3033"/>
                <a:gd name="T11" fmla="*/ 1284 h 1686"/>
                <a:gd name="T12" fmla="*/ 2725 w 3033"/>
                <a:gd name="T13" fmla="*/ 1357 h 1686"/>
                <a:gd name="T14" fmla="*/ 2656 w 3033"/>
                <a:gd name="T15" fmla="*/ 1433 h 1686"/>
                <a:gd name="T16" fmla="*/ 2636 w 3033"/>
                <a:gd name="T17" fmla="*/ 1466 h 1686"/>
                <a:gd name="T18" fmla="*/ 2577 w 3033"/>
                <a:gd name="T19" fmla="*/ 1455 h 1686"/>
                <a:gd name="T20" fmla="*/ 2516 w 3033"/>
                <a:gd name="T21" fmla="*/ 1443 h 1686"/>
                <a:gd name="T22" fmla="*/ 2482 w 3033"/>
                <a:gd name="T23" fmla="*/ 1479 h 1686"/>
                <a:gd name="T24" fmla="*/ 2375 w 3033"/>
                <a:gd name="T25" fmla="*/ 1588 h 1686"/>
                <a:gd name="T26" fmla="*/ 2303 w 3033"/>
                <a:gd name="T27" fmla="*/ 1655 h 1686"/>
                <a:gd name="T28" fmla="*/ 2248 w 3033"/>
                <a:gd name="T29" fmla="*/ 1657 h 1686"/>
                <a:gd name="T30" fmla="*/ 2182 w 3033"/>
                <a:gd name="T31" fmla="*/ 1621 h 1686"/>
                <a:gd name="T32" fmla="*/ 2112 w 3033"/>
                <a:gd name="T33" fmla="*/ 1616 h 1686"/>
                <a:gd name="T34" fmla="*/ 2029 w 3033"/>
                <a:gd name="T35" fmla="*/ 1614 h 1686"/>
                <a:gd name="T36" fmla="*/ 1905 w 3033"/>
                <a:gd name="T37" fmla="*/ 1653 h 1686"/>
                <a:gd name="T38" fmla="*/ 1813 w 3033"/>
                <a:gd name="T39" fmla="*/ 1624 h 1686"/>
                <a:gd name="T40" fmla="*/ 1767 w 3033"/>
                <a:gd name="T41" fmla="*/ 1611 h 1686"/>
                <a:gd name="T42" fmla="*/ 1680 w 3033"/>
                <a:gd name="T43" fmla="*/ 1632 h 1686"/>
                <a:gd name="T44" fmla="*/ 1560 w 3033"/>
                <a:gd name="T45" fmla="*/ 1668 h 1686"/>
                <a:gd name="T46" fmla="*/ 1496 w 3033"/>
                <a:gd name="T47" fmla="*/ 1685 h 1686"/>
                <a:gd name="T48" fmla="*/ 1454 w 3033"/>
                <a:gd name="T49" fmla="*/ 1662 h 1686"/>
                <a:gd name="T50" fmla="*/ 1404 w 3033"/>
                <a:gd name="T51" fmla="*/ 1551 h 1686"/>
                <a:gd name="T52" fmla="*/ 1375 w 3033"/>
                <a:gd name="T53" fmla="*/ 1451 h 1686"/>
                <a:gd name="T54" fmla="*/ 1376 w 3033"/>
                <a:gd name="T55" fmla="*/ 1355 h 1686"/>
                <a:gd name="T56" fmla="*/ 1376 w 3033"/>
                <a:gd name="T57" fmla="*/ 1213 h 1686"/>
                <a:gd name="T58" fmla="*/ 1389 w 3033"/>
                <a:gd name="T59" fmla="*/ 1143 h 1686"/>
                <a:gd name="T60" fmla="*/ 1414 w 3033"/>
                <a:gd name="T61" fmla="*/ 1049 h 1686"/>
                <a:gd name="T62" fmla="*/ 1427 w 3033"/>
                <a:gd name="T63" fmla="*/ 936 h 1686"/>
                <a:gd name="T64" fmla="*/ 1358 w 3033"/>
                <a:gd name="T65" fmla="*/ 981 h 1686"/>
                <a:gd name="T66" fmla="*/ 1226 w 3033"/>
                <a:gd name="T67" fmla="*/ 1069 h 1686"/>
                <a:gd name="T68" fmla="*/ 1150 w 3033"/>
                <a:gd name="T69" fmla="*/ 1150 h 1686"/>
                <a:gd name="T70" fmla="*/ 1088 w 3033"/>
                <a:gd name="T71" fmla="*/ 1193 h 1686"/>
                <a:gd name="T72" fmla="*/ 949 w 3033"/>
                <a:gd name="T73" fmla="*/ 1195 h 1686"/>
                <a:gd name="T74" fmla="*/ 804 w 3033"/>
                <a:gd name="T75" fmla="*/ 1207 h 1686"/>
                <a:gd name="T76" fmla="*/ 741 w 3033"/>
                <a:gd name="T77" fmla="*/ 1195 h 1686"/>
                <a:gd name="T78" fmla="*/ 706 w 3033"/>
                <a:gd name="T79" fmla="*/ 1133 h 1686"/>
                <a:gd name="T80" fmla="*/ 664 w 3033"/>
                <a:gd name="T81" fmla="*/ 1036 h 1686"/>
                <a:gd name="T82" fmla="*/ 610 w 3033"/>
                <a:gd name="T83" fmla="*/ 995 h 1686"/>
                <a:gd name="T84" fmla="*/ 489 w 3033"/>
                <a:gd name="T85" fmla="*/ 942 h 1686"/>
                <a:gd name="T86" fmla="*/ 359 w 3033"/>
                <a:gd name="T87" fmla="*/ 938 h 1686"/>
                <a:gd name="T88" fmla="*/ 352 w 3033"/>
                <a:gd name="T89" fmla="*/ 771 h 1686"/>
                <a:gd name="T90" fmla="*/ 290 w 3033"/>
                <a:gd name="T91" fmla="*/ 663 h 1686"/>
                <a:gd name="T92" fmla="*/ 236 w 3033"/>
                <a:gd name="T93" fmla="*/ 623 h 1686"/>
                <a:gd name="T94" fmla="*/ 216 w 3033"/>
                <a:gd name="T95" fmla="*/ 582 h 1686"/>
                <a:gd name="T96" fmla="*/ 198 w 3033"/>
                <a:gd name="T97" fmla="*/ 523 h 1686"/>
                <a:gd name="T98" fmla="*/ 140 w 3033"/>
                <a:gd name="T99" fmla="*/ 445 h 1686"/>
                <a:gd name="T100" fmla="*/ 128 w 3033"/>
                <a:gd name="T101" fmla="*/ 388 h 1686"/>
                <a:gd name="T102" fmla="*/ 113 w 3033"/>
                <a:gd name="T103" fmla="*/ 271 h 1686"/>
                <a:gd name="T104" fmla="*/ 92 w 3033"/>
                <a:gd name="T105" fmla="*/ 236 h 1686"/>
                <a:gd name="T106" fmla="*/ 50 w 3033"/>
                <a:gd name="T107" fmla="*/ 222 h 1686"/>
                <a:gd name="T108" fmla="*/ 33 w 3033"/>
                <a:gd name="T109" fmla="*/ 185 h 1686"/>
                <a:gd name="T110" fmla="*/ 18 w 3033"/>
                <a:gd name="T111" fmla="*/ 148 h 1686"/>
                <a:gd name="T112" fmla="*/ 1 w 3033"/>
                <a:gd name="T113" fmla="*/ 117 h 1686"/>
                <a:gd name="T114" fmla="*/ 46 w 3033"/>
                <a:gd name="T115" fmla="*/ 102 h 1686"/>
                <a:gd name="T116" fmla="*/ 91 w 3033"/>
                <a:gd name="T117" fmla="*/ 97 h 1686"/>
                <a:gd name="T118" fmla="*/ 98 w 3033"/>
                <a:gd name="T119" fmla="*/ 32 h 1686"/>
                <a:gd name="T120" fmla="*/ 2909 w 3033"/>
                <a:gd name="T121" fmla="*/ 1049 h 1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33" h="1686">
                  <a:moveTo>
                    <a:pt x="2909" y="1049"/>
                  </a:moveTo>
                  <a:lnTo>
                    <a:pt x="2924" y="1062"/>
                  </a:lnTo>
                  <a:lnTo>
                    <a:pt x="2939" y="1072"/>
                  </a:lnTo>
                  <a:lnTo>
                    <a:pt x="2954" y="1080"/>
                  </a:lnTo>
                  <a:lnTo>
                    <a:pt x="2971" y="1088"/>
                  </a:lnTo>
                  <a:lnTo>
                    <a:pt x="2986" y="1095"/>
                  </a:lnTo>
                  <a:lnTo>
                    <a:pt x="3002" y="1103"/>
                  </a:lnTo>
                  <a:lnTo>
                    <a:pt x="3017" y="1113"/>
                  </a:lnTo>
                  <a:lnTo>
                    <a:pt x="3033" y="1123"/>
                  </a:lnTo>
                  <a:lnTo>
                    <a:pt x="3033" y="1123"/>
                  </a:lnTo>
                  <a:lnTo>
                    <a:pt x="3021" y="1128"/>
                  </a:lnTo>
                  <a:lnTo>
                    <a:pt x="3008" y="1134"/>
                  </a:lnTo>
                  <a:lnTo>
                    <a:pt x="2993" y="1144"/>
                  </a:lnTo>
                  <a:lnTo>
                    <a:pt x="2980" y="1155"/>
                  </a:lnTo>
                  <a:lnTo>
                    <a:pt x="2970" y="1167"/>
                  </a:lnTo>
                  <a:lnTo>
                    <a:pt x="2955" y="1179"/>
                  </a:lnTo>
                  <a:lnTo>
                    <a:pt x="2946" y="1188"/>
                  </a:lnTo>
                  <a:lnTo>
                    <a:pt x="2938" y="1199"/>
                  </a:lnTo>
                  <a:lnTo>
                    <a:pt x="2932" y="1209"/>
                  </a:lnTo>
                  <a:lnTo>
                    <a:pt x="2926" y="1220"/>
                  </a:lnTo>
                  <a:lnTo>
                    <a:pt x="2920" y="1230"/>
                  </a:lnTo>
                  <a:lnTo>
                    <a:pt x="2913" y="1240"/>
                  </a:lnTo>
                  <a:lnTo>
                    <a:pt x="2909" y="1244"/>
                  </a:lnTo>
                  <a:lnTo>
                    <a:pt x="2905" y="1249"/>
                  </a:lnTo>
                  <a:lnTo>
                    <a:pt x="2899" y="1253"/>
                  </a:lnTo>
                  <a:lnTo>
                    <a:pt x="2894" y="1257"/>
                  </a:lnTo>
                  <a:lnTo>
                    <a:pt x="2886" y="1262"/>
                  </a:lnTo>
                  <a:lnTo>
                    <a:pt x="2880" y="1265"/>
                  </a:lnTo>
                  <a:lnTo>
                    <a:pt x="2872" y="1267"/>
                  </a:lnTo>
                  <a:lnTo>
                    <a:pt x="2865" y="1269"/>
                  </a:lnTo>
                  <a:lnTo>
                    <a:pt x="2851" y="1271"/>
                  </a:lnTo>
                  <a:lnTo>
                    <a:pt x="2838" y="1274"/>
                  </a:lnTo>
                  <a:lnTo>
                    <a:pt x="2824" y="1276"/>
                  </a:lnTo>
                  <a:lnTo>
                    <a:pt x="2811" y="1279"/>
                  </a:lnTo>
                  <a:lnTo>
                    <a:pt x="2804" y="1281"/>
                  </a:lnTo>
                  <a:lnTo>
                    <a:pt x="2798" y="1284"/>
                  </a:lnTo>
                  <a:lnTo>
                    <a:pt x="2791" y="1289"/>
                  </a:lnTo>
                  <a:lnTo>
                    <a:pt x="2785" y="1294"/>
                  </a:lnTo>
                  <a:lnTo>
                    <a:pt x="2766" y="1310"/>
                  </a:lnTo>
                  <a:lnTo>
                    <a:pt x="2751" y="1325"/>
                  </a:lnTo>
                  <a:lnTo>
                    <a:pt x="2738" y="1342"/>
                  </a:lnTo>
                  <a:lnTo>
                    <a:pt x="2725" y="1357"/>
                  </a:lnTo>
                  <a:lnTo>
                    <a:pt x="2714" y="1372"/>
                  </a:lnTo>
                  <a:lnTo>
                    <a:pt x="2699" y="1388"/>
                  </a:lnTo>
                  <a:lnTo>
                    <a:pt x="2684" y="1403"/>
                  </a:lnTo>
                  <a:lnTo>
                    <a:pt x="2667" y="1419"/>
                  </a:lnTo>
                  <a:lnTo>
                    <a:pt x="2661" y="1426"/>
                  </a:lnTo>
                  <a:lnTo>
                    <a:pt x="2656" y="1433"/>
                  </a:lnTo>
                  <a:lnTo>
                    <a:pt x="2653" y="1441"/>
                  </a:lnTo>
                  <a:lnTo>
                    <a:pt x="2650" y="1450"/>
                  </a:lnTo>
                  <a:lnTo>
                    <a:pt x="2645" y="1456"/>
                  </a:lnTo>
                  <a:lnTo>
                    <a:pt x="2641" y="1463"/>
                  </a:lnTo>
                  <a:lnTo>
                    <a:pt x="2639" y="1465"/>
                  </a:lnTo>
                  <a:lnTo>
                    <a:pt x="2636" y="1466"/>
                  </a:lnTo>
                  <a:lnTo>
                    <a:pt x="2631" y="1467"/>
                  </a:lnTo>
                  <a:lnTo>
                    <a:pt x="2627" y="1467"/>
                  </a:lnTo>
                  <a:lnTo>
                    <a:pt x="2613" y="1466"/>
                  </a:lnTo>
                  <a:lnTo>
                    <a:pt x="2600" y="1464"/>
                  </a:lnTo>
                  <a:lnTo>
                    <a:pt x="2588" y="1459"/>
                  </a:lnTo>
                  <a:lnTo>
                    <a:pt x="2577" y="1455"/>
                  </a:lnTo>
                  <a:lnTo>
                    <a:pt x="2566" y="1451"/>
                  </a:lnTo>
                  <a:lnTo>
                    <a:pt x="2554" y="1446"/>
                  </a:lnTo>
                  <a:lnTo>
                    <a:pt x="2541" y="1443"/>
                  </a:lnTo>
                  <a:lnTo>
                    <a:pt x="2527" y="1442"/>
                  </a:lnTo>
                  <a:lnTo>
                    <a:pt x="2521" y="1442"/>
                  </a:lnTo>
                  <a:lnTo>
                    <a:pt x="2516" y="1443"/>
                  </a:lnTo>
                  <a:lnTo>
                    <a:pt x="2512" y="1445"/>
                  </a:lnTo>
                  <a:lnTo>
                    <a:pt x="2507" y="1447"/>
                  </a:lnTo>
                  <a:lnTo>
                    <a:pt x="2501" y="1454"/>
                  </a:lnTo>
                  <a:lnTo>
                    <a:pt x="2494" y="1462"/>
                  </a:lnTo>
                  <a:lnTo>
                    <a:pt x="2489" y="1470"/>
                  </a:lnTo>
                  <a:lnTo>
                    <a:pt x="2482" y="1479"/>
                  </a:lnTo>
                  <a:lnTo>
                    <a:pt x="2476" y="1487"/>
                  </a:lnTo>
                  <a:lnTo>
                    <a:pt x="2467" y="1495"/>
                  </a:lnTo>
                  <a:lnTo>
                    <a:pt x="2442" y="1520"/>
                  </a:lnTo>
                  <a:lnTo>
                    <a:pt x="2421" y="1541"/>
                  </a:lnTo>
                  <a:lnTo>
                    <a:pt x="2399" y="1563"/>
                  </a:lnTo>
                  <a:lnTo>
                    <a:pt x="2375" y="1588"/>
                  </a:lnTo>
                  <a:lnTo>
                    <a:pt x="2351" y="1614"/>
                  </a:lnTo>
                  <a:lnTo>
                    <a:pt x="2328" y="1638"/>
                  </a:lnTo>
                  <a:lnTo>
                    <a:pt x="2323" y="1643"/>
                  </a:lnTo>
                  <a:lnTo>
                    <a:pt x="2316" y="1647"/>
                  </a:lnTo>
                  <a:lnTo>
                    <a:pt x="2310" y="1651"/>
                  </a:lnTo>
                  <a:lnTo>
                    <a:pt x="2303" y="1655"/>
                  </a:lnTo>
                  <a:lnTo>
                    <a:pt x="2296" y="1657"/>
                  </a:lnTo>
                  <a:lnTo>
                    <a:pt x="2288" y="1659"/>
                  </a:lnTo>
                  <a:lnTo>
                    <a:pt x="2279" y="1660"/>
                  </a:lnTo>
                  <a:lnTo>
                    <a:pt x="2271" y="1661"/>
                  </a:lnTo>
                  <a:lnTo>
                    <a:pt x="2259" y="1660"/>
                  </a:lnTo>
                  <a:lnTo>
                    <a:pt x="2248" y="1657"/>
                  </a:lnTo>
                  <a:lnTo>
                    <a:pt x="2239" y="1653"/>
                  </a:lnTo>
                  <a:lnTo>
                    <a:pt x="2231" y="1648"/>
                  </a:lnTo>
                  <a:lnTo>
                    <a:pt x="2213" y="1636"/>
                  </a:lnTo>
                  <a:lnTo>
                    <a:pt x="2193" y="1625"/>
                  </a:lnTo>
                  <a:lnTo>
                    <a:pt x="2188" y="1622"/>
                  </a:lnTo>
                  <a:lnTo>
                    <a:pt x="2182" y="1621"/>
                  </a:lnTo>
                  <a:lnTo>
                    <a:pt x="2177" y="1621"/>
                  </a:lnTo>
                  <a:lnTo>
                    <a:pt x="2171" y="1622"/>
                  </a:lnTo>
                  <a:lnTo>
                    <a:pt x="2161" y="1625"/>
                  </a:lnTo>
                  <a:lnTo>
                    <a:pt x="2149" y="1625"/>
                  </a:lnTo>
                  <a:lnTo>
                    <a:pt x="2129" y="1620"/>
                  </a:lnTo>
                  <a:lnTo>
                    <a:pt x="2112" y="1616"/>
                  </a:lnTo>
                  <a:lnTo>
                    <a:pt x="2103" y="1614"/>
                  </a:lnTo>
                  <a:lnTo>
                    <a:pt x="2095" y="1612"/>
                  </a:lnTo>
                  <a:lnTo>
                    <a:pt x="2086" y="1611"/>
                  </a:lnTo>
                  <a:lnTo>
                    <a:pt x="2075" y="1611"/>
                  </a:lnTo>
                  <a:lnTo>
                    <a:pt x="2051" y="1612"/>
                  </a:lnTo>
                  <a:lnTo>
                    <a:pt x="2029" y="1614"/>
                  </a:lnTo>
                  <a:lnTo>
                    <a:pt x="2008" y="1617"/>
                  </a:lnTo>
                  <a:lnTo>
                    <a:pt x="1988" y="1622"/>
                  </a:lnTo>
                  <a:lnTo>
                    <a:pt x="1968" y="1628"/>
                  </a:lnTo>
                  <a:lnTo>
                    <a:pt x="1948" y="1635"/>
                  </a:lnTo>
                  <a:lnTo>
                    <a:pt x="1927" y="1644"/>
                  </a:lnTo>
                  <a:lnTo>
                    <a:pt x="1905" y="1653"/>
                  </a:lnTo>
                  <a:lnTo>
                    <a:pt x="1905" y="1653"/>
                  </a:lnTo>
                  <a:lnTo>
                    <a:pt x="1884" y="1646"/>
                  </a:lnTo>
                  <a:lnTo>
                    <a:pt x="1865" y="1642"/>
                  </a:lnTo>
                  <a:lnTo>
                    <a:pt x="1846" y="1636"/>
                  </a:lnTo>
                  <a:lnTo>
                    <a:pt x="1826" y="1630"/>
                  </a:lnTo>
                  <a:lnTo>
                    <a:pt x="1813" y="1624"/>
                  </a:lnTo>
                  <a:lnTo>
                    <a:pt x="1801" y="1617"/>
                  </a:lnTo>
                  <a:lnTo>
                    <a:pt x="1795" y="1615"/>
                  </a:lnTo>
                  <a:lnTo>
                    <a:pt x="1789" y="1613"/>
                  </a:lnTo>
                  <a:lnTo>
                    <a:pt x="1783" y="1611"/>
                  </a:lnTo>
                  <a:lnTo>
                    <a:pt x="1776" y="1611"/>
                  </a:lnTo>
                  <a:lnTo>
                    <a:pt x="1767" y="1611"/>
                  </a:lnTo>
                  <a:lnTo>
                    <a:pt x="1760" y="1612"/>
                  </a:lnTo>
                  <a:lnTo>
                    <a:pt x="1752" y="1614"/>
                  </a:lnTo>
                  <a:lnTo>
                    <a:pt x="1746" y="1616"/>
                  </a:lnTo>
                  <a:lnTo>
                    <a:pt x="1732" y="1620"/>
                  </a:lnTo>
                  <a:lnTo>
                    <a:pt x="1717" y="1625"/>
                  </a:lnTo>
                  <a:lnTo>
                    <a:pt x="1680" y="1632"/>
                  </a:lnTo>
                  <a:lnTo>
                    <a:pt x="1646" y="1638"/>
                  </a:lnTo>
                  <a:lnTo>
                    <a:pt x="1630" y="1641"/>
                  </a:lnTo>
                  <a:lnTo>
                    <a:pt x="1614" y="1645"/>
                  </a:lnTo>
                  <a:lnTo>
                    <a:pt x="1598" y="1651"/>
                  </a:lnTo>
                  <a:lnTo>
                    <a:pt x="1579" y="1658"/>
                  </a:lnTo>
                  <a:lnTo>
                    <a:pt x="1560" y="1668"/>
                  </a:lnTo>
                  <a:lnTo>
                    <a:pt x="1543" y="1676"/>
                  </a:lnTo>
                  <a:lnTo>
                    <a:pt x="1535" y="1681"/>
                  </a:lnTo>
                  <a:lnTo>
                    <a:pt x="1525" y="1683"/>
                  </a:lnTo>
                  <a:lnTo>
                    <a:pt x="1516" y="1685"/>
                  </a:lnTo>
                  <a:lnTo>
                    <a:pt x="1505" y="1686"/>
                  </a:lnTo>
                  <a:lnTo>
                    <a:pt x="1496" y="1685"/>
                  </a:lnTo>
                  <a:lnTo>
                    <a:pt x="1488" y="1684"/>
                  </a:lnTo>
                  <a:lnTo>
                    <a:pt x="1480" y="1682"/>
                  </a:lnTo>
                  <a:lnTo>
                    <a:pt x="1473" y="1678"/>
                  </a:lnTo>
                  <a:lnTo>
                    <a:pt x="1466" y="1673"/>
                  </a:lnTo>
                  <a:lnTo>
                    <a:pt x="1460" y="1669"/>
                  </a:lnTo>
                  <a:lnTo>
                    <a:pt x="1454" y="1662"/>
                  </a:lnTo>
                  <a:lnTo>
                    <a:pt x="1449" y="1656"/>
                  </a:lnTo>
                  <a:lnTo>
                    <a:pt x="1440" y="1642"/>
                  </a:lnTo>
                  <a:lnTo>
                    <a:pt x="1433" y="1626"/>
                  </a:lnTo>
                  <a:lnTo>
                    <a:pt x="1425" y="1608"/>
                  </a:lnTo>
                  <a:lnTo>
                    <a:pt x="1420" y="1591"/>
                  </a:lnTo>
                  <a:lnTo>
                    <a:pt x="1404" y="1551"/>
                  </a:lnTo>
                  <a:lnTo>
                    <a:pt x="1390" y="1517"/>
                  </a:lnTo>
                  <a:lnTo>
                    <a:pt x="1384" y="1499"/>
                  </a:lnTo>
                  <a:lnTo>
                    <a:pt x="1380" y="1481"/>
                  </a:lnTo>
                  <a:lnTo>
                    <a:pt x="1377" y="1471"/>
                  </a:lnTo>
                  <a:lnTo>
                    <a:pt x="1376" y="1462"/>
                  </a:lnTo>
                  <a:lnTo>
                    <a:pt x="1375" y="1451"/>
                  </a:lnTo>
                  <a:lnTo>
                    <a:pt x="1374" y="1440"/>
                  </a:lnTo>
                  <a:lnTo>
                    <a:pt x="1374" y="1425"/>
                  </a:lnTo>
                  <a:lnTo>
                    <a:pt x="1374" y="1412"/>
                  </a:lnTo>
                  <a:lnTo>
                    <a:pt x="1374" y="1398"/>
                  </a:lnTo>
                  <a:lnTo>
                    <a:pt x="1374" y="1383"/>
                  </a:lnTo>
                  <a:lnTo>
                    <a:pt x="1376" y="1355"/>
                  </a:lnTo>
                  <a:lnTo>
                    <a:pt x="1379" y="1329"/>
                  </a:lnTo>
                  <a:lnTo>
                    <a:pt x="1382" y="1304"/>
                  </a:lnTo>
                  <a:lnTo>
                    <a:pt x="1383" y="1276"/>
                  </a:lnTo>
                  <a:lnTo>
                    <a:pt x="1382" y="1253"/>
                  </a:lnTo>
                  <a:lnTo>
                    <a:pt x="1379" y="1233"/>
                  </a:lnTo>
                  <a:lnTo>
                    <a:pt x="1376" y="1213"/>
                  </a:lnTo>
                  <a:lnTo>
                    <a:pt x="1374" y="1190"/>
                  </a:lnTo>
                  <a:lnTo>
                    <a:pt x="1375" y="1180"/>
                  </a:lnTo>
                  <a:lnTo>
                    <a:pt x="1377" y="1170"/>
                  </a:lnTo>
                  <a:lnTo>
                    <a:pt x="1382" y="1160"/>
                  </a:lnTo>
                  <a:lnTo>
                    <a:pt x="1385" y="1152"/>
                  </a:lnTo>
                  <a:lnTo>
                    <a:pt x="1389" y="1143"/>
                  </a:lnTo>
                  <a:lnTo>
                    <a:pt x="1394" y="1134"/>
                  </a:lnTo>
                  <a:lnTo>
                    <a:pt x="1397" y="1125"/>
                  </a:lnTo>
                  <a:lnTo>
                    <a:pt x="1400" y="1115"/>
                  </a:lnTo>
                  <a:lnTo>
                    <a:pt x="1404" y="1091"/>
                  </a:lnTo>
                  <a:lnTo>
                    <a:pt x="1409" y="1069"/>
                  </a:lnTo>
                  <a:lnTo>
                    <a:pt x="1414" y="1049"/>
                  </a:lnTo>
                  <a:lnTo>
                    <a:pt x="1419" y="1030"/>
                  </a:lnTo>
                  <a:lnTo>
                    <a:pt x="1422" y="1010"/>
                  </a:lnTo>
                  <a:lnTo>
                    <a:pt x="1425" y="990"/>
                  </a:lnTo>
                  <a:lnTo>
                    <a:pt x="1427" y="968"/>
                  </a:lnTo>
                  <a:lnTo>
                    <a:pt x="1428" y="944"/>
                  </a:lnTo>
                  <a:lnTo>
                    <a:pt x="1427" y="936"/>
                  </a:lnTo>
                  <a:lnTo>
                    <a:pt x="1425" y="927"/>
                  </a:lnTo>
                  <a:lnTo>
                    <a:pt x="1413" y="938"/>
                  </a:lnTo>
                  <a:lnTo>
                    <a:pt x="1402" y="949"/>
                  </a:lnTo>
                  <a:lnTo>
                    <a:pt x="1390" y="957"/>
                  </a:lnTo>
                  <a:lnTo>
                    <a:pt x="1380" y="966"/>
                  </a:lnTo>
                  <a:lnTo>
                    <a:pt x="1358" y="981"/>
                  </a:lnTo>
                  <a:lnTo>
                    <a:pt x="1336" y="995"/>
                  </a:lnTo>
                  <a:lnTo>
                    <a:pt x="1314" y="1008"/>
                  </a:lnTo>
                  <a:lnTo>
                    <a:pt x="1291" y="1022"/>
                  </a:lnTo>
                  <a:lnTo>
                    <a:pt x="1267" y="1037"/>
                  </a:lnTo>
                  <a:lnTo>
                    <a:pt x="1242" y="1055"/>
                  </a:lnTo>
                  <a:lnTo>
                    <a:pt x="1226" y="1069"/>
                  </a:lnTo>
                  <a:lnTo>
                    <a:pt x="1212" y="1084"/>
                  </a:lnTo>
                  <a:lnTo>
                    <a:pt x="1200" y="1096"/>
                  </a:lnTo>
                  <a:lnTo>
                    <a:pt x="1188" y="1111"/>
                  </a:lnTo>
                  <a:lnTo>
                    <a:pt x="1177" y="1123"/>
                  </a:lnTo>
                  <a:lnTo>
                    <a:pt x="1164" y="1138"/>
                  </a:lnTo>
                  <a:lnTo>
                    <a:pt x="1150" y="1150"/>
                  </a:lnTo>
                  <a:lnTo>
                    <a:pt x="1133" y="1165"/>
                  </a:lnTo>
                  <a:lnTo>
                    <a:pt x="1120" y="1175"/>
                  </a:lnTo>
                  <a:lnTo>
                    <a:pt x="1109" y="1184"/>
                  </a:lnTo>
                  <a:lnTo>
                    <a:pt x="1102" y="1187"/>
                  </a:lnTo>
                  <a:lnTo>
                    <a:pt x="1096" y="1190"/>
                  </a:lnTo>
                  <a:lnTo>
                    <a:pt x="1088" y="1193"/>
                  </a:lnTo>
                  <a:lnTo>
                    <a:pt x="1079" y="1193"/>
                  </a:lnTo>
                  <a:lnTo>
                    <a:pt x="1052" y="1193"/>
                  </a:lnTo>
                  <a:lnTo>
                    <a:pt x="1029" y="1193"/>
                  </a:lnTo>
                  <a:lnTo>
                    <a:pt x="1004" y="1193"/>
                  </a:lnTo>
                  <a:lnTo>
                    <a:pt x="977" y="1193"/>
                  </a:lnTo>
                  <a:lnTo>
                    <a:pt x="949" y="1195"/>
                  </a:lnTo>
                  <a:lnTo>
                    <a:pt x="924" y="1197"/>
                  </a:lnTo>
                  <a:lnTo>
                    <a:pt x="899" y="1199"/>
                  </a:lnTo>
                  <a:lnTo>
                    <a:pt x="876" y="1201"/>
                  </a:lnTo>
                  <a:lnTo>
                    <a:pt x="854" y="1203"/>
                  </a:lnTo>
                  <a:lnTo>
                    <a:pt x="830" y="1206"/>
                  </a:lnTo>
                  <a:lnTo>
                    <a:pt x="804" y="1207"/>
                  </a:lnTo>
                  <a:lnTo>
                    <a:pt x="776" y="1207"/>
                  </a:lnTo>
                  <a:lnTo>
                    <a:pt x="768" y="1207"/>
                  </a:lnTo>
                  <a:lnTo>
                    <a:pt x="761" y="1204"/>
                  </a:lnTo>
                  <a:lnTo>
                    <a:pt x="753" y="1202"/>
                  </a:lnTo>
                  <a:lnTo>
                    <a:pt x="747" y="1199"/>
                  </a:lnTo>
                  <a:lnTo>
                    <a:pt x="741" y="1195"/>
                  </a:lnTo>
                  <a:lnTo>
                    <a:pt x="736" y="1190"/>
                  </a:lnTo>
                  <a:lnTo>
                    <a:pt x="731" y="1184"/>
                  </a:lnTo>
                  <a:lnTo>
                    <a:pt x="726" y="1179"/>
                  </a:lnTo>
                  <a:lnTo>
                    <a:pt x="719" y="1165"/>
                  </a:lnTo>
                  <a:lnTo>
                    <a:pt x="711" y="1149"/>
                  </a:lnTo>
                  <a:lnTo>
                    <a:pt x="706" y="1133"/>
                  </a:lnTo>
                  <a:lnTo>
                    <a:pt x="699" y="1117"/>
                  </a:lnTo>
                  <a:lnTo>
                    <a:pt x="691" y="1091"/>
                  </a:lnTo>
                  <a:lnTo>
                    <a:pt x="681" y="1068"/>
                  </a:lnTo>
                  <a:lnTo>
                    <a:pt x="677" y="1058"/>
                  </a:lnTo>
                  <a:lnTo>
                    <a:pt x="670" y="1047"/>
                  </a:lnTo>
                  <a:lnTo>
                    <a:pt x="664" y="1036"/>
                  </a:lnTo>
                  <a:lnTo>
                    <a:pt x="655" y="1025"/>
                  </a:lnTo>
                  <a:lnTo>
                    <a:pt x="647" y="1018"/>
                  </a:lnTo>
                  <a:lnTo>
                    <a:pt x="641" y="1011"/>
                  </a:lnTo>
                  <a:lnTo>
                    <a:pt x="633" y="1007"/>
                  </a:lnTo>
                  <a:lnTo>
                    <a:pt x="626" y="1003"/>
                  </a:lnTo>
                  <a:lnTo>
                    <a:pt x="610" y="995"/>
                  </a:lnTo>
                  <a:lnTo>
                    <a:pt x="592" y="985"/>
                  </a:lnTo>
                  <a:lnTo>
                    <a:pt x="572" y="972"/>
                  </a:lnTo>
                  <a:lnTo>
                    <a:pt x="550" y="961"/>
                  </a:lnTo>
                  <a:lnTo>
                    <a:pt x="531" y="953"/>
                  </a:lnTo>
                  <a:lnTo>
                    <a:pt x="510" y="946"/>
                  </a:lnTo>
                  <a:lnTo>
                    <a:pt x="489" y="942"/>
                  </a:lnTo>
                  <a:lnTo>
                    <a:pt x="467" y="940"/>
                  </a:lnTo>
                  <a:lnTo>
                    <a:pt x="443" y="938"/>
                  </a:lnTo>
                  <a:lnTo>
                    <a:pt x="418" y="938"/>
                  </a:lnTo>
                  <a:lnTo>
                    <a:pt x="397" y="938"/>
                  </a:lnTo>
                  <a:lnTo>
                    <a:pt x="378" y="938"/>
                  </a:lnTo>
                  <a:lnTo>
                    <a:pt x="359" y="938"/>
                  </a:lnTo>
                  <a:lnTo>
                    <a:pt x="337" y="937"/>
                  </a:lnTo>
                  <a:lnTo>
                    <a:pt x="360" y="816"/>
                  </a:lnTo>
                  <a:lnTo>
                    <a:pt x="359" y="804"/>
                  </a:lnTo>
                  <a:lnTo>
                    <a:pt x="357" y="793"/>
                  </a:lnTo>
                  <a:lnTo>
                    <a:pt x="356" y="782"/>
                  </a:lnTo>
                  <a:lnTo>
                    <a:pt x="352" y="771"/>
                  </a:lnTo>
                  <a:lnTo>
                    <a:pt x="346" y="752"/>
                  </a:lnTo>
                  <a:lnTo>
                    <a:pt x="338" y="735"/>
                  </a:lnTo>
                  <a:lnTo>
                    <a:pt x="328" y="716"/>
                  </a:lnTo>
                  <a:lnTo>
                    <a:pt x="317" y="699"/>
                  </a:lnTo>
                  <a:lnTo>
                    <a:pt x="304" y="682"/>
                  </a:lnTo>
                  <a:lnTo>
                    <a:pt x="290" y="663"/>
                  </a:lnTo>
                  <a:lnTo>
                    <a:pt x="281" y="654"/>
                  </a:lnTo>
                  <a:lnTo>
                    <a:pt x="273" y="647"/>
                  </a:lnTo>
                  <a:lnTo>
                    <a:pt x="263" y="641"/>
                  </a:lnTo>
                  <a:lnTo>
                    <a:pt x="254" y="635"/>
                  </a:lnTo>
                  <a:lnTo>
                    <a:pt x="244" y="630"/>
                  </a:lnTo>
                  <a:lnTo>
                    <a:pt x="236" y="623"/>
                  </a:lnTo>
                  <a:lnTo>
                    <a:pt x="233" y="619"/>
                  </a:lnTo>
                  <a:lnTo>
                    <a:pt x="229" y="615"/>
                  </a:lnTo>
                  <a:lnTo>
                    <a:pt x="226" y="609"/>
                  </a:lnTo>
                  <a:lnTo>
                    <a:pt x="223" y="604"/>
                  </a:lnTo>
                  <a:lnTo>
                    <a:pt x="219" y="593"/>
                  </a:lnTo>
                  <a:lnTo>
                    <a:pt x="216" y="582"/>
                  </a:lnTo>
                  <a:lnTo>
                    <a:pt x="214" y="573"/>
                  </a:lnTo>
                  <a:lnTo>
                    <a:pt x="213" y="562"/>
                  </a:lnTo>
                  <a:lnTo>
                    <a:pt x="211" y="552"/>
                  </a:lnTo>
                  <a:lnTo>
                    <a:pt x="209" y="542"/>
                  </a:lnTo>
                  <a:lnTo>
                    <a:pt x="205" y="533"/>
                  </a:lnTo>
                  <a:lnTo>
                    <a:pt x="198" y="523"/>
                  </a:lnTo>
                  <a:lnTo>
                    <a:pt x="184" y="507"/>
                  </a:lnTo>
                  <a:lnTo>
                    <a:pt x="171" y="492"/>
                  </a:lnTo>
                  <a:lnTo>
                    <a:pt x="159" y="477"/>
                  </a:lnTo>
                  <a:lnTo>
                    <a:pt x="148" y="461"/>
                  </a:lnTo>
                  <a:lnTo>
                    <a:pt x="144" y="453"/>
                  </a:lnTo>
                  <a:lnTo>
                    <a:pt x="140" y="445"/>
                  </a:lnTo>
                  <a:lnTo>
                    <a:pt x="136" y="437"/>
                  </a:lnTo>
                  <a:lnTo>
                    <a:pt x="133" y="428"/>
                  </a:lnTo>
                  <a:lnTo>
                    <a:pt x="131" y="419"/>
                  </a:lnTo>
                  <a:lnTo>
                    <a:pt x="129" y="410"/>
                  </a:lnTo>
                  <a:lnTo>
                    <a:pt x="128" y="399"/>
                  </a:lnTo>
                  <a:lnTo>
                    <a:pt x="128" y="388"/>
                  </a:lnTo>
                  <a:lnTo>
                    <a:pt x="114" y="338"/>
                  </a:lnTo>
                  <a:lnTo>
                    <a:pt x="114" y="323"/>
                  </a:lnTo>
                  <a:lnTo>
                    <a:pt x="114" y="310"/>
                  </a:lnTo>
                  <a:lnTo>
                    <a:pt x="114" y="297"/>
                  </a:lnTo>
                  <a:lnTo>
                    <a:pt x="114" y="284"/>
                  </a:lnTo>
                  <a:lnTo>
                    <a:pt x="113" y="271"/>
                  </a:lnTo>
                  <a:lnTo>
                    <a:pt x="112" y="259"/>
                  </a:lnTo>
                  <a:lnTo>
                    <a:pt x="111" y="254"/>
                  </a:lnTo>
                  <a:lnTo>
                    <a:pt x="107" y="249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2" y="236"/>
                  </a:lnTo>
                  <a:lnTo>
                    <a:pt x="86" y="232"/>
                  </a:lnTo>
                  <a:lnTo>
                    <a:pt x="78" y="230"/>
                  </a:lnTo>
                  <a:lnTo>
                    <a:pt x="71" y="229"/>
                  </a:lnTo>
                  <a:lnTo>
                    <a:pt x="64" y="227"/>
                  </a:lnTo>
                  <a:lnTo>
                    <a:pt x="58" y="225"/>
                  </a:lnTo>
                  <a:lnTo>
                    <a:pt x="50" y="222"/>
                  </a:lnTo>
                  <a:lnTo>
                    <a:pt x="44" y="217"/>
                  </a:lnTo>
                  <a:lnTo>
                    <a:pt x="39" y="213"/>
                  </a:lnTo>
                  <a:lnTo>
                    <a:pt x="36" y="209"/>
                  </a:lnTo>
                  <a:lnTo>
                    <a:pt x="35" y="203"/>
                  </a:lnTo>
                  <a:lnTo>
                    <a:pt x="34" y="197"/>
                  </a:lnTo>
                  <a:lnTo>
                    <a:pt x="33" y="185"/>
                  </a:lnTo>
                  <a:lnTo>
                    <a:pt x="32" y="173"/>
                  </a:lnTo>
                  <a:lnTo>
                    <a:pt x="31" y="169"/>
                  </a:lnTo>
                  <a:lnTo>
                    <a:pt x="30" y="164"/>
                  </a:lnTo>
                  <a:lnTo>
                    <a:pt x="26" y="160"/>
                  </a:lnTo>
                  <a:lnTo>
                    <a:pt x="24" y="156"/>
                  </a:lnTo>
                  <a:lnTo>
                    <a:pt x="18" y="148"/>
                  </a:lnTo>
                  <a:lnTo>
                    <a:pt x="10" y="141"/>
                  </a:lnTo>
                  <a:lnTo>
                    <a:pt x="5" y="13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1" y="117"/>
                  </a:lnTo>
                  <a:lnTo>
                    <a:pt x="4" y="114"/>
                  </a:lnTo>
                  <a:lnTo>
                    <a:pt x="10" y="109"/>
                  </a:lnTo>
                  <a:lnTo>
                    <a:pt x="16" y="106"/>
                  </a:lnTo>
                  <a:lnTo>
                    <a:pt x="23" y="104"/>
                  </a:lnTo>
                  <a:lnTo>
                    <a:pt x="30" y="102"/>
                  </a:lnTo>
                  <a:lnTo>
                    <a:pt x="46" y="102"/>
                  </a:lnTo>
                  <a:lnTo>
                    <a:pt x="61" y="102"/>
                  </a:lnTo>
                  <a:lnTo>
                    <a:pt x="68" y="102"/>
                  </a:lnTo>
                  <a:lnTo>
                    <a:pt x="75" y="102"/>
                  </a:lnTo>
                  <a:lnTo>
                    <a:pt x="81" y="101"/>
                  </a:lnTo>
                  <a:lnTo>
                    <a:pt x="87" y="100"/>
                  </a:lnTo>
                  <a:lnTo>
                    <a:pt x="91" y="97"/>
                  </a:lnTo>
                  <a:lnTo>
                    <a:pt x="95" y="93"/>
                  </a:lnTo>
                  <a:lnTo>
                    <a:pt x="98" y="89"/>
                  </a:lnTo>
                  <a:lnTo>
                    <a:pt x="98" y="82"/>
                  </a:lnTo>
                  <a:lnTo>
                    <a:pt x="98" y="64"/>
                  </a:lnTo>
                  <a:lnTo>
                    <a:pt x="98" y="48"/>
                  </a:lnTo>
                  <a:lnTo>
                    <a:pt x="98" y="32"/>
                  </a:lnTo>
                  <a:lnTo>
                    <a:pt x="98" y="13"/>
                  </a:lnTo>
                  <a:lnTo>
                    <a:pt x="99" y="7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2418" y="837"/>
                  </a:lnTo>
                  <a:lnTo>
                    <a:pt x="2909" y="1049"/>
                  </a:lnTo>
                  <a:lnTo>
                    <a:pt x="2909" y="1049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41">
              <a:extLst>
                <a:ext uri="{FF2B5EF4-FFF2-40B4-BE49-F238E27FC236}">
                  <a16:creationId xmlns:a16="http://schemas.microsoft.com/office/drawing/2014/main" id="{F944D1BD-C474-40CB-9F6D-8B443E473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29300" y="2324101"/>
              <a:ext cx="1149350" cy="927100"/>
            </a:xfrm>
            <a:custGeom>
              <a:avLst/>
              <a:gdLst>
                <a:gd name="T0" fmla="*/ 124 w 2897"/>
                <a:gd name="T1" fmla="*/ 790 h 2334"/>
                <a:gd name="T2" fmla="*/ 231 w 2897"/>
                <a:gd name="T3" fmla="*/ 768 h 2334"/>
                <a:gd name="T4" fmla="*/ 399 w 2897"/>
                <a:gd name="T5" fmla="*/ 727 h 2334"/>
                <a:gd name="T6" fmla="*/ 449 w 2897"/>
                <a:gd name="T7" fmla="*/ 742 h 2334"/>
                <a:gd name="T8" fmla="*/ 571 w 2897"/>
                <a:gd name="T9" fmla="*/ 742 h 2334"/>
                <a:gd name="T10" fmla="*/ 634 w 2897"/>
                <a:gd name="T11" fmla="*/ 758 h 2334"/>
                <a:gd name="T12" fmla="*/ 655 w 2897"/>
                <a:gd name="T13" fmla="*/ 852 h 2334"/>
                <a:gd name="T14" fmla="*/ 637 w 2897"/>
                <a:gd name="T15" fmla="*/ 943 h 2334"/>
                <a:gd name="T16" fmla="*/ 623 w 2897"/>
                <a:gd name="T17" fmla="*/ 1032 h 2334"/>
                <a:gd name="T18" fmla="*/ 684 w 2897"/>
                <a:gd name="T19" fmla="*/ 1163 h 2334"/>
                <a:gd name="T20" fmla="*/ 686 w 2897"/>
                <a:gd name="T21" fmla="*/ 1322 h 2334"/>
                <a:gd name="T22" fmla="*/ 700 w 2897"/>
                <a:gd name="T23" fmla="*/ 1487 h 2334"/>
                <a:gd name="T24" fmla="*/ 764 w 2897"/>
                <a:gd name="T25" fmla="*/ 1543 h 2334"/>
                <a:gd name="T26" fmla="*/ 753 w 2897"/>
                <a:gd name="T27" fmla="*/ 1621 h 2334"/>
                <a:gd name="T28" fmla="*/ 791 w 2897"/>
                <a:gd name="T29" fmla="*/ 1653 h 2334"/>
                <a:gd name="T30" fmla="*/ 871 w 2897"/>
                <a:gd name="T31" fmla="*/ 1706 h 2334"/>
                <a:gd name="T32" fmla="*/ 981 w 2897"/>
                <a:gd name="T33" fmla="*/ 1779 h 2334"/>
                <a:gd name="T34" fmla="*/ 1022 w 2897"/>
                <a:gd name="T35" fmla="*/ 1866 h 2334"/>
                <a:gd name="T36" fmla="*/ 1124 w 2897"/>
                <a:gd name="T37" fmla="*/ 1909 h 2334"/>
                <a:gd name="T38" fmla="*/ 1203 w 2897"/>
                <a:gd name="T39" fmla="*/ 1934 h 2334"/>
                <a:gd name="T40" fmla="*/ 1281 w 2897"/>
                <a:gd name="T41" fmla="*/ 1907 h 2334"/>
                <a:gd name="T42" fmla="*/ 1378 w 2897"/>
                <a:gd name="T43" fmla="*/ 1890 h 2334"/>
                <a:gd name="T44" fmla="*/ 1485 w 2897"/>
                <a:gd name="T45" fmla="*/ 1929 h 2334"/>
                <a:gd name="T46" fmla="*/ 1556 w 2897"/>
                <a:gd name="T47" fmla="*/ 1933 h 2334"/>
                <a:gd name="T48" fmla="*/ 1643 w 2897"/>
                <a:gd name="T49" fmla="*/ 2024 h 2334"/>
                <a:gd name="T50" fmla="*/ 1852 w 2897"/>
                <a:gd name="T51" fmla="*/ 2089 h 2334"/>
                <a:gd name="T52" fmla="*/ 1984 w 2897"/>
                <a:gd name="T53" fmla="*/ 2140 h 2334"/>
                <a:gd name="T54" fmla="*/ 2078 w 2897"/>
                <a:gd name="T55" fmla="*/ 2254 h 2334"/>
                <a:gd name="T56" fmla="*/ 2118 w 2897"/>
                <a:gd name="T57" fmla="*/ 2314 h 2334"/>
                <a:gd name="T58" fmla="*/ 2186 w 2897"/>
                <a:gd name="T59" fmla="*/ 2290 h 2334"/>
                <a:gd name="T60" fmla="*/ 2294 w 2897"/>
                <a:gd name="T61" fmla="*/ 2311 h 2334"/>
                <a:gd name="T62" fmla="*/ 2433 w 2897"/>
                <a:gd name="T63" fmla="*/ 2319 h 2334"/>
                <a:gd name="T64" fmla="*/ 2513 w 2897"/>
                <a:gd name="T65" fmla="*/ 2319 h 2334"/>
                <a:gd name="T66" fmla="*/ 2658 w 2897"/>
                <a:gd name="T67" fmla="*/ 2139 h 2334"/>
                <a:gd name="T68" fmla="*/ 2784 w 2897"/>
                <a:gd name="T69" fmla="*/ 1999 h 2334"/>
                <a:gd name="T70" fmla="*/ 2829 w 2897"/>
                <a:gd name="T71" fmla="*/ 1851 h 2334"/>
                <a:gd name="T72" fmla="*/ 2896 w 2897"/>
                <a:gd name="T73" fmla="*/ 1720 h 2334"/>
                <a:gd name="T74" fmla="*/ 2886 w 2897"/>
                <a:gd name="T75" fmla="*/ 1650 h 2334"/>
                <a:gd name="T76" fmla="*/ 2835 w 2897"/>
                <a:gd name="T77" fmla="*/ 1565 h 2334"/>
                <a:gd name="T78" fmla="*/ 2885 w 2897"/>
                <a:gd name="T79" fmla="*/ 1469 h 2334"/>
                <a:gd name="T80" fmla="*/ 2878 w 2897"/>
                <a:gd name="T81" fmla="*/ 1379 h 2334"/>
                <a:gd name="T82" fmla="*/ 2774 w 2897"/>
                <a:gd name="T83" fmla="*/ 1306 h 2334"/>
                <a:gd name="T84" fmla="*/ 2638 w 2897"/>
                <a:gd name="T85" fmla="*/ 1260 h 2334"/>
                <a:gd name="T86" fmla="*/ 2508 w 2897"/>
                <a:gd name="T87" fmla="*/ 1247 h 2334"/>
                <a:gd name="T88" fmla="*/ 2423 w 2897"/>
                <a:gd name="T89" fmla="*/ 1181 h 2334"/>
                <a:gd name="T90" fmla="*/ 2297 w 2897"/>
                <a:gd name="T91" fmla="*/ 892 h 2334"/>
                <a:gd name="T92" fmla="*/ 2275 w 2897"/>
                <a:gd name="T93" fmla="*/ 692 h 2334"/>
                <a:gd name="T94" fmla="*/ 2242 w 2897"/>
                <a:gd name="T95" fmla="*/ 442 h 2334"/>
                <a:gd name="T96" fmla="*/ 2104 w 2897"/>
                <a:gd name="T97" fmla="*/ 322 h 2334"/>
                <a:gd name="T98" fmla="*/ 1361 w 2897"/>
                <a:gd name="T99" fmla="*/ 9 h 2334"/>
                <a:gd name="T100" fmla="*/ 1271 w 2897"/>
                <a:gd name="T101" fmla="*/ 112 h 2334"/>
                <a:gd name="T102" fmla="*/ 1176 w 2897"/>
                <a:gd name="T103" fmla="*/ 134 h 2334"/>
                <a:gd name="T104" fmla="*/ 1125 w 2897"/>
                <a:gd name="T105" fmla="*/ 217 h 2334"/>
                <a:gd name="T106" fmla="*/ 1122 w 2897"/>
                <a:gd name="T107" fmla="*/ 310 h 2334"/>
                <a:gd name="T108" fmla="*/ 1039 w 2897"/>
                <a:gd name="T109" fmla="*/ 378 h 2334"/>
                <a:gd name="T110" fmla="*/ 852 w 2897"/>
                <a:gd name="T111" fmla="*/ 454 h 2334"/>
                <a:gd name="T112" fmla="*/ 778 w 2897"/>
                <a:gd name="T113" fmla="*/ 490 h 2334"/>
                <a:gd name="T114" fmla="*/ 690 w 2897"/>
                <a:gd name="T115" fmla="*/ 552 h 2334"/>
                <a:gd name="T116" fmla="*/ 582 w 2897"/>
                <a:gd name="T117" fmla="*/ 566 h 2334"/>
                <a:gd name="T118" fmla="*/ 463 w 2897"/>
                <a:gd name="T119" fmla="*/ 530 h 2334"/>
                <a:gd name="T120" fmla="*/ 374 w 2897"/>
                <a:gd name="T121" fmla="*/ 543 h 2334"/>
                <a:gd name="T122" fmla="*/ 224 w 2897"/>
                <a:gd name="T123" fmla="*/ 641 h 2334"/>
                <a:gd name="T124" fmla="*/ 52 w 2897"/>
                <a:gd name="T125" fmla="*/ 705 h 2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7" h="2334">
                  <a:moveTo>
                    <a:pt x="0" y="716"/>
                  </a:moveTo>
                  <a:lnTo>
                    <a:pt x="15" y="729"/>
                  </a:lnTo>
                  <a:lnTo>
                    <a:pt x="30" y="739"/>
                  </a:lnTo>
                  <a:lnTo>
                    <a:pt x="45" y="747"/>
                  </a:lnTo>
                  <a:lnTo>
                    <a:pt x="62" y="755"/>
                  </a:lnTo>
                  <a:lnTo>
                    <a:pt x="77" y="762"/>
                  </a:lnTo>
                  <a:lnTo>
                    <a:pt x="93" y="770"/>
                  </a:lnTo>
                  <a:lnTo>
                    <a:pt x="108" y="780"/>
                  </a:lnTo>
                  <a:lnTo>
                    <a:pt x="124" y="790"/>
                  </a:lnTo>
                  <a:lnTo>
                    <a:pt x="124" y="790"/>
                  </a:lnTo>
                  <a:lnTo>
                    <a:pt x="137" y="787"/>
                  </a:lnTo>
                  <a:lnTo>
                    <a:pt x="150" y="785"/>
                  </a:lnTo>
                  <a:lnTo>
                    <a:pt x="163" y="783"/>
                  </a:lnTo>
                  <a:lnTo>
                    <a:pt x="176" y="782"/>
                  </a:lnTo>
                  <a:lnTo>
                    <a:pt x="190" y="781"/>
                  </a:lnTo>
                  <a:lnTo>
                    <a:pt x="203" y="778"/>
                  </a:lnTo>
                  <a:lnTo>
                    <a:pt x="217" y="773"/>
                  </a:lnTo>
                  <a:lnTo>
                    <a:pt x="231" y="768"/>
                  </a:lnTo>
                  <a:lnTo>
                    <a:pt x="247" y="760"/>
                  </a:lnTo>
                  <a:lnTo>
                    <a:pt x="264" y="755"/>
                  </a:lnTo>
                  <a:lnTo>
                    <a:pt x="278" y="751"/>
                  </a:lnTo>
                  <a:lnTo>
                    <a:pt x="293" y="747"/>
                  </a:lnTo>
                  <a:lnTo>
                    <a:pt x="323" y="744"/>
                  </a:lnTo>
                  <a:lnTo>
                    <a:pt x="358" y="740"/>
                  </a:lnTo>
                  <a:lnTo>
                    <a:pt x="375" y="735"/>
                  </a:lnTo>
                  <a:lnTo>
                    <a:pt x="391" y="729"/>
                  </a:lnTo>
                  <a:lnTo>
                    <a:pt x="399" y="727"/>
                  </a:lnTo>
                  <a:lnTo>
                    <a:pt x="407" y="725"/>
                  </a:lnTo>
                  <a:lnTo>
                    <a:pt x="416" y="724"/>
                  </a:lnTo>
                  <a:lnTo>
                    <a:pt x="424" y="722"/>
                  </a:lnTo>
                  <a:lnTo>
                    <a:pt x="430" y="724"/>
                  </a:lnTo>
                  <a:lnTo>
                    <a:pt x="435" y="726"/>
                  </a:lnTo>
                  <a:lnTo>
                    <a:pt x="439" y="730"/>
                  </a:lnTo>
                  <a:lnTo>
                    <a:pt x="442" y="733"/>
                  </a:lnTo>
                  <a:lnTo>
                    <a:pt x="445" y="738"/>
                  </a:lnTo>
                  <a:lnTo>
                    <a:pt x="449" y="742"/>
                  </a:lnTo>
                  <a:lnTo>
                    <a:pt x="454" y="744"/>
                  </a:lnTo>
                  <a:lnTo>
                    <a:pt x="459" y="745"/>
                  </a:lnTo>
                  <a:lnTo>
                    <a:pt x="478" y="745"/>
                  </a:lnTo>
                  <a:lnTo>
                    <a:pt x="495" y="745"/>
                  </a:lnTo>
                  <a:lnTo>
                    <a:pt x="512" y="745"/>
                  </a:lnTo>
                  <a:lnTo>
                    <a:pt x="530" y="745"/>
                  </a:lnTo>
                  <a:lnTo>
                    <a:pt x="544" y="745"/>
                  </a:lnTo>
                  <a:lnTo>
                    <a:pt x="558" y="744"/>
                  </a:lnTo>
                  <a:lnTo>
                    <a:pt x="571" y="742"/>
                  </a:lnTo>
                  <a:lnTo>
                    <a:pt x="584" y="740"/>
                  </a:lnTo>
                  <a:lnTo>
                    <a:pt x="597" y="735"/>
                  </a:lnTo>
                  <a:lnTo>
                    <a:pt x="609" y="731"/>
                  </a:lnTo>
                  <a:lnTo>
                    <a:pt x="621" y="725"/>
                  </a:lnTo>
                  <a:lnTo>
                    <a:pt x="634" y="718"/>
                  </a:lnTo>
                  <a:lnTo>
                    <a:pt x="634" y="727"/>
                  </a:lnTo>
                  <a:lnTo>
                    <a:pt x="634" y="736"/>
                  </a:lnTo>
                  <a:lnTo>
                    <a:pt x="634" y="747"/>
                  </a:lnTo>
                  <a:lnTo>
                    <a:pt x="634" y="758"/>
                  </a:lnTo>
                  <a:lnTo>
                    <a:pt x="635" y="770"/>
                  </a:lnTo>
                  <a:lnTo>
                    <a:pt x="637" y="780"/>
                  </a:lnTo>
                  <a:lnTo>
                    <a:pt x="641" y="789"/>
                  </a:lnTo>
                  <a:lnTo>
                    <a:pt x="644" y="798"/>
                  </a:lnTo>
                  <a:lnTo>
                    <a:pt x="648" y="807"/>
                  </a:lnTo>
                  <a:lnTo>
                    <a:pt x="651" y="816"/>
                  </a:lnTo>
                  <a:lnTo>
                    <a:pt x="653" y="827"/>
                  </a:lnTo>
                  <a:lnTo>
                    <a:pt x="655" y="838"/>
                  </a:lnTo>
                  <a:lnTo>
                    <a:pt x="655" y="852"/>
                  </a:lnTo>
                  <a:lnTo>
                    <a:pt x="655" y="865"/>
                  </a:lnTo>
                  <a:lnTo>
                    <a:pt x="655" y="878"/>
                  </a:lnTo>
                  <a:lnTo>
                    <a:pt x="655" y="893"/>
                  </a:lnTo>
                  <a:lnTo>
                    <a:pt x="653" y="903"/>
                  </a:lnTo>
                  <a:lnTo>
                    <a:pt x="651" y="911"/>
                  </a:lnTo>
                  <a:lnTo>
                    <a:pt x="648" y="919"/>
                  </a:lnTo>
                  <a:lnTo>
                    <a:pt x="645" y="927"/>
                  </a:lnTo>
                  <a:lnTo>
                    <a:pt x="641" y="934"/>
                  </a:lnTo>
                  <a:lnTo>
                    <a:pt x="637" y="943"/>
                  </a:lnTo>
                  <a:lnTo>
                    <a:pt x="634" y="951"/>
                  </a:lnTo>
                  <a:lnTo>
                    <a:pt x="632" y="961"/>
                  </a:lnTo>
                  <a:lnTo>
                    <a:pt x="632" y="981"/>
                  </a:lnTo>
                  <a:lnTo>
                    <a:pt x="633" y="1001"/>
                  </a:lnTo>
                  <a:lnTo>
                    <a:pt x="632" y="1011"/>
                  </a:lnTo>
                  <a:lnTo>
                    <a:pt x="630" y="1019"/>
                  </a:lnTo>
                  <a:lnTo>
                    <a:pt x="628" y="1024"/>
                  </a:lnTo>
                  <a:lnTo>
                    <a:pt x="625" y="1028"/>
                  </a:lnTo>
                  <a:lnTo>
                    <a:pt x="623" y="1032"/>
                  </a:lnTo>
                  <a:lnTo>
                    <a:pt x="619" y="1037"/>
                  </a:lnTo>
                  <a:lnTo>
                    <a:pt x="620" y="1049"/>
                  </a:lnTo>
                  <a:lnTo>
                    <a:pt x="622" y="1060"/>
                  </a:lnTo>
                  <a:lnTo>
                    <a:pt x="626" y="1072"/>
                  </a:lnTo>
                  <a:lnTo>
                    <a:pt x="631" y="1083"/>
                  </a:lnTo>
                  <a:lnTo>
                    <a:pt x="643" y="1104"/>
                  </a:lnTo>
                  <a:lnTo>
                    <a:pt x="657" y="1123"/>
                  </a:lnTo>
                  <a:lnTo>
                    <a:pt x="671" y="1143"/>
                  </a:lnTo>
                  <a:lnTo>
                    <a:pt x="684" y="1163"/>
                  </a:lnTo>
                  <a:lnTo>
                    <a:pt x="689" y="1174"/>
                  </a:lnTo>
                  <a:lnTo>
                    <a:pt x="693" y="1186"/>
                  </a:lnTo>
                  <a:lnTo>
                    <a:pt x="698" y="1198"/>
                  </a:lnTo>
                  <a:lnTo>
                    <a:pt x="700" y="1211"/>
                  </a:lnTo>
                  <a:lnTo>
                    <a:pt x="697" y="1232"/>
                  </a:lnTo>
                  <a:lnTo>
                    <a:pt x="693" y="1255"/>
                  </a:lnTo>
                  <a:lnTo>
                    <a:pt x="691" y="1278"/>
                  </a:lnTo>
                  <a:lnTo>
                    <a:pt x="688" y="1300"/>
                  </a:lnTo>
                  <a:lnTo>
                    <a:pt x="686" y="1322"/>
                  </a:lnTo>
                  <a:lnTo>
                    <a:pt x="683" y="1345"/>
                  </a:lnTo>
                  <a:lnTo>
                    <a:pt x="679" y="1367"/>
                  </a:lnTo>
                  <a:lnTo>
                    <a:pt x="677" y="1390"/>
                  </a:lnTo>
                  <a:lnTo>
                    <a:pt x="677" y="1408"/>
                  </a:lnTo>
                  <a:lnTo>
                    <a:pt x="679" y="1426"/>
                  </a:lnTo>
                  <a:lnTo>
                    <a:pt x="682" y="1442"/>
                  </a:lnTo>
                  <a:lnTo>
                    <a:pt x="686" y="1458"/>
                  </a:lnTo>
                  <a:lnTo>
                    <a:pt x="691" y="1473"/>
                  </a:lnTo>
                  <a:lnTo>
                    <a:pt x="700" y="1487"/>
                  </a:lnTo>
                  <a:lnTo>
                    <a:pt x="704" y="1494"/>
                  </a:lnTo>
                  <a:lnTo>
                    <a:pt x="710" y="1500"/>
                  </a:lnTo>
                  <a:lnTo>
                    <a:pt x="715" y="1507"/>
                  </a:lnTo>
                  <a:lnTo>
                    <a:pt x="722" y="1513"/>
                  </a:lnTo>
                  <a:lnTo>
                    <a:pt x="736" y="1522"/>
                  </a:lnTo>
                  <a:lnTo>
                    <a:pt x="751" y="1530"/>
                  </a:lnTo>
                  <a:lnTo>
                    <a:pt x="757" y="1535"/>
                  </a:lnTo>
                  <a:lnTo>
                    <a:pt x="763" y="1540"/>
                  </a:lnTo>
                  <a:lnTo>
                    <a:pt x="764" y="1543"/>
                  </a:lnTo>
                  <a:lnTo>
                    <a:pt x="766" y="1546"/>
                  </a:lnTo>
                  <a:lnTo>
                    <a:pt x="767" y="1551"/>
                  </a:lnTo>
                  <a:lnTo>
                    <a:pt x="767" y="1555"/>
                  </a:lnTo>
                  <a:lnTo>
                    <a:pt x="766" y="1568"/>
                  </a:lnTo>
                  <a:lnTo>
                    <a:pt x="765" y="1579"/>
                  </a:lnTo>
                  <a:lnTo>
                    <a:pt x="761" y="1590"/>
                  </a:lnTo>
                  <a:lnTo>
                    <a:pt x="758" y="1600"/>
                  </a:lnTo>
                  <a:lnTo>
                    <a:pt x="755" y="1610"/>
                  </a:lnTo>
                  <a:lnTo>
                    <a:pt x="753" y="1621"/>
                  </a:lnTo>
                  <a:lnTo>
                    <a:pt x="751" y="1633"/>
                  </a:lnTo>
                  <a:lnTo>
                    <a:pt x="750" y="1646"/>
                  </a:lnTo>
                  <a:lnTo>
                    <a:pt x="751" y="1654"/>
                  </a:lnTo>
                  <a:lnTo>
                    <a:pt x="751" y="1663"/>
                  </a:lnTo>
                  <a:lnTo>
                    <a:pt x="758" y="1660"/>
                  </a:lnTo>
                  <a:lnTo>
                    <a:pt x="767" y="1657"/>
                  </a:lnTo>
                  <a:lnTo>
                    <a:pt x="776" y="1654"/>
                  </a:lnTo>
                  <a:lnTo>
                    <a:pt x="784" y="1653"/>
                  </a:lnTo>
                  <a:lnTo>
                    <a:pt x="791" y="1653"/>
                  </a:lnTo>
                  <a:lnTo>
                    <a:pt x="797" y="1654"/>
                  </a:lnTo>
                  <a:lnTo>
                    <a:pt x="804" y="1657"/>
                  </a:lnTo>
                  <a:lnTo>
                    <a:pt x="809" y="1659"/>
                  </a:lnTo>
                  <a:lnTo>
                    <a:pt x="820" y="1665"/>
                  </a:lnTo>
                  <a:lnTo>
                    <a:pt x="828" y="1673"/>
                  </a:lnTo>
                  <a:lnTo>
                    <a:pt x="838" y="1681"/>
                  </a:lnTo>
                  <a:lnTo>
                    <a:pt x="848" y="1690"/>
                  </a:lnTo>
                  <a:lnTo>
                    <a:pt x="859" y="1699"/>
                  </a:lnTo>
                  <a:lnTo>
                    <a:pt x="871" y="1706"/>
                  </a:lnTo>
                  <a:lnTo>
                    <a:pt x="895" y="1721"/>
                  </a:lnTo>
                  <a:lnTo>
                    <a:pt x="917" y="1737"/>
                  </a:lnTo>
                  <a:lnTo>
                    <a:pt x="927" y="1743"/>
                  </a:lnTo>
                  <a:lnTo>
                    <a:pt x="938" y="1751"/>
                  </a:lnTo>
                  <a:lnTo>
                    <a:pt x="949" y="1758"/>
                  </a:lnTo>
                  <a:lnTo>
                    <a:pt x="963" y="1765"/>
                  </a:lnTo>
                  <a:lnTo>
                    <a:pt x="970" y="1769"/>
                  </a:lnTo>
                  <a:lnTo>
                    <a:pt x="976" y="1773"/>
                  </a:lnTo>
                  <a:lnTo>
                    <a:pt x="981" y="1779"/>
                  </a:lnTo>
                  <a:lnTo>
                    <a:pt x="986" y="1784"/>
                  </a:lnTo>
                  <a:lnTo>
                    <a:pt x="993" y="1796"/>
                  </a:lnTo>
                  <a:lnTo>
                    <a:pt x="998" y="1809"/>
                  </a:lnTo>
                  <a:lnTo>
                    <a:pt x="1002" y="1823"/>
                  </a:lnTo>
                  <a:lnTo>
                    <a:pt x="1007" y="1838"/>
                  </a:lnTo>
                  <a:lnTo>
                    <a:pt x="1010" y="1845"/>
                  </a:lnTo>
                  <a:lnTo>
                    <a:pt x="1013" y="1852"/>
                  </a:lnTo>
                  <a:lnTo>
                    <a:pt x="1017" y="1859"/>
                  </a:lnTo>
                  <a:lnTo>
                    <a:pt x="1022" y="1866"/>
                  </a:lnTo>
                  <a:lnTo>
                    <a:pt x="1026" y="1872"/>
                  </a:lnTo>
                  <a:lnTo>
                    <a:pt x="1030" y="1876"/>
                  </a:lnTo>
                  <a:lnTo>
                    <a:pt x="1036" y="1880"/>
                  </a:lnTo>
                  <a:lnTo>
                    <a:pt x="1041" y="1883"/>
                  </a:lnTo>
                  <a:lnTo>
                    <a:pt x="1051" y="1890"/>
                  </a:lnTo>
                  <a:lnTo>
                    <a:pt x="1063" y="1893"/>
                  </a:lnTo>
                  <a:lnTo>
                    <a:pt x="1088" y="1899"/>
                  </a:lnTo>
                  <a:lnTo>
                    <a:pt x="1115" y="1905"/>
                  </a:lnTo>
                  <a:lnTo>
                    <a:pt x="1124" y="1909"/>
                  </a:lnTo>
                  <a:lnTo>
                    <a:pt x="1134" y="1914"/>
                  </a:lnTo>
                  <a:lnTo>
                    <a:pt x="1143" y="1919"/>
                  </a:lnTo>
                  <a:lnTo>
                    <a:pt x="1150" y="1923"/>
                  </a:lnTo>
                  <a:lnTo>
                    <a:pt x="1158" y="1929"/>
                  </a:lnTo>
                  <a:lnTo>
                    <a:pt x="1167" y="1932"/>
                  </a:lnTo>
                  <a:lnTo>
                    <a:pt x="1176" y="1935"/>
                  </a:lnTo>
                  <a:lnTo>
                    <a:pt x="1187" y="1936"/>
                  </a:lnTo>
                  <a:lnTo>
                    <a:pt x="1196" y="1935"/>
                  </a:lnTo>
                  <a:lnTo>
                    <a:pt x="1203" y="1934"/>
                  </a:lnTo>
                  <a:lnTo>
                    <a:pt x="1211" y="1932"/>
                  </a:lnTo>
                  <a:lnTo>
                    <a:pt x="1217" y="1929"/>
                  </a:lnTo>
                  <a:lnTo>
                    <a:pt x="1231" y="1921"/>
                  </a:lnTo>
                  <a:lnTo>
                    <a:pt x="1246" y="1914"/>
                  </a:lnTo>
                  <a:lnTo>
                    <a:pt x="1252" y="1910"/>
                  </a:lnTo>
                  <a:lnTo>
                    <a:pt x="1258" y="1909"/>
                  </a:lnTo>
                  <a:lnTo>
                    <a:pt x="1264" y="1908"/>
                  </a:lnTo>
                  <a:lnTo>
                    <a:pt x="1269" y="1907"/>
                  </a:lnTo>
                  <a:lnTo>
                    <a:pt x="1281" y="1907"/>
                  </a:lnTo>
                  <a:lnTo>
                    <a:pt x="1294" y="1905"/>
                  </a:lnTo>
                  <a:lnTo>
                    <a:pt x="1311" y="1901"/>
                  </a:lnTo>
                  <a:lnTo>
                    <a:pt x="1325" y="1895"/>
                  </a:lnTo>
                  <a:lnTo>
                    <a:pt x="1333" y="1892"/>
                  </a:lnTo>
                  <a:lnTo>
                    <a:pt x="1340" y="1890"/>
                  </a:lnTo>
                  <a:lnTo>
                    <a:pt x="1349" y="1889"/>
                  </a:lnTo>
                  <a:lnTo>
                    <a:pt x="1359" y="1889"/>
                  </a:lnTo>
                  <a:lnTo>
                    <a:pt x="1368" y="1889"/>
                  </a:lnTo>
                  <a:lnTo>
                    <a:pt x="1378" y="1890"/>
                  </a:lnTo>
                  <a:lnTo>
                    <a:pt x="1387" y="1891"/>
                  </a:lnTo>
                  <a:lnTo>
                    <a:pt x="1395" y="1894"/>
                  </a:lnTo>
                  <a:lnTo>
                    <a:pt x="1412" y="1900"/>
                  </a:lnTo>
                  <a:lnTo>
                    <a:pt x="1427" y="1906"/>
                  </a:lnTo>
                  <a:lnTo>
                    <a:pt x="1442" y="1914"/>
                  </a:lnTo>
                  <a:lnTo>
                    <a:pt x="1458" y="1920"/>
                  </a:lnTo>
                  <a:lnTo>
                    <a:pt x="1467" y="1923"/>
                  </a:lnTo>
                  <a:lnTo>
                    <a:pt x="1475" y="1927"/>
                  </a:lnTo>
                  <a:lnTo>
                    <a:pt x="1485" y="1929"/>
                  </a:lnTo>
                  <a:lnTo>
                    <a:pt x="1496" y="1930"/>
                  </a:lnTo>
                  <a:lnTo>
                    <a:pt x="1508" y="1930"/>
                  </a:lnTo>
                  <a:lnTo>
                    <a:pt x="1518" y="1929"/>
                  </a:lnTo>
                  <a:lnTo>
                    <a:pt x="1528" y="1928"/>
                  </a:lnTo>
                  <a:lnTo>
                    <a:pt x="1540" y="1928"/>
                  </a:lnTo>
                  <a:lnTo>
                    <a:pt x="1545" y="1928"/>
                  </a:lnTo>
                  <a:lnTo>
                    <a:pt x="1549" y="1929"/>
                  </a:lnTo>
                  <a:lnTo>
                    <a:pt x="1553" y="1931"/>
                  </a:lnTo>
                  <a:lnTo>
                    <a:pt x="1556" y="1933"/>
                  </a:lnTo>
                  <a:lnTo>
                    <a:pt x="1563" y="1939"/>
                  </a:lnTo>
                  <a:lnTo>
                    <a:pt x="1568" y="1946"/>
                  </a:lnTo>
                  <a:lnTo>
                    <a:pt x="1573" y="1954"/>
                  </a:lnTo>
                  <a:lnTo>
                    <a:pt x="1578" y="1962"/>
                  </a:lnTo>
                  <a:lnTo>
                    <a:pt x="1584" y="1971"/>
                  </a:lnTo>
                  <a:lnTo>
                    <a:pt x="1591" y="1978"/>
                  </a:lnTo>
                  <a:lnTo>
                    <a:pt x="1609" y="1995"/>
                  </a:lnTo>
                  <a:lnTo>
                    <a:pt x="1627" y="2010"/>
                  </a:lnTo>
                  <a:lnTo>
                    <a:pt x="1643" y="2024"/>
                  </a:lnTo>
                  <a:lnTo>
                    <a:pt x="1660" y="2036"/>
                  </a:lnTo>
                  <a:lnTo>
                    <a:pt x="1677" y="2048"/>
                  </a:lnTo>
                  <a:lnTo>
                    <a:pt x="1695" y="2059"/>
                  </a:lnTo>
                  <a:lnTo>
                    <a:pt x="1715" y="2071"/>
                  </a:lnTo>
                  <a:lnTo>
                    <a:pt x="1737" y="2084"/>
                  </a:lnTo>
                  <a:lnTo>
                    <a:pt x="1809" y="2068"/>
                  </a:lnTo>
                  <a:lnTo>
                    <a:pt x="1825" y="2074"/>
                  </a:lnTo>
                  <a:lnTo>
                    <a:pt x="1839" y="2081"/>
                  </a:lnTo>
                  <a:lnTo>
                    <a:pt x="1852" y="2089"/>
                  </a:lnTo>
                  <a:lnTo>
                    <a:pt x="1865" y="2096"/>
                  </a:lnTo>
                  <a:lnTo>
                    <a:pt x="1877" y="2103"/>
                  </a:lnTo>
                  <a:lnTo>
                    <a:pt x="1890" y="2110"/>
                  </a:lnTo>
                  <a:lnTo>
                    <a:pt x="1905" y="2116"/>
                  </a:lnTo>
                  <a:lnTo>
                    <a:pt x="1921" y="2121"/>
                  </a:lnTo>
                  <a:lnTo>
                    <a:pt x="1945" y="2126"/>
                  </a:lnTo>
                  <a:lnTo>
                    <a:pt x="1966" y="2132"/>
                  </a:lnTo>
                  <a:lnTo>
                    <a:pt x="1975" y="2136"/>
                  </a:lnTo>
                  <a:lnTo>
                    <a:pt x="1984" y="2140"/>
                  </a:lnTo>
                  <a:lnTo>
                    <a:pt x="1994" y="2147"/>
                  </a:lnTo>
                  <a:lnTo>
                    <a:pt x="2002" y="2155"/>
                  </a:lnTo>
                  <a:lnTo>
                    <a:pt x="2023" y="2172"/>
                  </a:lnTo>
                  <a:lnTo>
                    <a:pt x="2041" y="2186"/>
                  </a:lnTo>
                  <a:lnTo>
                    <a:pt x="2050" y="2194"/>
                  </a:lnTo>
                  <a:lnTo>
                    <a:pt x="2058" y="2203"/>
                  </a:lnTo>
                  <a:lnTo>
                    <a:pt x="2064" y="2213"/>
                  </a:lnTo>
                  <a:lnTo>
                    <a:pt x="2071" y="2225"/>
                  </a:lnTo>
                  <a:lnTo>
                    <a:pt x="2078" y="2254"/>
                  </a:lnTo>
                  <a:lnTo>
                    <a:pt x="2085" y="2283"/>
                  </a:lnTo>
                  <a:lnTo>
                    <a:pt x="2087" y="2290"/>
                  </a:lnTo>
                  <a:lnTo>
                    <a:pt x="2090" y="2295"/>
                  </a:lnTo>
                  <a:lnTo>
                    <a:pt x="2092" y="2300"/>
                  </a:lnTo>
                  <a:lnTo>
                    <a:pt x="2096" y="2306"/>
                  </a:lnTo>
                  <a:lnTo>
                    <a:pt x="2100" y="2309"/>
                  </a:lnTo>
                  <a:lnTo>
                    <a:pt x="2105" y="2312"/>
                  </a:lnTo>
                  <a:lnTo>
                    <a:pt x="2110" y="2313"/>
                  </a:lnTo>
                  <a:lnTo>
                    <a:pt x="2118" y="2314"/>
                  </a:lnTo>
                  <a:lnTo>
                    <a:pt x="2126" y="2313"/>
                  </a:lnTo>
                  <a:lnTo>
                    <a:pt x="2133" y="2310"/>
                  </a:lnTo>
                  <a:lnTo>
                    <a:pt x="2140" y="2307"/>
                  </a:lnTo>
                  <a:lnTo>
                    <a:pt x="2146" y="2301"/>
                  </a:lnTo>
                  <a:lnTo>
                    <a:pt x="2152" y="2297"/>
                  </a:lnTo>
                  <a:lnTo>
                    <a:pt x="2158" y="2293"/>
                  </a:lnTo>
                  <a:lnTo>
                    <a:pt x="2166" y="2291"/>
                  </a:lnTo>
                  <a:lnTo>
                    <a:pt x="2174" y="2290"/>
                  </a:lnTo>
                  <a:lnTo>
                    <a:pt x="2186" y="2290"/>
                  </a:lnTo>
                  <a:lnTo>
                    <a:pt x="2196" y="2292"/>
                  </a:lnTo>
                  <a:lnTo>
                    <a:pt x="2207" y="2295"/>
                  </a:lnTo>
                  <a:lnTo>
                    <a:pt x="2218" y="2297"/>
                  </a:lnTo>
                  <a:lnTo>
                    <a:pt x="2229" y="2298"/>
                  </a:lnTo>
                  <a:lnTo>
                    <a:pt x="2240" y="2298"/>
                  </a:lnTo>
                  <a:lnTo>
                    <a:pt x="2250" y="2300"/>
                  </a:lnTo>
                  <a:lnTo>
                    <a:pt x="2260" y="2301"/>
                  </a:lnTo>
                  <a:lnTo>
                    <a:pt x="2277" y="2307"/>
                  </a:lnTo>
                  <a:lnTo>
                    <a:pt x="2294" y="2311"/>
                  </a:lnTo>
                  <a:lnTo>
                    <a:pt x="2311" y="2317"/>
                  </a:lnTo>
                  <a:lnTo>
                    <a:pt x="2330" y="2321"/>
                  </a:lnTo>
                  <a:lnTo>
                    <a:pt x="2339" y="2323"/>
                  </a:lnTo>
                  <a:lnTo>
                    <a:pt x="2349" y="2324"/>
                  </a:lnTo>
                  <a:lnTo>
                    <a:pt x="2359" y="2325"/>
                  </a:lnTo>
                  <a:lnTo>
                    <a:pt x="2370" y="2325"/>
                  </a:lnTo>
                  <a:lnTo>
                    <a:pt x="2393" y="2324"/>
                  </a:lnTo>
                  <a:lnTo>
                    <a:pt x="2414" y="2321"/>
                  </a:lnTo>
                  <a:lnTo>
                    <a:pt x="2433" y="2319"/>
                  </a:lnTo>
                  <a:lnTo>
                    <a:pt x="2457" y="2318"/>
                  </a:lnTo>
                  <a:lnTo>
                    <a:pt x="2465" y="2318"/>
                  </a:lnTo>
                  <a:lnTo>
                    <a:pt x="2471" y="2319"/>
                  </a:lnTo>
                  <a:lnTo>
                    <a:pt x="2478" y="2320"/>
                  </a:lnTo>
                  <a:lnTo>
                    <a:pt x="2484" y="2322"/>
                  </a:lnTo>
                  <a:lnTo>
                    <a:pt x="2496" y="2327"/>
                  </a:lnTo>
                  <a:lnTo>
                    <a:pt x="2507" y="2334"/>
                  </a:lnTo>
                  <a:lnTo>
                    <a:pt x="2507" y="2334"/>
                  </a:lnTo>
                  <a:lnTo>
                    <a:pt x="2513" y="2319"/>
                  </a:lnTo>
                  <a:lnTo>
                    <a:pt x="2520" y="2306"/>
                  </a:lnTo>
                  <a:lnTo>
                    <a:pt x="2527" y="2294"/>
                  </a:lnTo>
                  <a:lnTo>
                    <a:pt x="2536" y="2283"/>
                  </a:lnTo>
                  <a:lnTo>
                    <a:pt x="2554" y="2263"/>
                  </a:lnTo>
                  <a:lnTo>
                    <a:pt x="2575" y="2239"/>
                  </a:lnTo>
                  <a:lnTo>
                    <a:pt x="2598" y="2211"/>
                  </a:lnTo>
                  <a:lnTo>
                    <a:pt x="2618" y="2185"/>
                  </a:lnTo>
                  <a:lnTo>
                    <a:pt x="2639" y="2161"/>
                  </a:lnTo>
                  <a:lnTo>
                    <a:pt x="2658" y="2139"/>
                  </a:lnTo>
                  <a:lnTo>
                    <a:pt x="2679" y="2117"/>
                  </a:lnTo>
                  <a:lnTo>
                    <a:pt x="2700" y="2095"/>
                  </a:lnTo>
                  <a:lnTo>
                    <a:pt x="2723" y="2071"/>
                  </a:lnTo>
                  <a:lnTo>
                    <a:pt x="2749" y="2045"/>
                  </a:lnTo>
                  <a:lnTo>
                    <a:pt x="2757" y="2036"/>
                  </a:lnTo>
                  <a:lnTo>
                    <a:pt x="2765" y="2027"/>
                  </a:lnTo>
                  <a:lnTo>
                    <a:pt x="2773" y="2017"/>
                  </a:lnTo>
                  <a:lnTo>
                    <a:pt x="2778" y="2009"/>
                  </a:lnTo>
                  <a:lnTo>
                    <a:pt x="2784" y="1999"/>
                  </a:lnTo>
                  <a:lnTo>
                    <a:pt x="2789" y="1990"/>
                  </a:lnTo>
                  <a:lnTo>
                    <a:pt x="2794" y="1981"/>
                  </a:lnTo>
                  <a:lnTo>
                    <a:pt x="2798" y="1971"/>
                  </a:lnTo>
                  <a:lnTo>
                    <a:pt x="2805" y="1950"/>
                  </a:lnTo>
                  <a:lnTo>
                    <a:pt x="2810" y="1930"/>
                  </a:lnTo>
                  <a:lnTo>
                    <a:pt x="2816" y="1907"/>
                  </a:lnTo>
                  <a:lnTo>
                    <a:pt x="2821" y="1882"/>
                  </a:lnTo>
                  <a:lnTo>
                    <a:pt x="2824" y="1866"/>
                  </a:lnTo>
                  <a:lnTo>
                    <a:pt x="2829" y="1851"/>
                  </a:lnTo>
                  <a:lnTo>
                    <a:pt x="2834" y="1837"/>
                  </a:lnTo>
                  <a:lnTo>
                    <a:pt x="2838" y="1824"/>
                  </a:lnTo>
                  <a:lnTo>
                    <a:pt x="2851" y="1797"/>
                  </a:lnTo>
                  <a:lnTo>
                    <a:pt x="2867" y="1768"/>
                  </a:lnTo>
                  <a:lnTo>
                    <a:pt x="2875" y="1754"/>
                  </a:lnTo>
                  <a:lnTo>
                    <a:pt x="2886" y="1741"/>
                  </a:lnTo>
                  <a:lnTo>
                    <a:pt x="2890" y="1734"/>
                  </a:lnTo>
                  <a:lnTo>
                    <a:pt x="2894" y="1728"/>
                  </a:lnTo>
                  <a:lnTo>
                    <a:pt x="2896" y="1720"/>
                  </a:lnTo>
                  <a:lnTo>
                    <a:pt x="2897" y="1712"/>
                  </a:lnTo>
                  <a:lnTo>
                    <a:pt x="2897" y="1703"/>
                  </a:lnTo>
                  <a:lnTo>
                    <a:pt x="2896" y="1696"/>
                  </a:lnTo>
                  <a:lnTo>
                    <a:pt x="2894" y="1688"/>
                  </a:lnTo>
                  <a:lnTo>
                    <a:pt x="2891" y="1680"/>
                  </a:lnTo>
                  <a:lnTo>
                    <a:pt x="2889" y="1674"/>
                  </a:lnTo>
                  <a:lnTo>
                    <a:pt x="2887" y="1666"/>
                  </a:lnTo>
                  <a:lnTo>
                    <a:pt x="2886" y="1659"/>
                  </a:lnTo>
                  <a:lnTo>
                    <a:pt x="2886" y="1650"/>
                  </a:lnTo>
                  <a:lnTo>
                    <a:pt x="2878" y="1637"/>
                  </a:lnTo>
                  <a:lnTo>
                    <a:pt x="2870" y="1625"/>
                  </a:lnTo>
                  <a:lnTo>
                    <a:pt x="2862" y="1616"/>
                  </a:lnTo>
                  <a:lnTo>
                    <a:pt x="2854" y="1605"/>
                  </a:lnTo>
                  <a:lnTo>
                    <a:pt x="2846" y="1594"/>
                  </a:lnTo>
                  <a:lnTo>
                    <a:pt x="2841" y="1583"/>
                  </a:lnTo>
                  <a:lnTo>
                    <a:pt x="2838" y="1578"/>
                  </a:lnTo>
                  <a:lnTo>
                    <a:pt x="2836" y="1571"/>
                  </a:lnTo>
                  <a:lnTo>
                    <a:pt x="2835" y="1565"/>
                  </a:lnTo>
                  <a:lnTo>
                    <a:pt x="2835" y="1557"/>
                  </a:lnTo>
                  <a:lnTo>
                    <a:pt x="2836" y="1548"/>
                  </a:lnTo>
                  <a:lnTo>
                    <a:pt x="2837" y="1539"/>
                  </a:lnTo>
                  <a:lnTo>
                    <a:pt x="2841" y="1531"/>
                  </a:lnTo>
                  <a:lnTo>
                    <a:pt x="2845" y="1524"/>
                  </a:lnTo>
                  <a:lnTo>
                    <a:pt x="2854" y="1510"/>
                  </a:lnTo>
                  <a:lnTo>
                    <a:pt x="2864" y="1496"/>
                  </a:lnTo>
                  <a:lnTo>
                    <a:pt x="2875" y="1483"/>
                  </a:lnTo>
                  <a:lnTo>
                    <a:pt x="2885" y="1469"/>
                  </a:lnTo>
                  <a:lnTo>
                    <a:pt x="2889" y="1461"/>
                  </a:lnTo>
                  <a:lnTo>
                    <a:pt x="2891" y="1453"/>
                  </a:lnTo>
                  <a:lnTo>
                    <a:pt x="2894" y="1444"/>
                  </a:lnTo>
                  <a:lnTo>
                    <a:pt x="2895" y="1434"/>
                  </a:lnTo>
                  <a:lnTo>
                    <a:pt x="2894" y="1422"/>
                  </a:lnTo>
                  <a:lnTo>
                    <a:pt x="2891" y="1410"/>
                  </a:lnTo>
                  <a:lnTo>
                    <a:pt x="2888" y="1400"/>
                  </a:lnTo>
                  <a:lnTo>
                    <a:pt x="2884" y="1389"/>
                  </a:lnTo>
                  <a:lnTo>
                    <a:pt x="2878" y="1379"/>
                  </a:lnTo>
                  <a:lnTo>
                    <a:pt x="2873" y="1370"/>
                  </a:lnTo>
                  <a:lnTo>
                    <a:pt x="2865" y="1362"/>
                  </a:lnTo>
                  <a:lnTo>
                    <a:pt x="2858" y="1354"/>
                  </a:lnTo>
                  <a:lnTo>
                    <a:pt x="2849" y="1347"/>
                  </a:lnTo>
                  <a:lnTo>
                    <a:pt x="2840" y="1340"/>
                  </a:lnTo>
                  <a:lnTo>
                    <a:pt x="2830" y="1334"/>
                  </a:lnTo>
                  <a:lnTo>
                    <a:pt x="2819" y="1327"/>
                  </a:lnTo>
                  <a:lnTo>
                    <a:pt x="2797" y="1316"/>
                  </a:lnTo>
                  <a:lnTo>
                    <a:pt x="2774" y="1306"/>
                  </a:lnTo>
                  <a:lnTo>
                    <a:pt x="2742" y="1291"/>
                  </a:lnTo>
                  <a:lnTo>
                    <a:pt x="2714" y="1275"/>
                  </a:lnTo>
                  <a:lnTo>
                    <a:pt x="2700" y="1270"/>
                  </a:lnTo>
                  <a:lnTo>
                    <a:pt x="2686" y="1265"/>
                  </a:lnTo>
                  <a:lnTo>
                    <a:pt x="2679" y="1264"/>
                  </a:lnTo>
                  <a:lnTo>
                    <a:pt x="2670" y="1261"/>
                  </a:lnTo>
                  <a:lnTo>
                    <a:pt x="2661" y="1261"/>
                  </a:lnTo>
                  <a:lnTo>
                    <a:pt x="2653" y="1260"/>
                  </a:lnTo>
                  <a:lnTo>
                    <a:pt x="2638" y="1260"/>
                  </a:lnTo>
                  <a:lnTo>
                    <a:pt x="2624" y="1260"/>
                  </a:lnTo>
                  <a:lnTo>
                    <a:pt x="2611" y="1260"/>
                  </a:lnTo>
                  <a:lnTo>
                    <a:pt x="2595" y="1260"/>
                  </a:lnTo>
                  <a:lnTo>
                    <a:pt x="2571" y="1260"/>
                  </a:lnTo>
                  <a:lnTo>
                    <a:pt x="2549" y="1258"/>
                  </a:lnTo>
                  <a:lnTo>
                    <a:pt x="2538" y="1256"/>
                  </a:lnTo>
                  <a:lnTo>
                    <a:pt x="2528" y="1254"/>
                  </a:lnTo>
                  <a:lnTo>
                    <a:pt x="2518" y="1251"/>
                  </a:lnTo>
                  <a:lnTo>
                    <a:pt x="2508" y="1247"/>
                  </a:lnTo>
                  <a:lnTo>
                    <a:pt x="2498" y="1244"/>
                  </a:lnTo>
                  <a:lnTo>
                    <a:pt x="2490" y="1240"/>
                  </a:lnTo>
                  <a:lnTo>
                    <a:pt x="2481" y="1234"/>
                  </a:lnTo>
                  <a:lnTo>
                    <a:pt x="2471" y="1229"/>
                  </a:lnTo>
                  <a:lnTo>
                    <a:pt x="2463" y="1222"/>
                  </a:lnTo>
                  <a:lnTo>
                    <a:pt x="2454" y="1215"/>
                  </a:lnTo>
                  <a:lnTo>
                    <a:pt x="2445" y="1207"/>
                  </a:lnTo>
                  <a:lnTo>
                    <a:pt x="2438" y="1199"/>
                  </a:lnTo>
                  <a:lnTo>
                    <a:pt x="2423" y="1181"/>
                  </a:lnTo>
                  <a:lnTo>
                    <a:pt x="2410" y="1164"/>
                  </a:lnTo>
                  <a:lnTo>
                    <a:pt x="2400" y="1147"/>
                  </a:lnTo>
                  <a:lnTo>
                    <a:pt x="2391" y="1130"/>
                  </a:lnTo>
                  <a:lnTo>
                    <a:pt x="2376" y="1092"/>
                  </a:lnTo>
                  <a:lnTo>
                    <a:pt x="2359" y="1051"/>
                  </a:lnTo>
                  <a:lnTo>
                    <a:pt x="2341" y="1006"/>
                  </a:lnTo>
                  <a:lnTo>
                    <a:pt x="2323" y="967"/>
                  </a:lnTo>
                  <a:lnTo>
                    <a:pt x="2309" y="929"/>
                  </a:lnTo>
                  <a:lnTo>
                    <a:pt x="2297" y="892"/>
                  </a:lnTo>
                  <a:lnTo>
                    <a:pt x="2292" y="873"/>
                  </a:lnTo>
                  <a:lnTo>
                    <a:pt x="2288" y="854"/>
                  </a:lnTo>
                  <a:lnTo>
                    <a:pt x="2283" y="835"/>
                  </a:lnTo>
                  <a:lnTo>
                    <a:pt x="2280" y="814"/>
                  </a:lnTo>
                  <a:lnTo>
                    <a:pt x="2278" y="794"/>
                  </a:lnTo>
                  <a:lnTo>
                    <a:pt x="2276" y="772"/>
                  </a:lnTo>
                  <a:lnTo>
                    <a:pt x="2275" y="749"/>
                  </a:lnTo>
                  <a:lnTo>
                    <a:pt x="2275" y="726"/>
                  </a:lnTo>
                  <a:lnTo>
                    <a:pt x="2275" y="692"/>
                  </a:lnTo>
                  <a:lnTo>
                    <a:pt x="2275" y="663"/>
                  </a:lnTo>
                  <a:lnTo>
                    <a:pt x="2274" y="635"/>
                  </a:lnTo>
                  <a:lnTo>
                    <a:pt x="2274" y="608"/>
                  </a:lnTo>
                  <a:lnTo>
                    <a:pt x="2273" y="581"/>
                  </a:lnTo>
                  <a:lnTo>
                    <a:pt x="2273" y="553"/>
                  </a:lnTo>
                  <a:lnTo>
                    <a:pt x="2274" y="523"/>
                  </a:lnTo>
                  <a:lnTo>
                    <a:pt x="2275" y="490"/>
                  </a:lnTo>
                  <a:lnTo>
                    <a:pt x="2258" y="464"/>
                  </a:lnTo>
                  <a:lnTo>
                    <a:pt x="2242" y="442"/>
                  </a:lnTo>
                  <a:lnTo>
                    <a:pt x="2225" y="421"/>
                  </a:lnTo>
                  <a:lnTo>
                    <a:pt x="2208" y="402"/>
                  </a:lnTo>
                  <a:lnTo>
                    <a:pt x="2189" y="383"/>
                  </a:lnTo>
                  <a:lnTo>
                    <a:pt x="2171" y="364"/>
                  </a:lnTo>
                  <a:lnTo>
                    <a:pt x="2152" y="344"/>
                  </a:lnTo>
                  <a:lnTo>
                    <a:pt x="2130" y="322"/>
                  </a:lnTo>
                  <a:lnTo>
                    <a:pt x="2130" y="322"/>
                  </a:lnTo>
                  <a:lnTo>
                    <a:pt x="2117" y="322"/>
                  </a:lnTo>
                  <a:lnTo>
                    <a:pt x="2104" y="322"/>
                  </a:lnTo>
                  <a:lnTo>
                    <a:pt x="2091" y="322"/>
                  </a:lnTo>
                  <a:lnTo>
                    <a:pt x="2078" y="322"/>
                  </a:lnTo>
                  <a:lnTo>
                    <a:pt x="2047" y="322"/>
                  </a:lnTo>
                  <a:lnTo>
                    <a:pt x="2020" y="322"/>
                  </a:lnTo>
                  <a:lnTo>
                    <a:pt x="1992" y="322"/>
                  </a:lnTo>
                  <a:lnTo>
                    <a:pt x="1960" y="322"/>
                  </a:lnTo>
                  <a:lnTo>
                    <a:pt x="1774" y="2"/>
                  </a:lnTo>
                  <a:lnTo>
                    <a:pt x="1372" y="0"/>
                  </a:lnTo>
                  <a:lnTo>
                    <a:pt x="1361" y="9"/>
                  </a:lnTo>
                  <a:lnTo>
                    <a:pt x="1351" y="18"/>
                  </a:lnTo>
                  <a:lnTo>
                    <a:pt x="1343" y="28"/>
                  </a:lnTo>
                  <a:lnTo>
                    <a:pt x="1334" y="38"/>
                  </a:lnTo>
                  <a:lnTo>
                    <a:pt x="1319" y="57"/>
                  </a:lnTo>
                  <a:lnTo>
                    <a:pt x="1303" y="81"/>
                  </a:lnTo>
                  <a:lnTo>
                    <a:pt x="1293" y="93"/>
                  </a:lnTo>
                  <a:lnTo>
                    <a:pt x="1283" y="104"/>
                  </a:lnTo>
                  <a:lnTo>
                    <a:pt x="1278" y="109"/>
                  </a:lnTo>
                  <a:lnTo>
                    <a:pt x="1271" y="112"/>
                  </a:lnTo>
                  <a:lnTo>
                    <a:pt x="1265" y="113"/>
                  </a:lnTo>
                  <a:lnTo>
                    <a:pt x="1257" y="114"/>
                  </a:lnTo>
                  <a:lnTo>
                    <a:pt x="1245" y="114"/>
                  </a:lnTo>
                  <a:lnTo>
                    <a:pt x="1233" y="115"/>
                  </a:lnTo>
                  <a:lnTo>
                    <a:pt x="1221" y="118"/>
                  </a:lnTo>
                  <a:lnTo>
                    <a:pt x="1210" y="120"/>
                  </a:lnTo>
                  <a:lnTo>
                    <a:pt x="1198" y="124"/>
                  </a:lnTo>
                  <a:lnTo>
                    <a:pt x="1187" y="128"/>
                  </a:lnTo>
                  <a:lnTo>
                    <a:pt x="1176" y="134"/>
                  </a:lnTo>
                  <a:lnTo>
                    <a:pt x="1167" y="140"/>
                  </a:lnTo>
                  <a:lnTo>
                    <a:pt x="1158" y="147"/>
                  </a:lnTo>
                  <a:lnTo>
                    <a:pt x="1150" y="155"/>
                  </a:lnTo>
                  <a:lnTo>
                    <a:pt x="1143" y="164"/>
                  </a:lnTo>
                  <a:lnTo>
                    <a:pt x="1137" y="173"/>
                  </a:lnTo>
                  <a:lnTo>
                    <a:pt x="1132" y="182"/>
                  </a:lnTo>
                  <a:lnTo>
                    <a:pt x="1129" y="193"/>
                  </a:lnTo>
                  <a:lnTo>
                    <a:pt x="1127" y="205"/>
                  </a:lnTo>
                  <a:lnTo>
                    <a:pt x="1125" y="217"/>
                  </a:lnTo>
                  <a:lnTo>
                    <a:pt x="1127" y="229"/>
                  </a:lnTo>
                  <a:lnTo>
                    <a:pt x="1130" y="240"/>
                  </a:lnTo>
                  <a:lnTo>
                    <a:pt x="1133" y="250"/>
                  </a:lnTo>
                  <a:lnTo>
                    <a:pt x="1134" y="262"/>
                  </a:lnTo>
                  <a:lnTo>
                    <a:pt x="1133" y="273"/>
                  </a:lnTo>
                  <a:lnTo>
                    <a:pt x="1132" y="284"/>
                  </a:lnTo>
                  <a:lnTo>
                    <a:pt x="1130" y="293"/>
                  </a:lnTo>
                  <a:lnTo>
                    <a:pt x="1127" y="301"/>
                  </a:lnTo>
                  <a:lnTo>
                    <a:pt x="1122" y="310"/>
                  </a:lnTo>
                  <a:lnTo>
                    <a:pt x="1118" y="317"/>
                  </a:lnTo>
                  <a:lnTo>
                    <a:pt x="1113" y="325"/>
                  </a:lnTo>
                  <a:lnTo>
                    <a:pt x="1106" y="333"/>
                  </a:lnTo>
                  <a:lnTo>
                    <a:pt x="1098" y="339"/>
                  </a:lnTo>
                  <a:lnTo>
                    <a:pt x="1092" y="346"/>
                  </a:lnTo>
                  <a:lnTo>
                    <a:pt x="1083" y="351"/>
                  </a:lnTo>
                  <a:lnTo>
                    <a:pt x="1076" y="356"/>
                  </a:lnTo>
                  <a:lnTo>
                    <a:pt x="1057" y="367"/>
                  </a:lnTo>
                  <a:lnTo>
                    <a:pt x="1039" y="378"/>
                  </a:lnTo>
                  <a:lnTo>
                    <a:pt x="1004" y="395"/>
                  </a:lnTo>
                  <a:lnTo>
                    <a:pt x="973" y="410"/>
                  </a:lnTo>
                  <a:lnTo>
                    <a:pt x="943" y="424"/>
                  </a:lnTo>
                  <a:lnTo>
                    <a:pt x="907" y="439"/>
                  </a:lnTo>
                  <a:lnTo>
                    <a:pt x="898" y="443"/>
                  </a:lnTo>
                  <a:lnTo>
                    <a:pt x="889" y="446"/>
                  </a:lnTo>
                  <a:lnTo>
                    <a:pt x="879" y="448"/>
                  </a:lnTo>
                  <a:lnTo>
                    <a:pt x="871" y="450"/>
                  </a:lnTo>
                  <a:lnTo>
                    <a:pt x="852" y="454"/>
                  </a:lnTo>
                  <a:lnTo>
                    <a:pt x="835" y="457"/>
                  </a:lnTo>
                  <a:lnTo>
                    <a:pt x="827" y="458"/>
                  </a:lnTo>
                  <a:lnTo>
                    <a:pt x="819" y="460"/>
                  </a:lnTo>
                  <a:lnTo>
                    <a:pt x="811" y="463"/>
                  </a:lnTo>
                  <a:lnTo>
                    <a:pt x="805" y="466"/>
                  </a:lnTo>
                  <a:lnTo>
                    <a:pt x="797" y="471"/>
                  </a:lnTo>
                  <a:lnTo>
                    <a:pt x="791" y="476"/>
                  </a:lnTo>
                  <a:lnTo>
                    <a:pt x="784" y="483"/>
                  </a:lnTo>
                  <a:lnTo>
                    <a:pt x="778" y="490"/>
                  </a:lnTo>
                  <a:lnTo>
                    <a:pt x="776" y="502"/>
                  </a:lnTo>
                  <a:lnTo>
                    <a:pt x="772" y="515"/>
                  </a:lnTo>
                  <a:lnTo>
                    <a:pt x="766" y="523"/>
                  </a:lnTo>
                  <a:lnTo>
                    <a:pt x="758" y="528"/>
                  </a:lnTo>
                  <a:lnTo>
                    <a:pt x="751" y="532"/>
                  </a:lnTo>
                  <a:lnTo>
                    <a:pt x="743" y="536"/>
                  </a:lnTo>
                  <a:lnTo>
                    <a:pt x="725" y="541"/>
                  </a:lnTo>
                  <a:lnTo>
                    <a:pt x="705" y="546"/>
                  </a:lnTo>
                  <a:lnTo>
                    <a:pt x="690" y="552"/>
                  </a:lnTo>
                  <a:lnTo>
                    <a:pt x="677" y="558"/>
                  </a:lnTo>
                  <a:lnTo>
                    <a:pt x="671" y="562"/>
                  </a:lnTo>
                  <a:lnTo>
                    <a:pt x="664" y="564"/>
                  </a:lnTo>
                  <a:lnTo>
                    <a:pt x="657" y="565"/>
                  </a:lnTo>
                  <a:lnTo>
                    <a:pt x="648" y="566"/>
                  </a:lnTo>
                  <a:lnTo>
                    <a:pt x="631" y="566"/>
                  </a:lnTo>
                  <a:lnTo>
                    <a:pt x="616" y="566"/>
                  </a:lnTo>
                  <a:lnTo>
                    <a:pt x="601" y="566"/>
                  </a:lnTo>
                  <a:lnTo>
                    <a:pt x="582" y="566"/>
                  </a:lnTo>
                  <a:lnTo>
                    <a:pt x="578" y="565"/>
                  </a:lnTo>
                  <a:lnTo>
                    <a:pt x="574" y="564"/>
                  </a:lnTo>
                  <a:lnTo>
                    <a:pt x="569" y="563"/>
                  </a:lnTo>
                  <a:lnTo>
                    <a:pt x="565" y="560"/>
                  </a:lnTo>
                  <a:lnTo>
                    <a:pt x="557" y="555"/>
                  </a:lnTo>
                  <a:lnTo>
                    <a:pt x="549" y="552"/>
                  </a:lnTo>
                  <a:lnTo>
                    <a:pt x="512" y="541"/>
                  </a:lnTo>
                  <a:lnTo>
                    <a:pt x="480" y="532"/>
                  </a:lnTo>
                  <a:lnTo>
                    <a:pt x="463" y="530"/>
                  </a:lnTo>
                  <a:lnTo>
                    <a:pt x="446" y="528"/>
                  </a:lnTo>
                  <a:lnTo>
                    <a:pt x="428" y="527"/>
                  </a:lnTo>
                  <a:lnTo>
                    <a:pt x="408" y="526"/>
                  </a:lnTo>
                  <a:lnTo>
                    <a:pt x="403" y="527"/>
                  </a:lnTo>
                  <a:lnTo>
                    <a:pt x="397" y="528"/>
                  </a:lnTo>
                  <a:lnTo>
                    <a:pt x="393" y="529"/>
                  </a:lnTo>
                  <a:lnTo>
                    <a:pt x="389" y="531"/>
                  </a:lnTo>
                  <a:lnTo>
                    <a:pt x="381" y="537"/>
                  </a:lnTo>
                  <a:lnTo>
                    <a:pt x="374" y="543"/>
                  </a:lnTo>
                  <a:lnTo>
                    <a:pt x="367" y="550"/>
                  </a:lnTo>
                  <a:lnTo>
                    <a:pt x="361" y="557"/>
                  </a:lnTo>
                  <a:lnTo>
                    <a:pt x="353" y="565"/>
                  </a:lnTo>
                  <a:lnTo>
                    <a:pt x="343" y="571"/>
                  </a:lnTo>
                  <a:lnTo>
                    <a:pt x="307" y="593"/>
                  </a:lnTo>
                  <a:lnTo>
                    <a:pt x="273" y="610"/>
                  </a:lnTo>
                  <a:lnTo>
                    <a:pt x="257" y="620"/>
                  </a:lnTo>
                  <a:lnTo>
                    <a:pt x="240" y="630"/>
                  </a:lnTo>
                  <a:lnTo>
                    <a:pt x="224" y="641"/>
                  </a:lnTo>
                  <a:lnTo>
                    <a:pt x="206" y="655"/>
                  </a:lnTo>
                  <a:lnTo>
                    <a:pt x="194" y="664"/>
                  </a:lnTo>
                  <a:lnTo>
                    <a:pt x="183" y="671"/>
                  </a:lnTo>
                  <a:lnTo>
                    <a:pt x="171" y="676"/>
                  </a:lnTo>
                  <a:lnTo>
                    <a:pt x="158" y="680"/>
                  </a:lnTo>
                  <a:lnTo>
                    <a:pt x="132" y="686"/>
                  </a:lnTo>
                  <a:lnTo>
                    <a:pt x="103" y="692"/>
                  </a:lnTo>
                  <a:lnTo>
                    <a:pt x="76" y="699"/>
                  </a:lnTo>
                  <a:lnTo>
                    <a:pt x="52" y="705"/>
                  </a:lnTo>
                  <a:lnTo>
                    <a:pt x="28" y="712"/>
                  </a:lnTo>
                  <a:lnTo>
                    <a:pt x="0" y="716"/>
                  </a:lnTo>
                  <a:lnTo>
                    <a:pt x="0" y="716"/>
                  </a:lnTo>
                  <a:close/>
                </a:path>
              </a:pathLst>
            </a:custGeom>
            <a:solidFill>
              <a:srgbClr val="C1EFA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42">
              <a:extLst>
                <a:ext uri="{FF2B5EF4-FFF2-40B4-BE49-F238E27FC236}">
                  <a16:creationId xmlns:a16="http://schemas.microsoft.com/office/drawing/2014/main" id="{B12D8571-7B18-4C6B-AF8D-A75EC968A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29300" y="2324101"/>
              <a:ext cx="1149350" cy="927100"/>
            </a:xfrm>
            <a:custGeom>
              <a:avLst/>
              <a:gdLst>
                <a:gd name="T0" fmla="*/ 124 w 2897"/>
                <a:gd name="T1" fmla="*/ 790 h 2334"/>
                <a:gd name="T2" fmla="*/ 231 w 2897"/>
                <a:gd name="T3" fmla="*/ 768 h 2334"/>
                <a:gd name="T4" fmla="*/ 399 w 2897"/>
                <a:gd name="T5" fmla="*/ 727 h 2334"/>
                <a:gd name="T6" fmla="*/ 449 w 2897"/>
                <a:gd name="T7" fmla="*/ 742 h 2334"/>
                <a:gd name="T8" fmla="*/ 571 w 2897"/>
                <a:gd name="T9" fmla="*/ 742 h 2334"/>
                <a:gd name="T10" fmla="*/ 634 w 2897"/>
                <a:gd name="T11" fmla="*/ 758 h 2334"/>
                <a:gd name="T12" fmla="*/ 655 w 2897"/>
                <a:gd name="T13" fmla="*/ 852 h 2334"/>
                <a:gd name="T14" fmla="*/ 637 w 2897"/>
                <a:gd name="T15" fmla="*/ 943 h 2334"/>
                <a:gd name="T16" fmla="*/ 623 w 2897"/>
                <a:gd name="T17" fmla="*/ 1032 h 2334"/>
                <a:gd name="T18" fmla="*/ 684 w 2897"/>
                <a:gd name="T19" fmla="*/ 1163 h 2334"/>
                <a:gd name="T20" fmla="*/ 686 w 2897"/>
                <a:gd name="T21" fmla="*/ 1322 h 2334"/>
                <a:gd name="T22" fmla="*/ 700 w 2897"/>
                <a:gd name="T23" fmla="*/ 1487 h 2334"/>
                <a:gd name="T24" fmla="*/ 764 w 2897"/>
                <a:gd name="T25" fmla="*/ 1543 h 2334"/>
                <a:gd name="T26" fmla="*/ 753 w 2897"/>
                <a:gd name="T27" fmla="*/ 1621 h 2334"/>
                <a:gd name="T28" fmla="*/ 791 w 2897"/>
                <a:gd name="T29" fmla="*/ 1653 h 2334"/>
                <a:gd name="T30" fmla="*/ 871 w 2897"/>
                <a:gd name="T31" fmla="*/ 1706 h 2334"/>
                <a:gd name="T32" fmla="*/ 981 w 2897"/>
                <a:gd name="T33" fmla="*/ 1779 h 2334"/>
                <a:gd name="T34" fmla="*/ 1022 w 2897"/>
                <a:gd name="T35" fmla="*/ 1866 h 2334"/>
                <a:gd name="T36" fmla="*/ 1124 w 2897"/>
                <a:gd name="T37" fmla="*/ 1909 h 2334"/>
                <a:gd name="T38" fmla="*/ 1203 w 2897"/>
                <a:gd name="T39" fmla="*/ 1934 h 2334"/>
                <a:gd name="T40" fmla="*/ 1281 w 2897"/>
                <a:gd name="T41" fmla="*/ 1907 h 2334"/>
                <a:gd name="T42" fmla="*/ 1378 w 2897"/>
                <a:gd name="T43" fmla="*/ 1890 h 2334"/>
                <a:gd name="T44" fmla="*/ 1485 w 2897"/>
                <a:gd name="T45" fmla="*/ 1929 h 2334"/>
                <a:gd name="T46" fmla="*/ 1556 w 2897"/>
                <a:gd name="T47" fmla="*/ 1933 h 2334"/>
                <a:gd name="T48" fmla="*/ 1643 w 2897"/>
                <a:gd name="T49" fmla="*/ 2024 h 2334"/>
                <a:gd name="T50" fmla="*/ 1852 w 2897"/>
                <a:gd name="T51" fmla="*/ 2089 h 2334"/>
                <a:gd name="T52" fmla="*/ 1984 w 2897"/>
                <a:gd name="T53" fmla="*/ 2140 h 2334"/>
                <a:gd name="T54" fmla="*/ 2078 w 2897"/>
                <a:gd name="T55" fmla="*/ 2254 h 2334"/>
                <a:gd name="T56" fmla="*/ 2118 w 2897"/>
                <a:gd name="T57" fmla="*/ 2314 h 2334"/>
                <a:gd name="T58" fmla="*/ 2186 w 2897"/>
                <a:gd name="T59" fmla="*/ 2290 h 2334"/>
                <a:gd name="T60" fmla="*/ 2294 w 2897"/>
                <a:gd name="T61" fmla="*/ 2311 h 2334"/>
                <a:gd name="T62" fmla="*/ 2433 w 2897"/>
                <a:gd name="T63" fmla="*/ 2319 h 2334"/>
                <a:gd name="T64" fmla="*/ 2513 w 2897"/>
                <a:gd name="T65" fmla="*/ 2319 h 2334"/>
                <a:gd name="T66" fmla="*/ 2658 w 2897"/>
                <a:gd name="T67" fmla="*/ 2139 h 2334"/>
                <a:gd name="T68" fmla="*/ 2784 w 2897"/>
                <a:gd name="T69" fmla="*/ 1999 h 2334"/>
                <a:gd name="T70" fmla="*/ 2829 w 2897"/>
                <a:gd name="T71" fmla="*/ 1851 h 2334"/>
                <a:gd name="T72" fmla="*/ 2896 w 2897"/>
                <a:gd name="T73" fmla="*/ 1720 h 2334"/>
                <a:gd name="T74" fmla="*/ 2886 w 2897"/>
                <a:gd name="T75" fmla="*/ 1650 h 2334"/>
                <a:gd name="T76" fmla="*/ 2835 w 2897"/>
                <a:gd name="T77" fmla="*/ 1565 h 2334"/>
                <a:gd name="T78" fmla="*/ 2885 w 2897"/>
                <a:gd name="T79" fmla="*/ 1469 h 2334"/>
                <a:gd name="T80" fmla="*/ 2878 w 2897"/>
                <a:gd name="T81" fmla="*/ 1379 h 2334"/>
                <a:gd name="T82" fmla="*/ 2774 w 2897"/>
                <a:gd name="T83" fmla="*/ 1306 h 2334"/>
                <a:gd name="T84" fmla="*/ 2638 w 2897"/>
                <a:gd name="T85" fmla="*/ 1260 h 2334"/>
                <a:gd name="T86" fmla="*/ 2508 w 2897"/>
                <a:gd name="T87" fmla="*/ 1247 h 2334"/>
                <a:gd name="T88" fmla="*/ 2423 w 2897"/>
                <a:gd name="T89" fmla="*/ 1181 h 2334"/>
                <a:gd name="T90" fmla="*/ 2297 w 2897"/>
                <a:gd name="T91" fmla="*/ 892 h 2334"/>
                <a:gd name="T92" fmla="*/ 2275 w 2897"/>
                <a:gd name="T93" fmla="*/ 692 h 2334"/>
                <a:gd name="T94" fmla="*/ 2242 w 2897"/>
                <a:gd name="T95" fmla="*/ 442 h 2334"/>
                <a:gd name="T96" fmla="*/ 2104 w 2897"/>
                <a:gd name="T97" fmla="*/ 322 h 2334"/>
                <a:gd name="T98" fmla="*/ 1361 w 2897"/>
                <a:gd name="T99" fmla="*/ 9 h 2334"/>
                <a:gd name="T100" fmla="*/ 1271 w 2897"/>
                <a:gd name="T101" fmla="*/ 112 h 2334"/>
                <a:gd name="T102" fmla="*/ 1176 w 2897"/>
                <a:gd name="T103" fmla="*/ 134 h 2334"/>
                <a:gd name="T104" fmla="*/ 1125 w 2897"/>
                <a:gd name="T105" fmla="*/ 217 h 2334"/>
                <a:gd name="T106" fmla="*/ 1122 w 2897"/>
                <a:gd name="T107" fmla="*/ 310 h 2334"/>
                <a:gd name="T108" fmla="*/ 1039 w 2897"/>
                <a:gd name="T109" fmla="*/ 378 h 2334"/>
                <a:gd name="T110" fmla="*/ 852 w 2897"/>
                <a:gd name="T111" fmla="*/ 454 h 2334"/>
                <a:gd name="T112" fmla="*/ 778 w 2897"/>
                <a:gd name="T113" fmla="*/ 490 h 2334"/>
                <a:gd name="T114" fmla="*/ 690 w 2897"/>
                <a:gd name="T115" fmla="*/ 552 h 2334"/>
                <a:gd name="T116" fmla="*/ 582 w 2897"/>
                <a:gd name="T117" fmla="*/ 566 h 2334"/>
                <a:gd name="T118" fmla="*/ 463 w 2897"/>
                <a:gd name="T119" fmla="*/ 530 h 2334"/>
                <a:gd name="T120" fmla="*/ 374 w 2897"/>
                <a:gd name="T121" fmla="*/ 543 h 2334"/>
                <a:gd name="T122" fmla="*/ 224 w 2897"/>
                <a:gd name="T123" fmla="*/ 641 h 2334"/>
                <a:gd name="T124" fmla="*/ 52 w 2897"/>
                <a:gd name="T125" fmla="*/ 705 h 2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7" h="2334">
                  <a:moveTo>
                    <a:pt x="0" y="716"/>
                  </a:moveTo>
                  <a:lnTo>
                    <a:pt x="15" y="729"/>
                  </a:lnTo>
                  <a:lnTo>
                    <a:pt x="30" y="739"/>
                  </a:lnTo>
                  <a:lnTo>
                    <a:pt x="45" y="747"/>
                  </a:lnTo>
                  <a:lnTo>
                    <a:pt x="62" y="755"/>
                  </a:lnTo>
                  <a:lnTo>
                    <a:pt x="77" y="762"/>
                  </a:lnTo>
                  <a:lnTo>
                    <a:pt x="93" y="770"/>
                  </a:lnTo>
                  <a:lnTo>
                    <a:pt x="108" y="780"/>
                  </a:lnTo>
                  <a:lnTo>
                    <a:pt x="124" y="790"/>
                  </a:lnTo>
                  <a:lnTo>
                    <a:pt x="124" y="790"/>
                  </a:lnTo>
                  <a:lnTo>
                    <a:pt x="137" y="787"/>
                  </a:lnTo>
                  <a:lnTo>
                    <a:pt x="150" y="785"/>
                  </a:lnTo>
                  <a:lnTo>
                    <a:pt x="163" y="783"/>
                  </a:lnTo>
                  <a:lnTo>
                    <a:pt x="176" y="782"/>
                  </a:lnTo>
                  <a:lnTo>
                    <a:pt x="190" y="781"/>
                  </a:lnTo>
                  <a:lnTo>
                    <a:pt x="203" y="778"/>
                  </a:lnTo>
                  <a:lnTo>
                    <a:pt x="217" y="773"/>
                  </a:lnTo>
                  <a:lnTo>
                    <a:pt x="231" y="768"/>
                  </a:lnTo>
                  <a:lnTo>
                    <a:pt x="247" y="760"/>
                  </a:lnTo>
                  <a:lnTo>
                    <a:pt x="264" y="755"/>
                  </a:lnTo>
                  <a:lnTo>
                    <a:pt x="278" y="751"/>
                  </a:lnTo>
                  <a:lnTo>
                    <a:pt x="293" y="747"/>
                  </a:lnTo>
                  <a:lnTo>
                    <a:pt x="323" y="744"/>
                  </a:lnTo>
                  <a:lnTo>
                    <a:pt x="358" y="740"/>
                  </a:lnTo>
                  <a:lnTo>
                    <a:pt x="375" y="735"/>
                  </a:lnTo>
                  <a:lnTo>
                    <a:pt x="391" y="729"/>
                  </a:lnTo>
                  <a:lnTo>
                    <a:pt x="399" y="727"/>
                  </a:lnTo>
                  <a:lnTo>
                    <a:pt x="407" y="725"/>
                  </a:lnTo>
                  <a:lnTo>
                    <a:pt x="416" y="724"/>
                  </a:lnTo>
                  <a:lnTo>
                    <a:pt x="424" y="722"/>
                  </a:lnTo>
                  <a:lnTo>
                    <a:pt x="430" y="724"/>
                  </a:lnTo>
                  <a:lnTo>
                    <a:pt x="435" y="726"/>
                  </a:lnTo>
                  <a:lnTo>
                    <a:pt x="439" y="730"/>
                  </a:lnTo>
                  <a:lnTo>
                    <a:pt x="442" y="733"/>
                  </a:lnTo>
                  <a:lnTo>
                    <a:pt x="445" y="738"/>
                  </a:lnTo>
                  <a:lnTo>
                    <a:pt x="449" y="742"/>
                  </a:lnTo>
                  <a:lnTo>
                    <a:pt x="454" y="744"/>
                  </a:lnTo>
                  <a:lnTo>
                    <a:pt x="459" y="745"/>
                  </a:lnTo>
                  <a:lnTo>
                    <a:pt x="478" y="745"/>
                  </a:lnTo>
                  <a:lnTo>
                    <a:pt x="495" y="745"/>
                  </a:lnTo>
                  <a:lnTo>
                    <a:pt x="512" y="745"/>
                  </a:lnTo>
                  <a:lnTo>
                    <a:pt x="530" y="745"/>
                  </a:lnTo>
                  <a:lnTo>
                    <a:pt x="544" y="745"/>
                  </a:lnTo>
                  <a:lnTo>
                    <a:pt x="558" y="744"/>
                  </a:lnTo>
                  <a:lnTo>
                    <a:pt x="571" y="742"/>
                  </a:lnTo>
                  <a:lnTo>
                    <a:pt x="584" y="740"/>
                  </a:lnTo>
                  <a:lnTo>
                    <a:pt x="597" y="735"/>
                  </a:lnTo>
                  <a:lnTo>
                    <a:pt x="609" y="731"/>
                  </a:lnTo>
                  <a:lnTo>
                    <a:pt x="621" y="725"/>
                  </a:lnTo>
                  <a:lnTo>
                    <a:pt x="634" y="718"/>
                  </a:lnTo>
                  <a:lnTo>
                    <a:pt x="634" y="727"/>
                  </a:lnTo>
                  <a:lnTo>
                    <a:pt x="634" y="736"/>
                  </a:lnTo>
                  <a:lnTo>
                    <a:pt x="634" y="747"/>
                  </a:lnTo>
                  <a:lnTo>
                    <a:pt x="634" y="758"/>
                  </a:lnTo>
                  <a:lnTo>
                    <a:pt x="635" y="770"/>
                  </a:lnTo>
                  <a:lnTo>
                    <a:pt x="637" y="780"/>
                  </a:lnTo>
                  <a:lnTo>
                    <a:pt x="641" y="789"/>
                  </a:lnTo>
                  <a:lnTo>
                    <a:pt x="644" y="798"/>
                  </a:lnTo>
                  <a:lnTo>
                    <a:pt x="648" y="807"/>
                  </a:lnTo>
                  <a:lnTo>
                    <a:pt x="651" y="816"/>
                  </a:lnTo>
                  <a:lnTo>
                    <a:pt x="653" y="827"/>
                  </a:lnTo>
                  <a:lnTo>
                    <a:pt x="655" y="838"/>
                  </a:lnTo>
                  <a:lnTo>
                    <a:pt x="655" y="852"/>
                  </a:lnTo>
                  <a:lnTo>
                    <a:pt x="655" y="865"/>
                  </a:lnTo>
                  <a:lnTo>
                    <a:pt x="655" y="878"/>
                  </a:lnTo>
                  <a:lnTo>
                    <a:pt x="655" y="893"/>
                  </a:lnTo>
                  <a:lnTo>
                    <a:pt x="653" y="903"/>
                  </a:lnTo>
                  <a:lnTo>
                    <a:pt x="651" y="911"/>
                  </a:lnTo>
                  <a:lnTo>
                    <a:pt x="648" y="919"/>
                  </a:lnTo>
                  <a:lnTo>
                    <a:pt x="645" y="927"/>
                  </a:lnTo>
                  <a:lnTo>
                    <a:pt x="641" y="934"/>
                  </a:lnTo>
                  <a:lnTo>
                    <a:pt x="637" y="943"/>
                  </a:lnTo>
                  <a:lnTo>
                    <a:pt x="634" y="951"/>
                  </a:lnTo>
                  <a:lnTo>
                    <a:pt x="632" y="961"/>
                  </a:lnTo>
                  <a:lnTo>
                    <a:pt x="632" y="981"/>
                  </a:lnTo>
                  <a:lnTo>
                    <a:pt x="633" y="1001"/>
                  </a:lnTo>
                  <a:lnTo>
                    <a:pt x="632" y="1011"/>
                  </a:lnTo>
                  <a:lnTo>
                    <a:pt x="630" y="1019"/>
                  </a:lnTo>
                  <a:lnTo>
                    <a:pt x="628" y="1024"/>
                  </a:lnTo>
                  <a:lnTo>
                    <a:pt x="625" y="1028"/>
                  </a:lnTo>
                  <a:lnTo>
                    <a:pt x="623" y="1032"/>
                  </a:lnTo>
                  <a:lnTo>
                    <a:pt x="619" y="1037"/>
                  </a:lnTo>
                  <a:lnTo>
                    <a:pt x="620" y="1049"/>
                  </a:lnTo>
                  <a:lnTo>
                    <a:pt x="622" y="1060"/>
                  </a:lnTo>
                  <a:lnTo>
                    <a:pt x="626" y="1072"/>
                  </a:lnTo>
                  <a:lnTo>
                    <a:pt x="631" y="1083"/>
                  </a:lnTo>
                  <a:lnTo>
                    <a:pt x="643" y="1104"/>
                  </a:lnTo>
                  <a:lnTo>
                    <a:pt x="657" y="1123"/>
                  </a:lnTo>
                  <a:lnTo>
                    <a:pt x="671" y="1143"/>
                  </a:lnTo>
                  <a:lnTo>
                    <a:pt x="684" y="1163"/>
                  </a:lnTo>
                  <a:lnTo>
                    <a:pt x="689" y="1174"/>
                  </a:lnTo>
                  <a:lnTo>
                    <a:pt x="693" y="1186"/>
                  </a:lnTo>
                  <a:lnTo>
                    <a:pt x="698" y="1198"/>
                  </a:lnTo>
                  <a:lnTo>
                    <a:pt x="700" y="1211"/>
                  </a:lnTo>
                  <a:lnTo>
                    <a:pt x="697" y="1232"/>
                  </a:lnTo>
                  <a:lnTo>
                    <a:pt x="693" y="1255"/>
                  </a:lnTo>
                  <a:lnTo>
                    <a:pt x="691" y="1278"/>
                  </a:lnTo>
                  <a:lnTo>
                    <a:pt x="688" y="1300"/>
                  </a:lnTo>
                  <a:lnTo>
                    <a:pt x="686" y="1322"/>
                  </a:lnTo>
                  <a:lnTo>
                    <a:pt x="683" y="1345"/>
                  </a:lnTo>
                  <a:lnTo>
                    <a:pt x="679" y="1367"/>
                  </a:lnTo>
                  <a:lnTo>
                    <a:pt x="677" y="1390"/>
                  </a:lnTo>
                  <a:lnTo>
                    <a:pt x="677" y="1408"/>
                  </a:lnTo>
                  <a:lnTo>
                    <a:pt x="679" y="1426"/>
                  </a:lnTo>
                  <a:lnTo>
                    <a:pt x="682" y="1442"/>
                  </a:lnTo>
                  <a:lnTo>
                    <a:pt x="686" y="1458"/>
                  </a:lnTo>
                  <a:lnTo>
                    <a:pt x="691" y="1473"/>
                  </a:lnTo>
                  <a:lnTo>
                    <a:pt x="700" y="1487"/>
                  </a:lnTo>
                  <a:lnTo>
                    <a:pt x="704" y="1494"/>
                  </a:lnTo>
                  <a:lnTo>
                    <a:pt x="710" y="1500"/>
                  </a:lnTo>
                  <a:lnTo>
                    <a:pt x="715" y="1507"/>
                  </a:lnTo>
                  <a:lnTo>
                    <a:pt x="722" y="1513"/>
                  </a:lnTo>
                  <a:lnTo>
                    <a:pt x="736" y="1522"/>
                  </a:lnTo>
                  <a:lnTo>
                    <a:pt x="751" y="1530"/>
                  </a:lnTo>
                  <a:lnTo>
                    <a:pt x="757" y="1535"/>
                  </a:lnTo>
                  <a:lnTo>
                    <a:pt x="763" y="1540"/>
                  </a:lnTo>
                  <a:lnTo>
                    <a:pt x="764" y="1543"/>
                  </a:lnTo>
                  <a:lnTo>
                    <a:pt x="766" y="1546"/>
                  </a:lnTo>
                  <a:lnTo>
                    <a:pt x="767" y="1551"/>
                  </a:lnTo>
                  <a:lnTo>
                    <a:pt x="767" y="1555"/>
                  </a:lnTo>
                  <a:lnTo>
                    <a:pt x="766" y="1568"/>
                  </a:lnTo>
                  <a:lnTo>
                    <a:pt x="765" y="1579"/>
                  </a:lnTo>
                  <a:lnTo>
                    <a:pt x="761" y="1590"/>
                  </a:lnTo>
                  <a:lnTo>
                    <a:pt x="758" y="1600"/>
                  </a:lnTo>
                  <a:lnTo>
                    <a:pt x="755" y="1610"/>
                  </a:lnTo>
                  <a:lnTo>
                    <a:pt x="753" y="1621"/>
                  </a:lnTo>
                  <a:lnTo>
                    <a:pt x="751" y="1633"/>
                  </a:lnTo>
                  <a:lnTo>
                    <a:pt x="750" y="1646"/>
                  </a:lnTo>
                  <a:lnTo>
                    <a:pt x="751" y="1654"/>
                  </a:lnTo>
                  <a:lnTo>
                    <a:pt x="751" y="1663"/>
                  </a:lnTo>
                  <a:lnTo>
                    <a:pt x="758" y="1660"/>
                  </a:lnTo>
                  <a:lnTo>
                    <a:pt x="767" y="1657"/>
                  </a:lnTo>
                  <a:lnTo>
                    <a:pt x="776" y="1654"/>
                  </a:lnTo>
                  <a:lnTo>
                    <a:pt x="784" y="1653"/>
                  </a:lnTo>
                  <a:lnTo>
                    <a:pt x="791" y="1653"/>
                  </a:lnTo>
                  <a:lnTo>
                    <a:pt x="797" y="1654"/>
                  </a:lnTo>
                  <a:lnTo>
                    <a:pt x="804" y="1657"/>
                  </a:lnTo>
                  <a:lnTo>
                    <a:pt x="809" y="1659"/>
                  </a:lnTo>
                  <a:lnTo>
                    <a:pt x="820" y="1665"/>
                  </a:lnTo>
                  <a:lnTo>
                    <a:pt x="828" y="1673"/>
                  </a:lnTo>
                  <a:lnTo>
                    <a:pt x="838" y="1681"/>
                  </a:lnTo>
                  <a:lnTo>
                    <a:pt x="848" y="1690"/>
                  </a:lnTo>
                  <a:lnTo>
                    <a:pt x="859" y="1699"/>
                  </a:lnTo>
                  <a:lnTo>
                    <a:pt x="871" y="1706"/>
                  </a:lnTo>
                  <a:lnTo>
                    <a:pt x="895" y="1721"/>
                  </a:lnTo>
                  <a:lnTo>
                    <a:pt x="917" y="1737"/>
                  </a:lnTo>
                  <a:lnTo>
                    <a:pt x="927" y="1743"/>
                  </a:lnTo>
                  <a:lnTo>
                    <a:pt x="938" y="1751"/>
                  </a:lnTo>
                  <a:lnTo>
                    <a:pt x="949" y="1758"/>
                  </a:lnTo>
                  <a:lnTo>
                    <a:pt x="963" y="1765"/>
                  </a:lnTo>
                  <a:lnTo>
                    <a:pt x="970" y="1769"/>
                  </a:lnTo>
                  <a:lnTo>
                    <a:pt x="976" y="1773"/>
                  </a:lnTo>
                  <a:lnTo>
                    <a:pt x="981" y="1779"/>
                  </a:lnTo>
                  <a:lnTo>
                    <a:pt x="986" y="1784"/>
                  </a:lnTo>
                  <a:lnTo>
                    <a:pt x="993" y="1796"/>
                  </a:lnTo>
                  <a:lnTo>
                    <a:pt x="998" y="1809"/>
                  </a:lnTo>
                  <a:lnTo>
                    <a:pt x="1002" y="1823"/>
                  </a:lnTo>
                  <a:lnTo>
                    <a:pt x="1007" y="1838"/>
                  </a:lnTo>
                  <a:lnTo>
                    <a:pt x="1010" y="1845"/>
                  </a:lnTo>
                  <a:lnTo>
                    <a:pt x="1013" y="1852"/>
                  </a:lnTo>
                  <a:lnTo>
                    <a:pt x="1017" y="1859"/>
                  </a:lnTo>
                  <a:lnTo>
                    <a:pt x="1022" y="1866"/>
                  </a:lnTo>
                  <a:lnTo>
                    <a:pt x="1026" y="1872"/>
                  </a:lnTo>
                  <a:lnTo>
                    <a:pt x="1030" y="1876"/>
                  </a:lnTo>
                  <a:lnTo>
                    <a:pt x="1036" y="1880"/>
                  </a:lnTo>
                  <a:lnTo>
                    <a:pt x="1041" y="1883"/>
                  </a:lnTo>
                  <a:lnTo>
                    <a:pt x="1051" y="1890"/>
                  </a:lnTo>
                  <a:lnTo>
                    <a:pt x="1063" y="1893"/>
                  </a:lnTo>
                  <a:lnTo>
                    <a:pt x="1088" y="1899"/>
                  </a:lnTo>
                  <a:lnTo>
                    <a:pt x="1115" y="1905"/>
                  </a:lnTo>
                  <a:lnTo>
                    <a:pt x="1124" y="1909"/>
                  </a:lnTo>
                  <a:lnTo>
                    <a:pt x="1134" y="1914"/>
                  </a:lnTo>
                  <a:lnTo>
                    <a:pt x="1143" y="1919"/>
                  </a:lnTo>
                  <a:lnTo>
                    <a:pt x="1150" y="1923"/>
                  </a:lnTo>
                  <a:lnTo>
                    <a:pt x="1158" y="1929"/>
                  </a:lnTo>
                  <a:lnTo>
                    <a:pt x="1167" y="1932"/>
                  </a:lnTo>
                  <a:lnTo>
                    <a:pt x="1176" y="1935"/>
                  </a:lnTo>
                  <a:lnTo>
                    <a:pt x="1187" y="1936"/>
                  </a:lnTo>
                  <a:lnTo>
                    <a:pt x="1196" y="1935"/>
                  </a:lnTo>
                  <a:lnTo>
                    <a:pt x="1203" y="1934"/>
                  </a:lnTo>
                  <a:lnTo>
                    <a:pt x="1211" y="1932"/>
                  </a:lnTo>
                  <a:lnTo>
                    <a:pt x="1217" y="1929"/>
                  </a:lnTo>
                  <a:lnTo>
                    <a:pt x="1231" y="1921"/>
                  </a:lnTo>
                  <a:lnTo>
                    <a:pt x="1246" y="1914"/>
                  </a:lnTo>
                  <a:lnTo>
                    <a:pt x="1252" y="1910"/>
                  </a:lnTo>
                  <a:lnTo>
                    <a:pt x="1258" y="1909"/>
                  </a:lnTo>
                  <a:lnTo>
                    <a:pt x="1264" y="1908"/>
                  </a:lnTo>
                  <a:lnTo>
                    <a:pt x="1269" y="1907"/>
                  </a:lnTo>
                  <a:lnTo>
                    <a:pt x="1281" y="1907"/>
                  </a:lnTo>
                  <a:lnTo>
                    <a:pt x="1294" y="1905"/>
                  </a:lnTo>
                  <a:lnTo>
                    <a:pt x="1311" y="1901"/>
                  </a:lnTo>
                  <a:lnTo>
                    <a:pt x="1325" y="1895"/>
                  </a:lnTo>
                  <a:lnTo>
                    <a:pt x="1333" y="1892"/>
                  </a:lnTo>
                  <a:lnTo>
                    <a:pt x="1340" y="1890"/>
                  </a:lnTo>
                  <a:lnTo>
                    <a:pt x="1349" y="1889"/>
                  </a:lnTo>
                  <a:lnTo>
                    <a:pt x="1359" y="1889"/>
                  </a:lnTo>
                  <a:lnTo>
                    <a:pt x="1368" y="1889"/>
                  </a:lnTo>
                  <a:lnTo>
                    <a:pt x="1378" y="1890"/>
                  </a:lnTo>
                  <a:lnTo>
                    <a:pt x="1387" y="1891"/>
                  </a:lnTo>
                  <a:lnTo>
                    <a:pt x="1395" y="1894"/>
                  </a:lnTo>
                  <a:lnTo>
                    <a:pt x="1412" y="1900"/>
                  </a:lnTo>
                  <a:lnTo>
                    <a:pt x="1427" y="1906"/>
                  </a:lnTo>
                  <a:lnTo>
                    <a:pt x="1442" y="1914"/>
                  </a:lnTo>
                  <a:lnTo>
                    <a:pt x="1458" y="1920"/>
                  </a:lnTo>
                  <a:lnTo>
                    <a:pt x="1467" y="1923"/>
                  </a:lnTo>
                  <a:lnTo>
                    <a:pt x="1475" y="1927"/>
                  </a:lnTo>
                  <a:lnTo>
                    <a:pt x="1485" y="1929"/>
                  </a:lnTo>
                  <a:lnTo>
                    <a:pt x="1496" y="1930"/>
                  </a:lnTo>
                  <a:lnTo>
                    <a:pt x="1508" y="1930"/>
                  </a:lnTo>
                  <a:lnTo>
                    <a:pt x="1518" y="1929"/>
                  </a:lnTo>
                  <a:lnTo>
                    <a:pt x="1528" y="1928"/>
                  </a:lnTo>
                  <a:lnTo>
                    <a:pt x="1540" y="1928"/>
                  </a:lnTo>
                  <a:lnTo>
                    <a:pt x="1545" y="1928"/>
                  </a:lnTo>
                  <a:lnTo>
                    <a:pt x="1549" y="1929"/>
                  </a:lnTo>
                  <a:lnTo>
                    <a:pt x="1553" y="1931"/>
                  </a:lnTo>
                  <a:lnTo>
                    <a:pt x="1556" y="1933"/>
                  </a:lnTo>
                  <a:lnTo>
                    <a:pt x="1563" y="1939"/>
                  </a:lnTo>
                  <a:lnTo>
                    <a:pt x="1568" y="1946"/>
                  </a:lnTo>
                  <a:lnTo>
                    <a:pt x="1573" y="1954"/>
                  </a:lnTo>
                  <a:lnTo>
                    <a:pt x="1578" y="1962"/>
                  </a:lnTo>
                  <a:lnTo>
                    <a:pt x="1584" y="1971"/>
                  </a:lnTo>
                  <a:lnTo>
                    <a:pt x="1591" y="1978"/>
                  </a:lnTo>
                  <a:lnTo>
                    <a:pt x="1609" y="1995"/>
                  </a:lnTo>
                  <a:lnTo>
                    <a:pt x="1627" y="2010"/>
                  </a:lnTo>
                  <a:lnTo>
                    <a:pt x="1643" y="2024"/>
                  </a:lnTo>
                  <a:lnTo>
                    <a:pt x="1660" y="2036"/>
                  </a:lnTo>
                  <a:lnTo>
                    <a:pt x="1677" y="2048"/>
                  </a:lnTo>
                  <a:lnTo>
                    <a:pt x="1695" y="2059"/>
                  </a:lnTo>
                  <a:lnTo>
                    <a:pt x="1715" y="2071"/>
                  </a:lnTo>
                  <a:lnTo>
                    <a:pt x="1737" y="2084"/>
                  </a:lnTo>
                  <a:lnTo>
                    <a:pt x="1809" y="2068"/>
                  </a:lnTo>
                  <a:lnTo>
                    <a:pt x="1825" y="2074"/>
                  </a:lnTo>
                  <a:lnTo>
                    <a:pt x="1839" y="2081"/>
                  </a:lnTo>
                  <a:lnTo>
                    <a:pt x="1852" y="2089"/>
                  </a:lnTo>
                  <a:lnTo>
                    <a:pt x="1865" y="2096"/>
                  </a:lnTo>
                  <a:lnTo>
                    <a:pt x="1877" y="2103"/>
                  </a:lnTo>
                  <a:lnTo>
                    <a:pt x="1890" y="2110"/>
                  </a:lnTo>
                  <a:lnTo>
                    <a:pt x="1905" y="2116"/>
                  </a:lnTo>
                  <a:lnTo>
                    <a:pt x="1921" y="2121"/>
                  </a:lnTo>
                  <a:lnTo>
                    <a:pt x="1945" y="2126"/>
                  </a:lnTo>
                  <a:lnTo>
                    <a:pt x="1966" y="2132"/>
                  </a:lnTo>
                  <a:lnTo>
                    <a:pt x="1975" y="2136"/>
                  </a:lnTo>
                  <a:lnTo>
                    <a:pt x="1984" y="2140"/>
                  </a:lnTo>
                  <a:lnTo>
                    <a:pt x="1994" y="2147"/>
                  </a:lnTo>
                  <a:lnTo>
                    <a:pt x="2002" y="2155"/>
                  </a:lnTo>
                  <a:lnTo>
                    <a:pt x="2023" y="2172"/>
                  </a:lnTo>
                  <a:lnTo>
                    <a:pt x="2041" y="2186"/>
                  </a:lnTo>
                  <a:lnTo>
                    <a:pt x="2050" y="2194"/>
                  </a:lnTo>
                  <a:lnTo>
                    <a:pt x="2058" y="2203"/>
                  </a:lnTo>
                  <a:lnTo>
                    <a:pt x="2064" y="2213"/>
                  </a:lnTo>
                  <a:lnTo>
                    <a:pt x="2071" y="2225"/>
                  </a:lnTo>
                  <a:lnTo>
                    <a:pt x="2078" y="2254"/>
                  </a:lnTo>
                  <a:lnTo>
                    <a:pt x="2085" y="2283"/>
                  </a:lnTo>
                  <a:lnTo>
                    <a:pt x="2087" y="2290"/>
                  </a:lnTo>
                  <a:lnTo>
                    <a:pt x="2090" y="2295"/>
                  </a:lnTo>
                  <a:lnTo>
                    <a:pt x="2092" y="2300"/>
                  </a:lnTo>
                  <a:lnTo>
                    <a:pt x="2096" y="2306"/>
                  </a:lnTo>
                  <a:lnTo>
                    <a:pt x="2100" y="2309"/>
                  </a:lnTo>
                  <a:lnTo>
                    <a:pt x="2105" y="2312"/>
                  </a:lnTo>
                  <a:lnTo>
                    <a:pt x="2110" y="2313"/>
                  </a:lnTo>
                  <a:lnTo>
                    <a:pt x="2118" y="2314"/>
                  </a:lnTo>
                  <a:lnTo>
                    <a:pt x="2126" y="2313"/>
                  </a:lnTo>
                  <a:lnTo>
                    <a:pt x="2133" y="2310"/>
                  </a:lnTo>
                  <a:lnTo>
                    <a:pt x="2140" y="2307"/>
                  </a:lnTo>
                  <a:lnTo>
                    <a:pt x="2146" y="2301"/>
                  </a:lnTo>
                  <a:lnTo>
                    <a:pt x="2152" y="2297"/>
                  </a:lnTo>
                  <a:lnTo>
                    <a:pt x="2158" y="2293"/>
                  </a:lnTo>
                  <a:lnTo>
                    <a:pt x="2166" y="2291"/>
                  </a:lnTo>
                  <a:lnTo>
                    <a:pt x="2174" y="2290"/>
                  </a:lnTo>
                  <a:lnTo>
                    <a:pt x="2186" y="2290"/>
                  </a:lnTo>
                  <a:lnTo>
                    <a:pt x="2196" y="2292"/>
                  </a:lnTo>
                  <a:lnTo>
                    <a:pt x="2207" y="2295"/>
                  </a:lnTo>
                  <a:lnTo>
                    <a:pt x="2218" y="2297"/>
                  </a:lnTo>
                  <a:lnTo>
                    <a:pt x="2229" y="2298"/>
                  </a:lnTo>
                  <a:lnTo>
                    <a:pt x="2240" y="2298"/>
                  </a:lnTo>
                  <a:lnTo>
                    <a:pt x="2250" y="2300"/>
                  </a:lnTo>
                  <a:lnTo>
                    <a:pt x="2260" y="2301"/>
                  </a:lnTo>
                  <a:lnTo>
                    <a:pt x="2277" y="2307"/>
                  </a:lnTo>
                  <a:lnTo>
                    <a:pt x="2294" y="2311"/>
                  </a:lnTo>
                  <a:lnTo>
                    <a:pt x="2311" y="2317"/>
                  </a:lnTo>
                  <a:lnTo>
                    <a:pt x="2330" y="2321"/>
                  </a:lnTo>
                  <a:lnTo>
                    <a:pt x="2339" y="2323"/>
                  </a:lnTo>
                  <a:lnTo>
                    <a:pt x="2349" y="2324"/>
                  </a:lnTo>
                  <a:lnTo>
                    <a:pt x="2359" y="2325"/>
                  </a:lnTo>
                  <a:lnTo>
                    <a:pt x="2370" y="2325"/>
                  </a:lnTo>
                  <a:lnTo>
                    <a:pt x="2393" y="2324"/>
                  </a:lnTo>
                  <a:lnTo>
                    <a:pt x="2414" y="2321"/>
                  </a:lnTo>
                  <a:lnTo>
                    <a:pt x="2433" y="2319"/>
                  </a:lnTo>
                  <a:lnTo>
                    <a:pt x="2457" y="2318"/>
                  </a:lnTo>
                  <a:lnTo>
                    <a:pt x="2465" y="2318"/>
                  </a:lnTo>
                  <a:lnTo>
                    <a:pt x="2471" y="2319"/>
                  </a:lnTo>
                  <a:lnTo>
                    <a:pt x="2478" y="2320"/>
                  </a:lnTo>
                  <a:lnTo>
                    <a:pt x="2484" y="2322"/>
                  </a:lnTo>
                  <a:lnTo>
                    <a:pt x="2496" y="2327"/>
                  </a:lnTo>
                  <a:lnTo>
                    <a:pt x="2507" y="2334"/>
                  </a:lnTo>
                  <a:lnTo>
                    <a:pt x="2507" y="2334"/>
                  </a:lnTo>
                  <a:lnTo>
                    <a:pt x="2513" y="2319"/>
                  </a:lnTo>
                  <a:lnTo>
                    <a:pt x="2520" y="2306"/>
                  </a:lnTo>
                  <a:lnTo>
                    <a:pt x="2527" y="2294"/>
                  </a:lnTo>
                  <a:lnTo>
                    <a:pt x="2536" y="2283"/>
                  </a:lnTo>
                  <a:lnTo>
                    <a:pt x="2554" y="2263"/>
                  </a:lnTo>
                  <a:lnTo>
                    <a:pt x="2575" y="2239"/>
                  </a:lnTo>
                  <a:lnTo>
                    <a:pt x="2598" y="2211"/>
                  </a:lnTo>
                  <a:lnTo>
                    <a:pt x="2618" y="2185"/>
                  </a:lnTo>
                  <a:lnTo>
                    <a:pt x="2639" y="2161"/>
                  </a:lnTo>
                  <a:lnTo>
                    <a:pt x="2658" y="2139"/>
                  </a:lnTo>
                  <a:lnTo>
                    <a:pt x="2679" y="2117"/>
                  </a:lnTo>
                  <a:lnTo>
                    <a:pt x="2700" y="2095"/>
                  </a:lnTo>
                  <a:lnTo>
                    <a:pt x="2723" y="2071"/>
                  </a:lnTo>
                  <a:lnTo>
                    <a:pt x="2749" y="2045"/>
                  </a:lnTo>
                  <a:lnTo>
                    <a:pt x="2757" y="2036"/>
                  </a:lnTo>
                  <a:lnTo>
                    <a:pt x="2765" y="2027"/>
                  </a:lnTo>
                  <a:lnTo>
                    <a:pt x="2773" y="2017"/>
                  </a:lnTo>
                  <a:lnTo>
                    <a:pt x="2778" y="2009"/>
                  </a:lnTo>
                  <a:lnTo>
                    <a:pt x="2784" y="1999"/>
                  </a:lnTo>
                  <a:lnTo>
                    <a:pt x="2789" y="1990"/>
                  </a:lnTo>
                  <a:lnTo>
                    <a:pt x="2794" y="1981"/>
                  </a:lnTo>
                  <a:lnTo>
                    <a:pt x="2798" y="1971"/>
                  </a:lnTo>
                  <a:lnTo>
                    <a:pt x="2805" y="1950"/>
                  </a:lnTo>
                  <a:lnTo>
                    <a:pt x="2810" y="1930"/>
                  </a:lnTo>
                  <a:lnTo>
                    <a:pt x="2816" y="1907"/>
                  </a:lnTo>
                  <a:lnTo>
                    <a:pt x="2821" y="1882"/>
                  </a:lnTo>
                  <a:lnTo>
                    <a:pt x="2824" y="1866"/>
                  </a:lnTo>
                  <a:lnTo>
                    <a:pt x="2829" y="1851"/>
                  </a:lnTo>
                  <a:lnTo>
                    <a:pt x="2834" y="1837"/>
                  </a:lnTo>
                  <a:lnTo>
                    <a:pt x="2838" y="1824"/>
                  </a:lnTo>
                  <a:lnTo>
                    <a:pt x="2851" y="1797"/>
                  </a:lnTo>
                  <a:lnTo>
                    <a:pt x="2867" y="1768"/>
                  </a:lnTo>
                  <a:lnTo>
                    <a:pt x="2875" y="1754"/>
                  </a:lnTo>
                  <a:lnTo>
                    <a:pt x="2886" y="1741"/>
                  </a:lnTo>
                  <a:lnTo>
                    <a:pt x="2890" y="1734"/>
                  </a:lnTo>
                  <a:lnTo>
                    <a:pt x="2894" y="1728"/>
                  </a:lnTo>
                  <a:lnTo>
                    <a:pt x="2896" y="1720"/>
                  </a:lnTo>
                  <a:lnTo>
                    <a:pt x="2897" y="1712"/>
                  </a:lnTo>
                  <a:lnTo>
                    <a:pt x="2897" y="1703"/>
                  </a:lnTo>
                  <a:lnTo>
                    <a:pt x="2896" y="1696"/>
                  </a:lnTo>
                  <a:lnTo>
                    <a:pt x="2894" y="1688"/>
                  </a:lnTo>
                  <a:lnTo>
                    <a:pt x="2891" y="1680"/>
                  </a:lnTo>
                  <a:lnTo>
                    <a:pt x="2889" y="1674"/>
                  </a:lnTo>
                  <a:lnTo>
                    <a:pt x="2887" y="1666"/>
                  </a:lnTo>
                  <a:lnTo>
                    <a:pt x="2886" y="1659"/>
                  </a:lnTo>
                  <a:lnTo>
                    <a:pt x="2886" y="1650"/>
                  </a:lnTo>
                  <a:lnTo>
                    <a:pt x="2878" y="1637"/>
                  </a:lnTo>
                  <a:lnTo>
                    <a:pt x="2870" y="1625"/>
                  </a:lnTo>
                  <a:lnTo>
                    <a:pt x="2862" y="1616"/>
                  </a:lnTo>
                  <a:lnTo>
                    <a:pt x="2854" y="1605"/>
                  </a:lnTo>
                  <a:lnTo>
                    <a:pt x="2846" y="1594"/>
                  </a:lnTo>
                  <a:lnTo>
                    <a:pt x="2841" y="1583"/>
                  </a:lnTo>
                  <a:lnTo>
                    <a:pt x="2838" y="1578"/>
                  </a:lnTo>
                  <a:lnTo>
                    <a:pt x="2836" y="1571"/>
                  </a:lnTo>
                  <a:lnTo>
                    <a:pt x="2835" y="1565"/>
                  </a:lnTo>
                  <a:lnTo>
                    <a:pt x="2835" y="1557"/>
                  </a:lnTo>
                  <a:lnTo>
                    <a:pt x="2836" y="1548"/>
                  </a:lnTo>
                  <a:lnTo>
                    <a:pt x="2837" y="1539"/>
                  </a:lnTo>
                  <a:lnTo>
                    <a:pt x="2841" y="1531"/>
                  </a:lnTo>
                  <a:lnTo>
                    <a:pt x="2845" y="1524"/>
                  </a:lnTo>
                  <a:lnTo>
                    <a:pt x="2854" y="1510"/>
                  </a:lnTo>
                  <a:lnTo>
                    <a:pt x="2864" y="1496"/>
                  </a:lnTo>
                  <a:lnTo>
                    <a:pt x="2875" y="1483"/>
                  </a:lnTo>
                  <a:lnTo>
                    <a:pt x="2885" y="1469"/>
                  </a:lnTo>
                  <a:lnTo>
                    <a:pt x="2889" y="1461"/>
                  </a:lnTo>
                  <a:lnTo>
                    <a:pt x="2891" y="1453"/>
                  </a:lnTo>
                  <a:lnTo>
                    <a:pt x="2894" y="1444"/>
                  </a:lnTo>
                  <a:lnTo>
                    <a:pt x="2895" y="1434"/>
                  </a:lnTo>
                  <a:lnTo>
                    <a:pt x="2894" y="1422"/>
                  </a:lnTo>
                  <a:lnTo>
                    <a:pt x="2891" y="1410"/>
                  </a:lnTo>
                  <a:lnTo>
                    <a:pt x="2888" y="1400"/>
                  </a:lnTo>
                  <a:lnTo>
                    <a:pt x="2884" y="1389"/>
                  </a:lnTo>
                  <a:lnTo>
                    <a:pt x="2878" y="1379"/>
                  </a:lnTo>
                  <a:lnTo>
                    <a:pt x="2873" y="1370"/>
                  </a:lnTo>
                  <a:lnTo>
                    <a:pt x="2865" y="1362"/>
                  </a:lnTo>
                  <a:lnTo>
                    <a:pt x="2858" y="1354"/>
                  </a:lnTo>
                  <a:lnTo>
                    <a:pt x="2849" y="1347"/>
                  </a:lnTo>
                  <a:lnTo>
                    <a:pt x="2840" y="1340"/>
                  </a:lnTo>
                  <a:lnTo>
                    <a:pt x="2830" y="1334"/>
                  </a:lnTo>
                  <a:lnTo>
                    <a:pt x="2819" y="1327"/>
                  </a:lnTo>
                  <a:lnTo>
                    <a:pt x="2797" y="1316"/>
                  </a:lnTo>
                  <a:lnTo>
                    <a:pt x="2774" y="1306"/>
                  </a:lnTo>
                  <a:lnTo>
                    <a:pt x="2742" y="1291"/>
                  </a:lnTo>
                  <a:lnTo>
                    <a:pt x="2714" y="1275"/>
                  </a:lnTo>
                  <a:lnTo>
                    <a:pt x="2700" y="1270"/>
                  </a:lnTo>
                  <a:lnTo>
                    <a:pt x="2686" y="1265"/>
                  </a:lnTo>
                  <a:lnTo>
                    <a:pt x="2679" y="1264"/>
                  </a:lnTo>
                  <a:lnTo>
                    <a:pt x="2670" y="1261"/>
                  </a:lnTo>
                  <a:lnTo>
                    <a:pt x="2661" y="1261"/>
                  </a:lnTo>
                  <a:lnTo>
                    <a:pt x="2653" y="1260"/>
                  </a:lnTo>
                  <a:lnTo>
                    <a:pt x="2638" y="1260"/>
                  </a:lnTo>
                  <a:lnTo>
                    <a:pt x="2624" y="1260"/>
                  </a:lnTo>
                  <a:lnTo>
                    <a:pt x="2611" y="1260"/>
                  </a:lnTo>
                  <a:lnTo>
                    <a:pt x="2595" y="1260"/>
                  </a:lnTo>
                  <a:lnTo>
                    <a:pt x="2571" y="1260"/>
                  </a:lnTo>
                  <a:lnTo>
                    <a:pt x="2549" y="1258"/>
                  </a:lnTo>
                  <a:lnTo>
                    <a:pt x="2538" y="1256"/>
                  </a:lnTo>
                  <a:lnTo>
                    <a:pt x="2528" y="1254"/>
                  </a:lnTo>
                  <a:lnTo>
                    <a:pt x="2518" y="1251"/>
                  </a:lnTo>
                  <a:lnTo>
                    <a:pt x="2508" y="1247"/>
                  </a:lnTo>
                  <a:lnTo>
                    <a:pt x="2498" y="1244"/>
                  </a:lnTo>
                  <a:lnTo>
                    <a:pt x="2490" y="1240"/>
                  </a:lnTo>
                  <a:lnTo>
                    <a:pt x="2481" y="1234"/>
                  </a:lnTo>
                  <a:lnTo>
                    <a:pt x="2471" y="1229"/>
                  </a:lnTo>
                  <a:lnTo>
                    <a:pt x="2463" y="1222"/>
                  </a:lnTo>
                  <a:lnTo>
                    <a:pt x="2454" y="1215"/>
                  </a:lnTo>
                  <a:lnTo>
                    <a:pt x="2445" y="1207"/>
                  </a:lnTo>
                  <a:lnTo>
                    <a:pt x="2438" y="1199"/>
                  </a:lnTo>
                  <a:lnTo>
                    <a:pt x="2423" y="1181"/>
                  </a:lnTo>
                  <a:lnTo>
                    <a:pt x="2410" y="1164"/>
                  </a:lnTo>
                  <a:lnTo>
                    <a:pt x="2400" y="1147"/>
                  </a:lnTo>
                  <a:lnTo>
                    <a:pt x="2391" y="1130"/>
                  </a:lnTo>
                  <a:lnTo>
                    <a:pt x="2376" y="1092"/>
                  </a:lnTo>
                  <a:lnTo>
                    <a:pt x="2359" y="1051"/>
                  </a:lnTo>
                  <a:lnTo>
                    <a:pt x="2341" y="1006"/>
                  </a:lnTo>
                  <a:lnTo>
                    <a:pt x="2323" y="967"/>
                  </a:lnTo>
                  <a:lnTo>
                    <a:pt x="2309" y="929"/>
                  </a:lnTo>
                  <a:lnTo>
                    <a:pt x="2297" y="892"/>
                  </a:lnTo>
                  <a:lnTo>
                    <a:pt x="2292" y="873"/>
                  </a:lnTo>
                  <a:lnTo>
                    <a:pt x="2288" y="854"/>
                  </a:lnTo>
                  <a:lnTo>
                    <a:pt x="2283" y="835"/>
                  </a:lnTo>
                  <a:lnTo>
                    <a:pt x="2280" y="814"/>
                  </a:lnTo>
                  <a:lnTo>
                    <a:pt x="2278" y="794"/>
                  </a:lnTo>
                  <a:lnTo>
                    <a:pt x="2276" y="772"/>
                  </a:lnTo>
                  <a:lnTo>
                    <a:pt x="2275" y="749"/>
                  </a:lnTo>
                  <a:lnTo>
                    <a:pt x="2275" y="726"/>
                  </a:lnTo>
                  <a:lnTo>
                    <a:pt x="2275" y="692"/>
                  </a:lnTo>
                  <a:lnTo>
                    <a:pt x="2275" y="663"/>
                  </a:lnTo>
                  <a:lnTo>
                    <a:pt x="2274" y="635"/>
                  </a:lnTo>
                  <a:lnTo>
                    <a:pt x="2274" y="608"/>
                  </a:lnTo>
                  <a:lnTo>
                    <a:pt x="2273" y="581"/>
                  </a:lnTo>
                  <a:lnTo>
                    <a:pt x="2273" y="553"/>
                  </a:lnTo>
                  <a:lnTo>
                    <a:pt x="2274" y="523"/>
                  </a:lnTo>
                  <a:lnTo>
                    <a:pt x="2275" y="490"/>
                  </a:lnTo>
                  <a:lnTo>
                    <a:pt x="2258" y="464"/>
                  </a:lnTo>
                  <a:lnTo>
                    <a:pt x="2242" y="442"/>
                  </a:lnTo>
                  <a:lnTo>
                    <a:pt x="2225" y="421"/>
                  </a:lnTo>
                  <a:lnTo>
                    <a:pt x="2208" y="402"/>
                  </a:lnTo>
                  <a:lnTo>
                    <a:pt x="2189" y="383"/>
                  </a:lnTo>
                  <a:lnTo>
                    <a:pt x="2171" y="364"/>
                  </a:lnTo>
                  <a:lnTo>
                    <a:pt x="2152" y="344"/>
                  </a:lnTo>
                  <a:lnTo>
                    <a:pt x="2130" y="322"/>
                  </a:lnTo>
                  <a:lnTo>
                    <a:pt x="2130" y="322"/>
                  </a:lnTo>
                  <a:lnTo>
                    <a:pt x="2117" y="322"/>
                  </a:lnTo>
                  <a:lnTo>
                    <a:pt x="2104" y="322"/>
                  </a:lnTo>
                  <a:lnTo>
                    <a:pt x="2091" y="322"/>
                  </a:lnTo>
                  <a:lnTo>
                    <a:pt x="2078" y="322"/>
                  </a:lnTo>
                  <a:lnTo>
                    <a:pt x="2047" y="322"/>
                  </a:lnTo>
                  <a:lnTo>
                    <a:pt x="2020" y="322"/>
                  </a:lnTo>
                  <a:lnTo>
                    <a:pt x="1992" y="322"/>
                  </a:lnTo>
                  <a:lnTo>
                    <a:pt x="1960" y="322"/>
                  </a:lnTo>
                  <a:lnTo>
                    <a:pt x="1774" y="2"/>
                  </a:lnTo>
                  <a:lnTo>
                    <a:pt x="1372" y="0"/>
                  </a:lnTo>
                  <a:lnTo>
                    <a:pt x="1361" y="9"/>
                  </a:lnTo>
                  <a:lnTo>
                    <a:pt x="1351" y="18"/>
                  </a:lnTo>
                  <a:lnTo>
                    <a:pt x="1343" y="28"/>
                  </a:lnTo>
                  <a:lnTo>
                    <a:pt x="1334" y="38"/>
                  </a:lnTo>
                  <a:lnTo>
                    <a:pt x="1319" y="57"/>
                  </a:lnTo>
                  <a:lnTo>
                    <a:pt x="1303" y="81"/>
                  </a:lnTo>
                  <a:lnTo>
                    <a:pt x="1293" y="93"/>
                  </a:lnTo>
                  <a:lnTo>
                    <a:pt x="1283" y="104"/>
                  </a:lnTo>
                  <a:lnTo>
                    <a:pt x="1278" y="109"/>
                  </a:lnTo>
                  <a:lnTo>
                    <a:pt x="1271" y="112"/>
                  </a:lnTo>
                  <a:lnTo>
                    <a:pt x="1265" y="113"/>
                  </a:lnTo>
                  <a:lnTo>
                    <a:pt x="1257" y="114"/>
                  </a:lnTo>
                  <a:lnTo>
                    <a:pt x="1245" y="114"/>
                  </a:lnTo>
                  <a:lnTo>
                    <a:pt x="1233" y="115"/>
                  </a:lnTo>
                  <a:lnTo>
                    <a:pt x="1221" y="118"/>
                  </a:lnTo>
                  <a:lnTo>
                    <a:pt x="1210" y="120"/>
                  </a:lnTo>
                  <a:lnTo>
                    <a:pt x="1198" y="124"/>
                  </a:lnTo>
                  <a:lnTo>
                    <a:pt x="1187" y="128"/>
                  </a:lnTo>
                  <a:lnTo>
                    <a:pt x="1176" y="134"/>
                  </a:lnTo>
                  <a:lnTo>
                    <a:pt x="1167" y="140"/>
                  </a:lnTo>
                  <a:lnTo>
                    <a:pt x="1158" y="147"/>
                  </a:lnTo>
                  <a:lnTo>
                    <a:pt x="1150" y="155"/>
                  </a:lnTo>
                  <a:lnTo>
                    <a:pt x="1143" y="164"/>
                  </a:lnTo>
                  <a:lnTo>
                    <a:pt x="1137" y="173"/>
                  </a:lnTo>
                  <a:lnTo>
                    <a:pt x="1132" y="182"/>
                  </a:lnTo>
                  <a:lnTo>
                    <a:pt x="1129" y="193"/>
                  </a:lnTo>
                  <a:lnTo>
                    <a:pt x="1127" y="205"/>
                  </a:lnTo>
                  <a:lnTo>
                    <a:pt x="1125" y="217"/>
                  </a:lnTo>
                  <a:lnTo>
                    <a:pt x="1127" y="229"/>
                  </a:lnTo>
                  <a:lnTo>
                    <a:pt x="1130" y="240"/>
                  </a:lnTo>
                  <a:lnTo>
                    <a:pt x="1133" y="250"/>
                  </a:lnTo>
                  <a:lnTo>
                    <a:pt x="1134" y="262"/>
                  </a:lnTo>
                  <a:lnTo>
                    <a:pt x="1133" y="273"/>
                  </a:lnTo>
                  <a:lnTo>
                    <a:pt x="1132" y="284"/>
                  </a:lnTo>
                  <a:lnTo>
                    <a:pt x="1130" y="293"/>
                  </a:lnTo>
                  <a:lnTo>
                    <a:pt x="1127" y="301"/>
                  </a:lnTo>
                  <a:lnTo>
                    <a:pt x="1122" y="310"/>
                  </a:lnTo>
                  <a:lnTo>
                    <a:pt x="1118" y="317"/>
                  </a:lnTo>
                  <a:lnTo>
                    <a:pt x="1113" y="325"/>
                  </a:lnTo>
                  <a:lnTo>
                    <a:pt x="1106" y="333"/>
                  </a:lnTo>
                  <a:lnTo>
                    <a:pt x="1098" y="339"/>
                  </a:lnTo>
                  <a:lnTo>
                    <a:pt x="1092" y="346"/>
                  </a:lnTo>
                  <a:lnTo>
                    <a:pt x="1083" y="351"/>
                  </a:lnTo>
                  <a:lnTo>
                    <a:pt x="1076" y="356"/>
                  </a:lnTo>
                  <a:lnTo>
                    <a:pt x="1057" y="367"/>
                  </a:lnTo>
                  <a:lnTo>
                    <a:pt x="1039" y="378"/>
                  </a:lnTo>
                  <a:lnTo>
                    <a:pt x="1004" y="395"/>
                  </a:lnTo>
                  <a:lnTo>
                    <a:pt x="973" y="410"/>
                  </a:lnTo>
                  <a:lnTo>
                    <a:pt x="943" y="424"/>
                  </a:lnTo>
                  <a:lnTo>
                    <a:pt x="907" y="439"/>
                  </a:lnTo>
                  <a:lnTo>
                    <a:pt x="898" y="443"/>
                  </a:lnTo>
                  <a:lnTo>
                    <a:pt x="889" y="446"/>
                  </a:lnTo>
                  <a:lnTo>
                    <a:pt x="879" y="448"/>
                  </a:lnTo>
                  <a:lnTo>
                    <a:pt x="871" y="450"/>
                  </a:lnTo>
                  <a:lnTo>
                    <a:pt x="852" y="454"/>
                  </a:lnTo>
                  <a:lnTo>
                    <a:pt x="835" y="457"/>
                  </a:lnTo>
                  <a:lnTo>
                    <a:pt x="827" y="458"/>
                  </a:lnTo>
                  <a:lnTo>
                    <a:pt x="819" y="460"/>
                  </a:lnTo>
                  <a:lnTo>
                    <a:pt x="811" y="463"/>
                  </a:lnTo>
                  <a:lnTo>
                    <a:pt x="805" y="466"/>
                  </a:lnTo>
                  <a:lnTo>
                    <a:pt x="797" y="471"/>
                  </a:lnTo>
                  <a:lnTo>
                    <a:pt x="791" y="476"/>
                  </a:lnTo>
                  <a:lnTo>
                    <a:pt x="784" y="483"/>
                  </a:lnTo>
                  <a:lnTo>
                    <a:pt x="778" y="490"/>
                  </a:lnTo>
                  <a:lnTo>
                    <a:pt x="776" y="502"/>
                  </a:lnTo>
                  <a:lnTo>
                    <a:pt x="772" y="515"/>
                  </a:lnTo>
                  <a:lnTo>
                    <a:pt x="766" y="523"/>
                  </a:lnTo>
                  <a:lnTo>
                    <a:pt x="758" y="528"/>
                  </a:lnTo>
                  <a:lnTo>
                    <a:pt x="751" y="532"/>
                  </a:lnTo>
                  <a:lnTo>
                    <a:pt x="743" y="536"/>
                  </a:lnTo>
                  <a:lnTo>
                    <a:pt x="725" y="541"/>
                  </a:lnTo>
                  <a:lnTo>
                    <a:pt x="705" y="546"/>
                  </a:lnTo>
                  <a:lnTo>
                    <a:pt x="690" y="552"/>
                  </a:lnTo>
                  <a:lnTo>
                    <a:pt x="677" y="558"/>
                  </a:lnTo>
                  <a:lnTo>
                    <a:pt x="671" y="562"/>
                  </a:lnTo>
                  <a:lnTo>
                    <a:pt x="664" y="564"/>
                  </a:lnTo>
                  <a:lnTo>
                    <a:pt x="657" y="565"/>
                  </a:lnTo>
                  <a:lnTo>
                    <a:pt x="648" y="566"/>
                  </a:lnTo>
                  <a:lnTo>
                    <a:pt x="631" y="566"/>
                  </a:lnTo>
                  <a:lnTo>
                    <a:pt x="616" y="566"/>
                  </a:lnTo>
                  <a:lnTo>
                    <a:pt x="601" y="566"/>
                  </a:lnTo>
                  <a:lnTo>
                    <a:pt x="582" y="566"/>
                  </a:lnTo>
                  <a:lnTo>
                    <a:pt x="578" y="565"/>
                  </a:lnTo>
                  <a:lnTo>
                    <a:pt x="574" y="564"/>
                  </a:lnTo>
                  <a:lnTo>
                    <a:pt x="569" y="563"/>
                  </a:lnTo>
                  <a:lnTo>
                    <a:pt x="565" y="560"/>
                  </a:lnTo>
                  <a:lnTo>
                    <a:pt x="557" y="555"/>
                  </a:lnTo>
                  <a:lnTo>
                    <a:pt x="549" y="552"/>
                  </a:lnTo>
                  <a:lnTo>
                    <a:pt x="512" y="541"/>
                  </a:lnTo>
                  <a:lnTo>
                    <a:pt x="480" y="532"/>
                  </a:lnTo>
                  <a:lnTo>
                    <a:pt x="463" y="530"/>
                  </a:lnTo>
                  <a:lnTo>
                    <a:pt x="446" y="528"/>
                  </a:lnTo>
                  <a:lnTo>
                    <a:pt x="428" y="527"/>
                  </a:lnTo>
                  <a:lnTo>
                    <a:pt x="408" y="526"/>
                  </a:lnTo>
                  <a:lnTo>
                    <a:pt x="403" y="527"/>
                  </a:lnTo>
                  <a:lnTo>
                    <a:pt x="397" y="528"/>
                  </a:lnTo>
                  <a:lnTo>
                    <a:pt x="393" y="529"/>
                  </a:lnTo>
                  <a:lnTo>
                    <a:pt x="389" y="531"/>
                  </a:lnTo>
                  <a:lnTo>
                    <a:pt x="381" y="537"/>
                  </a:lnTo>
                  <a:lnTo>
                    <a:pt x="374" y="543"/>
                  </a:lnTo>
                  <a:lnTo>
                    <a:pt x="367" y="550"/>
                  </a:lnTo>
                  <a:lnTo>
                    <a:pt x="361" y="557"/>
                  </a:lnTo>
                  <a:lnTo>
                    <a:pt x="353" y="565"/>
                  </a:lnTo>
                  <a:lnTo>
                    <a:pt x="343" y="571"/>
                  </a:lnTo>
                  <a:lnTo>
                    <a:pt x="307" y="593"/>
                  </a:lnTo>
                  <a:lnTo>
                    <a:pt x="273" y="610"/>
                  </a:lnTo>
                  <a:lnTo>
                    <a:pt x="257" y="620"/>
                  </a:lnTo>
                  <a:lnTo>
                    <a:pt x="240" y="630"/>
                  </a:lnTo>
                  <a:lnTo>
                    <a:pt x="224" y="641"/>
                  </a:lnTo>
                  <a:lnTo>
                    <a:pt x="206" y="655"/>
                  </a:lnTo>
                  <a:lnTo>
                    <a:pt x="194" y="664"/>
                  </a:lnTo>
                  <a:lnTo>
                    <a:pt x="183" y="671"/>
                  </a:lnTo>
                  <a:lnTo>
                    <a:pt x="171" y="676"/>
                  </a:lnTo>
                  <a:lnTo>
                    <a:pt x="158" y="680"/>
                  </a:lnTo>
                  <a:lnTo>
                    <a:pt x="132" y="686"/>
                  </a:lnTo>
                  <a:lnTo>
                    <a:pt x="103" y="692"/>
                  </a:lnTo>
                  <a:lnTo>
                    <a:pt x="76" y="699"/>
                  </a:lnTo>
                  <a:lnTo>
                    <a:pt x="52" y="705"/>
                  </a:lnTo>
                  <a:lnTo>
                    <a:pt x="28" y="712"/>
                  </a:lnTo>
                  <a:lnTo>
                    <a:pt x="0" y="716"/>
                  </a:lnTo>
                  <a:lnTo>
                    <a:pt x="0" y="716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43">
              <a:extLst>
                <a:ext uri="{FF2B5EF4-FFF2-40B4-BE49-F238E27FC236}">
                  <a16:creationId xmlns:a16="http://schemas.microsoft.com/office/drawing/2014/main" id="{A93D25F6-E9E0-4881-854D-FE8CD476E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45313" y="642938"/>
              <a:ext cx="2889250" cy="1965325"/>
            </a:xfrm>
            <a:custGeom>
              <a:avLst/>
              <a:gdLst>
                <a:gd name="T0" fmla="*/ 6608 w 7279"/>
                <a:gd name="T1" fmla="*/ 4289 h 4954"/>
                <a:gd name="T2" fmla="*/ 6547 w 7279"/>
                <a:gd name="T3" fmla="*/ 4450 h 4954"/>
                <a:gd name="T4" fmla="*/ 4802 w 7279"/>
                <a:gd name="T5" fmla="*/ 4560 h 4954"/>
                <a:gd name="T6" fmla="*/ 4031 w 7279"/>
                <a:gd name="T7" fmla="*/ 4356 h 4954"/>
                <a:gd name="T8" fmla="*/ 3943 w 7279"/>
                <a:gd name="T9" fmla="*/ 4511 h 4954"/>
                <a:gd name="T10" fmla="*/ 3708 w 7279"/>
                <a:gd name="T11" fmla="*/ 4681 h 4954"/>
                <a:gd name="T12" fmla="*/ 3561 w 7279"/>
                <a:gd name="T13" fmla="*/ 4770 h 4954"/>
                <a:gd name="T14" fmla="*/ 3367 w 7279"/>
                <a:gd name="T15" fmla="*/ 4793 h 4954"/>
                <a:gd name="T16" fmla="*/ 3117 w 7279"/>
                <a:gd name="T17" fmla="*/ 4831 h 4954"/>
                <a:gd name="T18" fmla="*/ 0 w 7279"/>
                <a:gd name="T19" fmla="*/ 3905 h 4954"/>
                <a:gd name="T20" fmla="*/ 85 w 7279"/>
                <a:gd name="T21" fmla="*/ 3743 h 4954"/>
                <a:gd name="T22" fmla="*/ 239 w 7279"/>
                <a:gd name="T23" fmla="*/ 3617 h 4954"/>
                <a:gd name="T24" fmla="*/ 194 w 7279"/>
                <a:gd name="T25" fmla="*/ 3389 h 4954"/>
                <a:gd name="T26" fmla="*/ 316 w 7279"/>
                <a:gd name="T27" fmla="*/ 3144 h 4954"/>
                <a:gd name="T28" fmla="*/ 473 w 7279"/>
                <a:gd name="T29" fmla="*/ 3006 h 4954"/>
                <a:gd name="T30" fmla="*/ 603 w 7279"/>
                <a:gd name="T31" fmla="*/ 2897 h 4954"/>
                <a:gd name="T32" fmla="*/ 731 w 7279"/>
                <a:gd name="T33" fmla="*/ 2857 h 4954"/>
                <a:gd name="T34" fmla="*/ 1042 w 7279"/>
                <a:gd name="T35" fmla="*/ 2743 h 4954"/>
                <a:gd name="T36" fmla="*/ 1223 w 7279"/>
                <a:gd name="T37" fmla="*/ 2601 h 4954"/>
                <a:gd name="T38" fmla="*/ 1455 w 7279"/>
                <a:gd name="T39" fmla="*/ 2650 h 4954"/>
                <a:gd name="T40" fmla="*/ 1625 w 7279"/>
                <a:gd name="T41" fmla="*/ 2218 h 4954"/>
                <a:gd name="T42" fmla="*/ 1765 w 7279"/>
                <a:gd name="T43" fmla="*/ 1548 h 4954"/>
                <a:gd name="T44" fmla="*/ 1729 w 7279"/>
                <a:gd name="T45" fmla="*/ 1352 h 4954"/>
                <a:gd name="T46" fmla="*/ 1636 w 7279"/>
                <a:gd name="T47" fmla="*/ 1227 h 4954"/>
                <a:gd name="T48" fmla="*/ 1574 w 7279"/>
                <a:gd name="T49" fmla="*/ 1043 h 4954"/>
                <a:gd name="T50" fmla="*/ 1445 w 7279"/>
                <a:gd name="T51" fmla="*/ 854 h 4954"/>
                <a:gd name="T52" fmla="*/ 1621 w 7279"/>
                <a:gd name="T53" fmla="*/ 680 h 4954"/>
                <a:gd name="T54" fmla="*/ 1826 w 7279"/>
                <a:gd name="T55" fmla="*/ 657 h 4954"/>
                <a:gd name="T56" fmla="*/ 1789 w 7279"/>
                <a:gd name="T57" fmla="*/ 459 h 4954"/>
                <a:gd name="T58" fmla="*/ 1600 w 7279"/>
                <a:gd name="T59" fmla="*/ 276 h 4954"/>
                <a:gd name="T60" fmla="*/ 1833 w 7279"/>
                <a:gd name="T61" fmla="*/ 90 h 4954"/>
                <a:gd name="T62" fmla="*/ 2184 w 7279"/>
                <a:gd name="T63" fmla="*/ 143 h 4954"/>
                <a:gd name="T64" fmla="*/ 2270 w 7279"/>
                <a:gd name="T65" fmla="*/ 24 h 4954"/>
                <a:gd name="T66" fmla="*/ 2407 w 7279"/>
                <a:gd name="T67" fmla="*/ 80 h 4954"/>
                <a:gd name="T68" fmla="*/ 2530 w 7279"/>
                <a:gd name="T69" fmla="*/ 6 h 4954"/>
                <a:gd name="T70" fmla="*/ 2683 w 7279"/>
                <a:gd name="T71" fmla="*/ 208 h 4954"/>
                <a:gd name="T72" fmla="*/ 2840 w 7279"/>
                <a:gd name="T73" fmla="*/ 338 h 4954"/>
                <a:gd name="T74" fmla="*/ 3166 w 7279"/>
                <a:gd name="T75" fmla="*/ 509 h 4954"/>
                <a:gd name="T76" fmla="*/ 3499 w 7279"/>
                <a:gd name="T77" fmla="*/ 363 h 4954"/>
                <a:gd name="T78" fmla="*/ 3792 w 7279"/>
                <a:gd name="T79" fmla="*/ 240 h 4954"/>
                <a:gd name="T80" fmla="*/ 4182 w 7279"/>
                <a:gd name="T81" fmla="*/ 3 h 4954"/>
                <a:gd name="T82" fmla="*/ 4367 w 7279"/>
                <a:gd name="T83" fmla="*/ 147 h 4954"/>
                <a:gd name="T84" fmla="*/ 4540 w 7279"/>
                <a:gd name="T85" fmla="*/ 395 h 4954"/>
                <a:gd name="T86" fmla="*/ 4653 w 7279"/>
                <a:gd name="T87" fmla="*/ 667 h 4954"/>
                <a:gd name="T88" fmla="*/ 4757 w 7279"/>
                <a:gd name="T89" fmla="*/ 959 h 4954"/>
                <a:gd name="T90" fmla="*/ 4824 w 7279"/>
                <a:gd name="T91" fmla="*/ 1261 h 4954"/>
                <a:gd name="T92" fmla="*/ 4885 w 7279"/>
                <a:gd name="T93" fmla="*/ 1434 h 4954"/>
                <a:gd name="T94" fmla="*/ 5061 w 7279"/>
                <a:gd name="T95" fmla="*/ 1432 h 4954"/>
                <a:gd name="T96" fmla="*/ 5172 w 7279"/>
                <a:gd name="T97" fmla="*/ 1174 h 4954"/>
                <a:gd name="T98" fmla="*/ 5342 w 7279"/>
                <a:gd name="T99" fmla="*/ 1166 h 4954"/>
                <a:gd name="T100" fmla="*/ 5519 w 7279"/>
                <a:gd name="T101" fmla="*/ 1198 h 4954"/>
                <a:gd name="T102" fmla="*/ 5578 w 7279"/>
                <a:gd name="T103" fmla="*/ 1056 h 4954"/>
                <a:gd name="T104" fmla="*/ 5864 w 7279"/>
                <a:gd name="T105" fmla="*/ 855 h 4954"/>
                <a:gd name="T106" fmla="*/ 6063 w 7279"/>
                <a:gd name="T107" fmla="*/ 1003 h 4954"/>
                <a:gd name="T108" fmla="*/ 6181 w 7279"/>
                <a:gd name="T109" fmla="*/ 1202 h 4954"/>
                <a:gd name="T110" fmla="*/ 6334 w 7279"/>
                <a:gd name="T111" fmla="*/ 1334 h 4954"/>
                <a:gd name="T112" fmla="*/ 6449 w 7279"/>
                <a:gd name="T113" fmla="*/ 1517 h 4954"/>
                <a:gd name="T114" fmla="*/ 6629 w 7279"/>
                <a:gd name="T115" fmla="*/ 1614 h 4954"/>
                <a:gd name="T116" fmla="*/ 6910 w 7279"/>
                <a:gd name="T117" fmla="*/ 1663 h 4954"/>
                <a:gd name="T118" fmla="*/ 7109 w 7279"/>
                <a:gd name="T119" fmla="*/ 1783 h 4954"/>
                <a:gd name="T120" fmla="*/ 6779 w 7279"/>
                <a:gd name="T121" fmla="*/ 3667 h 4954"/>
                <a:gd name="T122" fmla="*/ 6681 w 7279"/>
                <a:gd name="T123" fmla="*/ 3861 h 4954"/>
                <a:gd name="T124" fmla="*/ 6689 w 7279"/>
                <a:gd name="T125" fmla="*/ 3995 h 4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79" h="4954">
                  <a:moveTo>
                    <a:pt x="6696" y="4036"/>
                  </a:moveTo>
                  <a:lnTo>
                    <a:pt x="6676" y="4064"/>
                  </a:lnTo>
                  <a:lnTo>
                    <a:pt x="6658" y="4092"/>
                  </a:lnTo>
                  <a:lnTo>
                    <a:pt x="6650" y="4105"/>
                  </a:lnTo>
                  <a:lnTo>
                    <a:pt x="6642" y="4118"/>
                  </a:lnTo>
                  <a:lnTo>
                    <a:pt x="6636" y="4132"/>
                  </a:lnTo>
                  <a:lnTo>
                    <a:pt x="6629" y="4145"/>
                  </a:lnTo>
                  <a:lnTo>
                    <a:pt x="6623" y="4159"/>
                  </a:lnTo>
                  <a:lnTo>
                    <a:pt x="6618" y="4173"/>
                  </a:lnTo>
                  <a:lnTo>
                    <a:pt x="6614" y="4187"/>
                  </a:lnTo>
                  <a:lnTo>
                    <a:pt x="6611" y="4202"/>
                  </a:lnTo>
                  <a:lnTo>
                    <a:pt x="6608" y="4217"/>
                  </a:lnTo>
                  <a:lnTo>
                    <a:pt x="6605" y="4234"/>
                  </a:lnTo>
                  <a:lnTo>
                    <a:pt x="6604" y="4251"/>
                  </a:lnTo>
                  <a:lnTo>
                    <a:pt x="6604" y="4268"/>
                  </a:lnTo>
                  <a:lnTo>
                    <a:pt x="6604" y="4276"/>
                  </a:lnTo>
                  <a:lnTo>
                    <a:pt x="6605" y="4282"/>
                  </a:lnTo>
                  <a:lnTo>
                    <a:pt x="6608" y="4289"/>
                  </a:lnTo>
                  <a:lnTo>
                    <a:pt x="6610" y="4294"/>
                  </a:lnTo>
                  <a:lnTo>
                    <a:pt x="6612" y="4301"/>
                  </a:lnTo>
                  <a:lnTo>
                    <a:pt x="6613" y="4306"/>
                  </a:lnTo>
                  <a:lnTo>
                    <a:pt x="6614" y="4312"/>
                  </a:lnTo>
                  <a:lnTo>
                    <a:pt x="6615" y="4320"/>
                  </a:lnTo>
                  <a:lnTo>
                    <a:pt x="6615" y="4325"/>
                  </a:lnTo>
                  <a:lnTo>
                    <a:pt x="6614" y="4331"/>
                  </a:lnTo>
                  <a:lnTo>
                    <a:pt x="6612" y="4335"/>
                  </a:lnTo>
                  <a:lnTo>
                    <a:pt x="6611" y="4339"/>
                  </a:lnTo>
                  <a:lnTo>
                    <a:pt x="6605" y="4347"/>
                  </a:lnTo>
                  <a:lnTo>
                    <a:pt x="6600" y="4353"/>
                  </a:lnTo>
                  <a:lnTo>
                    <a:pt x="6594" y="4361"/>
                  </a:lnTo>
                  <a:lnTo>
                    <a:pt x="6587" y="4369"/>
                  </a:lnTo>
                  <a:lnTo>
                    <a:pt x="6581" y="4376"/>
                  </a:lnTo>
                  <a:lnTo>
                    <a:pt x="6576" y="4386"/>
                  </a:lnTo>
                  <a:lnTo>
                    <a:pt x="6567" y="4409"/>
                  </a:lnTo>
                  <a:lnTo>
                    <a:pt x="6557" y="4430"/>
                  </a:lnTo>
                  <a:lnTo>
                    <a:pt x="6547" y="4450"/>
                  </a:lnTo>
                  <a:lnTo>
                    <a:pt x="6540" y="4469"/>
                  </a:lnTo>
                  <a:lnTo>
                    <a:pt x="6533" y="4488"/>
                  </a:lnTo>
                  <a:lnTo>
                    <a:pt x="6528" y="4509"/>
                  </a:lnTo>
                  <a:lnTo>
                    <a:pt x="6525" y="4520"/>
                  </a:lnTo>
                  <a:lnTo>
                    <a:pt x="6523" y="4532"/>
                  </a:lnTo>
                  <a:lnTo>
                    <a:pt x="6523" y="4544"/>
                  </a:lnTo>
                  <a:lnTo>
                    <a:pt x="6522" y="4557"/>
                  </a:lnTo>
                  <a:lnTo>
                    <a:pt x="6521" y="4567"/>
                  </a:lnTo>
                  <a:lnTo>
                    <a:pt x="6520" y="4579"/>
                  </a:lnTo>
                  <a:lnTo>
                    <a:pt x="4940" y="4560"/>
                  </a:lnTo>
                  <a:lnTo>
                    <a:pt x="4940" y="4560"/>
                  </a:lnTo>
                  <a:lnTo>
                    <a:pt x="4927" y="4560"/>
                  </a:lnTo>
                  <a:lnTo>
                    <a:pt x="4914" y="4560"/>
                  </a:lnTo>
                  <a:lnTo>
                    <a:pt x="4901" y="4560"/>
                  </a:lnTo>
                  <a:lnTo>
                    <a:pt x="4888" y="4560"/>
                  </a:lnTo>
                  <a:lnTo>
                    <a:pt x="4857" y="4560"/>
                  </a:lnTo>
                  <a:lnTo>
                    <a:pt x="4830" y="4560"/>
                  </a:lnTo>
                  <a:lnTo>
                    <a:pt x="4802" y="4560"/>
                  </a:lnTo>
                  <a:lnTo>
                    <a:pt x="4770" y="4560"/>
                  </a:lnTo>
                  <a:lnTo>
                    <a:pt x="4584" y="4240"/>
                  </a:lnTo>
                  <a:lnTo>
                    <a:pt x="4182" y="4238"/>
                  </a:lnTo>
                  <a:lnTo>
                    <a:pt x="4171" y="4247"/>
                  </a:lnTo>
                  <a:lnTo>
                    <a:pt x="4161" y="4256"/>
                  </a:lnTo>
                  <a:lnTo>
                    <a:pt x="4153" y="4266"/>
                  </a:lnTo>
                  <a:lnTo>
                    <a:pt x="4144" y="4276"/>
                  </a:lnTo>
                  <a:lnTo>
                    <a:pt x="4129" y="4295"/>
                  </a:lnTo>
                  <a:lnTo>
                    <a:pt x="4113" y="4319"/>
                  </a:lnTo>
                  <a:lnTo>
                    <a:pt x="4103" y="4331"/>
                  </a:lnTo>
                  <a:lnTo>
                    <a:pt x="4093" y="4342"/>
                  </a:lnTo>
                  <a:lnTo>
                    <a:pt x="4088" y="4347"/>
                  </a:lnTo>
                  <a:lnTo>
                    <a:pt x="4081" y="4350"/>
                  </a:lnTo>
                  <a:lnTo>
                    <a:pt x="4075" y="4351"/>
                  </a:lnTo>
                  <a:lnTo>
                    <a:pt x="4067" y="4352"/>
                  </a:lnTo>
                  <a:lnTo>
                    <a:pt x="4055" y="4352"/>
                  </a:lnTo>
                  <a:lnTo>
                    <a:pt x="4043" y="4353"/>
                  </a:lnTo>
                  <a:lnTo>
                    <a:pt x="4031" y="4356"/>
                  </a:lnTo>
                  <a:lnTo>
                    <a:pt x="4020" y="4358"/>
                  </a:lnTo>
                  <a:lnTo>
                    <a:pt x="4008" y="4362"/>
                  </a:lnTo>
                  <a:lnTo>
                    <a:pt x="3997" y="4366"/>
                  </a:lnTo>
                  <a:lnTo>
                    <a:pt x="3986" y="4372"/>
                  </a:lnTo>
                  <a:lnTo>
                    <a:pt x="3977" y="4378"/>
                  </a:lnTo>
                  <a:lnTo>
                    <a:pt x="3968" y="4385"/>
                  </a:lnTo>
                  <a:lnTo>
                    <a:pt x="3960" y="4393"/>
                  </a:lnTo>
                  <a:lnTo>
                    <a:pt x="3953" y="4402"/>
                  </a:lnTo>
                  <a:lnTo>
                    <a:pt x="3947" y="4411"/>
                  </a:lnTo>
                  <a:lnTo>
                    <a:pt x="3942" y="4420"/>
                  </a:lnTo>
                  <a:lnTo>
                    <a:pt x="3939" y="4431"/>
                  </a:lnTo>
                  <a:lnTo>
                    <a:pt x="3937" y="4443"/>
                  </a:lnTo>
                  <a:lnTo>
                    <a:pt x="3935" y="4455"/>
                  </a:lnTo>
                  <a:lnTo>
                    <a:pt x="3937" y="4467"/>
                  </a:lnTo>
                  <a:lnTo>
                    <a:pt x="3940" y="4478"/>
                  </a:lnTo>
                  <a:lnTo>
                    <a:pt x="3943" y="4488"/>
                  </a:lnTo>
                  <a:lnTo>
                    <a:pt x="3944" y="4500"/>
                  </a:lnTo>
                  <a:lnTo>
                    <a:pt x="3943" y="4511"/>
                  </a:lnTo>
                  <a:lnTo>
                    <a:pt x="3942" y="4522"/>
                  </a:lnTo>
                  <a:lnTo>
                    <a:pt x="3940" y="4531"/>
                  </a:lnTo>
                  <a:lnTo>
                    <a:pt x="3937" y="4539"/>
                  </a:lnTo>
                  <a:lnTo>
                    <a:pt x="3932" y="4548"/>
                  </a:lnTo>
                  <a:lnTo>
                    <a:pt x="3928" y="4555"/>
                  </a:lnTo>
                  <a:lnTo>
                    <a:pt x="3923" y="4563"/>
                  </a:lnTo>
                  <a:lnTo>
                    <a:pt x="3916" y="4571"/>
                  </a:lnTo>
                  <a:lnTo>
                    <a:pt x="3908" y="4577"/>
                  </a:lnTo>
                  <a:lnTo>
                    <a:pt x="3902" y="4584"/>
                  </a:lnTo>
                  <a:lnTo>
                    <a:pt x="3893" y="4589"/>
                  </a:lnTo>
                  <a:lnTo>
                    <a:pt x="3886" y="4594"/>
                  </a:lnTo>
                  <a:lnTo>
                    <a:pt x="3867" y="4605"/>
                  </a:lnTo>
                  <a:lnTo>
                    <a:pt x="3849" y="4616"/>
                  </a:lnTo>
                  <a:lnTo>
                    <a:pt x="3814" y="4633"/>
                  </a:lnTo>
                  <a:lnTo>
                    <a:pt x="3783" y="4648"/>
                  </a:lnTo>
                  <a:lnTo>
                    <a:pt x="3753" y="4662"/>
                  </a:lnTo>
                  <a:lnTo>
                    <a:pt x="3717" y="4677"/>
                  </a:lnTo>
                  <a:lnTo>
                    <a:pt x="3708" y="4681"/>
                  </a:lnTo>
                  <a:lnTo>
                    <a:pt x="3699" y="4684"/>
                  </a:lnTo>
                  <a:lnTo>
                    <a:pt x="3689" y="4686"/>
                  </a:lnTo>
                  <a:lnTo>
                    <a:pt x="3681" y="4688"/>
                  </a:lnTo>
                  <a:lnTo>
                    <a:pt x="3662" y="4692"/>
                  </a:lnTo>
                  <a:lnTo>
                    <a:pt x="3645" y="4695"/>
                  </a:lnTo>
                  <a:lnTo>
                    <a:pt x="3637" y="4696"/>
                  </a:lnTo>
                  <a:lnTo>
                    <a:pt x="3629" y="4698"/>
                  </a:lnTo>
                  <a:lnTo>
                    <a:pt x="3621" y="4701"/>
                  </a:lnTo>
                  <a:lnTo>
                    <a:pt x="3615" y="4704"/>
                  </a:lnTo>
                  <a:lnTo>
                    <a:pt x="3607" y="4709"/>
                  </a:lnTo>
                  <a:lnTo>
                    <a:pt x="3601" y="4714"/>
                  </a:lnTo>
                  <a:lnTo>
                    <a:pt x="3594" y="4721"/>
                  </a:lnTo>
                  <a:lnTo>
                    <a:pt x="3588" y="4728"/>
                  </a:lnTo>
                  <a:lnTo>
                    <a:pt x="3586" y="4740"/>
                  </a:lnTo>
                  <a:lnTo>
                    <a:pt x="3582" y="4753"/>
                  </a:lnTo>
                  <a:lnTo>
                    <a:pt x="3576" y="4761"/>
                  </a:lnTo>
                  <a:lnTo>
                    <a:pt x="3568" y="4766"/>
                  </a:lnTo>
                  <a:lnTo>
                    <a:pt x="3561" y="4770"/>
                  </a:lnTo>
                  <a:lnTo>
                    <a:pt x="3553" y="4774"/>
                  </a:lnTo>
                  <a:lnTo>
                    <a:pt x="3535" y="4779"/>
                  </a:lnTo>
                  <a:lnTo>
                    <a:pt x="3515" y="4784"/>
                  </a:lnTo>
                  <a:lnTo>
                    <a:pt x="3500" y="4790"/>
                  </a:lnTo>
                  <a:lnTo>
                    <a:pt x="3487" y="4796"/>
                  </a:lnTo>
                  <a:lnTo>
                    <a:pt x="3481" y="4800"/>
                  </a:lnTo>
                  <a:lnTo>
                    <a:pt x="3474" y="4802"/>
                  </a:lnTo>
                  <a:lnTo>
                    <a:pt x="3467" y="4803"/>
                  </a:lnTo>
                  <a:lnTo>
                    <a:pt x="3458" y="4804"/>
                  </a:lnTo>
                  <a:lnTo>
                    <a:pt x="3441" y="4804"/>
                  </a:lnTo>
                  <a:lnTo>
                    <a:pt x="3426" y="4804"/>
                  </a:lnTo>
                  <a:lnTo>
                    <a:pt x="3411" y="4804"/>
                  </a:lnTo>
                  <a:lnTo>
                    <a:pt x="3392" y="4804"/>
                  </a:lnTo>
                  <a:lnTo>
                    <a:pt x="3388" y="4803"/>
                  </a:lnTo>
                  <a:lnTo>
                    <a:pt x="3384" y="4802"/>
                  </a:lnTo>
                  <a:lnTo>
                    <a:pt x="3379" y="4801"/>
                  </a:lnTo>
                  <a:lnTo>
                    <a:pt x="3375" y="4798"/>
                  </a:lnTo>
                  <a:lnTo>
                    <a:pt x="3367" y="4793"/>
                  </a:lnTo>
                  <a:lnTo>
                    <a:pt x="3359" y="4790"/>
                  </a:lnTo>
                  <a:lnTo>
                    <a:pt x="3322" y="4779"/>
                  </a:lnTo>
                  <a:lnTo>
                    <a:pt x="3290" y="4770"/>
                  </a:lnTo>
                  <a:lnTo>
                    <a:pt x="3273" y="4768"/>
                  </a:lnTo>
                  <a:lnTo>
                    <a:pt x="3256" y="4766"/>
                  </a:lnTo>
                  <a:lnTo>
                    <a:pt x="3238" y="4765"/>
                  </a:lnTo>
                  <a:lnTo>
                    <a:pt x="3218" y="4764"/>
                  </a:lnTo>
                  <a:lnTo>
                    <a:pt x="3213" y="4765"/>
                  </a:lnTo>
                  <a:lnTo>
                    <a:pt x="3207" y="4766"/>
                  </a:lnTo>
                  <a:lnTo>
                    <a:pt x="3203" y="4767"/>
                  </a:lnTo>
                  <a:lnTo>
                    <a:pt x="3199" y="4769"/>
                  </a:lnTo>
                  <a:lnTo>
                    <a:pt x="3191" y="4775"/>
                  </a:lnTo>
                  <a:lnTo>
                    <a:pt x="3184" y="4781"/>
                  </a:lnTo>
                  <a:lnTo>
                    <a:pt x="3177" y="4788"/>
                  </a:lnTo>
                  <a:lnTo>
                    <a:pt x="3171" y="4795"/>
                  </a:lnTo>
                  <a:lnTo>
                    <a:pt x="3163" y="4803"/>
                  </a:lnTo>
                  <a:lnTo>
                    <a:pt x="3153" y="4809"/>
                  </a:lnTo>
                  <a:lnTo>
                    <a:pt x="3117" y="4831"/>
                  </a:lnTo>
                  <a:lnTo>
                    <a:pt x="3083" y="4848"/>
                  </a:lnTo>
                  <a:lnTo>
                    <a:pt x="3067" y="4858"/>
                  </a:lnTo>
                  <a:lnTo>
                    <a:pt x="3050" y="4868"/>
                  </a:lnTo>
                  <a:lnTo>
                    <a:pt x="3034" y="4879"/>
                  </a:lnTo>
                  <a:lnTo>
                    <a:pt x="3016" y="4893"/>
                  </a:lnTo>
                  <a:lnTo>
                    <a:pt x="3004" y="4902"/>
                  </a:lnTo>
                  <a:lnTo>
                    <a:pt x="2993" y="4909"/>
                  </a:lnTo>
                  <a:lnTo>
                    <a:pt x="2981" y="4914"/>
                  </a:lnTo>
                  <a:lnTo>
                    <a:pt x="2968" y="4918"/>
                  </a:lnTo>
                  <a:lnTo>
                    <a:pt x="2942" y="4924"/>
                  </a:lnTo>
                  <a:lnTo>
                    <a:pt x="2913" y="4930"/>
                  </a:lnTo>
                  <a:lnTo>
                    <a:pt x="2886" y="4937"/>
                  </a:lnTo>
                  <a:lnTo>
                    <a:pt x="2862" y="4943"/>
                  </a:lnTo>
                  <a:lnTo>
                    <a:pt x="2838" y="4950"/>
                  </a:lnTo>
                  <a:lnTo>
                    <a:pt x="2810" y="4954"/>
                  </a:lnTo>
                  <a:lnTo>
                    <a:pt x="2810" y="4954"/>
                  </a:lnTo>
                  <a:lnTo>
                    <a:pt x="2319" y="4742"/>
                  </a:lnTo>
                  <a:lnTo>
                    <a:pt x="0" y="3905"/>
                  </a:lnTo>
                  <a:lnTo>
                    <a:pt x="0" y="3905"/>
                  </a:lnTo>
                  <a:lnTo>
                    <a:pt x="2" y="3897"/>
                  </a:lnTo>
                  <a:lnTo>
                    <a:pt x="5" y="3888"/>
                  </a:lnTo>
                  <a:lnTo>
                    <a:pt x="8" y="3879"/>
                  </a:lnTo>
                  <a:lnTo>
                    <a:pt x="12" y="3872"/>
                  </a:lnTo>
                  <a:lnTo>
                    <a:pt x="20" y="3856"/>
                  </a:lnTo>
                  <a:lnTo>
                    <a:pt x="29" y="3837"/>
                  </a:lnTo>
                  <a:lnTo>
                    <a:pt x="33" y="3822"/>
                  </a:lnTo>
                  <a:lnTo>
                    <a:pt x="35" y="3808"/>
                  </a:lnTo>
                  <a:lnTo>
                    <a:pt x="37" y="3802"/>
                  </a:lnTo>
                  <a:lnTo>
                    <a:pt x="39" y="3794"/>
                  </a:lnTo>
                  <a:lnTo>
                    <a:pt x="42" y="3788"/>
                  </a:lnTo>
                  <a:lnTo>
                    <a:pt x="45" y="3781"/>
                  </a:lnTo>
                  <a:lnTo>
                    <a:pt x="50" y="3772"/>
                  </a:lnTo>
                  <a:lnTo>
                    <a:pt x="57" y="3765"/>
                  </a:lnTo>
                  <a:lnTo>
                    <a:pt x="63" y="3758"/>
                  </a:lnTo>
                  <a:lnTo>
                    <a:pt x="70" y="3753"/>
                  </a:lnTo>
                  <a:lnTo>
                    <a:pt x="85" y="3743"/>
                  </a:lnTo>
                  <a:lnTo>
                    <a:pt x="101" y="3734"/>
                  </a:lnTo>
                  <a:lnTo>
                    <a:pt x="118" y="3723"/>
                  </a:lnTo>
                  <a:lnTo>
                    <a:pt x="136" y="3715"/>
                  </a:lnTo>
                  <a:lnTo>
                    <a:pt x="152" y="3709"/>
                  </a:lnTo>
                  <a:lnTo>
                    <a:pt x="169" y="3703"/>
                  </a:lnTo>
                  <a:lnTo>
                    <a:pt x="185" y="3698"/>
                  </a:lnTo>
                  <a:lnTo>
                    <a:pt x="203" y="3693"/>
                  </a:lnTo>
                  <a:lnTo>
                    <a:pt x="220" y="3685"/>
                  </a:lnTo>
                  <a:lnTo>
                    <a:pt x="238" y="3677"/>
                  </a:lnTo>
                  <a:lnTo>
                    <a:pt x="243" y="3674"/>
                  </a:lnTo>
                  <a:lnTo>
                    <a:pt x="246" y="3672"/>
                  </a:lnTo>
                  <a:lnTo>
                    <a:pt x="248" y="3669"/>
                  </a:lnTo>
                  <a:lnTo>
                    <a:pt x="249" y="3664"/>
                  </a:lnTo>
                  <a:lnTo>
                    <a:pt x="249" y="3657"/>
                  </a:lnTo>
                  <a:lnTo>
                    <a:pt x="248" y="3647"/>
                  </a:lnTo>
                  <a:lnTo>
                    <a:pt x="245" y="3637"/>
                  </a:lnTo>
                  <a:lnTo>
                    <a:pt x="243" y="3627"/>
                  </a:lnTo>
                  <a:lnTo>
                    <a:pt x="239" y="3617"/>
                  </a:lnTo>
                  <a:lnTo>
                    <a:pt x="238" y="3606"/>
                  </a:lnTo>
                  <a:lnTo>
                    <a:pt x="238" y="3594"/>
                  </a:lnTo>
                  <a:lnTo>
                    <a:pt x="236" y="3583"/>
                  </a:lnTo>
                  <a:lnTo>
                    <a:pt x="234" y="3573"/>
                  </a:lnTo>
                  <a:lnTo>
                    <a:pt x="231" y="3563"/>
                  </a:lnTo>
                  <a:lnTo>
                    <a:pt x="222" y="3545"/>
                  </a:lnTo>
                  <a:lnTo>
                    <a:pt x="212" y="3526"/>
                  </a:lnTo>
                  <a:lnTo>
                    <a:pt x="203" y="3509"/>
                  </a:lnTo>
                  <a:lnTo>
                    <a:pt x="194" y="3491"/>
                  </a:lnTo>
                  <a:lnTo>
                    <a:pt x="191" y="3481"/>
                  </a:lnTo>
                  <a:lnTo>
                    <a:pt x="188" y="3470"/>
                  </a:lnTo>
                  <a:lnTo>
                    <a:pt x="187" y="3459"/>
                  </a:lnTo>
                  <a:lnTo>
                    <a:pt x="185" y="3447"/>
                  </a:lnTo>
                  <a:lnTo>
                    <a:pt x="185" y="3434"/>
                  </a:lnTo>
                  <a:lnTo>
                    <a:pt x="187" y="3423"/>
                  </a:lnTo>
                  <a:lnTo>
                    <a:pt x="188" y="3411"/>
                  </a:lnTo>
                  <a:lnTo>
                    <a:pt x="191" y="3400"/>
                  </a:lnTo>
                  <a:lnTo>
                    <a:pt x="194" y="3389"/>
                  </a:lnTo>
                  <a:lnTo>
                    <a:pt x="199" y="3379"/>
                  </a:lnTo>
                  <a:lnTo>
                    <a:pt x="207" y="3371"/>
                  </a:lnTo>
                  <a:lnTo>
                    <a:pt x="217" y="3363"/>
                  </a:lnTo>
                  <a:lnTo>
                    <a:pt x="234" y="3351"/>
                  </a:lnTo>
                  <a:lnTo>
                    <a:pt x="251" y="3340"/>
                  </a:lnTo>
                  <a:lnTo>
                    <a:pt x="258" y="3335"/>
                  </a:lnTo>
                  <a:lnTo>
                    <a:pt x="265" y="3327"/>
                  </a:lnTo>
                  <a:lnTo>
                    <a:pt x="271" y="3320"/>
                  </a:lnTo>
                  <a:lnTo>
                    <a:pt x="275" y="3310"/>
                  </a:lnTo>
                  <a:lnTo>
                    <a:pt x="280" y="3293"/>
                  </a:lnTo>
                  <a:lnTo>
                    <a:pt x="283" y="3277"/>
                  </a:lnTo>
                  <a:lnTo>
                    <a:pt x="285" y="3261"/>
                  </a:lnTo>
                  <a:lnTo>
                    <a:pt x="289" y="3242"/>
                  </a:lnTo>
                  <a:lnTo>
                    <a:pt x="299" y="3213"/>
                  </a:lnTo>
                  <a:lnTo>
                    <a:pt x="307" y="3186"/>
                  </a:lnTo>
                  <a:lnTo>
                    <a:pt x="312" y="3173"/>
                  </a:lnTo>
                  <a:lnTo>
                    <a:pt x="315" y="3159"/>
                  </a:lnTo>
                  <a:lnTo>
                    <a:pt x="316" y="3144"/>
                  </a:lnTo>
                  <a:lnTo>
                    <a:pt x="317" y="3128"/>
                  </a:lnTo>
                  <a:lnTo>
                    <a:pt x="315" y="3117"/>
                  </a:lnTo>
                  <a:lnTo>
                    <a:pt x="312" y="3106"/>
                  </a:lnTo>
                  <a:lnTo>
                    <a:pt x="311" y="3101"/>
                  </a:lnTo>
                  <a:lnTo>
                    <a:pt x="311" y="3096"/>
                  </a:lnTo>
                  <a:lnTo>
                    <a:pt x="312" y="3092"/>
                  </a:lnTo>
                  <a:lnTo>
                    <a:pt x="316" y="3089"/>
                  </a:lnTo>
                  <a:lnTo>
                    <a:pt x="327" y="3080"/>
                  </a:lnTo>
                  <a:lnTo>
                    <a:pt x="338" y="3074"/>
                  </a:lnTo>
                  <a:lnTo>
                    <a:pt x="349" y="3067"/>
                  </a:lnTo>
                  <a:lnTo>
                    <a:pt x="359" y="3063"/>
                  </a:lnTo>
                  <a:lnTo>
                    <a:pt x="381" y="3053"/>
                  </a:lnTo>
                  <a:lnTo>
                    <a:pt x="403" y="3046"/>
                  </a:lnTo>
                  <a:lnTo>
                    <a:pt x="423" y="3037"/>
                  </a:lnTo>
                  <a:lnTo>
                    <a:pt x="444" y="3027"/>
                  </a:lnTo>
                  <a:lnTo>
                    <a:pt x="453" y="3021"/>
                  </a:lnTo>
                  <a:lnTo>
                    <a:pt x="463" y="3013"/>
                  </a:lnTo>
                  <a:lnTo>
                    <a:pt x="473" y="3006"/>
                  </a:lnTo>
                  <a:lnTo>
                    <a:pt x="482" y="2996"/>
                  </a:lnTo>
                  <a:lnTo>
                    <a:pt x="489" y="2987"/>
                  </a:lnTo>
                  <a:lnTo>
                    <a:pt x="492" y="2978"/>
                  </a:lnTo>
                  <a:lnTo>
                    <a:pt x="494" y="2973"/>
                  </a:lnTo>
                  <a:lnTo>
                    <a:pt x="498" y="2969"/>
                  </a:lnTo>
                  <a:lnTo>
                    <a:pt x="501" y="2966"/>
                  </a:lnTo>
                  <a:lnTo>
                    <a:pt x="505" y="2962"/>
                  </a:lnTo>
                  <a:lnTo>
                    <a:pt x="517" y="2956"/>
                  </a:lnTo>
                  <a:lnTo>
                    <a:pt x="528" y="2948"/>
                  </a:lnTo>
                  <a:lnTo>
                    <a:pt x="538" y="2941"/>
                  </a:lnTo>
                  <a:lnTo>
                    <a:pt x="547" y="2933"/>
                  </a:lnTo>
                  <a:lnTo>
                    <a:pt x="565" y="2916"/>
                  </a:lnTo>
                  <a:lnTo>
                    <a:pt x="586" y="2898"/>
                  </a:lnTo>
                  <a:lnTo>
                    <a:pt x="589" y="2895"/>
                  </a:lnTo>
                  <a:lnTo>
                    <a:pt x="593" y="2894"/>
                  </a:lnTo>
                  <a:lnTo>
                    <a:pt x="595" y="2894"/>
                  </a:lnTo>
                  <a:lnTo>
                    <a:pt x="598" y="2894"/>
                  </a:lnTo>
                  <a:lnTo>
                    <a:pt x="603" y="2897"/>
                  </a:lnTo>
                  <a:lnTo>
                    <a:pt x="610" y="2900"/>
                  </a:lnTo>
                  <a:lnTo>
                    <a:pt x="616" y="2904"/>
                  </a:lnTo>
                  <a:lnTo>
                    <a:pt x="623" y="2908"/>
                  </a:lnTo>
                  <a:lnTo>
                    <a:pt x="629" y="2911"/>
                  </a:lnTo>
                  <a:lnTo>
                    <a:pt x="637" y="2912"/>
                  </a:lnTo>
                  <a:lnTo>
                    <a:pt x="642" y="2912"/>
                  </a:lnTo>
                  <a:lnTo>
                    <a:pt x="647" y="2910"/>
                  </a:lnTo>
                  <a:lnTo>
                    <a:pt x="651" y="2907"/>
                  </a:lnTo>
                  <a:lnTo>
                    <a:pt x="655" y="2904"/>
                  </a:lnTo>
                  <a:lnTo>
                    <a:pt x="663" y="2897"/>
                  </a:lnTo>
                  <a:lnTo>
                    <a:pt x="670" y="2889"/>
                  </a:lnTo>
                  <a:lnTo>
                    <a:pt x="679" y="2883"/>
                  </a:lnTo>
                  <a:lnTo>
                    <a:pt x="688" y="2878"/>
                  </a:lnTo>
                  <a:lnTo>
                    <a:pt x="696" y="2874"/>
                  </a:lnTo>
                  <a:lnTo>
                    <a:pt x="705" y="2870"/>
                  </a:lnTo>
                  <a:lnTo>
                    <a:pt x="714" y="2865"/>
                  </a:lnTo>
                  <a:lnTo>
                    <a:pt x="722" y="2861"/>
                  </a:lnTo>
                  <a:lnTo>
                    <a:pt x="731" y="2857"/>
                  </a:lnTo>
                  <a:lnTo>
                    <a:pt x="741" y="2850"/>
                  </a:lnTo>
                  <a:lnTo>
                    <a:pt x="760" y="2835"/>
                  </a:lnTo>
                  <a:lnTo>
                    <a:pt x="777" y="2822"/>
                  </a:lnTo>
                  <a:lnTo>
                    <a:pt x="786" y="2817"/>
                  </a:lnTo>
                  <a:lnTo>
                    <a:pt x="796" y="2812"/>
                  </a:lnTo>
                  <a:lnTo>
                    <a:pt x="806" y="2808"/>
                  </a:lnTo>
                  <a:lnTo>
                    <a:pt x="818" y="2806"/>
                  </a:lnTo>
                  <a:lnTo>
                    <a:pt x="843" y="2800"/>
                  </a:lnTo>
                  <a:lnTo>
                    <a:pt x="866" y="2796"/>
                  </a:lnTo>
                  <a:lnTo>
                    <a:pt x="886" y="2790"/>
                  </a:lnTo>
                  <a:lnTo>
                    <a:pt x="906" y="2784"/>
                  </a:lnTo>
                  <a:lnTo>
                    <a:pt x="926" y="2778"/>
                  </a:lnTo>
                  <a:lnTo>
                    <a:pt x="947" y="2771"/>
                  </a:lnTo>
                  <a:lnTo>
                    <a:pt x="968" y="2764"/>
                  </a:lnTo>
                  <a:lnTo>
                    <a:pt x="992" y="2758"/>
                  </a:lnTo>
                  <a:lnTo>
                    <a:pt x="1014" y="2753"/>
                  </a:lnTo>
                  <a:lnTo>
                    <a:pt x="1033" y="2746"/>
                  </a:lnTo>
                  <a:lnTo>
                    <a:pt x="1042" y="2743"/>
                  </a:lnTo>
                  <a:lnTo>
                    <a:pt x="1051" y="2739"/>
                  </a:lnTo>
                  <a:lnTo>
                    <a:pt x="1059" y="2733"/>
                  </a:lnTo>
                  <a:lnTo>
                    <a:pt x="1068" y="2727"/>
                  </a:lnTo>
                  <a:lnTo>
                    <a:pt x="1078" y="2722"/>
                  </a:lnTo>
                  <a:lnTo>
                    <a:pt x="1088" y="2718"/>
                  </a:lnTo>
                  <a:lnTo>
                    <a:pt x="1093" y="2716"/>
                  </a:lnTo>
                  <a:lnTo>
                    <a:pt x="1097" y="2714"/>
                  </a:lnTo>
                  <a:lnTo>
                    <a:pt x="1101" y="2712"/>
                  </a:lnTo>
                  <a:lnTo>
                    <a:pt x="1105" y="2708"/>
                  </a:lnTo>
                  <a:lnTo>
                    <a:pt x="1121" y="2683"/>
                  </a:lnTo>
                  <a:lnTo>
                    <a:pt x="1136" y="2661"/>
                  </a:lnTo>
                  <a:lnTo>
                    <a:pt x="1143" y="2650"/>
                  </a:lnTo>
                  <a:lnTo>
                    <a:pt x="1152" y="2642"/>
                  </a:lnTo>
                  <a:lnTo>
                    <a:pt x="1163" y="2632"/>
                  </a:lnTo>
                  <a:lnTo>
                    <a:pt x="1175" y="2623"/>
                  </a:lnTo>
                  <a:lnTo>
                    <a:pt x="1192" y="2614"/>
                  </a:lnTo>
                  <a:lnTo>
                    <a:pt x="1208" y="2606"/>
                  </a:lnTo>
                  <a:lnTo>
                    <a:pt x="1223" y="2601"/>
                  </a:lnTo>
                  <a:lnTo>
                    <a:pt x="1240" y="2598"/>
                  </a:lnTo>
                  <a:lnTo>
                    <a:pt x="1257" y="2596"/>
                  </a:lnTo>
                  <a:lnTo>
                    <a:pt x="1274" y="2595"/>
                  </a:lnTo>
                  <a:lnTo>
                    <a:pt x="1293" y="2595"/>
                  </a:lnTo>
                  <a:lnTo>
                    <a:pt x="1312" y="2595"/>
                  </a:lnTo>
                  <a:lnTo>
                    <a:pt x="1322" y="2596"/>
                  </a:lnTo>
                  <a:lnTo>
                    <a:pt x="1331" y="2597"/>
                  </a:lnTo>
                  <a:lnTo>
                    <a:pt x="1340" y="2601"/>
                  </a:lnTo>
                  <a:lnTo>
                    <a:pt x="1348" y="2604"/>
                  </a:lnTo>
                  <a:lnTo>
                    <a:pt x="1363" y="2613"/>
                  </a:lnTo>
                  <a:lnTo>
                    <a:pt x="1377" y="2623"/>
                  </a:lnTo>
                  <a:lnTo>
                    <a:pt x="1391" y="2633"/>
                  </a:lnTo>
                  <a:lnTo>
                    <a:pt x="1406" y="2643"/>
                  </a:lnTo>
                  <a:lnTo>
                    <a:pt x="1413" y="2646"/>
                  </a:lnTo>
                  <a:lnTo>
                    <a:pt x="1422" y="2649"/>
                  </a:lnTo>
                  <a:lnTo>
                    <a:pt x="1431" y="2650"/>
                  </a:lnTo>
                  <a:lnTo>
                    <a:pt x="1442" y="2651"/>
                  </a:lnTo>
                  <a:lnTo>
                    <a:pt x="1455" y="2650"/>
                  </a:lnTo>
                  <a:lnTo>
                    <a:pt x="1466" y="2648"/>
                  </a:lnTo>
                  <a:lnTo>
                    <a:pt x="1477" y="2646"/>
                  </a:lnTo>
                  <a:lnTo>
                    <a:pt x="1488" y="2643"/>
                  </a:lnTo>
                  <a:lnTo>
                    <a:pt x="1488" y="2643"/>
                  </a:lnTo>
                  <a:lnTo>
                    <a:pt x="1492" y="2620"/>
                  </a:lnTo>
                  <a:lnTo>
                    <a:pt x="1499" y="2601"/>
                  </a:lnTo>
                  <a:lnTo>
                    <a:pt x="1506" y="2583"/>
                  </a:lnTo>
                  <a:lnTo>
                    <a:pt x="1514" y="2567"/>
                  </a:lnTo>
                  <a:lnTo>
                    <a:pt x="1523" y="2551"/>
                  </a:lnTo>
                  <a:lnTo>
                    <a:pt x="1531" y="2535"/>
                  </a:lnTo>
                  <a:lnTo>
                    <a:pt x="1539" y="2516"/>
                  </a:lnTo>
                  <a:lnTo>
                    <a:pt x="1547" y="2495"/>
                  </a:lnTo>
                  <a:lnTo>
                    <a:pt x="1565" y="2443"/>
                  </a:lnTo>
                  <a:lnTo>
                    <a:pt x="1580" y="2395"/>
                  </a:lnTo>
                  <a:lnTo>
                    <a:pt x="1593" y="2351"/>
                  </a:lnTo>
                  <a:lnTo>
                    <a:pt x="1604" y="2307"/>
                  </a:lnTo>
                  <a:lnTo>
                    <a:pt x="1614" y="2264"/>
                  </a:lnTo>
                  <a:lnTo>
                    <a:pt x="1625" y="2218"/>
                  </a:lnTo>
                  <a:lnTo>
                    <a:pt x="1636" y="2170"/>
                  </a:lnTo>
                  <a:lnTo>
                    <a:pt x="1649" y="2116"/>
                  </a:lnTo>
                  <a:lnTo>
                    <a:pt x="1654" y="2093"/>
                  </a:lnTo>
                  <a:lnTo>
                    <a:pt x="1661" y="2073"/>
                  </a:lnTo>
                  <a:lnTo>
                    <a:pt x="1667" y="2053"/>
                  </a:lnTo>
                  <a:lnTo>
                    <a:pt x="1674" y="2035"/>
                  </a:lnTo>
                  <a:lnTo>
                    <a:pt x="1679" y="2015"/>
                  </a:lnTo>
                  <a:lnTo>
                    <a:pt x="1684" y="1996"/>
                  </a:lnTo>
                  <a:lnTo>
                    <a:pt x="1687" y="1974"/>
                  </a:lnTo>
                  <a:lnTo>
                    <a:pt x="1688" y="1952"/>
                  </a:lnTo>
                  <a:lnTo>
                    <a:pt x="1688" y="1932"/>
                  </a:lnTo>
                  <a:lnTo>
                    <a:pt x="1688" y="1916"/>
                  </a:lnTo>
                  <a:lnTo>
                    <a:pt x="1688" y="1900"/>
                  </a:lnTo>
                  <a:lnTo>
                    <a:pt x="1688" y="1880"/>
                  </a:lnTo>
                  <a:lnTo>
                    <a:pt x="1749" y="1592"/>
                  </a:lnTo>
                  <a:lnTo>
                    <a:pt x="1756" y="1574"/>
                  </a:lnTo>
                  <a:lnTo>
                    <a:pt x="1762" y="1556"/>
                  </a:lnTo>
                  <a:lnTo>
                    <a:pt x="1765" y="1548"/>
                  </a:lnTo>
                  <a:lnTo>
                    <a:pt x="1767" y="1539"/>
                  </a:lnTo>
                  <a:lnTo>
                    <a:pt x="1769" y="1530"/>
                  </a:lnTo>
                  <a:lnTo>
                    <a:pt x="1769" y="1520"/>
                  </a:lnTo>
                  <a:lnTo>
                    <a:pt x="1769" y="1504"/>
                  </a:lnTo>
                  <a:lnTo>
                    <a:pt x="1769" y="1491"/>
                  </a:lnTo>
                  <a:lnTo>
                    <a:pt x="1769" y="1477"/>
                  </a:lnTo>
                  <a:lnTo>
                    <a:pt x="1769" y="1462"/>
                  </a:lnTo>
                  <a:lnTo>
                    <a:pt x="1768" y="1452"/>
                  </a:lnTo>
                  <a:lnTo>
                    <a:pt x="1765" y="1442"/>
                  </a:lnTo>
                  <a:lnTo>
                    <a:pt x="1761" y="1433"/>
                  </a:lnTo>
                  <a:lnTo>
                    <a:pt x="1756" y="1426"/>
                  </a:lnTo>
                  <a:lnTo>
                    <a:pt x="1750" y="1418"/>
                  </a:lnTo>
                  <a:lnTo>
                    <a:pt x="1744" y="1409"/>
                  </a:lnTo>
                  <a:lnTo>
                    <a:pt x="1740" y="1401"/>
                  </a:lnTo>
                  <a:lnTo>
                    <a:pt x="1735" y="1390"/>
                  </a:lnTo>
                  <a:lnTo>
                    <a:pt x="1732" y="1377"/>
                  </a:lnTo>
                  <a:lnTo>
                    <a:pt x="1730" y="1364"/>
                  </a:lnTo>
                  <a:lnTo>
                    <a:pt x="1729" y="1352"/>
                  </a:lnTo>
                  <a:lnTo>
                    <a:pt x="1727" y="1340"/>
                  </a:lnTo>
                  <a:lnTo>
                    <a:pt x="1726" y="1329"/>
                  </a:lnTo>
                  <a:lnTo>
                    <a:pt x="1722" y="1318"/>
                  </a:lnTo>
                  <a:lnTo>
                    <a:pt x="1720" y="1312"/>
                  </a:lnTo>
                  <a:lnTo>
                    <a:pt x="1718" y="1307"/>
                  </a:lnTo>
                  <a:lnTo>
                    <a:pt x="1714" y="1300"/>
                  </a:lnTo>
                  <a:lnTo>
                    <a:pt x="1711" y="1295"/>
                  </a:lnTo>
                  <a:lnTo>
                    <a:pt x="1704" y="1288"/>
                  </a:lnTo>
                  <a:lnTo>
                    <a:pt x="1699" y="1282"/>
                  </a:lnTo>
                  <a:lnTo>
                    <a:pt x="1692" y="1277"/>
                  </a:lnTo>
                  <a:lnTo>
                    <a:pt x="1686" y="1271"/>
                  </a:lnTo>
                  <a:lnTo>
                    <a:pt x="1673" y="1263"/>
                  </a:lnTo>
                  <a:lnTo>
                    <a:pt x="1660" y="1253"/>
                  </a:lnTo>
                  <a:lnTo>
                    <a:pt x="1654" y="1248"/>
                  </a:lnTo>
                  <a:lnTo>
                    <a:pt x="1649" y="1243"/>
                  </a:lnTo>
                  <a:lnTo>
                    <a:pt x="1645" y="1239"/>
                  </a:lnTo>
                  <a:lnTo>
                    <a:pt x="1640" y="1232"/>
                  </a:lnTo>
                  <a:lnTo>
                    <a:pt x="1636" y="1227"/>
                  </a:lnTo>
                  <a:lnTo>
                    <a:pt x="1634" y="1219"/>
                  </a:lnTo>
                  <a:lnTo>
                    <a:pt x="1633" y="1212"/>
                  </a:lnTo>
                  <a:lnTo>
                    <a:pt x="1632" y="1204"/>
                  </a:lnTo>
                  <a:lnTo>
                    <a:pt x="1633" y="1184"/>
                  </a:lnTo>
                  <a:lnTo>
                    <a:pt x="1636" y="1166"/>
                  </a:lnTo>
                  <a:lnTo>
                    <a:pt x="1639" y="1148"/>
                  </a:lnTo>
                  <a:lnTo>
                    <a:pt x="1640" y="1129"/>
                  </a:lnTo>
                  <a:lnTo>
                    <a:pt x="1639" y="1119"/>
                  </a:lnTo>
                  <a:lnTo>
                    <a:pt x="1638" y="1111"/>
                  </a:lnTo>
                  <a:lnTo>
                    <a:pt x="1636" y="1104"/>
                  </a:lnTo>
                  <a:lnTo>
                    <a:pt x="1633" y="1096"/>
                  </a:lnTo>
                  <a:lnTo>
                    <a:pt x="1630" y="1090"/>
                  </a:lnTo>
                  <a:lnTo>
                    <a:pt x="1625" y="1084"/>
                  </a:lnTo>
                  <a:lnTo>
                    <a:pt x="1621" y="1078"/>
                  </a:lnTo>
                  <a:lnTo>
                    <a:pt x="1615" y="1072"/>
                  </a:lnTo>
                  <a:lnTo>
                    <a:pt x="1603" y="1063"/>
                  </a:lnTo>
                  <a:lnTo>
                    <a:pt x="1588" y="1053"/>
                  </a:lnTo>
                  <a:lnTo>
                    <a:pt x="1574" y="1043"/>
                  </a:lnTo>
                  <a:lnTo>
                    <a:pt x="1559" y="1035"/>
                  </a:lnTo>
                  <a:lnTo>
                    <a:pt x="1540" y="1022"/>
                  </a:lnTo>
                  <a:lnTo>
                    <a:pt x="1525" y="1009"/>
                  </a:lnTo>
                  <a:lnTo>
                    <a:pt x="1510" y="995"/>
                  </a:lnTo>
                  <a:lnTo>
                    <a:pt x="1491" y="981"/>
                  </a:lnTo>
                  <a:lnTo>
                    <a:pt x="1471" y="969"/>
                  </a:lnTo>
                  <a:lnTo>
                    <a:pt x="1449" y="957"/>
                  </a:lnTo>
                  <a:lnTo>
                    <a:pt x="1440" y="950"/>
                  </a:lnTo>
                  <a:lnTo>
                    <a:pt x="1433" y="943"/>
                  </a:lnTo>
                  <a:lnTo>
                    <a:pt x="1431" y="939"/>
                  </a:lnTo>
                  <a:lnTo>
                    <a:pt x="1429" y="933"/>
                  </a:lnTo>
                  <a:lnTo>
                    <a:pt x="1428" y="928"/>
                  </a:lnTo>
                  <a:lnTo>
                    <a:pt x="1428" y="922"/>
                  </a:lnTo>
                  <a:lnTo>
                    <a:pt x="1428" y="909"/>
                  </a:lnTo>
                  <a:lnTo>
                    <a:pt x="1430" y="897"/>
                  </a:lnTo>
                  <a:lnTo>
                    <a:pt x="1433" y="887"/>
                  </a:lnTo>
                  <a:lnTo>
                    <a:pt x="1436" y="876"/>
                  </a:lnTo>
                  <a:lnTo>
                    <a:pt x="1445" y="854"/>
                  </a:lnTo>
                  <a:lnTo>
                    <a:pt x="1452" y="829"/>
                  </a:lnTo>
                  <a:lnTo>
                    <a:pt x="1457" y="805"/>
                  </a:lnTo>
                  <a:lnTo>
                    <a:pt x="1461" y="781"/>
                  </a:lnTo>
                  <a:lnTo>
                    <a:pt x="1465" y="770"/>
                  </a:lnTo>
                  <a:lnTo>
                    <a:pt x="1470" y="760"/>
                  </a:lnTo>
                  <a:lnTo>
                    <a:pt x="1473" y="756"/>
                  </a:lnTo>
                  <a:lnTo>
                    <a:pt x="1477" y="752"/>
                  </a:lnTo>
                  <a:lnTo>
                    <a:pt x="1482" y="747"/>
                  </a:lnTo>
                  <a:lnTo>
                    <a:pt x="1486" y="743"/>
                  </a:lnTo>
                  <a:lnTo>
                    <a:pt x="1501" y="733"/>
                  </a:lnTo>
                  <a:lnTo>
                    <a:pt x="1515" y="725"/>
                  </a:lnTo>
                  <a:lnTo>
                    <a:pt x="1528" y="717"/>
                  </a:lnTo>
                  <a:lnTo>
                    <a:pt x="1542" y="712"/>
                  </a:lnTo>
                  <a:lnTo>
                    <a:pt x="1571" y="701"/>
                  </a:lnTo>
                  <a:lnTo>
                    <a:pt x="1604" y="689"/>
                  </a:lnTo>
                  <a:lnTo>
                    <a:pt x="1610" y="687"/>
                  </a:lnTo>
                  <a:lnTo>
                    <a:pt x="1615" y="684"/>
                  </a:lnTo>
                  <a:lnTo>
                    <a:pt x="1621" y="680"/>
                  </a:lnTo>
                  <a:lnTo>
                    <a:pt x="1626" y="676"/>
                  </a:lnTo>
                  <a:lnTo>
                    <a:pt x="1636" y="669"/>
                  </a:lnTo>
                  <a:lnTo>
                    <a:pt x="1645" y="660"/>
                  </a:lnTo>
                  <a:lnTo>
                    <a:pt x="1653" y="651"/>
                  </a:lnTo>
                  <a:lnTo>
                    <a:pt x="1664" y="645"/>
                  </a:lnTo>
                  <a:lnTo>
                    <a:pt x="1668" y="643"/>
                  </a:lnTo>
                  <a:lnTo>
                    <a:pt x="1675" y="640"/>
                  </a:lnTo>
                  <a:lnTo>
                    <a:pt x="1681" y="639"/>
                  </a:lnTo>
                  <a:lnTo>
                    <a:pt x="1688" y="639"/>
                  </a:lnTo>
                  <a:lnTo>
                    <a:pt x="1705" y="639"/>
                  </a:lnTo>
                  <a:lnTo>
                    <a:pt x="1721" y="642"/>
                  </a:lnTo>
                  <a:lnTo>
                    <a:pt x="1735" y="645"/>
                  </a:lnTo>
                  <a:lnTo>
                    <a:pt x="1750" y="648"/>
                  </a:lnTo>
                  <a:lnTo>
                    <a:pt x="1765" y="650"/>
                  </a:lnTo>
                  <a:lnTo>
                    <a:pt x="1780" y="653"/>
                  </a:lnTo>
                  <a:lnTo>
                    <a:pt x="1795" y="656"/>
                  </a:lnTo>
                  <a:lnTo>
                    <a:pt x="1812" y="656"/>
                  </a:lnTo>
                  <a:lnTo>
                    <a:pt x="1826" y="657"/>
                  </a:lnTo>
                  <a:lnTo>
                    <a:pt x="1842" y="654"/>
                  </a:lnTo>
                  <a:lnTo>
                    <a:pt x="1850" y="653"/>
                  </a:lnTo>
                  <a:lnTo>
                    <a:pt x="1856" y="651"/>
                  </a:lnTo>
                  <a:lnTo>
                    <a:pt x="1863" y="648"/>
                  </a:lnTo>
                  <a:lnTo>
                    <a:pt x="1867" y="645"/>
                  </a:lnTo>
                  <a:lnTo>
                    <a:pt x="1865" y="620"/>
                  </a:lnTo>
                  <a:lnTo>
                    <a:pt x="1862" y="598"/>
                  </a:lnTo>
                  <a:lnTo>
                    <a:pt x="1858" y="577"/>
                  </a:lnTo>
                  <a:lnTo>
                    <a:pt x="1853" y="552"/>
                  </a:lnTo>
                  <a:lnTo>
                    <a:pt x="1848" y="534"/>
                  </a:lnTo>
                  <a:lnTo>
                    <a:pt x="1840" y="516"/>
                  </a:lnTo>
                  <a:lnTo>
                    <a:pt x="1831" y="501"/>
                  </a:lnTo>
                  <a:lnTo>
                    <a:pt x="1822" y="486"/>
                  </a:lnTo>
                  <a:lnTo>
                    <a:pt x="1816" y="480"/>
                  </a:lnTo>
                  <a:lnTo>
                    <a:pt x="1811" y="474"/>
                  </a:lnTo>
                  <a:lnTo>
                    <a:pt x="1804" y="469"/>
                  </a:lnTo>
                  <a:lnTo>
                    <a:pt x="1797" y="463"/>
                  </a:lnTo>
                  <a:lnTo>
                    <a:pt x="1789" y="459"/>
                  </a:lnTo>
                  <a:lnTo>
                    <a:pt x="1782" y="455"/>
                  </a:lnTo>
                  <a:lnTo>
                    <a:pt x="1773" y="451"/>
                  </a:lnTo>
                  <a:lnTo>
                    <a:pt x="1763" y="448"/>
                  </a:lnTo>
                  <a:lnTo>
                    <a:pt x="1745" y="445"/>
                  </a:lnTo>
                  <a:lnTo>
                    <a:pt x="1729" y="444"/>
                  </a:lnTo>
                  <a:lnTo>
                    <a:pt x="1712" y="443"/>
                  </a:lnTo>
                  <a:lnTo>
                    <a:pt x="1693" y="441"/>
                  </a:lnTo>
                  <a:lnTo>
                    <a:pt x="1680" y="436"/>
                  </a:lnTo>
                  <a:lnTo>
                    <a:pt x="1668" y="432"/>
                  </a:lnTo>
                  <a:lnTo>
                    <a:pt x="1657" y="427"/>
                  </a:lnTo>
                  <a:lnTo>
                    <a:pt x="1646" y="421"/>
                  </a:lnTo>
                  <a:lnTo>
                    <a:pt x="1625" y="411"/>
                  </a:lnTo>
                  <a:lnTo>
                    <a:pt x="1603" y="403"/>
                  </a:lnTo>
                  <a:lnTo>
                    <a:pt x="1601" y="374"/>
                  </a:lnTo>
                  <a:lnTo>
                    <a:pt x="1601" y="349"/>
                  </a:lnTo>
                  <a:lnTo>
                    <a:pt x="1600" y="324"/>
                  </a:lnTo>
                  <a:lnTo>
                    <a:pt x="1600" y="297"/>
                  </a:lnTo>
                  <a:lnTo>
                    <a:pt x="1600" y="276"/>
                  </a:lnTo>
                  <a:lnTo>
                    <a:pt x="1597" y="258"/>
                  </a:lnTo>
                  <a:lnTo>
                    <a:pt x="1594" y="241"/>
                  </a:lnTo>
                  <a:lnTo>
                    <a:pt x="1590" y="225"/>
                  </a:lnTo>
                  <a:lnTo>
                    <a:pt x="1585" y="207"/>
                  </a:lnTo>
                  <a:lnTo>
                    <a:pt x="1582" y="191"/>
                  </a:lnTo>
                  <a:lnTo>
                    <a:pt x="1580" y="173"/>
                  </a:lnTo>
                  <a:lnTo>
                    <a:pt x="1579" y="152"/>
                  </a:lnTo>
                  <a:lnTo>
                    <a:pt x="1579" y="136"/>
                  </a:lnTo>
                  <a:lnTo>
                    <a:pt x="1579" y="121"/>
                  </a:lnTo>
                  <a:lnTo>
                    <a:pt x="1609" y="117"/>
                  </a:lnTo>
                  <a:lnTo>
                    <a:pt x="1638" y="112"/>
                  </a:lnTo>
                  <a:lnTo>
                    <a:pt x="1664" y="107"/>
                  </a:lnTo>
                  <a:lnTo>
                    <a:pt x="1690" y="102"/>
                  </a:lnTo>
                  <a:lnTo>
                    <a:pt x="1715" y="97"/>
                  </a:lnTo>
                  <a:lnTo>
                    <a:pt x="1741" y="93"/>
                  </a:lnTo>
                  <a:lnTo>
                    <a:pt x="1770" y="91"/>
                  </a:lnTo>
                  <a:lnTo>
                    <a:pt x="1800" y="90"/>
                  </a:lnTo>
                  <a:lnTo>
                    <a:pt x="1833" y="90"/>
                  </a:lnTo>
                  <a:lnTo>
                    <a:pt x="1862" y="91"/>
                  </a:lnTo>
                  <a:lnTo>
                    <a:pt x="1890" y="91"/>
                  </a:lnTo>
                  <a:lnTo>
                    <a:pt x="1922" y="91"/>
                  </a:lnTo>
                  <a:lnTo>
                    <a:pt x="1936" y="92"/>
                  </a:lnTo>
                  <a:lnTo>
                    <a:pt x="1949" y="94"/>
                  </a:lnTo>
                  <a:lnTo>
                    <a:pt x="1961" y="97"/>
                  </a:lnTo>
                  <a:lnTo>
                    <a:pt x="1972" y="102"/>
                  </a:lnTo>
                  <a:lnTo>
                    <a:pt x="1984" y="107"/>
                  </a:lnTo>
                  <a:lnTo>
                    <a:pt x="1996" y="112"/>
                  </a:lnTo>
                  <a:lnTo>
                    <a:pt x="2008" y="117"/>
                  </a:lnTo>
                  <a:lnTo>
                    <a:pt x="2022" y="121"/>
                  </a:lnTo>
                  <a:lnTo>
                    <a:pt x="2046" y="127"/>
                  </a:lnTo>
                  <a:lnTo>
                    <a:pt x="2070" y="132"/>
                  </a:lnTo>
                  <a:lnTo>
                    <a:pt x="2093" y="136"/>
                  </a:lnTo>
                  <a:lnTo>
                    <a:pt x="2114" y="139"/>
                  </a:lnTo>
                  <a:lnTo>
                    <a:pt x="2137" y="141"/>
                  </a:lnTo>
                  <a:lnTo>
                    <a:pt x="2160" y="143"/>
                  </a:lnTo>
                  <a:lnTo>
                    <a:pt x="2184" y="143"/>
                  </a:lnTo>
                  <a:lnTo>
                    <a:pt x="2211" y="144"/>
                  </a:lnTo>
                  <a:lnTo>
                    <a:pt x="2214" y="143"/>
                  </a:lnTo>
                  <a:lnTo>
                    <a:pt x="2217" y="141"/>
                  </a:lnTo>
                  <a:lnTo>
                    <a:pt x="2220" y="140"/>
                  </a:lnTo>
                  <a:lnTo>
                    <a:pt x="2222" y="139"/>
                  </a:lnTo>
                  <a:lnTo>
                    <a:pt x="2227" y="134"/>
                  </a:lnTo>
                  <a:lnTo>
                    <a:pt x="2230" y="129"/>
                  </a:lnTo>
                  <a:lnTo>
                    <a:pt x="2234" y="113"/>
                  </a:lnTo>
                  <a:lnTo>
                    <a:pt x="2238" y="98"/>
                  </a:lnTo>
                  <a:lnTo>
                    <a:pt x="2240" y="84"/>
                  </a:lnTo>
                  <a:lnTo>
                    <a:pt x="2243" y="71"/>
                  </a:lnTo>
                  <a:lnTo>
                    <a:pt x="2246" y="57"/>
                  </a:lnTo>
                  <a:lnTo>
                    <a:pt x="2252" y="45"/>
                  </a:lnTo>
                  <a:lnTo>
                    <a:pt x="2254" y="40"/>
                  </a:lnTo>
                  <a:lnTo>
                    <a:pt x="2257" y="36"/>
                  </a:lnTo>
                  <a:lnTo>
                    <a:pt x="2261" y="31"/>
                  </a:lnTo>
                  <a:lnTo>
                    <a:pt x="2266" y="27"/>
                  </a:lnTo>
                  <a:lnTo>
                    <a:pt x="2270" y="24"/>
                  </a:lnTo>
                  <a:lnTo>
                    <a:pt x="2275" y="22"/>
                  </a:lnTo>
                  <a:lnTo>
                    <a:pt x="2281" y="21"/>
                  </a:lnTo>
                  <a:lnTo>
                    <a:pt x="2287" y="19"/>
                  </a:lnTo>
                  <a:lnTo>
                    <a:pt x="2296" y="21"/>
                  </a:lnTo>
                  <a:lnTo>
                    <a:pt x="2302" y="23"/>
                  </a:lnTo>
                  <a:lnTo>
                    <a:pt x="2309" y="26"/>
                  </a:lnTo>
                  <a:lnTo>
                    <a:pt x="2315" y="30"/>
                  </a:lnTo>
                  <a:lnTo>
                    <a:pt x="2326" y="41"/>
                  </a:lnTo>
                  <a:lnTo>
                    <a:pt x="2335" y="53"/>
                  </a:lnTo>
                  <a:lnTo>
                    <a:pt x="2345" y="66"/>
                  </a:lnTo>
                  <a:lnTo>
                    <a:pt x="2355" y="77"/>
                  </a:lnTo>
                  <a:lnTo>
                    <a:pt x="2361" y="81"/>
                  </a:lnTo>
                  <a:lnTo>
                    <a:pt x="2367" y="84"/>
                  </a:lnTo>
                  <a:lnTo>
                    <a:pt x="2375" y="86"/>
                  </a:lnTo>
                  <a:lnTo>
                    <a:pt x="2382" y="87"/>
                  </a:lnTo>
                  <a:lnTo>
                    <a:pt x="2392" y="86"/>
                  </a:lnTo>
                  <a:lnTo>
                    <a:pt x="2401" y="83"/>
                  </a:lnTo>
                  <a:lnTo>
                    <a:pt x="2407" y="80"/>
                  </a:lnTo>
                  <a:lnTo>
                    <a:pt x="2414" y="75"/>
                  </a:lnTo>
                  <a:lnTo>
                    <a:pt x="2427" y="63"/>
                  </a:lnTo>
                  <a:lnTo>
                    <a:pt x="2442" y="51"/>
                  </a:lnTo>
                  <a:lnTo>
                    <a:pt x="2454" y="43"/>
                  </a:lnTo>
                  <a:lnTo>
                    <a:pt x="2465" y="37"/>
                  </a:lnTo>
                  <a:lnTo>
                    <a:pt x="2471" y="33"/>
                  </a:lnTo>
                  <a:lnTo>
                    <a:pt x="2476" y="29"/>
                  </a:lnTo>
                  <a:lnTo>
                    <a:pt x="2482" y="25"/>
                  </a:lnTo>
                  <a:lnTo>
                    <a:pt x="2486" y="19"/>
                  </a:lnTo>
                  <a:lnTo>
                    <a:pt x="2492" y="13"/>
                  </a:lnTo>
                  <a:lnTo>
                    <a:pt x="2499" y="6"/>
                  </a:lnTo>
                  <a:lnTo>
                    <a:pt x="2502" y="4"/>
                  </a:lnTo>
                  <a:lnTo>
                    <a:pt x="2505" y="2"/>
                  </a:lnTo>
                  <a:lnTo>
                    <a:pt x="2510" y="1"/>
                  </a:lnTo>
                  <a:lnTo>
                    <a:pt x="2514" y="0"/>
                  </a:lnTo>
                  <a:lnTo>
                    <a:pt x="2521" y="1"/>
                  </a:lnTo>
                  <a:lnTo>
                    <a:pt x="2526" y="3"/>
                  </a:lnTo>
                  <a:lnTo>
                    <a:pt x="2530" y="6"/>
                  </a:lnTo>
                  <a:lnTo>
                    <a:pt x="2534" y="10"/>
                  </a:lnTo>
                  <a:lnTo>
                    <a:pt x="2541" y="18"/>
                  </a:lnTo>
                  <a:lnTo>
                    <a:pt x="2551" y="26"/>
                  </a:lnTo>
                  <a:lnTo>
                    <a:pt x="2576" y="38"/>
                  </a:lnTo>
                  <a:lnTo>
                    <a:pt x="2598" y="49"/>
                  </a:lnTo>
                  <a:lnTo>
                    <a:pt x="2609" y="54"/>
                  </a:lnTo>
                  <a:lnTo>
                    <a:pt x="2620" y="60"/>
                  </a:lnTo>
                  <a:lnTo>
                    <a:pt x="2631" y="69"/>
                  </a:lnTo>
                  <a:lnTo>
                    <a:pt x="2640" y="79"/>
                  </a:lnTo>
                  <a:lnTo>
                    <a:pt x="2646" y="85"/>
                  </a:lnTo>
                  <a:lnTo>
                    <a:pt x="2651" y="92"/>
                  </a:lnTo>
                  <a:lnTo>
                    <a:pt x="2654" y="97"/>
                  </a:lnTo>
                  <a:lnTo>
                    <a:pt x="2658" y="104"/>
                  </a:lnTo>
                  <a:lnTo>
                    <a:pt x="2663" y="117"/>
                  </a:lnTo>
                  <a:lnTo>
                    <a:pt x="2666" y="131"/>
                  </a:lnTo>
                  <a:lnTo>
                    <a:pt x="2671" y="159"/>
                  </a:lnTo>
                  <a:lnTo>
                    <a:pt x="2677" y="191"/>
                  </a:lnTo>
                  <a:lnTo>
                    <a:pt x="2683" y="208"/>
                  </a:lnTo>
                  <a:lnTo>
                    <a:pt x="2688" y="224"/>
                  </a:lnTo>
                  <a:lnTo>
                    <a:pt x="2693" y="239"/>
                  </a:lnTo>
                  <a:lnTo>
                    <a:pt x="2700" y="253"/>
                  </a:lnTo>
                  <a:lnTo>
                    <a:pt x="2705" y="267"/>
                  </a:lnTo>
                  <a:lnTo>
                    <a:pt x="2710" y="281"/>
                  </a:lnTo>
                  <a:lnTo>
                    <a:pt x="2713" y="297"/>
                  </a:lnTo>
                  <a:lnTo>
                    <a:pt x="2714" y="314"/>
                  </a:lnTo>
                  <a:lnTo>
                    <a:pt x="2729" y="314"/>
                  </a:lnTo>
                  <a:lnTo>
                    <a:pt x="2743" y="314"/>
                  </a:lnTo>
                  <a:lnTo>
                    <a:pt x="2756" y="314"/>
                  </a:lnTo>
                  <a:lnTo>
                    <a:pt x="2772" y="314"/>
                  </a:lnTo>
                  <a:lnTo>
                    <a:pt x="2784" y="313"/>
                  </a:lnTo>
                  <a:lnTo>
                    <a:pt x="2795" y="311"/>
                  </a:lnTo>
                  <a:lnTo>
                    <a:pt x="2806" y="307"/>
                  </a:lnTo>
                  <a:lnTo>
                    <a:pt x="2817" y="301"/>
                  </a:lnTo>
                  <a:lnTo>
                    <a:pt x="2817" y="301"/>
                  </a:lnTo>
                  <a:lnTo>
                    <a:pt x="2828" y="321"/>
                  </a:lnTo>
                  <a:lnTo>
                    <a:pt x="2840" y="338"/>
                  </a:lnTo>
                  <a:lnTo>
                    <a:pt x="2851" y="354"/>
                  </a:lnTo>
                  <a:lnTo>
                    <a:pt x="2863" y="368"/>
                  </a:lnTo>
                  <a:lnTo>
                    <a:pt x="2876" y="381"/>
                  </a:lnTo>
                  <a:lnTo>
                    <a:pt x="2890" y="394"/>
                  </a:lnTo>
                  <a:lnTo>
                    <a:pt x="2905" y="407"/>
                  </a:lnTo>
                  <a:lnTo>
                    <a:pt x="2923" y="420"/>
                  </a:lnTo>
                  <a:lnTo>
                    <a:pt x="2937" y="435"/>
                  </a:lnTo>
                  <a:lnTo>
                    <a:pt x="2952" y="451"/>
                  </a:lnTo>
                  <a:lnTo>
                    <a:pt x="2972" y="467"/>
                  </a:lnTo>
                  <a:lnTo>
                    <a:pt x="2993" y="478"/>
                  </a:lnTo>
                  <a:lnTo>
                    <a:pt x="3013" y="489"/>
                  </a:lnTo>
                  <a:lnTo>
                    <a:pt x="3033" y="497"/>
                  </a:lnTo>
                  <a:lnTo>
                    <a:pt x="3054" y="503"/>
                  </a:lnTo>
                  <a:lnTo>
                    <a:pt x="3076" y="508"/>
                  </a:lnTo>
                  <a:lnTo>
                    <a:pt x="3099" y="510"/>
                  </a:lnTo>
                  <a:lnTo>
                    <a:pt x="3125" y="510"/>
                  </a:lnTo>
                  <a:lnTo>
                    <a:pt x="3147" y="510"/>
                  </a:lnTo>
                  <a:lnTo>
                    <a:pt x="3166" y="509"/>
                  </a:lnTo>
                  <a:lnTo>
                    <a:pt x="3186" y="507"/>
                  </a:lnTo>
                  <a:lnTo>
                    <a:pt x="3204" y="504"/>
                  </a:lnTo>
                  <a:lnTo>
                    <a:pt x="3222" y="501"/>
                  </a:lnTo>
                  <a:lnTo>
                    <a:pt x="3239" y="498"/>
                  </a:lnTo>
                  <a:lnTo>
                    <a:pt x="3255" y="494"/>
                  </a:lnTo>
                  <a:lnTo>
                    <a:pt x="3271" y="489"/>
                  </a:lnTo>
                  <a:lnTo>
                    <a:pt x="3305" y="478"/>
                  </a:lnTo>
                  <a:lnTo>
                    <a:pt x="3338" y="465"/>
                  </a:lnTo>
                  <a:lnTo>
                    <a:pt x="3373" y="450"/>
                  </a:lnTo>
                  <a:lnTo>
                    <a:pt x="3412" y="434"/>
                  </a:lnTo>
                  <a:lnTo>
                    <a:pt x="3421" y="430"/>
                  </a:lnTo>
                  <a:lnTo>
                    <a:pt x="3430" y="426"/>
                  </a:lnTo>
                  <a:lnTo>
                    <a:pt x="3439" y="420"/>
                  </a:lnTo>
                  <a:lnTo>
                    <a:pt x="3446" y="415"/>
                  </a:lnTo>
                  <a:lnTo>
                    <a:pt x="3460" y="402"/>
                  </a:lnTo>
                  <a:lnTo>
                    <a:pt x="3473" y="389"/>
                  </a:lnTo>
                  <a:lnTo>
                    <a:pt x="3486" y="376"/>
                  </a:lnTo>
                  <a:lnTo>
                    <a:pt x="3499" y="363"/>
                  </a:lnTo>
                  <a:lnTo>
                    <a:pt x="3507" y="356"/>
                  </a:lnTo>
                  <a:lnTo>
                    <a:pt x="3514" y="351"/>
                  </a:lnTo>
                  <a:lnTo>
                    <a:pt x="3523" y="345"/>
                  </a:lnTo>
                  <a:lnTo>
                    <a:pt x="3532" y="339"/>
                  </a:lnTo>
                  <a:lnTo>
                    <a:pt x="3548" y="332"/>
                  </a:lnTo>
                  <a:lnTo>
                    <a:pt x="3564" y="326"/>
                  </a:lnTo>
                  <a:lnTo>
                    <a:pt x="3578" y="322"/>
                  </a:lnTo>
                  <a:lnTo>
                    <a:pt x="3593" y="319"/>
                  </a:lnTo>
                  <a:lnTo>
                    <a:pt x="3624" y="315"/>
                  </a:lnTo>
                  <a:lnTo>
                    <a:pt x="3658" y="309"/>
                  </a:lnTo>
                  <a:lnTo>
                    <a:pt x="3678" y="302"/>
                  </a:lnTo>
                  <a:lnTo>
                    <a:pt x="3698" y="296"/>
                  </a:lnTo>
                  <a:lnTo>
                    <a:pt x="3716" y="288"/>
                  </a:lnTo>
                  <a:lnTo>
                    <a:pt x="3732" y="280"/>
                  </a:lnTo>
                  <a:lnTo>
                    <a:pt x="3749" y="271"/>
                  </a:lnTo>
                  <a:lnTo>
                    <a:pt x="3763" y="261"/>
                  </a:lnTo>
                  <a:lnTo>
                    <a:pt x="3778" y="251"/>
                  </a:lnTo>
                  <a:lnTo>
                    <a:pt x="3792" y="240"/>
                  </a:lnTo>
                  <a:lnTo>
                    <a:pt x="3819" y="217"/>
                  </a:lnTo>
                  <a:lnTo>
                    <a:pt x="3848" y="194"/>
                  </a:lnTo>
                  <a:lnTo>
                    <a:pt x="3862" y="181"/>
                  </a:lnTo>
                  <a:lnTo>
                    <a:pt x="3878" y="170"/>
                  </a:lnTo>
                  <a:lnTo>
                    <a:pt x="3895" y="158"/>
                  </a:lnTo>
                  <a:lnTo>
                    <a:pt x="3913" y="146"/>
                  </a:lnTo>
                  <a:lnTo>
                    <a:pt x="3931" y="135"/>
                  </a:lnTo>
                  <a:lnTo>
                    <a:pt x="3950" y="124"/>
                  </a:lnTo>
                  <a:lnTo>
                    <a:pt x="3967" y="116"/>
                  </a:lnTo>
                  <a:lnTo>
                    <a:pt x="3984" y="107"/>
                  </a:lnTo>
                  <a:lnTo>
                    <a:pt x="4018" y="92"/>
                  </a:lnTo>
                  <a:lnTo>
                    <a:pt x="4050" y="77"/>
                  </a:lnTo>
                  <a:lnTo>
                    <a:pt x="4082" y="63"/>
                  </a:lnTo>
                  <a:lnTo>
                    <a:pt x="4115" y="46"/>
                  </a:lnTo>
                  <a:lnTo>
                    <a:pt x="4131" y="37"/>
                  </a:lnTo>
                  <a:lnTo>
                    <a:pt x="4147" y="27"/>
                  </a:lnTo>
                  <a:lnTo>
                    <a:pt x="4164" y="15"/>
                  </a:lnTo>
                  <a:lnTo>
                    <a:pt x="4182" y="3"/>
                  </a:lnTo>
                  <a:lnTo>
                    <a:pt x="4182" y="3"/>
                  </a:lnTo>
                  <a:lnTo>
                    <a:pt x="4198" y="3"/>
                  </a:lnTo>
                  <a:lnTo>
                    <a:pt x="4212" y="4"/>
                  </a:lnTo>
                  <a:lnTo>
                    <a:pt x="4226" y="6"/>
                  </a:lnTo>
                  <a:lnTo>
                    <a:pt x="4240" y="9"/>
                  </a:lnTo>
                  <a:lnTo>
                    <a:pt x="4253" y="13"/>
                  </a:lnTo>
                  <a:lnTo>
                    <a:pt x="4266" y="17"/>
                  </a:lnTo>
                  <a:lnTo>
                    <a:pt x="4279" y="24"/>
                  </a:lnTo>
                  <a:lnTo>
                    <a:pt x="4292" y="31"/>
                  </a:lnTo>
                  <a:lnTo>
                    <a:pt x="4308" y="41"/>
                  </a:lnTo>
                  <a:lnTo>
                    <a:pt x="4324" y="51"/>
                  </a:lnTo>
                  <a:lnTo>
                    <a:pt x="4331" y="56"/>
                  </a:lnTo>
                  <a:lnTo>
                    <a:pt x="4337" y="63"/>
                  </a:lnTo>
                  <a:lnTo>
                    <a:pt x="4342" y="70"/>
                  </a:lnTo>
                  <a:lnTo>
                    <a:pt x="4345" y="79"/>
                  </a:lnTo>
                  <a:lnTo>
                    <a:pt x="4352" y="104"/>
                  </a:lnTo>
                  <a:lnTo>
                    <a:pt x="4360" y="125"/>
                  </a:lnTo>
                  <a:lnTo>
                    <a:pt x="4367" y="147"/>
                  </a:lnTo>
                  <a:lnTo>
                    <a:pt x="4375" y="166"/>
                  </a:lnTo>
                  <a:lnTo>
                    <a:pt x="4383" y="186"/>
                  </a:lnTo>
                  <a:lnTo>
                    <a:pt x="4390" y="206"/>
                  </a:lnTo>
                  <a:lnTo>
                    <a:pt x="4398" y="228"/>
                  </a:lnTo>
                  <a:lnTo>
                    <a:pt x="4406" y="253"/>
                  </a:lnTo>
                  <a:lnTo>
                    <a:pt x="4413" y="269"/>
                  </a:lnTo>
                  <a:lnTo>
                    <a:pt x="4419" y="283"/>
                  </a:lnTo>
                  <a:lnTo>
                    <a:pt x="4428" y="295"/>
                  </a:lnTo>
                  <a:lnTo>
                    <a:pt x="4438" y="307"/>
                  </a:lnTo>
                  <a:lnTo>
                    <a:pt x="4448" y="318"/>
                  </a:lnTo>
                  <a:lnTo>
                    <a:pt x="4460" y="327"/>
                  </a:lnTo>
                  <a:lnTo>
                    <a:pt x="4473" y="338"/>
                  </a:lnTo>
                  <a:lnTo>
                    <a:pt x="4487" y="348"/>
                  </a:lnTo>
                  <a:lnTo>
                    <a:pt x="4498" y="355"/>
                  </a:lnTo>
                  <a:lnTo>
                    <a:pt x="4508" y="364"/>
                  </a:lnTo>
                  <a:lnTo>
                    <a:pt x="4517" y="372"/>
                  </a:lnTo>
                  <a:lnTo>
                    <a:pt x="4524" y="379"/>
                  </a:lnTo>
                  <a:lnTo>
                    <a:pt x="4540" y="395"/>
                  </a:lnTo>
                  <a:lnTo>
                    <a:pt x="4561" y="413"/>
                  </a:lnTo>
                  <a:lnTo>
                    <a:pt x="4578" y="426"/>
                  </a:lnTo>
                  <a:lnTo>
                    <a:pt x="4593" y="438"/>
                  </a:lnTo>
                  <a:lnTo>
                    <a:pt x="4608" y="451"/>
                  </a:lnTo>
                  <a:lnTo>
                    <a:pt x="4620" y="465"/>
                  </a:lnTo>
                  <a:lnTo>
                    <a:pt x="4626" y="473"/>
                  </a:lnTo>
                  <a:lnTo>
                    <a:pt x="4630" y="482"/>
                  </a:lnTo>
                  <a:lnTo>
                    <a:pt x="4634" y="489"/>
                  </a:lnTo>
                  <a:lnTo>
                    <a:pt x="4639" y="498"/>
                  </a:lnTo>
                  <a:lnTo>
                    <a:pt x="4641" y="508"/>
                  </a:lnTo>
                  <a:lnTo>
                    <a:pt x="4643" y="516"/>
                  </a:lnTo>
                  <a:lnTo>
                    <a:pt x="4644" y="527"/>
                  </a:lnTo>
                  <a:lnTo>
                    <a:pt x="4645" y="538"/>
                  </a:lnTo>
                  <a:lnTo>
                    <a:pt x="4645" y="554"/>
                  </a:lnTo>
                  <a:lnTo>
                    <a:pt x="4645" y="569"/>
                  </a:lnTo>
                  <a:lnTo>
                    <a:pt x="4645" y="583"/>
                  </a:lnTo>
                  <a:lnTo>
                    <a:pt x="4645" y="599"/>
                  </a:lnTo>
                  <a:lnTo>
                    <a:pt x="4653" y="667"/>
                  </a:lnTo>
                  <a:lnTo>
                    <a:pt x="4653" y="688"/>
                  </a:lnTo>
                  <a:lnTo>
                    <a:pt x="4653" y="706"/>
                  </a:lnTo>
                  <a:lnTo>
                    <a:pt x="4653" y="726"/>
                  </a:lnTo>
                  <a:lnTo>
                    <a:pt x="4653" y="746"/>
                  </a:lnTo>
                  <a:lnTo>
                    <a:pt x="4654" y="762"/>
                  </a:lnTo>
                  <a:lnTo>
                    <a:pt x="4654" y="779"/>
                  </a:lnTo>
                  <a:lnTo>
                    <a:pt x="4656" y="793"/>
                  </a:lnTo>
                  <a:lnTo>
                    <a:pt x="4658" y="807"/>
                  </a:lnTo>
                  <a:lnTo>
                    <a:pt x="4662" y="821"/>
                  </a:lnTo>
                  <a:lnTo>
                    <a:pt x="4668" y="834"/>
                  </a:lnTo>
                  <a:lnTo>
                    <a:pt x="4675" y="847"/>
                  </a:lnTo>
                  <a:lnTo>
                    <a:pt x="4684" y="861"/>
                  </a:lnTo>
                  <a:lnTo>
                    <a:pt x="4712" y="895"/>
                  </a:lnTo>
                  <a:lnTo>
                    <a:pt x="4738" y="926"/>
                  </a:lnTo>
                  <a:lnTo>
                    <a:pt x="4744" y="933"/>
                  </a:lnTo>
                  <a:lnTo>
                    <a:pt x="4749" y="942"/>
                  </a:lnTo>
                  <a:lnTo>
                    <a:pt x="4754" y="950"/>
                  </a:lnTo>
                  <a:lnTo>
                    <a:pt x="4757" y="959"/>
                  </a:lnTo>
                  <a:lnTo>
                    <a:pt x="4761" y="968"/>
                  </a:lnTo>
                  <a:lnTo>
                    <a:pt x="4763" y="978"/>
                  </a:lnTo>
                  <a:lnTo>
                    <a:pt x="4765" y="988"/>
                  </a:lnTo>
                  <a:lnTo>
                    <a:pt x="4765" y="1000"/>
                  </a:lnTo>
                  <a:lnTo>
                    <a:pt x="4765" y="1016"/>
                  </a:lnTo>
                  <a:lnTo>
                    <a:pt x="4765" y="1030"/>
                  </a:lnTo>
                  <a:lnTo>
                    <a:pt x="4765" y="1044"/>
                  </a:lnTo>
                  <a:lnTo>
                    <a:pt x="4765" y="1061"/>
                  </a:lnTo>
                  <a:lnTo>
                    <a:pt x="4766" y="1075"/>
                  </a:lnTo>
                  <a:lnTo>
                    <a:pt x="4767" y="1089"/>
                  </a:lnTo>
                  <a:lnTo>
                    <a:pt x="4769" y="1103"/>
                  </a:lnTo>
                  <a:lnTo>
                    <a:pt x="4771" y="1115"/>
                  </a:lnTo>
                  <a:lnTo>
                    <a:pt x="4779" y="1138"/>
                  </a:lnTo>
                  <a:lnTo>
                    <a:pt x="4788" y="1161"/>
                  </a:lnTo>
                  <a:lnTo>
                    <a:pt x="4797" y="1184"/>
                  </a:lnTo>
                  <a:lnTo>
                    <a:pt x="4807" y="1207"/>
                  </a:lnTo>
                  <a:lnTo>
                    <a:pt x="4816" y="1233"/>
                  </a:lnTo>
                  <a:lnTo>
                    <a:pt x="4824" y="1261"/>
                  </a:lnTo>
                  <a:lnTo>
                    <a:pt x="4827" y="1273"/>
                  </a:lnTo>
                  <a:lnTo>
                    <a:pt x="4828" y="1283"/>
                  </a:lnTo>
                  <a:lnTo>
                    <a:pt x="4828" y="1294"/>
                  </a:lnTo>
                  <a:lnTo>
                    <a:pt x="4829" y="1304"/>
                  </a:lnTo>
                  <a:lnTo>
                    <a:pt x="4828" y="1323"/>
                  </a:lnTo>
                  <a:lnTo>
                    <a:pt x="4830" y="1346"/>
                  </a:lnTo>
                  <a:lnTo>
                    <a:pt x="4831" y="1355"/>
                  </a:lnTo>
                  <a:lnTo>
                    <a:pt x="4833" y="1364"/>
                  </a:lnTo>
                  <a:lnTo>
                    <a:pt x="4836" y="1374"/>
                  </a:lnTo>
                  <a:lnTo>
                    <a:pt x="4839" y="1382"/>
                  </a:lnTo>
                  <a:lnTo>
                    <a:pt x="4843" y="1390"/>
                  </a:lnTo>
                  <a:lnTo>
                    <a:pt x="4847" y="1398"/>
                  </a:lnTo>
                  <a:lnTo>
                    <a:pt x="4852" y="1405"/>
                  </a:lnTo>
                  <a:lnTo>
                    <a:pt x="4858" y="1413"/>
                  </a:lnTo>
                  <a:lnTo>
                    <a:pt x="4863" y="1419"/>
                  </a:lnTo>
                  <a:lnTo>
                    <a:pt x="4870" y="1425"/>
                  </a:lnTo>
                  <a:lnTo>
                    <a:pt x="4877" y="1430"/>
                  </a:lnTo>
                  <a:lnTo>
                    <a:pt x="4885" y="1434"/>
                  </a:lnTo>
                  <a:lnTo>
                    <a:pt x="4892" y="1439"/>
                  </a:lnTo>
                  <a:lnTo>
                    <a:pt x="4901" y="1442"/>
                  </a:lnTo>
                  <a:lnTo>
                    <a:pt x="4910" y="1444"/>
                  </a:lnTo>
                  <a:lnTo>
                    <a:pt x="4919" y="1446"/>
                  </a:lnTo>
                  <a:lnTo>
                    <a:pt x="4941" y="1449"/>
                  </a:lnTo>
                  <a:lnTo>
                    <a:pt x="4960" y="1453"/>
                  </a:lnTo>
                  <a:lnTo>
                    <a:pt x="4980" y="1458"/>
                  </a:lnTo>
                  <a:lnTo>
                    <a:pt x="5000" y="1463"/>
                  </a:lnTo>
                  <a:lnTo>
                    <a:pt x="5016" y="1468"/>
                  </a:lnTo>
                  <a:lnTo>
                    <a:pt x="5030" y="1472"/>
                  </a:lnTo>
                  <a:lnTo>
                    <a:pt x="5037" y="1472"/>
                  </a:lnTo>
                  <a:lnTo>
                    <a:pt x="5043" y="1471"/>
                  </a:lnTo>
                  <a:lnTo>
                    <a:pt x="5046" y="1470"/>
                  </a:lnTo>
                  <a:lnTo>
                    <a:pt x="5048" y="1469"/>
                  </a:lnTo>
                  <a:lnTo>
                    <a:pt x="5050" y="1467"/>
                  </a:lnTo>
                  <a:lnTo>
                    <a:pt x="5051" y="1463"/>
                  </a:lnTo>
                  <a:lnTo>
                    <a:pt x="5057" y="1447"/>
                  </a:lnTo>
                  <a:lnTo>
                    <a:pt x="5061" y="1432"/>
                  </a:lnTo>
                  <a:lnTo>
                    <a:pt x="5064" y="1417"/>
                  </a:lnTo>
                  <a:lnTo>
                    <a:pt x="5067" y="1403"/>
                  </a:lnTo>
                  <a:lnTo>
                    <a:pt x="5070" y="1389"/>
                  </a:lnTo>
                  <a:lnTo>
                    <a:pt x="5073" y="1374"/>
                  </a:lnTo>
                  <a:lnTo>
                    <a:pt x="5076" y="1359"/>
                  </a:lnTo>
                  <a:lnTo>
                    <a:pt x="5081" y="1342"/>
                  </a:lnTo>
                  <a:lnTo>
                    <a:pt x="5088" y="1328"/>
                  </a:lnTo>
                  <a:lnTo>
                    <a:pt x="5093" y="1315"/>
                  </a:lnTo>
                  <a:lnTo>
                    <a:pt x="5100" y="1305"/>
                  </a:lnTo>
                  <a:lnTo>
                    <a:pt x="5106" y="1293"/>
                  </a:lnTo>
                  <a:lnTo>
                    <a:pt x="5119" y="1271"/>
                  </a:lnTo>
                  <a:lnTo>
                    <a:pt x="5132" y="1244"/>
                  </a:lnTo>
                  <a:lnTo>
                    <a:pt x="5141" y="1225"/>
                  </a:lnTo>
                  <a:lnTo>
                    <a:pt x="5148" y="1207"/>
                  </a:lnTo>
                  <a:lnTo>
                    <a:pt x="5153" y="1199"/>
                  </a:lnTo>
                  <a:lnTo>
                    <a:pt x="5158" y="1190"/>
                  </a:lnTo>
                  <a:lnTo>
                    <a:pt x="5165" y="1183"/>
                  </a:lnTo>
                  <a:lnTo>
                    <a:pt x="5172" y="1174"/>
                  </a:lnTo>
                  <a:lnTo>
                    <a:pt x="5180" y="1166"/>
                  </a:lnTo>
                  <a:lnTo>
                    <a:pt x="5188" y="1160"/>
                  </a:lnTo>
                  <a:lnTo>
                    <a:pt x="5197" y="1155"/>
                  </a:lnTo>
                  <a:lnTo>
                    <a:pt x="5206" y="1150"/>
                  </a:lnTo>
                  <a:lnTo>
                    <a:pt x="5215" y="1147"/>
                  </a:lnTo>
                  <a:lnTo>
                    <a:pt x="5225" y="1144"/>
                  </a:lnTo>
                  <a:lnTo>
                    <a:pt x="5234" y="1143"/>
                  </a:lnTo>
                  <a:lnTo>
                    <a:pt x="5243" y="1142"/>
                  </a:lnTo>
                  <a:lnTo>
                    <a:pt x="5254" y="1140"/>
                  </a:lnTo>
                  <a:lnTo>
                    <a:pt x="5264" y="1142"/>
                  </a:lnTo>
                  <a:lnTo>
                    <a:pt x="5274" y="1143"/>
                  </a:lnTo>
                  <a:lnTo>
                    <a:pt x="5284" y="1144"/>
                  </a:lnTo>
                  <a:lnTo>
                    <a:pt x="5294" y="1147"/>
                  </a:lnTo>
                  <a:lnTo>
                    <a:pt x="5305" y="1150"/>
                  </a:lnTo>
                  <a:lnTo>
                    <a:pt x="5316" y="1153"/>
                  </a:lnTo>
                  <a:lnTo>
                    <a:pt x="5326" y="1158"/>
                  </a:lnTo>
                  <a:lnTo>
                    <a:pt x="5334" y="1162"/>
                  </a:lnTo>
                  <a:lnTo>
                    <a:pt x="5342" y="1166"/>
                  </a:lnTo>
                  <a:lnTo>
                    <a:pt x="5348" y="1172"/>
                  </a:lnTo>
                  <a:lnTo>
                    <a:pt x="5356" y="1177"/>
                  </a:lnTo>
                  <a:lnTo>
                    <a:pt x="5368" y="1188"/>
                  </a:lnTo>
                  <a:lnTo>
                    <a:pt x="5378" y="1200"/>
                  </a:lnTo>
                  <a:lnTo>
                    <a:pt x="5390" y="1211"/>
                  </a:lnTo>
                  <a:lnTo>
                    <a:pt x="5403" y="1219"/>
                  </a:lnTo>
                  <a:lnTo>
                    <a:pt x="5410" y="1223"/>
                  </a:lnTo>
                  <a:lnTo>
                    <a:pt x="5417" y="1226"/>
                  </a:lnTo>
                  <a:lnTo>
                    <a:pt x="5426" y="1227"/>
                  </a:lnTo>
                  <a:lnTo>
                    <a:pt x="5435" y="1228"/>
                  </a:lnTo>
                  <a:lnTo>
                    <a:pt x="5451" y="1227"/>
                  </a:lnTo>
                  <a:lnTo>
                    <a:pt x="5467" y="1225"/>
                  </a:lnTo>
                  <a:lnTo>
                    <a:pt x="5483" y="1220"/>
                  </a:lnTo>
                  <a:lnTo>
                    <a:pt x="5497" y="1215"/>
                  </a:lnTo>
                  <a:lnTo>
                    <a:pt x="5504" y="1212"/>
                  </a:lnTo>
                  <a:lnTo>
                    <a:pt x="5509" y="1207"/>
                  </a:lnTo>
                  <a:lnTo>
                    <a:pt x="5515" y="1203"/>
                  </a:lnTo>
                  <a:lnTo>
                    <a:pt x="5519" y="1198"/>
                  </a:lnTo>
                  <a:lnTo>
                    <a:pt x="5522" y="1191"/>
                  </a:lnTo>
                  <a:lnTo>
                    <a:pt x="5525" y="1186"/>
                  </a:lnTo>
                  <a:lnTo>
                    <a:pt x="5527" y="1178"/>
                  </a:lnTo>
                  <a:lnTo>
                    <a:pt x="5527" y="1171"/>
                  </a:lnTo>
                  <a:lnTo>
                    <a:pt x="5527" y="1153"/>
                  </a:lnTo>
                  <a:lnTo>
                    <a:pt x="5527" y="1138"/>
                  </a:lnTo>
                  <a:lnTo>
                    <a:pt x="5527" y="1122"/>
                  </a:lnTo>
                  <a:lnTo>
                    <a:pt x="5527" y="1105"/>
                  </a:lnTo>
                  <a:lnTo>
                    <a:pt x="5527" y="1101"/>
                  </a:lnTo>
                  <a:lnTo>
                    <a:pt x="5529" y="1095"/>
                  </a:lnTo>
                  <a:lnTo>
                    <a:pt x="5530" y="1091"/>
                  </a:lnTo>
                  <a:lnTo>
                    <a:pt x="5532" y="1088"/>
                  </a:lnTo>
                  <a:lnTo>
                    <a:pt x="5537" y="1080"/>
                  </a:lnTo>
                  <a:lnTo>
                    <a:pt x="5544" y="1074"/>
                  </a:lnTo>
                  <a:lnTo>
                    <a:pt x="5551" y="1069"/>
                  </a:lnTo>
                  <a:lnTo>
                    <a:pt x="5560" y="1064"/>
                  </a:lnTo>
                  <a:lnTo>
                    <a:pt x="5569" y="1061"/>
                  </a:lnTo>
                  <a:lnTo>
                    <a:pt x="5578" y="1056"/>
                  </a:lnTo>
                  <a:lnTo>
                    <a:pt x="5592" y="1051"/>
                  </a:lnTo>
                  <a:lnTo>
                    <a:pt x="5604" y="1045"/>
                  </a:lnTo>
                  <a:lnTo>
                    <a:pt x="5615" y="1039"/>
                  </a:lnTo>
                  <a:lnTo>
                    <a:pt x="5626" y="1032"/>
                  </a:lnTo>
                  <a:lnTo>
                    <a:pt x="5648" y="1020"/>
                  </a:lnTo>
                  <a:lnTo>
                    <a:pt x="5673" y="1007"/>
                  </a:lnTo>
                  <a:lnTo>
                    <a:pt x="5697" y="995"/>
                  </a:lnTo>
                  <a:lnTo>
                    <a:pt x="5717" y="982"/>
                  </a:lnTo>
                  <a:lnTo>
                    <a:pt x="5734" y="969"/>
                  </a:lnTo>
                  <a:lnTo>
                    <a:pt x="5749" y="956"/>
                  </a:lnTo>
                  <a:lnTo>
                    <a:pt x="5765" y="942"/>
                  </a:lnTo>
                  <a:lnTo>
                    <a:pt x="5781" y="928"/>
                  </a:lnTo>
                  <a:lnTo>
                    <a:pt x="5800" y="913"/>
                  </a:lnTo>
                  <a:lnTo>
                    <a:pt x="5822" y="897"/>
                  </a:lnTo>
                  <a:lnTo>
                    <a:pt x="5835" y="880"/>
                  </a:lnTo>
                  <a:lnTo>
                    <a:pt x="5848" y="866"/>
                  </a:lnTo>
                  <a:lnTo>
                    <a:pt x="5856" y="860"/>
                  </a:lnTo>
                  <a:lnTo>
                    <a:pt x="5864" y="855"/>
                  </a:lnTo>
                  <a:lnTo>
                    <a:pt x="5873" y="853"/>
                  </a:lnTo>
                  <a:lnTo>
                    <a:pt x="5884" y="852"/>
                  </a:lnTo>
                  <a:lnTo>
                    <a:pt x="5903" y="852"/>
                  </a:lnTo>
                  <a:lnTo>
                    <a:pt x="5920" y="852"/>
                  </a:lnTo>
                  <a:lnTo>
                    <a:pt x="5937" y="852"/>
                  </a:lnTo>
                  <a:lnTo>
                    <a:pt x="5955" y="852"/>
                  </a:lnTo>
                  <a:lnTo>
                    <a:pt x="5983" y="852"/>
                  </a:lnTo>
                  <a:lnTo>
                    <a:pt x="6007" y="854"/>
                  </a:lnTo>
                  <a:lnTo>
                    <a:pt x="6031" y="858"/>
                  </a:lnTo>
                  <a:lnTo>
                    <a:pt x="6058" y="863"/>
                  </a:lnTo>
                  <a:lnTo>
                    <a:pt x="6033" y="368"/>
                  </a:lnTo>
                  <a:lnTo>
                    <a:pt x="6058" y="863"/>
                  </a:lnTo>
                  <a:lnTo>
                    <a:pt x="6058" y="888"/>
                  </a:lnTo>
                  <a:lnTo>
                    <a:pt x="6060" y="909"/>
                  </a:lnTo>
                  <a:lnTo>
                    <a:pt x="6062" y="931"/>
                  </a:lnTo>
                  <a:lnTo>
                    <a:pt x="6063" y="955"/>
                  </a:lnTo>
                  <a:lnTo>
                    <a:pt x="6063" y="981"/>
                  </a:lnTo>
                  <a:lnTo>
                    <a:pt x="6063" y="1003"/>
                  </a:lnTo>
                  <a:lnTo>
                    <a:pt x="6063" y="1026"/>
                  </a:lnTo>
                  <a:lnTo>
                    <a:pt x="6063" y="1052"/>
                  </a:lnTo>
                  <a:lnTo>
                    <a:pt x="6063" y="1061"/>
                  </a:lnTo>
                  <a:lnTo>
                    <a:pt x="6065" y="1068"/>
                  </a:lnTo>
                  <a:lnTo>
                    <a:pt x="6069" y="1076"/>
                  </a:lnTo>
                  <a:lnTo>
                    <a:pt x="6073" y="1082"/>
                  </a:lnTo>
                  <a:lnTo>
                    <a:pt x="6084" y="1095"/>
                  </a:lnTo>
                  <a:lnTo>
                    <a:pt x="6097" y="1107"/>
                  </a:lnTo>
                  <a:lnTo>
                    <a:pt x="6106" y="1118"/>
                  </a:lnTo>
                  <a:lnTo>
                    <a:pt x="6114" y="1129"/>
                  </a:lnTo>
                  <a:lnTo>
                    <a:pt x="6122" y="1139"/>
                  </a:lnTo>
                  <a:lnTo>
                    <a:pt x="6128" y="1149"/>
                  </a:lnTo>
                  <a:lnTo>
                    <a:pt x="6134" y="1160"/>
                  </a:lnTo>
                  <a:lnTo>
                    <a:pt x="6142" y="1170"/>
                  </a:lnTo>
                  <a:lnTo>
                    <a:pt x="6151" y="1179"/>
                  </a:lnTo>
                  <a:lnTo>
                    <a:pt x="6161" y="1188"/>
                  </a:lnTo>
                  <a:lnTo>
                    <a:pt x="6171" y="1196"/>
                  </a:lnTo>
                  <a:lnTo>
                    <a:pt x="6181" y="1202"/>
                  </a:lnTo>
                  <a:lnTo>
                    <a:pt x="6190" y="1210"/>
                  </a:lnTo>
                  <a:lnTo>
                    <a:pt x="6197" y="1219"/>
                  </a:lnTo>
                  <a:lnTo>
                    <a:pt x="6212" y="1243"/>
                  </a:lnTo>
                  <a:lnTo>
                    <a:pt x="6226" y="1265"/>
                  </a:lnTo>
                  <a:lnTo>
                    <a:pt x="6234" y="1275"/>
                  </a:lnTo>
                  <a:lnTo>
                    <a:pt x="6244" y="1283"/>
                  </a:lnTo>
                  <a:lnTo>
                    <a:pt x="6249" y="1287"/>
                  </a:lnTo>
                  <a:lnTo>
                    <a:pt x="6254" y="1291"/>
                  </a:lnTo>
                  <a:lnTo>
                    <a:pt x="6261" y="1293"/>
                  </a:lnTo>
                  <a:lnTo>
                    <a:pt x="6267" y="1295"/>
                  </a:lnTo>
                  <a:lnTo>
                    <a:pt x="6290" y="1299"/>
                  </a:lnTo>
                  <a:lnTo>
                    <a:pt x="6311" y="1306"/>
                  </a:lnTo>
                  <a:lnTo>
                    <a:pt x="6319" y="1310"/>
                  </a:lnTo>
                  <a:lnTo>
                    <a:pt x="6327" y="1317"/>
                  </a:lnTo>
                  <a:lnTo>
                    <a:pt x="6330" y="1320"/>
                  </a:lnTo>
                  <a:lnTo>
                    <a:pt x="6332" y="1324"/>
                  </a:lnTo>
                  <a:lnTo>
                    <a:pt x="6333" y="1328"/>
                  </a:lnTo>
                  <a:lnTo>
                    <a:pt x="6334" y="1334"/>
                  </a:lnTo>
                  <a:lnTo>
                    <a:pt x="6338" y="1350"/>
                  </a:lnTo>
                  <a:lnTo>
                    <a:pt x="6341" y="1364"/>
                  </a:lnTo>
                  <a:lnTo>
                    <a:pt x="6345" y="1377"/>
                  </a:lnTo>
                  <a:lnTo>
                    <a:pt x="6348" y="1393"/>
                  </a:lnTo>
                  <a:lnTo>
                    <a:pt x="6351" y="1408"/>
                  </a:lnTo>
                  <a:lnTo>
                    <a:pt x="6351" y="1422"/>
                  </a:lnTo>
                  <a:lnTo>
                    <a:pt x="6352" y="1430"/>
                  </a:lnTo>
                  <a:lnTo>
                    <a:pt x="6353" y="1436"/>
                  </a:lnTo>
                  <a:lnTo>
                    <a:pt x="6356" y="1443"/>
                  </a:lnTo>
                  <a:lnTo>
                    <a:pt x="6360" y="1449"/>
                  </a:lnTo>
                  <a:lnTo>
                    <a:pt x="6367" y="1457"/>
                  </a:lnTo>
                  <a:lnTo>
                    <a:pt x="6374" y="1463"/>
                  </a:lnTo>
                  <a:lnTo>
                    <a:pt x="6382" y="1469"/>
                  </a:lnTo>
                  <a:lnTo>
                    <a:pt x="6389" y="1474"/>
                  </a:lnTo>
                  <a:lnTo>
                    <a:pt x="6406" y="1484"/>
                  </a:lnTo>
                  <a:lnTo>
                    <a:pt x="6422" y="1497"/>
                  </a:lnTo>
                  <a:lnTo>
                    <a:pt x="6436" y="1508"/>
                  </a:lnTo>
                  <a:lnTo>
                    <a:pt x="6449" y="1517"/>
                  </a:lnTo>
                  <a:lnTo>
                    <a:pt x="6463" y="1525"/>
                  </a:lnTo>
                  <a:lnTo>
                    <a:pt x="6476" y="1533"/>
                  </a:lnTo>
                  <a:lnTo>
                    <a:pt x="6490" y="1539"/>
                  </a:lnTo>
                  <a:lnTo>
                    <a:pt x="6504" y="1547"/>
                  </a:lnTo>
                  <a:lnTo>
                    <a:pt x="6518" y="1554"/>
                  </a:lnTo>
                  <a:lnTo>
                    <a:pt x="6534" y="1564"/>
                  </a:lnTo>
                  <a:lnTo>
                    <a:pt x="6543" y="1571"/>
                  </a:lnTo>
                  <a:lnTo>
                    <a:pt x="6551" y="1580"/>
                  </a:lnTo>
                  <a:lnTo>
                    <a:pt x="6558" y="1589"/>
                  </a:lnTo>
                  <a:lnTo>
                    <a:pt x="6565" y="1597"/>
                  </a:lnTo>
                  <a:lnTo>
                    <a:pt x="6572" y="1605"/>
                  </a:lnTo>
                  <a:lnTo>
                    <a:pt x="6581" y="1611"/>
                  </a:lnTo>
                  <a:lnTo>
                    <a:pt x="6585" y="1614"/>
                  </a:lnTo>
                  <a:lnTo>
                    <a:pt x="6589" y="1616"/>
                  </a:lnTo>
                  <a:lnTo>
                    <a:pt x="6595" y="1617"/>
                  </a:lnTo>
                  <a:lnTo>
                    <a:pt x="6601" y="1617"/>
                  </a:lnTo>
                  <a:lnTo>
                    <a:pt x="6616" y="1616"/>
                  </a:lnTo>
                  <a:lnTo>
                    <a:pt x="6629" y="1614"/>
                  </a:lnTo>
                  <a:lnTo>
                    <a:pt x="6642" y="1610"/>
                  </a:lnTo>
                  <a:lnTo>
                    <a:pt x="6657" y="1609"/>
                  </a:lnTo>
                  <a:lnTo>
                    <a:pt x="6682" y="1610"/>
                  </a:lnTo>
                  <a:lnTo>
                    <a:pt x="6704" y="1612"/>
                  </a:lnTo>
                  <a:lnTo>
                    <a:pt x="6725" y="1616"/>
                  </a:lnTo>
                  <a:lnTo>
                    <a:pt x="6749" y="1617"/>
                  </a:lnTo>
                  <a:lnTo>
                    <a:pt x="6775" y="1616"/>
                  </a:lnTo>
                  <a:lnTo>
                    <a:pt x="6799" y="1614"/>
                  </a:lnTo>
                  <a:lnTo>
                    <a:pt x="6810" y="1612"/>
                  </a:lnTo>
                  <a:lnTo>
                    <a:pt x="6820" y="1612"/>
                  </a:lnTo>
                  <a:lnTo>
                    <a:pt x="6832" y="1614"/>
                  </a:lnTo>
                  <a:lnTo>
                    <a:pt x="6845" y="1617"/>
                  </a:lnTo>
                  <a:lnTo>
                    <a:pt x="6858" y="1623"/>
                  </a:lnTo>
                  <a:lnTo>
                    <a:pt x="6870" y="1631"/>
                  </a:lnTo>
                  <a:lnTo>
                    <a:pt x="6881" y="1638"/>
                  </a:lnTo>
                  <a:lnTo>
                    <a:pt x="6891" y="1646"/>
                  </a:lnTo>
                  <a:lnTo>
                    <a:pt x="6900" y="1655"/>
                  </a:lnTo>
                  <a:lnTo>
                    <a:pt x="6910" y="1663"/>
                  </a:lnTo>
                  <a:lnTo>
                    <a:pt x="6921" y="1672"/>
                  </a:lnTo>
                  <a:lnTo>
                    <a:pt x="6935" y="1678"/>
                  </a:lnTo>
                  <a:lnTo>
                    <a:pt x="6946" y="1688"/>
                  </a:lnTo>
                  <a:lnTo>
                    <a:pt x="6955" y="1696"/>
                  </a:lnTo>
                  <a:lnTo>
                    <a:pt x="6966" y="1701"/>
                  </a:lnTo>
                  <a:lnTo>
                    <a:pt x="6978" y="1705"/>
                  </a:lnTo>
                  <a:lnTo>
                    <a:pt x="7001" y="1712"/>
                  </a:lnTo>
                  <a:lnTo>
                    <a:pt x="7027" y="1720"/>
                  </a:lnTo>
                  <a:lnTo>
                    <a:pt x="7037" y="1726"/>
                  </a:lnTo>
                  <a:lnTo>
                    <a:pt x="7045" y="1732"/>
                  </a:lnTo>
                  <a:lnTo>
                    <a:pt x="7051" y="1740"/>
                  </a:lnTo>
                  <a:lnTo>
                    <a:pt x="7058" y="1747"/>
                  </a:lnTo>
                  <a:lnTo>
                    <a:pt x="7064" y="1756"/>
                  </a:lnTo>
                  <a:lnTo>
                    <a:pt x="7071" y="1764"/>
                  </a:lnTo>
                  <a:lnTo>
                    <a:pt x="7080" y="1771"/>
                  </a:lnTo>
                  <a:lnTo>
                    <a:pt x="7088" y="1777"/>
                  </a:lnTo>
                  <a:lnTo>
                    <a:pt x="7099" y="1781"/>
                  </a:lnTo>
                  <a:lnTo>
                    <a:pt x="7109" y="1783"/>
                  </a:lnTo>
                  <a:lnTo>
                    <a:pt x="7117" y="1784"/>
                  </a:lnTo>
                  <a:lnTo>
                    <a:pt x="7127" y="1784"/>
                  </a:lnTo>
                  <a:lnTo>
                    <a:pt x="7147" y="1784"/>
                  </a:lnTo>
                  <a:lnTo>
                    <a:pt x="7167" y="1785"/>
                  </a:lnTo>
                  <a:lnTo>
                    <a:pt x="7183" y="1788"/>
                  </a:lnTo>
                  <a:lnTo>
                    <a:pt x="7197" y="1792"/>
                  </a:lnTo>
                  <a:lnTo>
                    <a:pt x="7211" y="1796"/>
                  </a:lnTo>
                  <a:lnTo>
                    <a:pt x="7224" y="1800"/>
                  </a:lnTo>
                  <a:lnTo>
                    <a:pt x="7249" y="1811"/>
                  </a:lnTo>
                  <a:lnTo>
                    <a:pt x="7279" y="1822"/>
                  </a:lnTo>
                  <a:lnTo>
                    <a:pt x="6822" y="3660"/>
                  </a:lnTo>
                  <a:lnTo>
                    <a:pt x="6812" y="3657"/>
                  </a:lnTo>
                  <a:lnTo>
                    <a:pt x="6800" y="3655"/>
                  </a:lnTo>
                  <a:lnTo>
                    <a:pt x="6795" y="3655"/>
                  </a:lnTo>
                  <a:lnTo>
                    <a:pt x="6791" y="3656"/>
                  </a:lnTo>
                  <a:lnTo>
                    <a:pt x="6787" y="3658"/>
                  </a:lnTo>
                  <a:lnTo>
                    <a:pt x="6785" y="3660"/>
                  </a:lnTo>
                  <a:lnTo>
                    <a:pt x="6779" y="3667"/>
                  </a:lnTo>
                  <a:lnTo>
                    <a:pt x="6775" y="3674"/>
                  </a:lnTo>
                  <a:lnTo>
                    <a:pt x="6771" y="3683"/>
                  </a:lnTo>
                  <a:lnTo>
                    <a:pt x="6767" y="3693"/>
                  </a:lnTo>
                  <a:lnTo>
                    <a:pt x="6763" y="3702"/>
                  </a:lnTo>
                  <a:lnTo>
                    <a:pt x="6758" y="3711"/>
                  </a:lnTo>
                  <a:lnTo>
                    <a:pt x="6747" y="3718"/>
                  </a:lnTo>
                  <a:lnTo>
                    <a:pt x="6736" y="3725"/>
                  </a:lnTo>
                  <a:lnTo>
                    <a:pt x="6717" y="3740"/>
                  </a:lnTo>
                  <a:lnTo>
                    <a:pt x="6698" y="3755"/>
                  </a:lnTo>
                  <a:lnTo>
                    <a:pt x="6692" y="3763"/>
                  </a:lnTo>
                  <a:lnTo>
                    <a:pt x="6686" y="3771"/>
                  </a:lnTo>
                  <a:lnTo>
                    <a:pt x="6684" y="3777"/>
                  </a:lnTo>
                  <a:lnTo>
                    <a:pt x="6682" y="3782"/>
                  </a:lnTo>
                  <a:lnTo>
                    <a:pt x="6681" y="3788"/>
                  </a:lnTo>
                  <a:lnTo>
                    <a:pt x="6681" y="3794"/>
                  </a:lnTo>
                  <a:lnTo>
                    <a:pt x="6681" y="3818"/>
                  </a:lnTo>
                  <a:lnTo>
                    <a:pt x="6681" y="3839"/>
                  </a:lnTo>
                  <a:lnTo>
                    <a:pt x="6681" y="3861"/>
                  </a:lnTo>
                  <a:lnTo>
                    <a:pt x="6681" y="3885"/>
                  </a:lnTo>
                  <a:lnTo>
                    <a:pt x="6682" y="3893"/>
                  </a:lnTo>
                  <a:lnTo>
                    <a:pt x="6684" y="3900"/>
                  </a:lnTo>
                  <a:lnTo>
                    <a:pt x="6686" y="3906"/>
                  </a:lnTo>
                  <a:lnTo>
                    <a:pt x="6690" y="3912"/>
                  </a:lnTo>
                  <a:lnTo>
                    <a:pt x="6693" y="3918"/>
                  </a:lnTo>
                  <a:lnTo>
                    <a:pt x="6696" y="3925"/>
                  </a:lnTo>
                  <a:lnTo>
                    <a:pt x="6698" y="3931"/>
                  </a:lnTo>
                  <a:lnTo>
                    <a:pt x="6699" y="3939"/>
                  </a:lnTo>
                  <a:lnTo>
                    <a:pt x="6698" y="3945"/>
                  </a:lnTo>
                  <a:lnTo>
                    <a:pt x="6697" y="3950"/>
                  </a:lnTo>
                  <a:lnTo>
                    <a:pt x="6695" y="3955"/>
                  </a:lnTo>
                  <a:lnTo>
                    <a:pt x="6694" y="3959"/>
                  </a:lnTo>
                  <a:lnTo>
                    <a:pt x="6692" y="3964"/>
                  </a:lnTo>
                  <a:lnTo>
                    <a:pt x="6690" y="3969"/>
                  </a:lnTo>
                  <a:lnTo>
                    <a:pt x="6689" y="3974"/>
                  </a:lnTo>
                  <a:lnTo>
                    <a:pt x="6687" y="3980"/>
                  </a:lnTo>
                  <a:lnTo>
                    <a:pt x="6689" y="3995"/>
                  </a:lnTo>
                  <a:lnTo>
                    <a:pt x="6691" y="4008"/>
                  </a:lnTo>
                  <a:lnTo>
                    <a:pt x="6694" y="4021"/>
                  </a:lnTo>
                  <a:lnTo>
                    <a:pt x="6696" y="4036"/>
                  </a:lnTo>
                  <a:lnTo>
                    <a:pt x="6696" y="4036"/>
                  </a:lnTo>
                  <a:close/>
                </a:path>
              </a:pathLst>
            </a:custGeom>
            <a:solidFill>
              <a:srgbClr val="C1EFA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44">
              <a:extLst>
                <a:ext uri="{FF2B5EF4-FFF2-40B4-BE49-F238E27FC236}">
                  <a16:creationId xmlns:a16="http://schemas.microsoft.com/office/drawing/2014/main" id="{0DDF17C1-5AA5-4EAA-9C11-6843338302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45313" y="642938"/>
              <a:ext cx="2889250" cy="1965325"/>
            </a:xfrm>
            <a:custGeom>
              <a:avLst/>
              <a:gdLst>
                <a:gd name="T0" fmla="*/ 6608 w 7279"/>
                <a:gd name="T1" fmla="*/ 4289 h 4954"/>
                <a:gd name="T2" fmla="*/ 6547 w 7279"/>
                <a:gd name="T3" fmla="*/ 4450 h 4954"/>
                <a:gd name="T4" fmla="*/ 4802 w 7279"/>
                <a:gd name="T5" fmla="*/ 4560 h 4954"/>
                <a:gd name="T6" fmla="*/ 4031 w 7279"/>
                <a:gd name="T7" fmla="*/ 4356 h 4954"/>
                <a:gd name="T8" fmla="*/ 3943 w 7279"/>
                <a:gd name="T9" fmla="*/ 4511 h 4954"/>
                <a:gd name="T10" fmla="*/ 3708 w 7279"/>
                <a:gd name="T11" fmla="*/ 4681 h 4954"/>
                <a:gd name="T12" fmla="*/ 3561 w 7279"/>
                <a:gd name="T13" fmla="*/ 4770 h 4954"/>
                <a:gd name="T14" fmla="*/ 3367 w 7279"/>
                <a:gd name="T15" fmla="*/ 4793 h 4954"/>
                <a:gd name="T16" fmla="*/ 3117 w 7279"/>
                <a:gd name="T17" fmla="*/ 4831 h 4954"/>
                <a:gd name="T18" fmla="*/ 0 w 7279"/>
                <a:gd name="T19" fmla="*/ 3905 h 4954"/>
                <a:gd name="T20" fmla="*/ 85 w 7279"/>
                <a:gd name="T21" fmla="*/ 3743 h 4954"/>
                <a:gd name="T22" fmla="*/ 239 w 7279"/>
                <a:gd name="T23" fmla="*/ 3617 h 4954"/>
                <a:gd name="T24" fmla="*/ 194 w 7279"/>
                <a:gd name="T25" fmla="*/ 3389 h 4954"/>
                <a:gd name="T26" fmla="*/ 316 w 7279"/>
                <a:gd name="T27" fmla="*/ 3144 h 4954"/>
                <a:gd name="T28" fmla="*/ 473 w 7279"/>
                <a:gd name="T29" fmla="*/ 3006 h 4954"/>
                <a:gd name="T30" fmla="*/ 603 w 7279"/>
                <a:gd name="T31" fmla="*/ 2897 h 4954"/>
                <a:gd name="T32" fmla="*/ 731 w 7279"/>
                <a:gd name="T33" fmla="*/ 2857 h 4954"/>
                <a:gd name="T34" fmla="*/ 1042 w 7279"/>
                <a:gd name="T35" fmla="*/ 2743 h 4954"/>
                <a:gd name="T36" fmla="*/ 1223 w 7279"/>
                <a:gd name="T37" fmla="*/ 2601 h 4954"/>
                <a:gd name="T38" fmla="*/ 1455 w 7279"/>
                <a:gd name="T39" fmla="*/ 2650 h 4954"/>
                <a:gd name="T40" fmla="*/ 1625 w 7279"/>
                <a:gd name="T41" fmla="*/ 2218 h 4954"/>
                <a:gd name="T42" fmla="*/ 1765 w 7279"/>
                <a:gd name="T43" fmla="*/ 1548 h 4954"/>
                <a:gd name="T44" fmla="*/ 1729 w 7279"/>
                <a:gd name="T45" fmla="*/ 1352 h 4954"/>
                <a:gd name="T46" fmla="*/ 1636 w 7279"/>
                <a:gd name="T47" fmla="*/ 1227 h 4954"/>
                <a:gd name="T48" fmla="*/ 1574 w 7279"/>
                <a:gd name="T49" fmla="*/ 1043 h 4954"/>
                <a:gd name="T50" fmla="*/ 1445 w 7279"/>
                <a:gd name="T51" fmla="*/ 854 h 4954"/>
                <a:gd name="T52" fmla="*/ 1621 w 7279"/>
                <a:gd name="T53" fmla="*/ 680 h 4954"/>
                <a:gd name="T54" fmla="*/ 1826 w 7279"/>
                <a:gd name="T55" fmla="*/ 657 h 4954"/>
                <a:gd name="T56" fmla="*/ 1789 w 7279"/>
                <a:gd name="T57" fmla="*/ 459 h 4954"/>
                <a:gd name="T58" fmla="*/ 1600 w 7279"/>
                <a:gd name="T59" fmla="*/ 276 h 4954"/>
                <a:gd name="T60" fmla="*/ 1833 w 7279"/>
                <a:gd name="T61" fmla="*/ 90 h 4954"/>
                <a:gd name="T62" fmla="*/ 2184 w 7279"/>
                <a:gd name="T63" fmla="*/ 143 h 4954"/>
                <a:gd name="T64" fmla="*/ 2270 w 7279"/>
                <a:gd name="T65" fmla="*/ 24 h 4954"/>
                <a:gd name="T66" fmla="*/ 2407 w 7279"/>
                <a:gd name="T67" fmla="*/ 80 h 4954"/>
                <a:gd name="T68" fmla="*/ 2530 w 7279"/>
                <a:gd name="T69" fmla="*/ 6 h 4954"/>
                <a:gd name="T70" fmla="*/ 2683 w 7279"/>
                <a:gd name="T71" fmla="*/ 208 h 4954"/>
                <a:gd name="T72" fmla="*/ 2840 w 7279"/>
                <a:gd name="T73" fmla="*/ 338 h 4954"/>
                <a:gd name="T74" fmla="*/ 3166 w 7279"/>
                <a:gd name="T75" fmla="*/ 509 h 4954"/>
                <a:gd name="T76" fmla="*/ 3499 w 7279"/>
                <a:gd name="T77" fmla="*/ 363 h 4954"/>
                <a:gd name="T78" fmla="*/ 3792 w 7279"/>
                <a:gd name="T79" fmla="*/ 240 h 4954"/>
                <a:gd name="T80" fmla="*/ 4182 w 7279"/>
                <a:gd name="T81" fmla="*/ 3 h 4954"/>
                <a:gd name="T82" fmla="*/ 4367 w 7279"/>
                <a:gd name="T83" fmla="*/ 147 h 4954"/>
                <a:gd name="T84" fmla="*/ 4540 w 7279"/>
                <a:gd name="T85" fmla="*/ 395 h 4954"/>
                <a:gd name="T86" fmla="*/ 4653 w 7279"/>
                <a:gd name="T87" fmla="*/ 667 h 4954"/>
                <a:gd name="T88" fmla="*/ 4757 w 7279"/>
                <a:gd name="T89" fmla="*/ 959 h 4954"/>
                <a:gd name="T90" fmla="*/ 4824 w 7279"/>
                <a:gd name="T91" fmla="*/ 1261 h 4954"/>
                <a:gd name="T92" fmla="*/ 4885 w 7279"/>
                <a:gd name="T93" fmla="*/ 1434 h 4954"/>
                <a:gd name="T94" fmla="*/ 5061 w 7279"/>
                <a:gd name="T95" fmla="*/ 1432 h 4954"/>
                <a:gd name="T96" fmla="*/ 5172 w 7279"/>
                <a:gd name="T97" fmla="*/ 1174 h 4954"/>
                <a:gd name="T98" fmla="*/ 5342 w 7279"/>
                <a:gd name="T99" fmla="*/ 1166 h 4954"/>
                <a:gd name="T100" fmla="*/ 5519 w 7279"/>
                <a:gd name="T101" fmla="*/ 1198 h 4954"/>
                <a:gd name="T102" fmla="*/ 5578 w 7279"/>
                <a:gd name="T103" fmla="*/ 1056 h 4954"/>
                <a:gd name="T104" fmla="*/ 5864 w 7279"/>
                <a:gd name="T105" fmla="*/ 855 h 4954"/>
                <a:gd name="T106" fmla="*/ 6063 w 7279"/>
                <a:gd name="T107" fmla="*/ 1003 h 4954"/>
                <a:gd name="T108" fmla="*/ 6181 w 7279"/>
                <a:gd name="T109" fmla="*/ 1202 h 4954"/>
                <a:gd name="T110" fmla="*/ 6334 w 7279"/>
                <a:gd name="T111" fmla="*/ 1334 h 4954"/>
                <a:gd name="T112" fmla="*/ 6449 w 7279"/>
                <a:gd name="T113" fmla="*/ 1517 h 4954"/>
                <a:gd name="T114" fmla="*/ 6629 w 7279"/>
                <a:gd name="T115" fmla="*/ 1614 h 4954"/>
                <a:gd name="T116" fmla="*/ 6910 w 7279"/>
                <a:gd name="T117" fmla="*/ 1663 h 4954"/>
                <a:gd name="T118" fmla="*/ 7109 w 7279"/>
                <a:gd name="T119" fmla="*/ 1783 h 4954"/>
                <a:gd name="T120" fmla="*/ 6779 w 7279"/>
                <a:gd name="T121" fmla="*/ 3667 h 4954"/>
                <a:gd name="T122" fmla="*/ 6681 w 7279"/>
                <a:gd name="T123" fmla="*/ 3861 h 4954"/>
                <a:gd name="T124" fmla="*/ 6689 w 7279"/>
                <a:gd name="T125" fmla="*/ 3995 h 4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79" h="4954">
                  <a:moveTo>
                    <a:pt x="6696" y="4036"/>
                  </a:moveTo>
                  <a:lnTo>
                    <a:pt x="6676" y="4064"/>
                  </a:lnTo>
                  <a:lnTo>
                    <a:pt x="6658" y="4092"/>
                  </a:lnTo>
                  <a:lnTo>
                    <a:pt x="6650" y="4105"/>
                  </a:lnTo>
                  <a:lnTo>
                    <a:pt x="6642" y="4118"/>
                  </a:lnTo>
                  <a:lnTo>
                    <a:pt x="6636" y="4132"/>
                  </a:lnTo>
                  <a:lnTo>
                    <a:pt x="6629" y="4145"/>
                  </a:lnTo>
                  <a:lnTo>
                    <a:pt x="6623" y="4159"/>
                  </a:lnTo>
                  <a:lnTo>
                    <a:pt x="6618" y="4173"/>
                  </a:lnTo>
                  <a:lnTo>
                    <a:pt x="6614" y="4187"/>
                  </a:lnTo>
                  <a:lnTo>
                    <a:pt x="6611" y="4202"/>
                  </a:lnTo>
                  <a:lnTo>
                    <a:pt x="6608" y="4217"/>
                  </a:lnTo>
                  <a:lnTo>
                    <a:pt x="6605" y="4234"/>
                  </a:lnTo>
                  <a:lnTo>
                    <a:pt x="6604" y="4251"/>
                  </a:lnTo>
                  <a:lnTo>
                    <a:pt x="6604" y="4268"/>
                  </a:lnTo>
                  <a:lnTo>
                    <a:pt x="6604" y="4276"/>
                  </a:lnTo>
                  <a:lnTo>
                    <a:pt x="6605" y="4282"/>
                  </a:lnTo>
                  <a:lnTo>
                    <a:pt x="6608" y="4289"/>
                  </a:lnTo>
                  <a:lnTo>
                    <a:pt x="6610" y="4294"/>
                  </a:lnTo>
                  <a:lnTo>
                    <a:pt x="6612" y="4301"/>
                  </a:lnTo>
                  <a:lnTo>
                    <a:pt x="6613" y="4306"/>
                  </a:lnTo>
                  <a:lnTo>
                    <a:pt x="6614" y="4312"/>
                  </a:lnTo>
                  <a:lnTo>
                    <a:pt x="6615" y="4320"/>
                  </a:lnTo>
                  <a:lnTo>
                    <a:pt x="6615" y="4325"/>
                  </a:lnTo>
                  <a:lnTo>
                    <a:pt x="6614" y="4331"/>
                  </a:lnTo>
                  <a:lnTo>
                    <a:pt x="6612" y="4335"/>
                  </a:lnTo>
                  <a:lnTo>
                    <a:pt x="6611" y="4339"/>
                  </a:lnTo>
                  <a:lnTo>
                    <a:pt x="6605" y="4347"/>
                  </a:lnTo>
                  <a:lnTo>
                    <a:pt x="6600" y="4353"/>
                  </a:lnTo>
                  <a:lnTo>
                    <a:pt x="6594" y="4361"/>
                  </a:lnTo>
                  <a:lnTo>
                    <a:pt x="6587" y="4369"/>
                  </a:lnTo>
                  <a:lnTo>
                    <a:pt x="6581" y="4376"/>
                  </a:lnTo>
                  <a:lnTo>
                    <a:pt x="6576" y="4386"/>
                  </a:lnTo>
                  <a:lnTo>
                    <a:pt x="6567" y="4409"/>
                  </a:lnTo>
                  <a:lnTo>
                    <a:pt x="6557" y="4430"/>
                  </a:lnTo>
                  <a:lnTo>
                    <a:pt x="6547" y="4450"/>
                  </a:lnTo>
                  <a:lnTo>
                    <a:pt x="6540" y="4469"/>
                  </a:lnTo>
                  <a:lnTo>
                    <a:pt x="6533" y="4488"/>
                  </a:lnTo>
                  <a:lnTo>
                    <a:pt x="6528" y="4509"/>
                  </a:lnTo>
                  <a:lnTo>
                    <a:pt x="6525" y="4520"/>
                  </a:lnTo>
                  <a:lnTo>
                    <a:pt x="6523" y="4532"/>
                  </a:lnTo>
                  <a:lnTo>
                    <a:pt x="6523" y="4544"/>
                  </a:lnTo>
                  <a:lnTo>
                    <a:pt x="6522" y="4557"/>
                  </a:lnTo>
                  <a:lnTo>
                    <a:pt x="6521" y="4567"/>
                  </a:lnTo>
                  <a:lnTo>
                    <a:pt x="6520" y="4579"/>
                  </a:lnTo>
                  <a:lnTo>
                    <a:pt x="4940" y="4560"/>
                  </a:lnTo>
                  <a:lnTo>
                    <a:pt x="4940" y="4560"/>
                  </a:lnTo>
                  <a:lnTo>
                    <a:pt x="4927" y="4560"/>
                  </a:lnTo>
                  <a:lnTo>
                    <a:pt x="4914" y="4560"/>
                  </a:lnTo>
                  <a:lnTo>
                    <a:pt x="4901" y="4560"/>
                  </a:lnTo>
                  <a:lnTo>
                    <a:pt x="4888" y="4560"/>
                  </a:lnTo>
                  <a:lnTo>
                    <a:pt x="4857" y="4560"/>
                  </a:lnTo>
                  <a:lnTo>
                    <a:pt x="4830" y="4560"/>
                  </a:lnTo>
                  <a:lnTo>
                    <a:pt x="4802" y="4560"/>
                  </a:lnTo>
                  <a:lnTo>
                    <a:pt x="4770" y="4560"/>
                  </a:lnTo>
                  <a:lnTo>
                    <a:pt x="4584" y="4240"/>
                  </a:lnTo>
                  <a:lnTo>
                    <a:pt x="4182" y="4238"/>
                  </a:lnTo>
                  <a:lnTo>
                    <a:pt x="4171" y="4247"/>
                  </a:lnTo>
                  <a:lnTo>
                    <a:pt x="4161" y="4256"/>
                  </a:lnTo>
                  <a:lnTo>
                    <a:pt x="4153" y="4266"/>
                  </a:lnTo>
                  <a:lnTo>
                    <a:pt x="4144" y="4276"/>
                  </a:lnTo>
                  <a:lnTo>
                    <a:pt x="4129" y="4295"/>
                  </a:lnTo>
                  <a:lnTo>
                    <a:pt x="4113" y="4319"/>
                  </a:lnTo>
                  <a:lnTo>
                    <a:pt x="4103" y="4331"/>
                  </a:lnTo>
                  <a:lnTo>
                    <a:pt x="4093" y="4342"/>
                  </a:lnTo>
                  <a:lnTo>
                    <a:pt x="4088" y="4347"/>
                  </a:lnTo>
                  <a:lnTo>
                    <a:pt x="4081" y="4350"/>
                  </a:lnTo>
                  <a:lnTo>
                    <a:pt x="4075" y="4351"/>
                  </a:lnTo>
                  <a:lnTo>
                    <a:pt x="4067" y="4352"/>
                  </a:lnTo>
                  <a:lnTo>
                    <a:pt x="4055" y="4352"/>
                  </a:lnTo>
                  <a:lnTo>
                    <a:pt x="4043" y="4353"/>
                  </a:lnTo>
                  <a:lnTo>
                    <a:pt x="4031" y="4356"/>
                  </a:lnTo>
                  <a:lnTo>
                    <a:pt x="4020" y="4358"/>
                  </a:lnTo>
                  <a:lnTo>
                    <a:pt x="4008" y="4362"/>
                  </a:lnTo>
                  <a:lnTo>
                    <a:pt x="3997" y="4366"/>
                  </a:lnTo>
                  <a:lnTo>
                    <a:pt x="3986" y="4372"/>
                  </a:lnTo>
                  <a:lnTo>
                    <a:pt x="3977" y="4378"/>
                  </a:lnTo>
                  <a:lnTo>
                    <a:pt x="3968" y="4385"/>
                  </a:lnTo>
                  <a:lnTo>
                    <a:pt x="3960" y="4393"/>
                  </a:lnTo>
                  <a:lnTo>
                    <a:pt x="3953" y="4402"/>
                  </a:lnTo>
                  <a:lnTo>
                    <a:pt x="3947" y="4411"/>
                  </a:lnTo>
                  <a:lnTo>
                    <a:pt x="3942" y="4420"/>
                  </a:lnTo>
                  <a:lnTo>
                    <a:pt x="3939" y="4431"/>
                  </a:lnTo>
                  <a:lnTo>
                    <a:pt x="3937" y="4443"/>
                  </a:lnTo>
                  <a:lnTo>
                    <a:pt x="3935" y="4455"/>
                  </a:lnTo>
                  <a:lnTo>
                    <a:pt x="3937" y="4467"/>
                  </a:lnTo>
                  <a:lnTo>
                    <a:pt x="3940" y="4478"/>
                  </a:lnTo>
                  <a:lnTo>
                    <a:pt x="3943" y="4488"/>
                  </a:lnTo>
                  <a:lnTo>
                    <a:pt x="3944" y="4500"/>
                  </a:lnTo>
                  <a:lnTo>
                    <a:pt x="3943" y="4511"/>
                  </a:lnTo>
                  <a:lnTo>
                    <a:pt x="3942" y="4522"/>
                  </a:lnTo>
                  <a:lnTo>
                    <a:pt x="3940" y="4531"/>
                  </a:lnTo>
                  <a:lnTo>
                    <a:pt x="3937" y="4539"/>
                  </a:lnTo>
                  <a:lnTo>
                    <a:pt x="3932" y="4548"/>
                  </a:lnTo>
                  <a:lnTo>
                    <a:pt x="3928" y="4555"/>
                  </a:lnTo>
                  <a:lnTo>
                    <a:pt x="3923" y="4563"/>
                  </a:lnTo>
                  <a:lnTo>
                    <a:pt x="3916" y="4571"/>
                  </a:lnTo>
                  <a:lnTo>
                    <a:pt x="3908" y="4577"/>
                  </a:lnTo>
                  <a:lnTo>
                    <a:pt x="3902" y="4584"/>
                  </a:lnTo>
                  <a:lnTo>
                    <a:pt x="3893" y="4589"/>
                  </a:lnTo>
                  <a:lnTo>
                    <a:pt x="3886" y="4594"/>
                  </a:lnTo>
                  <a:lnTo>
                    <a:pt x="3867" y="4605"/>
                  </a:lnTo>
                  <a:lnTo>
                    <a:pt x="3849" y="4616"/>
                  </a:lnTo>
                  <a:lnTo>
                    <a:pt x="3814" y="4633"/>
                  </a:lnTo>
                  <a:lnTo>
                    <a:pt x="3783" y="4648"/>
                  </a:lnTo>
                  <a:lnTo>
                    <a:pt x="3753" y="4662"/>
                  </a:lnTo>
                  <a:lnTo>
                    <a:pt x="3717" y="4677"/>
                  </a:lnTo>
                  <a:lnTo>
                    <a:pt x="3708" y="4681"/>
                  </a:lnTo>
                  <a:lnTo>
                    <a:pt x="3699" y="4684"/>
                  </a:lnTo>
                  <a:lnTo>
                    <a:pt x="3689" y="4686"/>
                  </a:lnTo>
                  <a:lnTo>
                    <a:pt x="3681" y="4688"/>
                  </a:lnTo>
                  <a:lnTo>
                    <a:pt x="3662" y="4692"/>
                  </a:lnTo>
                  <a:lnTo>
                    <a:pt x="3645" y="4695"/>
                  </a:lnTo>
                  <a:lnTo>
                    <a:pt x="3637" y="4696"/>
                  </a:lnTo>
                  <a:lnTo>
                    <a:pt x="3629" y="4698"/>
                  </a:lnTo>
                  <a:lnTo>
                    <a:pt x="3621" y="4701"/>
                  </a:lnTo>
                  <a:lnTo>
                    <a:pt x="3615" y="4704"/>
                  </a:lnTo>
                  <a:lnTo>
                    <a:pt x="3607" y="4709"/>
                  </a:lnTo>
                  <a:lnTo>
                    <a:pt x="3601" y="4714"/>
                  </a:lnTo>
                  <a:lnTo>
                    <a:pt x="3594" y="4721"/>
                  </a:lnTo>
                  <a:lnTo>
                    <a:pt x="3588" y="4728"/>
                  </a:lnTo>
                  <a:lnTo>
                    <a:pt x="3586" y="4740"/>
                  </a:lnTo>
                  <a:lnTo>
                    <a:pt x="3582" y="4753"/>
                  </a:lnTo>
                  <a:lnTo>
                    <a:pt x="3576" y="4761"/>
                  </a:lnTo>
                  <a:lnTo>
                    <a:pt x="3568" y="4766"/>
                  </a:lnTo>
                  <a:lnTo>
                    <a:pt x="3561" y="4770"/>
                  </a:lnTo>
                  <a:lnTo>
                    <a:pt x="3553" y="4774"/>
                  </a:lnTo>
                  <a:lnTo>
                    <a:pt x="3535" y="4779"/>
                  </a:lnTo>
                  <a:lnTo>
                    <a:pt x="3515" y="4784"/>
                  </a:lnTo>
                  <a:lnTo>
                    <a:pt x="3500" y="4790"/>
                  </a:lnTo>
                  <a:lnTo>
                    <a:pt x="3487" y="4796"/>
                  </a:lnTo>
                  <a:lnTo>
                    <a:pt x="3481" y="4800"/>
                  </a:lnTo>
                  <a:lnTo>
                    <a:pt x="3474" y="4802"/>
                  </a:lnTo>
                  <a:lnTo>
                    <a:pt x="3467" y="4803"/>
                  </a:lnTo>
                  <a:lnTo>
                    <a:pt x="3458" y="4804"/>
                  </a:lnTo>
                  <a:lnTo>
                    <a:pt x="3441" y="4804"/>
                  </a:lnTo>
                  <a:lnTo>
                    <a:pt x="3426" y="4804"/>
                  </a:lnTo>
                  <a:lnTo>
                    <a:pt x="3411" y="4804"/>
                  </a:lnTo>
                  <a:lnTo>
                    <a:pt x="3392" y="4804"/>
                  </a:lnTo>
                  <a:lnTo>
                    <a:pt x="3388" y="4803"/>
                  </a:lnTo>
                  <a:lnTo>
                    <a:pt x="3384" y="4802"/>
                  </a:lnTo>
                  <a:lnTo>
                    <a:pt x="3379" y="4801"/>
                  </a:lnTo>
                  <a:lnTo>
                    <a:pt x="3375" y="4798"/>
                  </a:lnTo>
                  <a:lnTo>
                    <a:pt x="3367" y="4793"/>
                  </a:lnTo>
                  <a:lnTo>
                    <a:pt x="3359" y="4790"/>
                  </a:lnTo>
                  <a:lnTo>
                    <a:pt x="3322" y="4779"/>
                  </a:lnTo>
                  <a:lnTo>
                    <a:pt x="3290" y="4770"/>
                  </a:lnTo>
                  <a:lnTo>
                    <a:pt x="3273" y="4768"/>
                  </a:lnTo>
                  <a:lnTo>
                    <a:pt x="3256" y="4766"/>
                  </a:lnTo>
                  <a:lnTo>
                    <a:pt x="3238" y="4765"/>
                  </a:lnTo>
                  <a:lnTo>
                    <a:pt x="3218" y="4764"/>
                  </a:lnTo>
                  <a:lnTo>
                    <a:pt x="3213" y="4765"/>
                  </a:lnTo>
                  <a:lnTo>
                    <a:pt x="3207" y="4766"/>
                  </a:lnTo>
                  <a:lnTo>
                    <a:pt x="3203" y="4767"/>
                  </a:lnTo>
                  <a:lnTo>
                    <a:pt x="3199" y="4769"/>
                  </a:lnTo>
                  <a:lnTo>
                    <a:pt x="3191" y="4775"/>
                  </a:lnTo>
                  <a:lnTo>
                    <a:pt x="3184" y="4781"/>
                  </a:lnTo>
                  <a:lnTo>
                    <a:pt x="3177" y="4788"/>
                  </a:lnTo>
                  <a:lnTo>
                    <a:pt x="3171" y="4795"/>
                  </a:lnTo>
                  <a:lnTo>
                    <a:pt x="3163" y="4803"/>
                  </a:lnTo>
                  <a:lnTo>
                    <a:pt x="3153" y="4809"/>
                  </a:lnTo>
                  <a:lnTo>
                    <a:pt x="3117" y="4831"/>
                  </a:lnTo>
                  <a:lnTo>
                    <a:pt x="3083" y="4848"/>
                  </a:lnTo>
                  <a:lnTo>
                    <a:pt x="3067" y="4858"/>
                  </a:lnTo>
                  <a:lnTo>
                    <a:pt x="3050" y="4868"/>
                  </a:lnTo>
                  <a:lnTo>
                    <a:pt x="3034" y="4879"/>
                  </a:lnTo>
                  <a:lnTo>
                    <a:pt x="3016" y="4893"/>
                  </a:lnTo>
                  <a:lnTo>
                    <a:pt x="3004" y="4902"/>
                  </a:lnTo>
                  <a:lnTo>
                    <a:pt x="2993" y="4909"/>
                  </a:lnTo>
                  <a:lnTo>
                    <a:pt x="2981" y="4914"/>
                  </a:lnTo>
                  <a:lnTo>
                    <a:pt x="2968" y="4918"/>
                  </a:lnTo>
                  <a:lnTo>
                    <a:pt x="2942" y="4924"/>
                  </a:lnTo>
                  <a:lnTo>
                    <a:pt x="2913" y="4930"/>
                  </a:lnTo>
                  <a:lnTo>
                    <a:pt x="2886" y="4937"/>
                  </a:lnTo>
                  <a:lnTo>
                    <a:pt x="2862" y="4943"/>
                  </a:lnTo>
                  <a:lnTo>
                    <a:pt x="2838" y="4950"/>
                  </a:lnTo>
                  <a:lnTo>
                    <a:pt x="2810" y="4954"/>
                  </a:lnTo>
                  <a:lnTo>
                    <a:pt x="2810" y="4954"/>
                  </a:lnTo>
                  <a:lnTo>
                    <a:pt x="2319" y="4742"/>
                  </a:lnTo>
                  <a:lnTo>
                    <a:pt x="0" y="3905"/>
                  </a:lnTo>
                  <a:lnTo>
                    <a:pt x="0" y="3905"/>
                  </a:lnTo>
                  <a:lnTo>
                    <a:pt x="2" y="3897"/>
                  </a:lnTo>
                  <a:lnTo>
                    <a:pt x="5" y="3888"/>
                  </a:lnTo>
                  <a:lnTo>
                    <a:pt x="8" y="3879"/>
                  </a:lnTo>
                  <a:lnTo>
                    <a:pt x="12" y="3872"/>
                  </a:lnTo>
                  <a:lnTo>
                    <a:pt x="20" y="3856"/>
                  </a:lnTo>
                  <a:lnTo>
                    <a:pt x="29" y="3837"/>
                  </a:lnTo>
                  <a:lnTo>
                    <a:pt x="33" y="3822"/>
                  </a:lnTo>
                  <a:lnTo>
                    <a:pt x="35" y="3808"/>
                  </a:lnTo>
                  <a:lnTo>
                    <a:pt x="37" y="3802"/>
                  </a:lnTo>
                  <a:lnTo>
                    <a:pt x="39" y="3794"/>
                  </a:lnTo>
                  <a:lnTo>
                    <a:pt x="42" y="3788"/>
                  </a:lnTo>
                  <a:lnTo>
                    <a:pt x="45" y="3781"/>
                  </a:lnTo>
                  <a:lnTo>
                    <a:pt x="50" y="3772"/>
                  </a:lnTo>
                  <a:lnTo>
                    <a:pt x="57" y="3765"/>
                  </a:lnTo>
                  <a:lnTo>
                    <a:pt x="63" y="3758"/>
                  </a:lnTo>
                  <a:lnTo>
                    <a:pt x="70" y="3753"/>
                  </a:lnTo>
                  <a:lnTo>
                    <a:pt x="85" y="3743"/>
                  </a:lnTo>
                  <a:lnTo>
                    <a:pt x="101" y="3734"/>
                  </a:lnTo>
                  <a:lnTo>
                    <a:pt x="118" y="3723"/>
                  </a:lnTo>
                  <a:lnTo>
                    <a:pt x="136" y="3715"/>
                  </a:lnTo>
                  <a:lnTo>
                    <a:pt x="152" y="3709"/>
                  </a:lnTo>
                  <a:lnTo>
                    <a:pt x="169" y="3703"/>
                  </a:lnTo>
                  <a:lnTo>
                    <a:pt x="185" y="3698"/>
                  </a:lnTo>
                  <a:lnTo>
                    <a:pt x="203" y="3693"/>
                  </a:lnTo>
                  <a:lnTo>
                    <a:pt x="220" y="3685"/>
                  </a:lnTo>
                  <a:lnTo>
                    <a:pt x="238" y="3677"/>
                  </a:lnTo>
                  <a:lnTo>
                    <a:pt x="243" y="3674"/>
                  </a:lnTo>
                  <a:lnTo>
                    <a:pt x="246" y="3672"/>
                  </a:lnTo>
                  <a:lnTo>
                    <a:pt x="248" y="3669"/>
                  </a:lnTo>
                  <a:lnTo>
                    <a:pt x="249" y="3664"/>
                  </a:lnTo>
                  <a:lnTo>
                    <a:pt x="249" y="3657"/>
                  </a:lnTo>
                  <a:lnTo>
                    <a:pt x="248" y="3647"/>
                  </a:lnTo>
                  <a:lnTo>
                    <a:pt x="245" y="3637"/>
                  </a:lnTo>
                  <a:lnTo>
                    <a:pt x="243" y="3627"/>
                  </a:lnTo>
                  <a:lnTo>
                    <a:pt x="239" y="3617"/>
                  </a:lnTo>
                  <a:lnTo>
                    <a:pt x="238" y="3606"/>
                  </a:lnTo>
                  <a:lnTo>
                    <a:pt x="238" y="3594"/>
                  </a:lnTo>
                  <a:lnTo>
                    <a:pt x="236" y="3583"/>
                  </a:lnTo>
                  <a:lnTo>
                    <a:pt x="234" y="3573"/>
                  </a:lnTo>
                  <a:lnTo>
                    <a:pt x="231" y="3563"/>
                  </a:lnTo>
                  <a:lnTo>
                    <a:pt x="222" y="3545"/>
                  </a:lnTo>
                  <a:lnTo>
                    <a:pt x="212" y="3526"/>
                  </a:lnTo>
                  <a:lnTo>
                    <a:pt x="203" y="3509"/>
                  </a:lnTo>
                  <a:lnTo>
                    <a:pt x="194" y="3491"/>
                  </a:lnTo>
                  <a:lnTo>
                    <a:pt x="191" y="3481"/>
                  </a:lnTo>
                  <a:lnTo>
                    <a:pt x="188" y="3470"/>
                  </a:lnTo>
                  <a:lnTo>
                    <a:pt x="187" y="3459"/>
                  </a:lnTo>
                  <a:lnTo>
                    <a:pt x="185" y="3447"/>
                  </a:lnTo>
                  <a:lnTo>
                    <a:pt x="185" y="3434"/>
                  </a:lnTo>
                  <a:lnTo>
                    <a:pt x="187" y="3423"/>
                  </a:lnTo>
                  <a:lnTo>
                    <a:pt x="188" y="3411"/>
                  </a:lnTo>
                  <a:lnTo>
                    <a:pt x="191" y="3400"/>
                  </a:lnTo>
                  <a:lnTo>
                    <a:pt x="194" y="3389"/>
                  </a:lnTo>
                  <a:lnTo>
                    <a:pt x="199" y="3379"/>
                  </a:lnTo>
                  <a:lnTo>
                    <a:pt x="207" y="3371"/>
                  </a:lnTo>
                  <a:lnTo>
                    <a:pt x="217" y="3363"/>
                  </a:lnTo>
                  <a:lnTo>
                    <a:pt x="234" y="3351"/>
                  </a:lnTo>
                  <a:lnTo>
                    <a:pt x="251" y="3340"/>
                  </a:lnTo>
                  <a:lnTo>
                    <a:pt x="258" y="3335"/>
                  </a:lnTo>
                  <a:lnTo>
                    <a:pt x="265" y="3327"/>
                  </a:lnTo>
                  <a:lnTo>
                    <a:pt x="271" y="3320"/>
                  </a:lnTo>
                  <a:lnTo>
                    <a:pt x="275" y="3310"/>
                  </a:lnTo>
                  <a:lnTo>
                    <a:pt x="280" y="3293"/>
                  </a:lnTo>
                  <a:lnTo>
                    <a:pt x="283" y="3277"/>
                  </a:lnTo>
                  <a:lnTo>
                    <a:pt x="285" y="3261"/>
                  </a:lnTo>
                  <a:lnTo>
                    <a:pt x="289" y="3242"/>
                  </a:lnTo>
                  <a:lnTo>
                    <a:pt x="299" y="3213"/>
                  </a:lnTo>
                  <a:lnTo>
                    <a:pt x="307" y="3186"/>
                  </a:lnTo>
                  <a:lnTo>
                    <a:pt x="312" y="3173"/>
                  </a:lnTo>
                  <a:lnTo>
                    <a:pt x="315" y="3159"/>
                  </a:lnTo>
                  <a:lnTo>
                    <a:pt x="316" y="3144"/>
                  </a:lnTo>
                  <a:lnTo>
                    <a:pt x="317" y="3128"/>
                  </a:lnTo>
                  <a:lnTo>
                    <a:pt x="315" y="3117"/>
                  </a:lnTo>
                  <a:lnTo>
                    <a:pt x="312" y="3106"/>
                  </a:lnTo>
                  <a:lnTo>
                    <a:pt x="311" y="3101"/>
                  </a:lnTo>
                  <a:lnTo>
                    <a:pt x="311" y="3096"/>
                  </a:lnTo>
                  <a:lnTo>
                    <a:pt x="312" y="3092"/>
                  </a:lnTo>
                  <a:lnTo>
                    <a:pt x="316" y="3089"/>
                  </a:lnTo>
                  <a:lnTo>
                    <a:pt x="327" y="3080"/>
                  </a:lnTo>
                  <a:lnTo>
                    <a:pt x="338" y="3074"/>
                  </a:lnTo>
                  <a:lnTo>
                    <a:pt x="349" y="3067"/>
                  </a:lnTo>
                  <a:lnTo>
                    <a:pt x="359" y="3063"/>
                  </a:lnTo>
                  <a:lnTo>
                    <a:pt x="381" y="3053"/>
                  </a:lnTo>
                  <a:lnTo>
                    <a:pt x="403" y="3046"/>
                  </a:lnTo>
                  <a:lnTo>
                    <a:pt x="423" y="3037"/>
                  </a:lnTo>
                  <a:lnTo>
                    <a:pt x="444" y="3027"/>
                  </a:lnTo>
                  <a:lnTo>
                    <a:pt x="453" y="3021"/>
                  </a:lnTo>
                  <a:lnTo>
                    <a:pt x="463" y="3013"/>
                  </a:lnTo>
                  <a:lnTo>
                    <a:pt x="473" y="3006"/>
                  </a:lnTo>
                  <a:lnTo>
                    <a:pt x="482" y="2996"/>
                  </a:lnTo>
                  <a:lnTo>
                    <a:pt x="489" y="2987"/>
                  </a:lnTo>
                  <a:lnTo>
                    <a:pt x="492" y="2978"/>
                  </a:lnTo>
                  <a:lnTo>
                    <a:pt x="494" y="2973"/>
                  </a:lnTo>
                  <a:lnTo>
                    <a:pt x="498" y="2969"/>
                  </a:lnTo>
                  <a:lnTo>
                    <a:pt x="501" y="2966"/>
                  </a:lnTo>
                  <a:lnTo>
                    <a:pt x="505" y="2962"/>
                  </a:lnTo>
                  <a:lnTo>
                    <a:pt x="517" y="2956"/>
                  </a:lnTo>
                  <a:lnTo>
                    <a:pt x="528" y="2948"/>
                  </a:lnTo>
                  <a:lnTo>
                    <a:pt x="538" y="2941"/>
                  </a:lnTo>
                  <a:lnTo>
                    <a:pt x="547" y="2933"/>
                  </a:lnTo>
                  <a:lnTo>
                    <a:pt x="565" y="2916"/>
                  </a:lnTo>
                  <a:lnTo>
                    <a:pt x="586" y="2898"/>
                  </a:lnTo>
                  <a:lnTo>
                    <a:pt x="589" y="2895"/>
                  </a:lnTo>
                  <a:lnTo>
                    <a:pt x="593" y="2894"/>
                  </a:lnTo>
                  <a:lnTo>
                    <a:pt x="595" y="2894"/>
                  </a:lnTo>
                  <a:lnTo>
                    <a:pt x="598" y="2894"/>
                  </a:lnTo>
                  <a:lnTo>
                    <a:pt x="603" y="2897"/>
                  </a:lnTo>
                  <a:lnTo>
                    <a:pt x="610" y="2900"/>
                  </a:lnTo>
                  <a:lnTo>
                    <a:pt x="616" y="2904"/>
                  </a:lnTo>
                  <a:lnTo>
                    <a:pt x="623" y="2908"/>
                  </a:lnTo>
                  <a:lnTo>
                    <a:pt x="629" y="2911"/>
                  </a:lnTo>
                  <a:lnTo>
                    <a:pt x="637" y="2912"/>
                  </a:lnTo>
                  <a:lnTo>
                    <a:pt x="642" y="2912"/>
                  </a:lnTo>
                  <a:lnTo>
                    <a:pt x="647" y="2910"/>
                  </a:lnTo>
                  <a:lnTo>
                    <a:pt x="651" y="2907"/>
                  </a:lnTo>
                  <a:lnTo>
                    <a:pt x="655" y="2904"/>
                  </a:lnTo>
                  <a:lnTo>
                    <a:pt x="663" y="2897"/>
                  </a:lnTo>
                  <a:lnTo>
                    <a:pt x="670" y="2889"/>
                  </a:lnTo>
                  <a:lnTo>
                    <a:pt x="679" y="2883"/>
                  </a:lnTo>
                  <a:lnTo>
                    <a:pt x="688" y="2878"/>
                  </a:lnTo>
                  <a:lnTo>
                    <a:pt x="696" y="2874"/>
                  </a:lnTo>
                  <a:lnTo>
                    <a:pt x="705" y="2870"/>
                  </a:lnTo>
                  <a:lnTo>
                    <a:pt x="714" y="2865"/>
                  </a:lnTo>
                  <a:lnTo>
                    <a:pt x="722" y="2861"/>
                  </a:lnTo>
                  <a:lnTo>
                    <a:pt x="731" y="2857"/>
                  </a:lnTo>
                  <a:lnTo>
                    <a:pt x="741" y="2850"/>
                  </a:lnTo>
                  <a:lnTo>
                    <a:pt x="760" y="2835"/>
                  </a:lnTo>
                  <a:lnTo>
                    <a:pt x="777" y="2822"/>
                  </a:lnTo>
                  <a:lnTo>
                    <a:pt x="786" y="2817"/>
                  </a:lnTo>
                  <a:lnTo>
                    <a:pt x="796" y="2812"/>
                  </a:lnTo>
                  <a:lnTo>
                    <a:pt x="806" y="2808"/>
                  </a:lnTo>
                  <a:lnTo>
                    <a:pt x="818" y="2806"/>
                  </a:lnTo>
                  <a:lnTo>
                    <a:pt x="843" y="2800"/>
                  </a:lnTo>
                  <a:lnTo>
                    <a:pt x="866" y="2796"/>
                  </a:lnTo>
                  <a:lnTo>
                    <a:pt x="886" y="2790"/>
                  </a:lnTo>
                  <a:lnTo>
                    <a:pt x="906" y="2784"/>
                  </a:lnTo>
                  <a:lnTo>
                    <a:pt x="926" y="2778"/>
                  </a:lnTo>
                  <a:lnTo>
                    <a:pt x="947" y="2771"/>
                  </a:lnTo>
                  <a:lnTo>
                    <a:pt x="968" y="2764"/>
                  </a:lnTo>
                  <a:lnTo>
                    <a:pt x="992" y="2758"/>
                  </a:lnTo>
                  <a:lnTo>
                    <a:pt x="1014" y="2753"/>
                  </a:lnTo>
                  <a:lnTo>
                    <a:pt x="1033" y="2746"/>
                  </a:lnTo>
                  <a:lnTo>
                    <a:pt x="1042" y="2743"/>
                  </a:lnTo>
                  <a:lnTo>
                    <a:pt x="1051" y="2739"/>
                  </a:lnTo>
                  <a:lnTo>
                    <a:pt x="1059" y="2733"/>
                  </a:lnTo>
                  <a:lnTo>
                    <a:pt x="1068" y="2727"/>
                  </a:lnTo>
                  <a:lnTo>
                    <a:pt x="1078" y="2722"/>
                  </a:lnTo>
                  <a:lnTo>
                    <a:pt x="1088" y="2718"/>
                  </a:lnTo>
                  <a:lnTo>
                    <a:pt x="1093" y="2716"/>
                  </a:lnTo>
                  <a:lnTo>
                    <a:pt x="1097" y="2714"/>
                  </a:lnTo>
                  <a:lnTo>
                    <a:pt x="1101" y="2712"/>
                  </a:lnTo>
                  <a:lnTo>
                    <a:pt x="1105" y="2708"/>
                  </a:lnTo>
                  <a:lnTo>
                    <a:pt x="1121" y="2683"/>
                  </a:lnTo>
                  <a:lnTo>
                    <a:pt x="1136" y="2661"/>
                  </a:lnTo>
                  <a:lnTo>
                    <a:pt x="1143" y="2650"/>
                  </a:lnTo>
                  <a:lnTo>
                    <a:pt x="1152" y="2642"/>
                  </a:lnTo>
                  <a:lnTo>
                    <a:pt x="1163" y="2632"/>
                  </a:lnTo>
                  <a:lnTo>
                    <a:pt x="1175" y="2623"/>
                  </a:lnTo>
                  <a:lnTo>
                    <a:pt x="1192" y="2614"/>
                  </a:lnTo>
                  <a:lnTo>
                    <a:pt x="1208" y="2606"/>
                  </a:lnTo>
                  <a:lnTo>
                    <a:pt x="1223" y="2601"/>
                  </a:lnTo>
                  <a:lnTo>
                    <a:pt x="1240" y="2598"/>
                  </a:lnTo>
                  <a:lnTo>
                    <a:pt x="1257" y="2596"/>
                  </a:lnTo>
                  <a:lnTo>
                    <a:pt x="1274" y="2595"/>
                  </a:lnTo>
                  <a:lnTo>
                    <a:pt x="1293" y="2595"/>
                  </a:lnTo>
                  <a:lnTo>
                    <a:pt x="1312" y="2595"/>
                  </a:lnTo>
                  <a:lnTo>
                    <a:pt x="1322" y="2596"/>
                  </a:lnTo>
                  <a:lnTo>
                    <a:pt x="1331" y="2597"/>
                  </a:lnTo>
                  <a:lnTo>
                    <a:pt x="1340" y="2601"/>
                  </a:lnTo>
                  <a:lnTo>
                    <a:pt x="1348" y="2604"/>
                  </a:lnTo>
                  <a:lnTo>
                    <a:pt x="1363" y="2613"/>
                  </a:lnTo>
                  <a:lnTo>
                    <a:pt x="1377" y="2623"/>
                  </a:lnTo>
                  <a:lnTo>
                    <a:pt x="1391" y="2633"/>
                  </a:lnTo>
                  <a:lnTo>
                    <a:pt x="1406" y="2643"/>
                  </a:lnTo>
                  <a:lnTo>
                    <a:pt x="1413" y="2646"/>
                  </a:lnTo>
                  <a:lnTo>
                    <a:pt x="1422" y="2649"/>
                  </a:lnTo>
                  <a:lnTo>
                    <a:pt x="1431" y="2650"/>
                  </a:lnTo>
                  <a:lnTo>
                    <a:pt x="1442" y="2651"/>
                  </a:lnTo>
                  <a:lnTo>
                    <a:pt x="1455" y="2650"/>
                  </a:lnTo>
                  <a:lnTo>
                    <a:pt x="1466" y="2648"/>
                  </a:lnTo>
                  <a:lnTo>
                    <a:pt x="1477" y="2646"/>
                  </a:lnTo>
                  <a:lnTo>
                    <a:pt x="1488" y="2643"/>
                  </a:lnTo>
                  <a:lnTo>
                    <a:pt x="1488" y="2643"/>
                  </a:lnTo>
                  <a:lnTo>
                    <a:pt x="1492" y="2620"/>
                  </a:lnTo>
                  <a:lnTo>
                    <a:pt x="1499" y="2601"/>
                  </a:lnTo>
                  <a:lnTo>
                    <a:pt x="1506" y="2583"/>
                  </a:lnTo>
                  <a:lnTo>
                    <a:pt x="1514" y="2567"/>
                  </a:lnTo>
                  <a:lnTo>
                    <a:pt x="1523" y="2551"/>
                  </a:lnTo>
                  <a:lnTo>
                    <a:pt x="1531" y="2535"/>
                  </a:lnTo>
                  <a:lnTo>
                    <a:pt x="1539" y="2516"/>
                  </a:lnTo>
                  <a:lnTo>
                    <a:pt x="1547" y="2495"/>
                  </a:lnTo>
                  <a:lnTo>
                    <a:pt x="1565" y="2443"/>
                  </a:lnTo>
                  <a:lnTo>
                    <a:pt x="1580" y="2395"/>
                  </a:lnTo>
                  <a:lnTo>
                    <a:pt x="1593" y="2351"/>
                  </a:lnTo>
                  <a:lnTo>
                    <a:pt x="1604" y="2307"/>
                  </a:lnTo>
                  <a:lnTo>
                    <a:pt x="1614" y="2264"/>
                  </a:lnTo>
                  <a:lnTo>
                    <a:pt x="1625" y="2218"/>
                  </a:lnTo>
                  <a:lnTo>
                    <a:pt x="1636" y="2170"/>
                  </a:lnTo>
                  <a:lnTo>
                    <a:pt x="1649" y="2116"/>
                  </a:lnTo>
                  <a:lnTo>
                    <a:pt x="1654" y="2093"/>
                  </a:lnTo>
                  <a:lnTo>
                    <a:pt x="1661" y="2073"/>
                  </a:lnTo>
                  <a:lnTo>
                    <a:pt x="1667" y="2053"/>
                  </a:lnTo>
                  <a:lnTo>
                    <a:pt x="1674" y="2035"/>
                  </a:lnTo>
                  <a:lnTo>
                    <a:pt x="1679" y="2015"/>
                  </a:lnTo>
                  <a:lnTo>
                    <a:pt x="1684" y="1996"/>
                  </a:lnTo>
                  <a:lnTo>
                    <a:pt x="1687" y="1974"/>
                  </a:lnTo>
                  <a:lnTo>
                    <a:pt x="1688" y="1952"/>
                  </a:lnTo>
                  <a:lnTo>
                    <a:pt x="1688" y="1932"/>
                  </a:lnTo>
                  <a:lnTo>
                    <a:pt x="1688" y="1916"/>
                  </a:lnTo>
                  <a:lnTo>
                    <a:pt x="1688" y="1900"/>
                  </a:lnTo>
                  <a:lnTo>
                    <a:pt x="1688" y="1880"/>
                  </a:lnTo>
                  <a:lnTo>
                    <a:pt x="1749" y="1592"/>
                  </a:lnTo>
                  <a:lnTo>
                    <a:pt x="1756" y="1574"/>
                  </a:lnTo>
                  <a:lnTo>
                    <a:pt x="1762" y="1556"/>
                  </a:lnTo>
                  <a:lnTo>
                    <a:pt x="1765" y="1548"/>
                  </a:lnTo>
                  <a:lnTo>
                    <a:pt x="1767" y="1539"/>
                  </a:lnTo>
                  <a:lnTo>
                    <a:pt x="1769" y="1530"/>
                  </a:lnTo>
                  <a:lnTo>
                    <a:pt x="1769" y="1520"/>
                  </a:lnTo>
                  <a:lnTo>
                    <a:pt x="1769" y="1504"/>
                  </a:lnTo>
                  <a:lnTo>
                    <a:pt x="1769" y="1491"/>
                  </a:lnTo>
                  <a:lnTo>
                    <a:pt x="1769" y="1477"/>
                  </a:lnTo>
                  <a:lnTo>
                    <a:pt x="1769" y="1462"/>
                  </a:lnTo>
                  <a:lnTo>
                    <a:pt x="1768" y="1452"/>
                  </a:lnTo>
                  <a:lnTo>
                    <a:pt x="1765" y="1442"/>
                  </a:lnTo>
                  <a:lnTo>
                    <a:pt x="1761" y="1433"/>
                  </a:lnTo>
                  <a:lnTo>
                    <a:pt x="1756" y="1426"/>
                  </a:lnTo>
                  <a:lnTo>
                    <a:pt x="1750" y="1418"/>
                  </a:lnTo>
                  <a:lnTo>
                    <a:pt x="1744" y="1409"/>
                  </a:lnTo>
                  <a:lnTo>
                    <a:pt x="1740" y="1401"/>
                  </a:lnTo>
                  <a:lnTo>
                    <a:pt x="1735" y="1390"/>
                  </a:lnTo>
                  <a:lnTo>
                    <a:pt x="1732" y="1377"/>
                  </a:lnTo>
                  <a:lnTo>
                    <a:pt x="1730" y="1364"/>
                  </a:lnTo>
                  <a:lnTo>
                    <a:pt x="1729" y="1352"/>
                  </a:lnTo>
                  <a:lnTo>
                    <a:pt x="1727" y="1340"/>
                  </a:lnTo>
                  <a:lnTo>
                    <a:pt x="1726" y="1329"/>
                  </a:lnTo>
                  <a:lnTo>
                    <a:pt x="1722" y="1318"/>
                  </a:lnTo>
                  <a:lnTo>
                    <a:pt x="1720" y="1312"/>
                  </a:lnTo>
                  <a:lnTo>
                    <a:pt x="1718" y="1307"/>
                  </a:lnTo>
                  <a:lnTo>
                    <a:pt x="1714" y="1300"/>
                  </a:lnTo>
                  <a:lnTo>
                    <a:pt x="1711" y="1295"/>
                  </a:lnTo>
                  <a:lnTo>
                    <a:pt x="1704" y="1288"/>
                  </a:lnTo>
                  <a:lnTo>
                    <a:pt x="1699" y="1282"/>
                  </a:lnTo>
                  <a:lnTo>
                    <a:pt x="1692" y="1277"/>
                  </a:lnTo>
                  <a:lnTo>
                    <a:pt x="1686" y="1271"/>
                  </a:lnTo>
                  <a:lnTo>
                    <a:pt x="1673" y="1263"/>
                  </a:lnTo>
                  <a:lnTo>
                    <a:pt x="1660" y="1253"/>
                  </a:lnTo>
                  <a:lnTo>
                    <a:pt x="1654" y="1248"/>
                  </a:lnTo>
                  <a:lnTo>
                    <a:pt x="1649" y="1243"/>
                  </a:lnTo>
                  <a:lnTo>
                    <a:pt x="1645" y="1239"/>
                  </a:lnTo>
                  <a:lnTo>
                    <a:pt x="1640" y="1232"/>
                  </a:lnTo>
                  <a:lnTo>
                    <a:pt x="1636" y="1227"/>
                  </a:lnTo>
                  <a:lnTo>
                    <a:pt x="1634" y="1219"/>
                  </a:lnTo>
                  <a:lnTo>
                    <a:pt x="1633" y="1212"/>
                  </a:lnTo>
                  <a:lnTo>
                    <a:pt x="1632" y="1204"/>
                  </a:lnTo>
                  <a:lnTo>
                    <a:pt x="1633" y="1184"/>
                  </a:lnTo>
                  <a:lnTo>
                    <a:pt x="1636" y="1166"/>
                  </a:lnTo>
                  <a:lnTo>
                    <a:pt x="1639" y="1148"/>
                  </a:lnTo>
                  <a:lnTo>
                    <a:pt x="1640" y="1129"/>
                  </a:lnTo>
                  <a:lnTo>
                    <a:pt x="1639" y="1119"/>
                  </a:lnTo>
                  <a:lnTo>
                    <a:pt x="1638" y="1111"/>
                  </a:lnTo>
                  <a:lnTo>
                    <a:pt x="1636" y="1104"/>
                  </a:lnTo>
                  <a:lnTo>
                    <a:pt x="1633" y="1096"/>
                  </a:lnTo>
                  <a:lnTo>
                    <a:pt x="1630" y="1090"/>
                  </a:lnTo>
                  <a:lnTo>
                    <a:pt x="1625" y="1084"/>
                  </a:lnTo>
                  <a:lnTo>
                    <a:pt x="1621" y="1078"/>
                  </a:lnTo>
                  <a:lnTo>
                    <a:pt x="1615" y="1072"/>
                  </a:lnTo>
                  <a:lnTo>
                    <a:pt x="1603" y="1063"/>
                  </a:lnTo>
                  <a:lnTo>
                    <a:pt x="1588" y="1053"/>
                  </a:lnTo>
                  <a:lnTo>
                    <a:pt x="1574" y="1043"/>
                  </a:lnTo>
                  <a:lnTo>
                    <a:pt x="1559" y="1035"/>
                  </a:lnTo>
                  <a:lnTo>
                    <a:pt x="1540" y="1022"/>
                  </a:lnTo>
                  <a:lnTo>
                    <a:pt x="1525" y="1009"/>
                  </a:lnTo>
                  <a:lnTo>
                    <a:pt x="1510" y="995"/>
                  </a:lnTo>
                  <a:lnTo>
                    <a:pt x="1491" y="981"/>
                  </a:lnTo>
                  <a:lnTo>
                    <a:pt x="1471" y="969"/>
                  </a:lnTo>
                  <a:lnTo>
                    <a:pt x="1449" y="957"/>
                  </a:lnTo>
                  <a:lnTo>
                    <a:pt x="1440" y="950"/>
                  </a:lnTo>
                  <a:lnTo>
                    <a:pt x="1433" y="943"/>
                  </a:lnTo>
                  <a:lnTo>
                    <a:pt x="1431" y="939"/>
                  </a:lnTo>
                  <a:lnTo>
                    <a:pt x="1429" y="933"/>
                  </a:lnTo>
                  <a:lnTo>
                    <a:pt x="1428" y="928"/>
                  </a:lnTo>
                  <a:lnTo>
                    <a:pt x="1428" y="922"/>
                  </a:lnTo>
                  <a:lnTo>
                    <a:pt x="1428" y="909"/>
                  </a:lnTo>
                  <a:lnTo>
                    <a:pt x="1430" y="897"/>
                  </a:lnTo>
                  <a:lnTo>
                    <a:pt x="1433" y="887"/>
                  </a:lnTo>
                  <a:lnTo>
                    <a:pt x="1436" y="876"/>
                  </a:lnTo>
                  <a:lnTo>
                    <a:pt x="1445" y="854"/>
                  </a:lnTo>
                  <a:lnTo>
                    <a:pt x="1452" y="829"/>
                  </a:lnTo>
                  <a:lnTo>
                    <a:pt x="1457" y="805"/>
                  </a:lnTo>
                  <a:lnTo>
                    <a:pt x="1461" y="781"/>
                  </a:lnTo>
                  <a:lnTo>
                    <a:pt x="1465" y="770"/>
                  </a:lnTo>
                  <a:lnTo>
                    <a:pt x="1470" y="760"/>
                  </a:lnTo>
                  <a:lnTo>
                    <a:pt x="1473" y="756"/>
                  </a:lnTo>
                  <a:lnTo>
                    <a:pt x="1477" y="752"/>
                  </a:lnTo>
                  <a:lnTo>
                    <a:pt x="1482" y="747"/>
                  </a:lnTo>
                  <a:lnTo>
                    <a:pt x="1486" y="743"/>
                  </a:lnTo>
                  <a:lnTo>
                    <a:pt x="1501" y="733"/>
                  </a:lnTo>
                  <a:lnTo>
                    <a:pt x="1515" y="725"/>
                  </a:lnTo>
                  <a:lnTo>
                    <a:pt x="1528" y="717"/>
                  </a:lnTo>
                  <a:lnTo>
                    <a:pt x="1542" y="712"/>
                  </a:lnTo>
                  <a:lnTo>
                    <a:pt x="1571" y="701"/>
                  </a:lnTo>
                  <a:lnTo>
                    <a:pt x="1604" y="689"/>
                  </a:lnTo>
                  <a:lnTo>
                    <a:pt x="1610" y="687"/>
                  </a:lnTo>
                  <a:lnTo>
                    <a:pt x="1615" y="684"/>
                  </a:lnTo>
                  <a:lnTo>
                    <a:pt x="1621" y="680"/>
                  </a:lnTo>
                  <a:lnTo>
                    <a:pt x="1626" y="676"/>
                  </a:lnTo>
                  <a:lnTo>
                    <a:pt x="1636" y="669"/>
                  </a:lnTo>
                  <a:lnTo>
                    <a:pt x="1645" y="660"/>
                  </a:lnTo>
                  <a:lnTo>
                    <a:pt x="1653" y="651"/>
                  </a:lnTo>
                  <a:lnTo>
                    <a:pt x="1664" y="645"/>
                  </a:lnTo>
                  <a:lnTo>
                    <a:pt x="1668" y="643"/>
                  </a:lnTo>
                  <a:lnTo>
                    <a:pt x="1675" y="640"/>
                  </a:lnTo>
                  <a:lnTo>
                    <a:pt x="1681" y="639"/>
                  </a:lnTo>
                  <a:lnTo>
                    <a:pt x="1688" y="639"/>
                  </a:lnTo>
                  <a:lnTo>
                    <a:pt x="1705" y="639"/>
                  </a:lnTo>
                  <a:lnTo>
                    <a:pt x="1721" y="642"/>
                  </a:lnTo>
                  <a:lnTo>
                    <a:pt x="1735" y="645"/>
                  </a:lnTo>
                  <a:lnTo>
                    <a:pt x="1750" y="648"/>
                  </a:lnTo>
                  <a:lnTo>
                    <a:pt x="1765" y="650"/>
                  </a:lnTo>
                  <a:lnTo>
                    <a:pt x="1780" y="653"/>
                  </a:lnTo>
                  <a:lnTo>
                    <a:pt x="1795" y="656"/>
                  </a:lnTo>
                  <a:lnTo>
                    <a:pt x="1812" y="656"/>
                  </a:lnTo>
                  <a:lnTo>
                    <a:pt x="1826" y="657"/>
                  </a:lnTo>
                  <a:lnTo>
                    <a:pt x="1842" y="654"/>
                  </a:lnTo>
                  <a:lnTo>
                    <a:pt x="1850" y="653"/>
                  </a:lnTo>
                  <a:lnTo>
                    <a:pt x="1856" y="651"/>
                  </a:lnTo>
                  <a:lnTo>
                    <a:pt x="1863" y="648"/>
                  </a:lnTo>
                  <a:lnTo>
                    <a:pt x="1867" y="645"/>
                  </a:lnTo>
                  <a:lnTo>
                    <a:pt x="1865" y="620"/>
                  </a:lnTo>
                  <a:lnTo>
                    <a:pt x="1862" y="598"/>
                  </a:lnTo>
                  <a:lnTo>
                    <a:pt x="1858" y="577"/>
                  </a:lnTo>
                  <a:lnTo>
                    <a:pt x="1853" y="552"/>
                  </a:lnTo>
                  <a:lnTo>
                    <a:pt x="1848" y="534"/>
                  </a:lnTo>
                  <a:lnTo>
                    <a:pt x="1840" y="516"/>
                  </a:lnTo>
                  <a:lnTo>
                    <a:pt x="1831" y="501"/>
                  </a:lnTo>
                  <a:lnTo>
                    <a:pt x="1822" y="486"/>
                  </a:lnTo>
                  <a:lnTo>
                    <a:pt x="1816" y="480"/>
                  </a:lnTo>
                  <a:lnTo>
                    <a:pt x="1811" y="474"/>
                  </a:lnTo>
                  <a:lnTo>
                    <a:pt x="1804" y="469"/>
                  </a:lnTo>
                  <a:lnTo>
                    <a:pt x="1797" y="463"/>
                  </a:lnTo>
                  <a:lnTo>
                    <a:pt x="1789" y="459"/>
                  </a:lnTo>
                  <a:lnTo>
                    <a:pt x="1782" y="455"/>
                  </a:lnTo>
                  <a:lnTo>
                    <a:pt x="1773" y="451"/>
                  </a:lnTo>
                  <a:lnTo>
                    <a:pt x="1763" y="448"/>
                  </a:lnTo>
                  <a:lnTo>
                    <a:pt x="1745" y="445"/>
                  </a:lnTo>
                  <a:lnTo>
                    <a:pt x="1729" y="444"/>
                  </a:lnTo>
                  <a:lnTo>
                    <a:pt x="1712" y="443"/>
                  </a:lnTo>
                  <a:lnTo>
                    <a:pt x="1693" y="441"/>
                  </a:lnTo>
                  <a:lnTo>
                    <a:pt x="1680" y="436"/>
                  </a:lnTo>
                  <a:lnTo>
                    <a:pt x="1668" y="432"/>
                  </a:lnTo>
                  <a:lnTo>
                    <a:pt x="1657" y="427"/>
                  </a:lnTo>
                  <a:lnTo>
                    <a:pt x="1646" y="421"/>
                  </a:lnTo>
                  <a:lnTo>
                    <a:pt x="1625" y="411"/>
                  </a:lnTo>
                  <a:lnTo>
                    <a:pt x="1603" y="403"/>
                  </a:lnTo>
                  <a:lnTo>
                    <a:pt x="1601" y="374"/>
                  </a:lnTo>
                  <a:lnTo>
                    <a:pt x="1601" y="349"/>
                  </a:lnTo>
                  <a:lnTo>
                    <a:pt x="1600" y="324"/>
                  </a:lnTo>
                  <a:lnTo>
                    <a:pt x="1600" y="297"/>
                  </a:lnTo>
                  <a:lnTo>
                    <a:pt x="1600" y="276"/>
                  </a:lnTo>
                  <a:lnTo>
                    <a:pt x="1597" y="258"/>
                  </a:lnTo>
                  <a:lnTo>
                    <a:pt x="1594" y="241"/>
                  </a:lnTo>
                  <a:lnTo>
                    <a:pt x="1590" y="225"/>
                  </a:lnTo>
                  <a:lnTo>
                    <a:pt x="1585" y="207"/>
                  </a:lnTo>
                  <a:lnTo>
                    <a:pt x="1582" y="191"/>
                  </a:lnTo>
                  <a:lnTo>
                    <a:pt x="1580" y="173"/>
                  </a:lnTo>
                  <a:lnTo>
                    <a:pt x="1579" y="152"/>
                  </a:lnTo>
                  <a:lnTo>
                    <a:pt x="1579" y="136"/>
                  </a:lnTo>
                  <a:lnTo>
                    <a:pt x="1579" y="121"/>
                  </a:lnTo>
                  <a:lnTo>
                    <a:pt x="1609" y="117"/>
                  </a:lnTo>
                  <a:lnTo>
                    <a:pt x="1638" y="112"/>
                  </a:lnTo>
                  <a:lnTo>
                    <a:pt x="1664" y="107"/>
                  </a:lnTo>
                  <a:lnTo>
                    <a:pt x="1690" y="102"/>
                  </a:lnTo>
                  <a:lnTo>
                    <a:pt x="1715" y="97"/>
                  </a:lnTo>
                  <a:lnTo>
                    <a:pt x="1741" y="93"/>
                  </a:lnTo>
                  <a:lnTo>
                    <a:pt x="1770" y="91"/>
                  </a:lnTo>
                  <a:lnTo>
                    <a:pt x="1800" y="90"/>
                  </a:lnTo>
                  <a:lnTo>
                    <a:pt x="1833" y="90"/>
                  </a:lnTo>
                  <a:lnTo>
                    <a:pt x="1862" y="91"/>
                  </a:lnTo>
                  <a:lnTo>
                    <a:pt x="1890" y="91"/>
                  </a:lnTo>
                  <a:lnTo>
                    <a:pt x="1922" y="91"/>
                  </a:lnTo>
                  <a:lnTo>
                    <a:pt x="1936" y="92"/>
                  </a:lnTo>
                  <a:lnTo>
                    <a:pt x="1949" y="94"/>
                  </a:lnTo>
                  <a:lnTo>
                    <a:pt x="1961" y="97"/>
                  </a:lnTo>
                  <a:lnTo>
                    <a:pt x="1972" y="102"/>
                  </a:lnTo>
                  <a:lnTo>
                    <a:pt x="1984" y="107"/>
                  </a:lnTo>
                  <a:lnTo>
                    <a:pt x="1996" y="112"/>
                  </a:lnTo>
                  <a:lnTo>
                    <a:pt x="2008" y="117"/>
                  </a:lnTo>
                  <a:lnTo>
                    <a:pt x="2022" y="121"/>
                  </a:lnTo>
                  <a:lnTo>
                    <a:pt x="2046" y="127"/>
                  </a:lnTo>
                  <a:lnTo>
                    <a:pt x="2070" y="132"/>
                  </a:lnTo>
                  <a:lnTo>
                    <a:pt x="2093" y="136"/>
                  </a:lnTo>
                  <a:lnTo>
                    <a:pt x="2114" y="139"/>
                  </a:lnTo>
                  <a:lnTo>
                    <a:pt x="2137" y="141"/>
                  </a:lnTo>
                  <a:lnTo>
                    <a:pt x="2160" y="143"/>
                  </a:lnTo>
                  <a:lnTo>
                    <a:pt x="2184" y="143"/>
                  </a:lnTo>
                  <a:lnTo>
                    <a:pt x="2211" y="144"/>
                  </a:lnTo>
                  <a:lnTo>
                    <a:pt x="2214" y="143"/>
                  </a:lnTo>
                  <a:lnTo>
                    <a:pt x="2217" y="141"/>
                  </a:lnTo>
                  <a:lnTo>
                    <a:pt x="2220" y="140"/>
                  </a:lnTo>
                  <a:lnTo>
                    <a:pt x="2222" y="139"/>
                  </a:lnTo>
                  <a:lnTo>
                    <a:pt x="2227" y="134"/>
                  </a:lnTo>
                  <a:lnTo>
                    <a:pt x="2230" y="129"/>
                  </a:lnTo>
                  <a:lnTo>
                    <a:pt x="2234" y="113"/>
                  </a:lnTo>
                  <a:lnTo>
                    <a:pt x="2238" y="98"/>
                  </a:lnTo>
                  <a:lnTo>
                    <a:pt x="2240" y="84"/>
                  </a:lnTo>
                  <a:lnTo>
                    <a:pt x="2243" y="71"/>
                  </a:lnTo>
                  <a:lnTo>
                    <a:pt x="2246" y="57"/>
                  </a:lnTo>
                  <a:lnTo>
                    <a:pt x="2252" y="45"/>
                  </a:lnTo>
                  <a:lnTo>
                    <a:pt x="2254" y="40"/>
                  </a:lnTo>
                  <a:lnTo>
                    <a:pt x="2257" y="36"/>
                  </a:lnTo>
                  <a:lnTo>
                    <a:pt x="2261" y="31"/>
                  </a:lnTo>
                  <a:lnTo>
                    <a:pt x="2266" y="27"/>
                  </a:lnTo>
                  <a:lnTo>
                    <a:pt x="2270" y="24"/>
                  </a:lnTo>
                  <a:lnTo>
                    <a:pt x="2275" y="22"/>
                  </a:lnTo>
                  <a:lnTo>
                    <a:pt x="2281" y="21"/>
                  </a:lnTo>
                  <a:lnTo>
                    <a:pt x="2287" y="19"/>
                  </a:lnTo>
                  <a:lnTo>
                    <a:pt x="2296" y="21"/>
                  </a:lnTo>
                  <a:lnTo>
                    <a:pt x="2302" y="23"/>
                  </a:lnTo>
                  <a:lnTo>
                    <a:pt x="2309" y="26"/>
                  </a:lnTo>
                  <a:lnTo>
                    <a:pt x="2315" y="30"/>
                  </a:lnTo>
                  <a:lnTo>
                    <a:pt x="2326" y="41"/>
                  </a:lnTo>
                  <a:lnTo>
                    <a:pt x="2335" y="53"/>
                  </a:lnTo>
                  <a:lnTo>
                    <a:pt x="2345" y="66"/>
                  </a:lnTo>
                  <a:lnTo>
                    <a:pt x="2355" y="77"/>
                  </a:lnTo>
                  <a:lnTo>
                    <a:pt x="2361" y="81"/>
                  </a:lnTo>
                  <a:lnTo>
                    <a:pt x="2367" y="84"/>
                  </a:lnTo>
                  <a:lnTo>
                    <a:pt x="2375" y="86"/>
                  </a:lnTo>
                  <a:lnTo>
                    <a:pt x="2382" y="87"/>
                  </a:lnTo>
                  <a:lnTo>
                    <a:pt x="2392" y="86"/>
                  </a:lnTo>
                  <a:lnTo>
                    <a:pt x="2401" y="83"/>
                  </a:lnTo>
                  <a:lnTo>
                    <a:pt x="2407" y="80"/>
                  </a:lnTo>
                  <a:lnTo>
                    <a:pt x="2414" y="75"/>
                  </a:lnTo>
                  <a:lnTo>
                    <a:pt x="2427" y="63"/>
                  </a:lnTo>
                  <a:lnTo>
                    <a:pt x="2442" y="51"/>
                  </a:lnTo>
                  <a:lnTo>
                    <a:pt x="2454" y="43"/>
                  </a:lnTo>
                  <a:lnTo>
                    <a:pt x="2465" y="37"/>
                  </a:lnTo>
                  <a:lnTo>
                    <a:pt x="2471" y="33"/>
                  </a:lnTo>
                  <a:lnTo>
                    <a:pt x="2476" y="29"/>
                  </a:lnTo>
                  <a:lnTo>
                    <a:pt x="2482" y="25"/>
                  </a:lnTo>
                  <a:lnTo>
                    <a:pt x="2486" y="19"/>
                  </a:lnTo>
                  <a:lnTo>
                    <a:pt x="2492" y="13"/>
                  </a:lnTo>
                  <a:lnTo>
                    <a:pt x="2499" y="6"/>
                  </a:lnTo>
                  <a:lnTo>
                    <a:pt x="2502" y="4"/>
                  </a:lnTo>
                  <a:lnTo>
                    <a:pt x="2505" y="2"/>
                  </a:lnTo>
                  <a:lnTo>
                    <a:pt x="2510" y="1"/>
                  </a:lnTo>
                  <a:lnTo>
                    <a:pt x="2514" y="0"/>
                  </a:lnTo>
                  <a:lnTo>
                    <a:pt x="2521" y="1"/>
                  </a:lnTo>
                  <a:lnTo>
                    <a:pt x="2526" y="3"/>
                  </a:lnTo>
                  <a:lnTo>
                    <a:pt x="2530" y="6"/>
                  </a:lnTo>
                  <a:lnTo>
                    <a:pt x="2534" y="10"/>
                  </a:lnTo>
                  <a:lnTo>
                    <a:pt x="2541" y="18"/>
                  </a:lnTo>
                  <a:lnTo>
                    <a:pt x="2551" y="26"/>
                  </a:lnTo>
                  <a:lnTo>
                    <a:pt x="2576" y="38"/>
                  </a:lnTo>
                  <a:lnTo>
                    <a:pt x="2598" y="49"/>
                  </a:lnTo>
                  <a:lnTo>
                    <a:pt x="2609" y="54"/>
                  </a:lnTo>
                  <a:lnTo>
                    <a:pt x="2620" y="60"/>
                  </a:lnTo>
                  <a:lnTo>
                    <a:pt x="2631" y="69"/>
                  </a:lnTo>
                  <a:lnTo>
                    <a:pt x="2640" y="79"/>
                  </a:lnTo>
                  <a:lnTo>
                    <a:pt x="2646" y="85"/>
                  </a:lnTo>
                  <a:lnTo>
                    <a:pt x="2651" y="92"/>
                  </a:lnTo>
                  <a:lnTo>
                    <a:pt x="2654" y="97"/>
                  </a:lnTo>
                  <a:lnTo>
                    <a:pt x="2658" y="104"/>
                  </a:lnTo>
                  <a:lnTo>
                    <a:pt x="2663" y="117"/>
                  </a:lnTo>
                  <a:lnTo>
                    <a:pt x="2666" y="131"/>
                  </a:lnTo>
                  <a:lnTo>
                    <a:pt x="2671" y="159"/>
                  </a:lnTo>
                  <a:lnTo>
                    <a:pt x="2677" y="191"/>
                  </a:lnTo>
                  <a:lnTo>
                    <a:pt x="2683" y="208"/>
                  </a:lnTo>
                  <a:lnTo>
                    <a:pt x="2688" y="224"/>
                  </a:lnTo>
                  <a:lnTo>
                    <a:pt x="2693" y="239"/>
                  </a:lnTo>
                  <a:lnTo>
                    <a:pt x="2700" y="253"/>
                  </a:lnTo>
                  <a:lnTo>
                    <a:pt x="2705" y="267"/>
                  </a:lnTo>
                  <a:lnTo>
                    <a:pt x="2710" y="281"/>
                  </a:lnTo>
                  <a:lnTo>
                    <a:pt x="2713" y="297"/>
                  </a:lnTo>
                  <a:lnTo>
                    <a:pt x="2714" y="314"/>
                  </a:lnTo>
                  <a:lnTo>
                    <a:pt x="2729" y="314"/>
                  </a:lnTo>
                  <a:lnTo>
                    <a:pt x="2743" y="314"/>
                  </a:lnTo>
                  <a:lnTo>
                    <a:pt x="2756" y="314"/>
                  </a:lnTo>
                  <a:lnTo>
                    <a:pt x="2772" y="314"/>
                  </a:lnTo>
                  <a:lnTo>
                    <a:pt x="2784" y="313"/>
                  </a:lnTo>
                  <a:lnTo>
                    <a:pt x="2795" y="311"/>
                  </a:lnTo>
                  <a:lnTo>
                    <a:pt x="2806" y="307"/>
                  </a:lnTo>
                  <a:lnTo>
                    <a:pt x="2817" y="301"/>
                  </a:lnTo>
                  <a:lnTo>
                    <a:pt x="2817" y="301"/>
                  </a:lnTo>
                  <a:lnTo>
                    <a:pt x="2828" y="321"/>
                  </a:lnTo>
                  <a:lnTo>
                    <a:pt x="2840" y="338"/>
                  </a:lnTo>
                  <a:lnTo>
                    <a:pt x="2851" y="354"/>
                  </a:lnTo>
                  <a:lnTo>
                    <a:pt x="2863" y="368"/>
                  </a:lnTo>
                  <a:lnTo>
                    <a:pt x="2876" y="381"/>
                  </a:lnTo>
                  <a:lnTo>
                    <a:pt x="2890" y="394"/>
                  </a:lnTo>
                  <a:lnTo>
                    <a:pt x="2905" y="407"/>
                  </a:lnTo>
                  <a:lnTo>
                    <a:pt x="2923" y="420"/>
                  </a:lnTo>
                  <a:lnTo>
                    <a:pt x="2937" y="435"/>
                  </a:lnTo>
                  <a:lnTo>
                    <a:pt x="2952" y="451"/>
                  </a:lnTo>
                  <a:lnTo>
                    <a:pt x="2972" y="467"/>
                  </a:lnTo>
                  <a:lnTo>
                    <a:pt x="2993" y="478"/>
                  </a:lnTo>
                  <a:lnTo>
                    <a:pt x="3013" y="489"/>
                  </a:lnTo>
                  <a:lnTo>
                    <a:pt x="3033" y="497"/>
                  </a:lnTo>
                  <a:lnTo>
                    <a:pt x="3054" y="503"/>
                  </a:lnTo>
                  <a:lnTo>
                    <a:pt x="3076" y="508"/>
                  </a:lnTo>
                  <a:lnTo>
                    <a:pt x="3099" y="510"/>
                  </a:lnTo>
                  <a:lnTo>
                    <a:pt x="3125" y="510"/>
                  </a:lnTo>
                  <a:lnTo>
                    <a:pt x="3147" y="510"/>
                  </a:lnTo>
                  <a:lnTo>
                    <a:pt x="3166" y="509"/>
                  </a:lnTo>
                  <a:lnTo>
                    <a:pt x="3186" y="507"/>
                  </a:lnTo>
                  <a:lnTo>
                    <a:pt x="3204" y="504"/>
                  </a:lnTo>
                  <a:lnTo>
                    <a:pt x="3222" y="501"/>
                  </a:lnTo>
                  <a:lnTo>
                    <a:pt x="3239" y="498"/>
                  </a:lnTo>
                  <a:lnTo>
                    <a:pt x="3255" y="494"/>
                  </a:lnTo>
                  <a:lnTo>
                    <a:pt x="3271" y="489"/>
                  </a:lnTo>
                  <a:lnTo>
                    <a:pt x="3305" y="478"/>
                  </a:lnTo>
                  <a:lnTo>
                    <a:pt x="3338" y="465"/>
                  </a:lnTo>
                  <a:lnTo>
                    <a:pt x="3373" y="450"/>
                  </a:lnTo>
                  <a:lnTo>
                    <a:pt x="3412" y="434"/>
                  </a:lnTo>
                  <a:lnTo>
                    <a:pt x="3421" y="430"/>
                  </a:lnTo>
                  <a:lnTo>
                    <a:pt x="3430" y="426"/>
                  </a:lnTo>
                  <a:lnTo>
                    <a:pt x="3439" y="420"/>
                  </a:lnTo>
                  <a:lnTo>
                    <a:pt x="3446" y="415"/>
                  </a:lnTo>
                  <a:lnTo>
                    <a:pt x="3460" y="402"/>
                  </a:lnTo>
                  <a:lnTo>
                    <a:pt x="3473" y="389"/>
                  </a:lnTo>
                  <a:lnTo>
                    <a:pt x="3486" y="376"/>
                  </a:lnTo>
                  <a:lnTo>
                    <a:pt x="3499" y="363"/>
                  </a:lnTo>
                  <a:lnTo>
                    <a:pt x="3507" y="356"/>
                  </a:lnTo>
                  <a:lnTo>
                    <a:pt x="3514" y="351"/>
                  </a:lnTo>
                  <a:lnTo>
                    <a:pt x="3523" y="345"/>
                  </a:lnTo>
                  <a:lnTo>
                    <a:pt x="3532" y="339"/>
                  </a:lnTo>
                  <a:lnTo>
                    <a:pt x="3548" y="332"/>
                  </a:lnTo>
                  <a:lnTo>
                    <a:pt x="3564" y="326"/>
                  </a:lnTo>
                  <a:lnTo>
                    <a:pt x="3578" y="322"/>
                  </a:lnTo>
                  <a:lnTo>
                    <a:pt x="3593" y="319"/>
                  </a:lnTo>
                  <a:lnTo>
                    <a:pt x="3624" y="315"/>
                  </a:lnTo>
                  <a:lnTo>
                    <a:pt x="3658" y="309"/>
                  </a:lnTo>
                  <a:lnTo>
                    <a:pt x="3678" y="302"/>
                  </a:lnTo>
                  <a:lnTo>
                    <a:pt x="3698" y="296"/>
                  </a:lnTo>
                  <a:lnTo>
                    <a:pt x="3716" y="288"/>
                  </a:lnTo>
                  <a:lnTo>
                    <a:pt x="3732" y="280"/>
                  </a:lnTo>
                  <a:lnTo>
                    <a:pt x="3749" y="271"/>
                  </a:lnTo>
                  <a:lnTo>
                    <a:pt x="3763" y="261"/>
                  </a:lnTo>
                  <a:lnTo>
                    <a:pt x="3778" y="251"/>
                  </a:lnTo>
                  <a:lnTo>
                    <a:pt x="3792" y="240"/>
                  </a:lnTo>
                  <a:lnTo>
                    <a:pt x="3819" y="217"/>
                  </a:lnTo>
                  <a:lnTo>
                    <a:pt x="3848" y="194"/>
                  </a:lnTo>
                  <a:lnTo>
                    <a:pt x="3862" y="181"/>
                  </a:lnTo>
                  <a:lnTo>
                    <a:pt x="3878" y="170"/>
                  </a:lnTo>
                  <a:lnTo>
                    <a:pt x="3895" y="158"/>
                  </a:lnTo>
                  <a:lnTo>
                    <a:pt x="3913" y="146"/>
                  </a:lnTo>
                  <a:lnTo>
                    <a:pt x="3931" y="135"/>
                  </a:lnTo>
                  <a:lnTo>
                    <a:pt x="3950" y="124"/>
                  </a:lnTo>
                  <a:lnTo>
                    <a:pt x="3967" y="116"/>
                  </a:lnTo>
                  <a:lnTo>
                    <a:pt x="3984" y="107"/>
                  </a:lnTo>
                  <a:lnTo>
                    <a:pt x="4018" y="92"/>
                  </a:lnTo>
                  <a:lnTo>
                    <a:pt x="4050" y="77"/>
                  </a:lnTo>
                  <a:lnTo>
                    <a:pt x="4082" y="63"/>
                  </a:lnTo>
                  <a:lnTo>
                    <a:pt x="4115" y="46"/>
                  </a:lnTo>
                  <a:lnTo>
                    <a:pt x="4131" y="37"/>
                  </a:lnTo>
                  <a:lnTo>
                    <a:pt x="4147" y="27"/>
                  </a:lnTo>
                  <a:lnTo>
                    <a:pt x="4164" y="15"/>
                  </a:lnTo>
                  <a:lnTo>
                    <a:pt x="4182" y="3"/>
                  </a:lnTo>
                  <a:lnTo>
                    <a:pt x="4182" y="3"/>
                  </a:lnTo>
                  <a:lnTo>
                    <a:pt x="4198" y="3"/>
                  </a:lnTo>
                  <a:lnTo>
                    <a:pt x="4212" y="4"/>
                  </a:lnTo>
                  <a:lnTo>
                    <a:pt x="4226" y="6"/>
                  </a:lnTo>
                  <a:lnTo>
                    <a:pt x="4240" y="9"/>
                  </a:lnTo>
                  <a:lnTo>
                    <a:pt x="4253" y="13"/>
                  </a:lnTo>
                  <a:lnTo>
                    <a:pt x="4266" y="17"/>
                  </a:lnTo>
                  <a:lnTo>
                    <a:pt x="4279" y="24"/>
                  </a:lnTo>
                  <a:lnTo>
                    <a:pt x="4292" y="31"/>
                  </a:lnTo>
                  <a:lnTo>
                    <a:pt x="4308" y="41"/>
                  </a:lnTo>
                  <a:lnTo>
                    <a:pt x="4324" y="51"/>
                  </a:lnTo>
                  <a:lnTo>
                    <a:pt x="4331" y="56"/>
                  </a:lnTo>
                  <a:lnTo>
                    <a:pt x="4337" y="63"/>
                  </a:lnTo>
                  <a:lnTo>
                    <a:pt x="4342" y="70"/>
                  </a:lnTo>
                  <a:lnTo>
                    <a:pt x="4345" y="79"/>
                  </a:lnTo>
                  <a:lnTo>
                    <a:pt x="4352" y="104"/>
                  </a:lnTo>
                  <a:lnTo>
                    <a:pt x="4360" y="125"/>
                  </a:lnTo>
                  <a:lnTo>
                    <a:pt x="4367" y="147"/>
                  </a:lnTo>
                  <a:lnTo>
                    <a:pt x="4375" y="166"/>
                  </a:lnTo>
                  <a:lnTo>
                    <a:pt x="4383" y="186"/>
                  </a:lnTo>
                  <a:lnTo>
                    <a:pt x="4390" y="206"/>
                  </a:lnTo>
                  <a:lnTo>
                    <a:pt x="4398" y="228"/>
                  </a:lnTo>
                  <a:lnTo>
                    <a:pt x="4406" y="253"/>
                  </a:lnTo>
                  <a:lnTo>
                    <a:pt x="4413" y="269"/>
                  </a:lnTo>
                  <a:lnTo>
                    <a:pt x="4419" y="283"/>
                  </a:lnTo>
                  <a:lnTo>
                    <a:pt x="4428" y="295"/>
                  </a:lnTo>
                  <a:lnTo>
                    <a:pt x="4438" y="307"/>
                  </a:lnTo>
                  <a:lnTo>
                    <a:pt x="4448" y="318"/>
                  </a:lnTo>
                  <a:lnTo>
                    <a:pt x="4460" y="327"/>
                  </a:lnTo>
                  <a:lnTo>
                    <a:pt x="4473" y="338"/>
                  </a:lnTo>
                  <a:lnTo>
                    <a:pt x="4487" y="348"/>
                  </a:lnTo>
                  <a:lnTo>
                    <a:pt x="4498" y="355"/>
                  </a:lnTo>
                  <a:lnTo>
                    <a:pt x="4508" y="364"/>
                  </a:lnTo>
                  <a:lnTo>
                    <a:pt x="4517" y="372"/>
                  </a:lnTo>
                  <a:lnTo>
                    <a:pt x="4524" y="379"/>
                  </a:lnTo>
                  <a:lnTo>
                    <a:pt x="4540" y="395"/>
                  </a:lnTo>
                  <a:lnTo>
                    <a:pt x="4561" y="413"/>
                  </a:lnTo>
                  <a:lnTo>
                    <a:pt x="4578" y="426"/>
                  </a:lnTo>
                  <a:lnTo>
                    <a:pt x="4593" y="438"/>
                  </a:lnTo>
                  <a:lnTo>
                    <a:pt x="4608" y="451"/>
                  </a:lnTo>
                  <a:lnTo>
                    <a:pt x="4620" y="465"/>
                  </a:lnTo>
                  <a:lnTo>
                    <a:pt x="4626" y="473"/>
                  </a:lnTo>
                  <a:lnTo>
                    <a:pt x="4630" y="482"/>
                  </a:lnTo>
                  <a:lnTo>
                    <a:pt x="4634" y="489"/>
                  </a:lnTo>
                  <a:lnTo>
                    <a:pt x="4639" y="498"/>
                  </a:lnTo>
                  <a:lnTo>
                    <a:pt x="4641" y="508"/>
                  </a:lnTo>
                  <a:lnTo>
                    <a:pt x="4643" y="516"/>
                  </a:lnTo>
                  <a:lnTo>
                    <a:pt x="4644" y="527"/>
                  </a:lnTo>
                  <a:lnTo>
                    <a:pt x="4645" y="538"/>
                  </a:lnTo>
                  <a:lnTo>
                    <a:pt x="4645" y="554"/>
                  </a:lnTo>
                  <a:lnTo>
                    <a:pt x="4645" y="569"/>
                  </a:lnTo>
                  <a:lnTo>
                    <a:pt x="4645" y="583"/>
                  </a:lnTo>
                  <a:lnTo>
                    <a:pt x="4645" y="599"/>
                  </a:lnTo>
                  <a:lnTo>
                    <a:pt x="4653" y="667"/>
                  </a:lnTo>
                  <a:lnTo>
                    <a:pt x="4653" y="688"/>
                  </a:lnTo>
                  <a:lnTo>
                    <a:pt x="4653" y="706"/>
                  </a:lnTo>
                  <a:lnTo>
                    <a:pt x="4653" y="726"/>
                  </a:lnTo>
                  <a:lnTo>
                    <a:pt x="4653" y="746"/>
                  </a:lnTo>
                  <a:lnTo>
                    <a:pt x="4654" y="762"/>
                  </a:lnTo>
                  <a:lnTo>
                    <a:pt x="4654" y="779"/>
                  </a:lnTo>
                  <a:lnTo>
                    <a:pt x="4656" y="793"/>
                  </a:lnTo>
                  <a:lnTo>
                    <a:pt x="4658" y="807"/>
                  </a:lnTo>
                  <a:lnTo>
                    <a:pt x="4662" y="821"/>
                  </a:lnTo>
                  <a:lnTo>
                    <a:pt x="4668" y="834"/>
                  </a:lnTo>
                  <a:lnTo>
                    <a:pt x="4675" y="847"/>
                  </a:lnTo>
                  <a:lnTo>
                    <a:pt x="4684" y="861"/>
                  </a:lnTo>
                  <a:lnTo>
                    <a:pt x="4712" y="895"/>
                  </a:lnTo>
                  <a:lnTo>
                    <a:pt x="4738" y="926"/>
                  </a:lnTo>
                  <a:lnTo>
                    <a:pt x="4744" y="933"/>
                  </a:lnTo>
                  <a:lnTo>
                    <a:pt x="4749" y="942"/>
                  </a:lnTo>
                  <a:lnTo>
                    <a:pt x="4754" y="950"/>
                  </a:lnTo>
                  <a:lnTo>
                    <a:pt x="4757" y="959"/>
                  </a:lnTo>
                  <a:lnTo>
                    <a:pt x="4761" y="968"/>
                  </a:lnTo>
                  <a:lnTo>
                    <a:pt x="4763" y="978"/>
                  </a:lnTo>
                  <a:lnTo>
                    <a:pt x="4765" y="988"/>
                  </a:lnTo>
                  <a:lnTo>
                    <a:pt x="4765" y="1000"/>
                  </a:lnTo>
                  <a:lnTo>
                    <a:pt x="4765" y="1016"/>
                  </a:lnTo>
                  <a:lnTo>
                    <a:pt x="4765" y="1030"/>
                  </a:lnTo>
                  <a:lnTo>
                    <a:pt x="4765" y="1044"/>
                  </a:lnTo>
                  <a:lnTo>
                    <a:pt x="4765" y="1061"/>
                  </a:lnTo>
                  <a:lnTo>
                    <a:pt x="4766" y="1075"/>
                  </a:lnTo>
                  <a:lnTo>
                    <a:pt x="4767" y="1089"/>
                  </a:lnTo>
                  <a:lnTo>
                    <a:pt x="4769" y="1103"/>
                  </a:lnTo>
                  <a:lnTo>
                    <a:pt x="4771" y="1115"/>
                  </a:lnTo>
                  <a:lnTo>
                    <a:pt x="4779" y="1138"/>
                  </a:lnTo>
                  <a:lnTo>
                    <a:pt x="4788" y="1161"/>
                  </a:lnTo>
                  <a:lnTo>
                    <a:pt x="4797" y="1184"/>
                  </a:lnTo>
                  <a:lnTo>
                    <a:pt x="4807" y="1207"/>
                  </a:lnTo>
                  <a:lnTo>
                    <a:pt x="4816" y="1233"/>
                  </a:lnTo>
                  <a:lnTo>
                    <a:pt x="4824" y="1261"/>
                  </a:lnTo>
                  <a:lnTo>
                    <a:pt x="4827" y="1273"/>
                  </a:lnTo>
                  <a:lnTo>
                    <a:pt x="4828" y="1283"/>
                  </a:lnTo>
                  <a:lnTo>
                    <a:pt x="4828" y="1294"/>
                  </a:lnTo>
                  <a:lnTo>
                    <a:pt x="4829" y="1304"/>
                  </a:lnTo>
                  <a:lnTo>
                    <a:pt x="4828" y="1323"/>
                  </a:lnTo>
                  <a:lnTo>
                    <a:pt x="4830" y="1346"/>
                  </a:lnTo>
                  <a:lnTo>
                    <a:pt x="4831" y="1355"/>
                  </a:lnTo>
                  <a:lnTo>
                    <a:pt x="4833" y="1364"/>
                  </a:lnTo>
                  <a:lnTo>
                    <a:pt x="4836" y="1374"/>
                  </a:lnTo>
                  <a:lnTo>
                    <a:pt x="4839" y="1382"/>
                  </a:lnTo>
                  <a:lnTo>
                    <a:pt x="4843" y="1390"/>
                  </a:lnTo>
                  <a:lnTo>
                    <a:pt x="4847" y="1398"/>
                  </a:lnTo>
                  <a:lnTo>
                    <a:pt x="4852" y="1405"/>
                  </a:lnTo>
                  <a:lnTo>
                    <a:pt x="4858" y="1413"/>
                  </a:lnTo>
                  <a:lnTo>
                    <a:pt x="4863" y="1419"/>
                  </a:lnTo>
                  <a:lnTo>
                    <a:pt x="4870" y="1425"/>
                  </a:lnTo>
                  <a:lnTo>
                    <a:pt x="4877" y="1430"/>
                  </a:lnTo>
                  <a:lnTo>
                    <a:pt x="4885" y="1434"/>
                  </a:lnTo>
                  <a:lnTo>
                    <a:pt x="4892" y="1439"/>
                  </a:lnTo>
                  <a:lnTo>
                    <a:pt x="4901" y="1442"/>
                  </a:lnTo>
                  <a:lnTo>
                    <a:pt x="4910" y="1444"/>
                  </a:lnTo>
                  <a:lnTo>
                    <a:pt x="4919" y="1446"/>
                  </a:lnTo>
                  <a:lnTo>
                    <a:pt x="4941" y="1449"/>
                  </a:lnTo>
                  <a:lnTo>
                    <a:pt x="4960" y="1453"/>
                  </a:lnTo>
                  <a:lnTo>
                    <a:pt x="4980" y="1458"/>
                  </a:lnTo>
                  <a:lnTo>
                    <a:pt x="5000" y="1463"/>
                  </a:lnTo>
                  <a:lnTo>
                    <a:pt x="5016" y="1468"/>
                  </a:lnTo>
                  <a:lnTo>
                    <a:pt x="5030" y="1472"/>
                  </a:lnTo>
                  <a:lnTo>
                    <a:pt x="5037" y="1472"/>
                  </a:lnTo>
                  <a:lnTo>
                    <a:pt x="5043" y="1471"/>
                  </a:lnTo>
                  <a:lnTo>
                    <a:pt x="5046" y="1470"/>
                  </a:lnTo>
                  <a:lnTo>
                    <a:pt x="5048" y="1469"/>
                  </a:lnTo>
                  <a:lnTo>
                    <a:pt x="5050" y="1467"/>
                  </a:lnTo>
                  <a:lnTo>
                    <a:pt x="5051" y="1463"/>
                  </a:lnTo>
                  <a:lnTo>
                    <a:pt x="5057" y="1447"/>
                  </a:lnTo>
                  <a:lnTo>
                    <a:pt x="5061" y="1432"/>
                  </a:lnTo>
                  <a:lnTo>
                    <a:pt x="5064" y="1417"/>
                  </a:lnTo>
                  <a:lnTo>
                    <a:pt x="5067" y="1403"/>
                  </a:lnTo>
                  <a:lnTo>
                    <a:pt x="5070" y="1389"/>
                  </a:lnTo>
                  <a:lnTo>
                    <a:pt x="5073" y="1374"/>
                  </a:lnTo>
                  <a:lnTo>
                    <a:pt x="5076" y="1359"/>
                  </a:lnTo>
                  <a:lnTo>
                    <a:pt x="5081" y="1342"/>
                  </a:lnTo>
                  <a:lnTo>
                    <a:pt x="5088" y="1328"/>
                  </a:lnTo>
                  <a:lnTo>
                    <a:pt x="5093" y="1315"/>
                  </a:lnTo>
                  <a:lnTo>
                    <a:pt x="5100" y="1305"/>
                  </a:lnTo>
                  <a:lnTo>
                    <a:pt x="5106" y="1293"/>
                  </a:lnTo>
                  <a:lnTo>
                    <a:pt x="5119" y="1271"/>
                  </a:lnTo>
                  <a:lnTo>
                    <a:pt x="5132" y="1244"/>
                  </a:lnTo>
                  <a:lnTo>
                    <a:pt x="5141" y="1225"/>
                  </a:lnTo>
                  <a:lnTo>
                    <a:pt x="5148" y="1207"/>
                  </a:lnTo>
                  <a:lnTo>
                    <a:pt x="5153" y="1199"/>
                  </a:lnTo>
                  <a:lnTo>
                    <a:pt x="5158" y="1190"/>
                  </a:lnTo>
                  <a:lnTo>
                    <a:pt x="5165" y="1183"/>
                  </a:lnTo>
                  <a:lnTo>
                    <a:pt x="5172" y="1174"/>
                  </a:lnTo>
                  <a:lnTo>
                    <a:pt x="5180" y="1166"/>
                  </a:lnTo>
                  <a:lnTo>
                    <a:pt x="5188" y="1160"/>
                  </a:lnTo>
                  <a:lnTo>
                    <a:pt x="5197" y="1155"/>
                  </a:lnTo>
                  <a:lnTo>
                    <a:pt x="5206" y="1150"/>
                  </a:lnTo>
                  <a:lnTo>
                    <a:pt x="5215" y="1147"/>
                  </a:lnTo>
                  <a:lnTo>
                    <a:pt x="5225" y="1144"/>
                  </a:lnTo>
                  <a:lnTo>
                    <a:pt x="5234" y="1143"/>
                  </a:lnTo>
                  <a:lnTo>
                    <a:pt x="5243" y="1142"/>
                  </a:lnTo>
                  <a:lnTo>
                    <a:pt x="5254" y="1140"/>
                  </a:lnTo>
                  <a:lnTo>
                    <a:pt x="5264" y="1142"/>
                  </a:lnTo>
                  <a:lnTo>
                    <a:pt x="5274" y="1143"/>
                  </a:lnTo>
                  <a:lnTo>
                    <a:pt x="5284" y="1144"/>
                  </a:lnTo>
                  <a:lnTo>
                    <a:pt x="5294" y="1147"/>
                  </a:lnTo>
                  <a:lnTo>
                    <a:pt x="5305" y="1150"/>
                  </a:lnTo>
                  <a:lnTo>
                    <a:pt x="5316" y="1153"/>
                  </a:lnTo>
                  <a:lnTo>
                    <a:pt x="5326" y="1158"/>
                  </a:lnTo>
                  <a:lnTo>
                    <a:pt x="5334" y="1162"/>
                  </a:lnTo>
                  <a:lnTo>
                    <a:pt x="5342" y="1166"/>
                  </a:lnTo>
                  <a:lnTo>
                    <a:pt x="5348" y="1172"/>
                  </a:lnTo>
                  <a:lnTo>
                    <a:pt x="5356" y="1177"/>
                  </a:lnTo>
                  <a:lnTo>
                    <a:pt x="5368" y="1188"/>
                  </a:lnTo>
                  <a:lnTo>
                    <a:pt x="5378" y="1200"/>
                  </a:lnTo>
                  <a:lnTo>
                    <a:pt x="5390" y="1211"/>
                  </a:lnTo>
                  <a:lnTo>
                    <a:pt x="5403" y="1219"/>
                  </a:lnTo>
                  <a:lnTo>
                    <a:pt x="5410" y="1223"/>
                  </a:lnTo>
                  <a:lnTo>
                    <a:pt x="5417" y="1226"/>
                  </a:lnTo>
                  <a:lnTo>
                    <a:pt x="5426" y="1227"/>
                  </a:lnTo>
                  <a:lnTo>
                    <a:pt x="5435" y="1228"/>
                  </a:lnTo>
                  <a:lnTo>
                    <a:pt x="5451" y="1227"/>
                  </a:lnTo>
                  <a:lnTo>
                    <a:pt x="5467" y="1225"/>
                  </a:lnTo>
                  <a:lnTo>
                    <a:pt x="5483" y="1220"/>
                  </a:lnTo>
                  <a:lnTo>
                    <a:pt x="5497" y="1215"/>
                  </a:lnTo>
                  <a:lnTo>
                    <a:pt x="5504" y="1212"/>
                  </a:lnTo>
                  <a:lnTo>
                    <a:pt x="5509" y="1207"/>
                  </a:lnTo>
                  <a:lnTo>
                    <a:pt x="5515" y="1203"/>
                  </a:lnTo>
                  <a:lnTo>
                    <a:pt x="5519" y="1198"/>
                  </a:lnTo>
                  <a:lnTo>
                    <a:pt x="5522" y="1191"/>
                  </a:lnTo>
                  <a:lnTo>
                    <a:pt x="5525" y="1186"/>
                  </a:lnTo>
                  <a:lnTo>
                    <a:pt x="5527" y="1178"/>
                  </a:lnTo>
                  <a:lnTo>
                    <a:pt x="5527" y="1171"/>
                  </a:lnTo>
                  <a:lnTo>
                    <a:pt x="5527" y="1153"/>
                  </a:lnTo>
                  <a:lnTo>
                    <a:pt x="5527" y="1138"/>
                  </a:lnTo>
                  <a:lnTo>
                    <a:pt x="5527" y="1122"/>
                  </a:lnTo>
                  <a:lnTo>
                    <a:pt x="5527" y="1105"/>
                  </a:lnTo>
                  <a:lnTo>
                    <a:pt x="5527" y="1101"/>
                  </a:lnTo>
                  <a:lnTo>
                    <a:pt x="5529" y="1095"/>
                  </a:lnTo>
                  <a:lnTo>
                    <a:pt x="5530" y="1091"/>
                  </a:lnTo>
                  <a:lnTo>
                    <a:pt x="5532" y="1088"/>
                  </a:lnTo>
                  <a:lnTo>
                    <a:pt x="5537" y="1080"/>
                  </a:lnTo>
                  <a:lnTo>
                    <a:pt x="5544" y="1074"/>
                  </a:lnTo>
                  <a:lnTo>
                    <a:pt x="5551" y="1069"/>
                  </a:lnTo>
                  <a:lnTo>
                    <a:pt x="5560" y="1064"/>
                  </a:lnTo>
                  <a:lnTo>
                    <a:pt x="5569" y="1061"/>
                  </a:lnTo>
                  <a:lnTo>
                    <a:pt x="5578" y="1056"/>
                  </a:lnTo>
                  <a:lnTo>
                    <a:pt x="5592" y="1051"/>
                  </a:lnTo>
                  <a:lnTo>
                    <a:pt x="5604" y="1045"/>
                  </a:lnTo>
                  <a:lnTo>
                    <a:pt x="5615" y="1039"/>
                  </a:lnTo>
                  <a:lnTo>
                    <a:pt x="5626" y="1032"/>
                  </a:lnTo>
                  <a:lnTo>
                    <a:pt x="5648" y="1020"/>
                  </a:lnTo>
                  <a:lnTo>
                    <a:pt x="5673" y="1007"/>
                  </a:lnTo>
                  <a:lnTo>
                    <a:pt x="5697" y="995"/>
                  </a:lnTo>
                  <a:lnTo>
                    <a:pt x="5717" y="982"/>
                  </a:lnTo>
                  <a:lnTo>
                    <a:pt x="5734" y="969"/>
                  </a:lnTo>
                  <a:lnTo>
                    <a:pt x="5749" y="956"/>
                  </a:lnTo>
                  <a:lnTo>
                    <a:pt x="5765" y="942"/>
                  </a:lnTo>
                  <a:lnTo>
                    <a:pt x="5781" y="928"/>
                  </a:lnTo>
                  <a:lnTo>
                    <a:pt x="5800" y="913"/>
                  </a:lnTo>
                  <a:lnTo>
                    <a:pt x="5822" y="897"/>
                  </a:lnTo>
                  <a:lnTo>
                    <a:pt x="5835" y="880"/>
                  </a:lnTo>
                  <a:lnTo>
                    <a:pt x="5848" y="866"/>
                  </a:lnTo>
                  <a:lnTo>
                    <a:pt x="5856" y="860"/>
                  </a:lnTo>
                  <a:lnTo>
                    <a:pt x="5864" y="855"/>
                  </a:lnTo>
                  <a:lnTo>
                    <a:pt x="5873" y="853"/>
                  </a:lnTo>
                  <a:lnTo>
                    <a:pt x="5884" y="852"/>
                  </a:lnTo>
                  <a:lnTo>
                    <a:pt x="5903" y="852"/>
                  </a:lnTo>
                  <a:lnTo>
                    <a:pt x="5920" y="852"/>
                  </a:lnTo>
                  <a:lnTo>
                    <a:pt x="5937" y="852"/>
                  </a:lnTo>
                  <a:lnTo>
                    <a:pt x="5955" y="852"/>
                  </a:lnTo>
                  <a:lnTo>
                    <a:pt x="5983" y="852"/>
                  </a:lnTo>
                  <a:lnTo>
                    <a:pt x="6007" y="854"/>
                  </a:lnTo>
                  <a:lnTo>
                    <a:pt x="6031" y="858"/>
                  </a:lnTo>
                  <a:lnTo>
                    <a:pt x="6058" y="863"/>
                  </a:lnTo>
                  <a:lnTo>
                    <a:pt x="6033" y="368"/>
                  </a:lnTo>
                  <a:lnTo>
                    <a:pt x="6058" y="863"/>
                  </a:lnTo>
                  <a:lnTo>
                    <a:pt x="6058" y="888"/>
                  </a:lnTo>
                  <a:lnTo>
                    <a:pt x="6060" y="909"/>
                  </a:lnTo>
                  <a:lnTo>
                    <a:pt x="6062" y="931"/>
                  </a:lnTo>
                  <a:lnTo>
                    <a:pt x="6063" y="955"/>
                  </a:lnTo>
                  <a:lnTo>
                    <a:pt x="6063" y="981"/>
                  </a:lnTo>
                  <a:lnTo>
                    <a:pt x="6063" y="1003"/>
                  </a:lnTo>
                  <a:lnTo>
                    <a:pt x="6063" y="1026"/>
                  </a:lnTo>
                  <a:lnTo>
                    <a:pt x="6063" y="1052"/>
                  </a:lnTo>
                  <a:lnTo>
                    <a:pt x="6063" y="1061"/>
                  </a:lnTo>
                  <a:lnTo>
                    <a:pt x="6065" y="1068"/>
                  </a:lnTo>
                  <a:lnTo>
                    <a:pt x="6069" y="1076"/>
                  </a:lnTo>
                  <a:lnTo>
                    <a:pt x="6073" y="1082"/>
                  </a:lnTo>
                  <a:lnTo>
                    <a:pt x="6084" y="1095"/>
                  </a:lnTo>
                  <a:lnTo>
                    <a:pt x="6097" y="1107"/>
                  </a:lnTo>
                  <a:lnTo>
                    <a:pt x="6106" y="1118"/>
                  </a:lnTo>
                  <a:lnTo>
                    <a:pt x="6114" y="1129"/>
                  </a:lnTo>
                  <a:lnTo>
                    <a:pt x="6122" y="1139"/>
                  </a:lnTo>
                  <a:lnTo>
                    <a:pt x="6128" y="1149"/>
                  </a:lnTo>
                  <a:lnTo>
                    <a:pt x="6134" y="1160"/>
                  </a:lnTo>
                  <a:lnTo>
                    <a:pt x="6142" y="1170"/>
                  </a:lnTo>
                  <a:lnTo>
                    <a:pt x="6151" y="1179"/>
                  </a:lnTo>
                  <a:lnTo>
                    <a:pt x="6161" y="1188"/>
                  </a:lnTo>
                  <a:lnTo>
                    <a:pt x="6171" y="1196"/>
                  </a:lnTo>
                  <a:lnTo>
                    <a:pt x="6181" y="1202"/>
                  </a:lnTo>
                  <a:lnTo>
                    <a:pt x="6190" y="1210"/>
                  </a:lnTo>
                  <a:lnTo>
                    <a:pt x="6197" y="1219"/>
                  </a:lnTo>
                  <a:lnTo>
                    <a:pt x="6212" y="1243"/>
                  </a:lnTo>
                  <a:lnTo>
                    <a:pt x="6226" y="1265"/>
                  </a:lnTo>
                  <a:lnTo>
                    <a:pt x="6234" y="1275"/>
                  </a:lnTo>
                  <a:lnTo>
                    <a:pt x="6244" y="1283"/>
                  </a:lnTo>
                  <a:lnTo>
                    <a:pt x="6249" y="1287"/>
                  </a:lnTo>
                  <a:lnTo>
                    <a:pt x="6254" y="1291"/>
                  </a:lnTo>
                  <a:lnTo>
                    <a:pt x="6261" y="1293"/>
                  </a:lnTo>
                  <a:lnTo>
                    <a:pt x="6267" y="1295"/>
                  </a:lnTo>
                  <a:lnTo>
                    <a:pt x="6290" y="1299"/>
                  </a:lnTo>
                  <a:lnTo>
                    <a:pt x="6311" y="1306"/>
                  </a:lnTo>
                  <a:lnTo>
                    <a:pt x="6319" y="1310"/>
                  </a:lnTo>
                  <a:lnTo>
                    <a:pt x="6327" y="1317"/>
                  </a:lnTo>
                  <a:lnTo>
                    <a:pt x="6330" y="1320"/>
                  </a:lnTo>
                  <a:lnTo>
                    <a:pt x="6332" y="1324"/>
                  </a:lnTo>
                  <a:lnTo>
                    <a:pt x="6333" y="1328"/>
                  </a:lnTo>
                  <a:lnTo>
                    <a:pt x="6334" y="1334"/>
                  </a:lnTo>
                  <a:lnTo>
                    <a:pt x="6338" y="1350"/>
                  </a:lnTo>
                  <a:lnTo>
                    <a:pt x="6341" y="1364"/>
                  </a:lnTo>
                  <a:lnTo>
                    <a:pt x="6345" y="1377"/>
                  </a:lnTo>
                  <a:lnTo>
                    <a:pt x="6348" y="1393"/>
                  </a:lnTo>
                  <a:lnTo>
                    <a:pt x="6351" y="1408"/>
                  </a:lnTo>
                  <a:lnTo>
                    <a:pt x="6351" y="1422"/>
                  </a:lnTo>
                  <a:lnTo>
                    <a:pt x="6352" y="1430"/>
                  </a:lnTo>
                  <a:lnTo>
                    <a:pt x="6353" y="1436"/>
                  </a:lnTo>
                  <a:lnTo>
                    <a:pt x="6356" y="1443"/>
                  </a:lnTo>
                  <a:lnTo>
                    <a:pt x="6360" y="1449"/>
                  </a:lnTo>
                  <a:lnTo>
                    <a:pt x="6367" y="1457"/>
                  </a:lnTo>
                  <a:lnTo>
                    <a:pt x="6374" y="1463"/>
                  </a:lnTo>
                  <a:lnTo>
                    <a:pt x="6382" y="1469"/>
                  </a:lnTo>
                  <a:lnTo>
                    <a:pt x="6389" y="1474"/>
                  </a:lnTo>
                  <a:lnTo>
                    <a:pt x="6406" y="1484"/>
                  </a:lnTo>
                  <a:lnTo>
                    <a:pt x="6422" y="1497"/>
                  </a:lnTo>
                  <a:lnTo>
                    <a:pt x="6436" y="1508"/>
                  </a:lnTo>
                  <a:lnTo>
                    <a:pt x="6449" y="1517"/>
                  </a:lnTo>
                  <a:lnTo>
                    <a:pt x="6463" y="1525"/>
                  </a:lnTo>
                  <a:lnTo>
                    <a:pt x="6476" y="1533"/>
                  </a:lnTo>
                  <a:lnTo>
                    <a:pt x="6490" y="1539"/>
                  </a:lnTo>
                  <a:lnTo>
                    <a:pt x="6504" y="1547"/>
                  </a:lnTo>
                  <a:lnTo>
                    <a:pt x="6518" y="1554"/>
                  </a:lnTo>
                  <a:lnTo>
                    <a:pt x="6534" y="1564"/>
                  </a:lnTo>
                  <a:lnTo>
                    <a:pt x="6543" y="1571"/>
                  </a:lnTo>
                  <a:lnTo>
                    <a:pt x="6551" y="1580"/>
                  </a:lnTo>
                  <a:lnTo>
                    <a:pt x="6558" y="1589"/>
                  </a:lnTo>
                  <a:lnTo>
                    <a:pt x="6565" y="1597"/>
                  </a:lnTo>
                  <a:lnTo>
                    <a:pt x="6572" y="1605"/>
                  </a:lnTo>
                  <a:lnTo>
                    <a:pt x="6581" y="1611"/>
                  </a:lnTo>
                  <a:lnTo>
                    <a:pt x="6585" y="1614"/>
                  </a:lnTo>
                  <a:lnTo>
                    <a:pt x="6589" y="1616"/>
                  </a:lnTo>
                  <a:lnTo>
                    <a:pt x="6595" y="1617"/>
                  </a:lnTo>
                  <a:lnTo>
                    <a:pt x="6601" y="1617"/>
                  </a:lnTo>
                  <a:lnTo>
                    <a:pt x="6616" y="1616"/>
                  </a:lnTo>
                  <a:lnTo>
                    <a:pt x="6629" y="1614"/>
                  </a:lnTo>
                  <a:lnTo>
                    <a:pt x="6642" y="1610"/>
                  </a:lnTo>
                  <a:lnTo>
                    <a:pt x="6657" y="1609"/>
                  </a:lnTo>
                  <a:lnTo>
                    <a:pt x="6682" y="1610"/>
                  </a:lnTo>
                  <a:lnTo>
                    <a:pt x="6704" y="1612"/>
                  </a:lnTo>
                  <a:lnTo>
                    <a:pt x="6725" y="1616"/>
                  </a:lnTo>
                  <a:lnTo>
                    <a:pt x="6749" y="1617"/>
                  </a:lnTo>
                  <a:lnTo>
                    <a:pt x="6775" y="1616"/>
                  </a:lnTo>
                  <a:lnTo>
                    <a:pt x="6799" y="1614"/>
                  </a:lnTo>
                  <a:lnTo>
                    <a:pt x="6810" y="1612"/>
                  </a:lnTo>
                  <a:lnTo>
                    <a:pt x="6820" y="1612"/>
                  </a:lnTo>
                  <a:lnTo>
                    <a:pt x="6832" y="1614"/>
                  </a:lnTo>
                  <a:lnTo>
                    <a:pt x="6845" y="1617"/>
                  </a:lnTo>
                  <a:lnTo>
                    <a:pt x="6858" y="1623"/>
                  </a:lnTo>
                  <a:lnTo>
                    <a:pt x="6870" y="1631"/>
                  </a:lnTo>
                  <a:lnTo>
                    <a:pt x="6881" y="1638"/>
                  </a:lnTo>
                  <a:lnTo>
                    <a:pt x="6891" y="1646"/>
                  </a:lnTo>
                  <a:lnTo>
                    <a:pt x="6900" y="1655"/>
                  </a:lnTo>
                  <a:lnTo>
                    <a:pt x="6910" y="1663"/>
                  </a:lnTo>
                  <a:lnTo>
                    <a:pt x="6921" y="1672"/>
                  </a:lnTo>
                  <a:lnTo>
                    <a:pt x="6935" y="1678"/>
                  </a:lnTo>
                  <a:lnTo>
                    <a:pt x="6946" y="1688"/>
                  </a:lnTo>
                  <a:lnTo>
                    <a:pt x="6955" y="1696"/>
                  </a:lnTo>
                  <a:lnTo>
                    <a:pt x="6966" y="1701"/>
                  </a:lnTo>
                  <a:lnTo>
                    <a:pt x="6978" y="1705"/>
                  </a:lnTo>
                  <a:lnTo>
                    <a:pt x="7001" y="1712"/>
                  </a:lnTo>
                  <a:lnTo>
                    <a:pt x="7027" y="1720"/>
                  </a:lnTo>
                  <a:lnTo>
                    <a:pt x="7037" y="1726"/>
                  </a:lnTo>
                  <a:lnTo>
                    <a:pt x="7045" y="1732"/>
                  </a:lnTo>
                  <a:lnTo>
                    <a:pt x="7051" y="1740"/>
                  </a:lnTo>
                  <a:lnTo>
                    <a:pt x="7058" y="1747"/>
                  </a:lnTo>
                  <a:lnTo>
                    <a:pt x="7064" y="1756"/>
                  </a:lnTo>
                  <a:lnTo>
                    <a:pt x="7071" y="1764"/>
                  </a:lnTo>
                  <a:lnTo>
                    <a:pt x="7080" y="1771"/>
                  </a:lnTo>
                  <a:lnTo>
                    <a:pt x="7088" y="1777"/>
                  </a:lnTo>
                  <a:lnTo>
                    <a:pt x="7099" y="1781"/>
                  </a:lnTo>
                  <a:lnTo>
                    <a:pt x="7109" y="1783"/>
                  </a:lnTo>
                  <a:lnTo>
                    <a:pt x="7117" y="1784"/>
                  </a:lnTo>
                  <a:lnTo>
                    <a:pt x="7127" y="1784"/>
                  </a:lnTo>
                  <a:lnTo>
                    <a:pt x="7147" y="1784"/>
                  </a:lnTo>
                  <a:lnTo>
                    <a:pt x="7167" y="1785"/>
                  </a:lnTo>
                  <a:lnTo>
                    <a:pt x="7183" y="1788"/>
                  </a:lnTo>
                  <a:lnTo>
                    <a:pt x="7197" y="1792"/>
                  </a:lnTo>
                  <a:lnTo>
                    <a:pt x="7211" y="1796"/>
                  </a:lnTo>
                  <a:lnTo>
                    <a:pt x="7224" y="1800"/>
                  </a:lnTo>
                  <a:lnTo>
                    <a:pt x="7249" y="1811"/>
                  </a:lnTo>
                  <a:lnTo>
                    <a:pt x="7279" y="1822"/>
                  </a:lnTo>
                  <a:lnTo>
                    <a:pt x="6822" y="3660"/>
                  </a:lnTo>
                  <a:lnTo>
                    <a:pt x="6812" y="3657"/>
                  </a:lnTo>
                  <a:lnTo>
                    <a:pt x="6800" y="3655"/>
                  </a:lnTo>
                  <a:lnTo>
                    <a:pt x="6795" y="3655"/>
                  </a:lnTo>
                  <a:lnTo>
                    <a:pt x="6791" y="3656"/>
                  </a:lnTo>
                  <a:lnTo>
                    <a:pt x="6787" y="3658"/>
                  </a:lnTo>
                  <a:lnTo>
                    <a:pt x="6785" y="3660"/>
                  </a:lnTo>
                  <a:lnTo>
                    <a:pt x="6779" y="3667"/>
                  </a:lnTo>
                  <a:lnTo>
                    <a:pt x="6775" y="3674"/>
                  </a:lnTo>
                  <a:lnTo>
                    <a:pt x="6771" y="3683"/>
                  </a:lnTo>
                  <a:lnTo>
                    <a:pt x="6767" y="3693"/>
                  </a:lnTo>
                  <a:lnTo>
                    <a:pt x="6763" y="3702"/>
                  </a:lnTo>
                  <a:lnTo>
                    <a:pt x="6758" y="3711"/>
                  </a:lnTo>
                  <a:lnTo>
                    <a:pt x="6747" y="3718"/>
                  </a:lnTo>
                  <a:lnTo>
                    <a:pt x="6736" y="3725"/>
                  </a:lnTo>
                  <a:lnTo>
                    <a:pt x="6717" y="3740"/>
                  </a:lnTo>
                  <a:lnTo>
                    <a:pt x="6698" y="3755"/>
                  </a:lnTo>
                  <a:lnTo>
                    <a:pt x="6692" y="3763"/>
                  </a:lnTo>
                  <a:lnTo>
                    <a:pt x="6686" y="3771"/>
                  </a:lnTo>
                  <a:lnTo>
                    <a:pt x="6684" y="3777"/>
                  </a:lnTo>
                  <a:lnTo>
                    <a:pt x="6682" y="3782"/>
                  </a:lnTo>
                  <a:lnTo>
                    <a:pt x="6681" y="3788"/>
                  </a:lnTo>
                  <a:lnTo>
                    <a:pt x="6681" y="3794"/>
                  </a:lnTo>
                  <a:lnTo>
                    <a:pt x="6681" y="3818"/>
                  </a:lnTo>
                  <a:lnTo>
                    <a:pt x="6681" y="3839"/>
                  </a:lnTo>
                  <a:lnTo>
                    <a:pt x="6681" y="3861"/>
                  </a:lnTo>
                  <a:lnTo>
                    <a:pt x="6681" y="3885"/>
                  </a:lnTo>
                  <a:lnTo>
                    <a:pt x="6682" y="3893"/>
                  </a:lnTo>
                  <a:lnTo>
                    <a:pt x="6684" y="3900"/>
                  </a:lnTo>
                  <a:lnTo>
                    <a:pt x="6686" y="3906"/>
                  </a:lnTo>
                  <a:lnTo>
                    <a:pt x="6690" y="3912"/>
                  </a:lnTo>
                  <a:lnTo>
                    <a:pt x="6693" y="3918"/>
                  </a:lnTo>
                  <a:lnTo>
                    <a:pt x="6696" y="3925"/>
                  </a:lnTo>
                  <a:lnTo>
                    <a:pt x="6698" y="3931"/>
                  </a:lnTo>
                  <a:lnTo>
                    <a:pt x="6699" y="3939"/>
                  </a:lnTo>
                  <a:lnTo>
                    <a:pt x="6698" y="3945"/>
                  </a:lnTo>
                  <a:lnTo>
                    <a:pt x="6697" y="3950"/>
                  </a:lnTo>
                  <a:lnTo>
                    <a:pt x="6695" y="3955"/>
                  </a:lnTo>
                  <a:lnTo>
                    <a:pt x="6694" y="3959"/>
                  </a:lnTo>
                  <a:lnTo>
                    <a:pt x="6692" y="3964"/>
                  </a:lnTo>
                  <a:lnTo>
                    <a:pt x="6690" y="3969"/>
                  </a:lnTo>
                  <a:lnTo>
                    <a:pt x="6689" y="3974"/>
                  </a:lnTo>
                  <a:lnTo>
                    <a:pt x="6687" y="3980"/>
                  </a:lnTo>
                  <a:lnTo>
                    <a:pt x="6689" y="3995"/>
                  </a:lnTo>
                  <a:lnTo>
                    <a:pt x="6691" y="4008"/>
                  </a:lnTo>
                  <a:lnTo>
                    <a:pt x="6694" y="4021"/>
                  </a:lnTo>
                  <a:lnTo>
                    <a:pt x="6696" y="4036"/>
                  </a:lnTo>
                  <a:lnTo>
                    <a:pt x="6696" y="4036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45">
              <a:extLst>
                <a:ext uri="{FF2B5EF4-FFF2-40B4-BE49-F238E27FC236}">
                  <a16:creationId xmlns:a16="http://schemas.microsoft.com/office/drawing/2014/main" id="{5B7A2FBC-1753-4ACD-9D96-936FF201C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7600" y="3114676"/>
              <a:ext cx="1201738" cy="1193800"/>
            </a:xfrm>
            <a:custGeom>
              <a:avLst/>
              <a:gdLst>
                <a:gd name="T0" fmla="*/ 2400 w 3026"/>
                <a:gd name="T1" fmla="*/ 1836 h 3006"/>
                <a:gd name="T2" fmla="*/ 2434 w 3026"/>
                <a:gd name="T3" fmla="*/ 1995 h 3006"/>
                <a:gd name="T4" fmla="*/ 2339 w 3026"/>
                <a:gd name="T5" fmla="*/ 2184 h 3006"/>
                <a:gd name="T6" fmla="*/ 2389 w 3026"/>
                <a:gd name="T7" fmla="*/ 2316 h 3006"/>
                <a:gd name="T8" fmla="*/ 2320 w 3026"/>
                <a:gd name="T9" fmla="*/ 2526 h 3006"/>
                <a:gd name="T10" fmla="*/ 2119 w 3026"/>
                <a:gd name="T11" fmla="*/ 2666 h 3006"/>
                <a:gd name="T12" fmla="*/ 1931 w 3026"/>
                <a:gd name="T13" fmla="*/ 2642 h 3006"/>
                <a:gd name="T14" fmla="*/ 1705 w 3026"/>
                <a:gd name="T15" fmla="*/ 2631 h 3006"/>
                <a:gd name="T16" fmla="*/ 1608 w 3026"/>
                <a:gd name="T17" fmla="*/ 2630 h 3006"/>
                <a:gd name="T18" fmla="*/ 1484 w 3026"/>
                <a:gd name="T19" fmla="*/ 2683 h 3006"/>
                <a:gd name="T20" fmla="*/ 1415 w 3026"/>
                <a:gd name="T21" fmla="*/ 2679 h 3006"/>
                <a:gd name="T22" fmla="*/ 1093 w 3026"/>
                <a:gd name="T23" fmla="*/ 2764 h 3006"/>
                <a:gd name="T24" fmla="*/ 1009 w 3026"/>
                <a:gd name="T25" fmla="*/ 2886 h 3006"/>
                <a:gd name="T26" fmla="*/ 918 w 3026"/>
                <a:gd name="T27" fmla="*/ 2948 h 3006"/>
                <a:gd name="T28" fmla="*/ 746 w 3026"/>
                <a:gd name="T29" fmla="*/ 2931 h 3006"/>
                <a:gd name="T30" fmla="*/ 585 w 3026"/>
                <a:gd name="T31" fmla="*/ 2802 h 3006"/>
                <a:gd name="T32" fmla="*/ 225 w 3026"/>
                <a:gd name="T33" fmla="*/ 2544 h 3006"/>
                <a:gd name="T34" fmla="*/ 25 w 3026"/>
                <a:gd name="T35" fmla="*/ 2423 h 3006"/>
                <a:gd name="T36" fmla="*/ 53 w 3026"/>
                <a:gd name="T37" fmla="*/ 2206 h 3006"/>
                <a:gd name="T38" fmla="*/ 0 w 3026"/>
                <a:gd name="T39" fmla="*/ 2016 h 3006"/>
                <a:gd name="T40" fmla="*/ 207 w 3026"/>
                <a:gd name="T41" fmla="*/ 1815 h 3006"/>
                <a:gd name="T42" fmla="*/ 283 w 3026"/>
                <a:gd name="T43" fmla="*/ 1605 h 3006"/>
                <a:gd name="T44" fmla="*/ 383 w 3026"/>
                <a:gd name="T45" fmla="*/ 1524 h 3006"/>
                <a:gd name="T46" fmla="*/ 568 w 3026"/>
                <a:gd name="T47" fmla="*/ 1481 h 3006"/>
                <a:gd name="T48" fmla="*/ 663 w 3026"/>
                <a:gd name="T49" fmla="*/ 1378 h 3006"/>
                <a:gd name="T50" fmla="*/ 700 w 3026"/>
                <a:gd name="T51" fmla="*/ 1211 h 3006"/>
                <a:gd name="T52" fmla="*/ 829 w 3026"/>
                <a:gd name="T53" fmla="*/ 1144 h 3006"/>
                <a:gd name="T54" fmla="*/ 920 w 3026"/>
                <a:gd name="T55" fmla="*/ 1056 h 3006"/>
                <a:gd name="T56" fmla="*/ 989 w 3026"/>
                <a:gd name="T57" fmla="*/ 918 h 3006"/>
                <a:gd name="T58" fmla="*/ 1041 w 3026"/>
                <a:gd name="T59" fmla="*/ 719 h 3006"/>
                <a:gd name="T60" fmla="*/ 1090 w 3026"/>
                <a:gd name="T61" fmla="*/ 543 h 3006"/>
                <a:gd name="T62" fmla="*/ 1190 w 3026"/>
                <a:gd name="T63" fmla="*/ 282 h 3006"/>
                <a:gd name="T64" fmla="*/ 1306 w 3026"/>
                <a:gd name="T65" fmla="*/ 23 h 3006"/>
                <a:gd name="T66" fmla="*/ 1358 w 3026"/>
                <a:gd name="T67" fmla="*/ 179 h 3006"/>
                <a:gd name="T68" fmla="*/ 1434 w 3026"/>
                <a:gd name="T69" fmla="*/ 296 h 3006"/>
                <a:gd name="T70" fmla="*/ 1645 w 3026"/>
                <a:gd name="T71" fmla="*/ 297 h 3006"/>
                <a:gd name="T72" fmla="*/ 1754 w 3026"/>
                <a:gd name="T73" fmla="*/ 173 h 3006"/>
                <a:gd name="T74" fmla="*/ 1844 w 3026"/>
                <a:gd name="T75" fmla="*/ 279 h 3006"/>
                <a:gd name="T76" fmla="*/ 1840 w 3026"/>
                <a:gd name="T77" fmla="*/ 454 h 3006"/>
                <a:gd name="T78" fmla="*/ 1918 w 3026"/>
                <a:gd name="T79" fmla="*/ 371 h 3006"/>
                <a:gd name="T80" fmla="*/ 2018 w 3026"/>
                <a:gd name="T81" fmla="*/ 412 h 3006"/>
                <a:gd name="T82" fmla="*/ 2132 w 3026"/>
                <a:gd name="T83" fmla="*/ 444 h 3006"/>
                <a:gd name="T84" fmla="*/ 2315 w 3026"/>
                <a:gd name="T85" fmla="*/ 537 h 3006"/>
                <a:gd name="T86" fmla="*/ 2419 w 3026"/>
                <a:gd name="T87" fmla="*/ 490 h 3006"/>
                <a:gd name="T88" fmla="*/ 2589 w 3026"/>
                <a:gd name="T89" fmla="*/ 517 h 3006"/>
                <a:gd name="T90" fmla="*/ 2784 w 3026"/>
                <a:gd name="T91" fmla="*/ 424 h 3006"/>
                <a:gd name="T92" fmla="*/ 2898 w 3026"/>
                <a:gd name="T93" fmla="*/ 358 h 3006"/>
                <a:gd name="T94" fmla="*/ 2996 w 3026"/>
                <a:gd name="T95" fmla="*/ 452 h 3006"/>
                <a:gd name="T96" fmla="*/ 2944 w 3026"/>
                <a:gd name="T97" fmla="*/ 648 h 3006"/>
                <a:gd name="T98" fmla="*/ 2995 w 3026"/>
                <a:gd name="T99" fmla="*/ 960 h 3006"/>
                <a:gd name="T100" fmla="*/ 2877 w 3026"/>
                <a:gd name="T101" fmla="*/ 1198 h 3006"/>
                <a:gd name="T102" fmla="*/ 2699 w 3026"/>
                <a:gd name="T103" fmla="*/ 1222 h 3006"/>
                <a:gd name="T104" fmla="*/ 2562 w 3026"/>
                <a:gd name="T105" fmla="*/ 1484 h 3006"/>
                <a:gd name="T106" fmla="*/ 2473 w 3026"/>
                <a:gd name="T107" fmla="*/ 1666 h 3006"/>
                <a:gd name="T108" fmla="*/ 2466 w 3026"/>
                <a:gd name="T109" fmla="*/ 1510 h 3006"/>
                <a:gd name="T110" fmla="*/ 2423 w 3026"/>
                <a:gd name="T111" fmla="*/ 1323 h 3006"/>
                <a:gd name="T112" fmla="*/ 2046 w 3026"/>
                <a:gd name="T113" fmla="*/ 1283 h 3006"/>
                <a:gd name="T114" fmla="*/ 1818 w 3026"/>
                <a:gd name="T115" fmla="*/ 1284 h 3006"/>
                <a:gd name="T116" fmla="*/ 1785 w 3026"/>
                <a:gd name="T117" fmla="*/ 1518 h 3006"/>
                <a:gd name="T118" fmla="*/ 1852 w 3026"/>
                <a:gd name="T119" fmla="*/ 1696 h 3006"/>
                <a:gd name="T120" fmla="*/ 2222 w 3026"/>
                <a:gd name="T121" fmla="*/ 1760 h 3006"/>
                <a:gd name="T122" fmla="*/ 2452 w 3026"/>
                <a:gd name="T123" fmla="*/ 1686 h 3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26" h="3006">
                  <a:moveTo>
                    <a:pt x="2473" y="1666"/>
                  </a:moveTo>
                  <a:lnTo>
                    <a:pt x="2471" y="1678"/>
                  </a:lnTo>
                  <a:lnTo>
                    <a:pt x="2468" y="1688"/>
                  </a:lnTo>
                  <a:lnTo>
                    <a:pt x="2465" y="1698"/>
                  </a:lnTo>
                  <a:lnTo>
                    <a:pt x="2459" y="1708"/>
                  </a:lnTo>
                  <a:lnTo>
                    <a:pt x="2447" y="1726"/>
                  </a:lnTo>
                  <a:lnTo>
                    <a:pt x="2433" y="1743"/>
                  </a:lnTo>
                  <a:lnTo>
                    <a:pt x="2420" y="1761"/>
                  </a:lnTo>
                  <a:lnTo>
                    <a:pt x="2410" y="1778"/>
                  </a:lnTo>
                  <a:lnTo>
                    <a:pt x="2405" y="1788"/>
                  </a:lnTo>
                  <a:lnTo>
                    <a:pt x="2402" y="1799"/>
                  </a:lnTo>
                  <a:lnTo>
                    <a:pt x="2400" y="1809"/>
                  </a:lnTo>
                  <a:lnTo>
                    <a:pt x="2399" y="1821"/>
                  </a:lnTo>
                  <a:lnTo>
                    <a:pt x="2399" y="1829"/>
                  </a:lnTo>
                  <a:lnTo>
                    <a:pt x="2400" y="1836"/>
                  </a:lnTo>
                  <a:lnTo>
                    <a:pt x="2402" y="1844"/>
                  </a:lnTo>
                  <a:lnTo>
                    <a:pt x="2404" y="1851"/>
                  </a:lnTo>
                  <a:lnTo>
                    <a:pt x="2411" y="1864"/>
                  </a:lnTo>
                  <a:lnTo>
                    <a:pt x="2417" y="1876"/>
                  </a:lnTo>
                  <a:lnTo>
                    <a:pt x="2424" y="1889"/>
                  </a:lnTo>
                  <a:lnTo>
                    <a:pt x="2429" y="1902"/>
                  </a:lnTo>
                  <a:lnTo>
                    <a:pt x="2431" y="1909"/>
                  </a:lnTo>
                  <a:lnTo>
                    <a:pt x="2433" y="1916"/>
                  </a:lnTo>
                  <a:lnTo>
                    <a:pt x="2434" y="1924"/>
                  </a:lnTo>
                  <a:lnTo>
                    <a:pt x="2436" y="1932"/>
                  </a:lnTo>
                  <a:lnTo>
                    <a:pt x="2436" y="1948"/>
                  </a:lnTo>
                  <a:lnTo>
                    <a:pt x="2436" y="1961"/>
                  </a:lnTo>
                  <a:lnTo>
                    <a:pt x="2436" y="1975"/>
                  </a:lnTo>
                  <a:lnTo>
                    <a:pt x="2436" y="1990"/>
                  </a:lnTo>
                  <a:lnTo>
                    <a:pt x="2434" y="1995"/>
                  </a:lnTo>
                  <a:lnTo>
                    <a:pt x="2434" y="1999"/>
                  </a:lnTo>
                  <a:lnTo>
                    <a:pt x="2432" y="2004"/>
                  </a:lnTo>
                  <a:lnTo>
                    <a:pt x="2431" y="2008"/>
                  </a:lnTo>
                  <a:lnTo>
                    <a:pt x="2427" y="2016"/>
                  </a:lnTo>
                  <a:lnTo>
                    <a:pt x="2422" y="2022"/>
                  </a:lnTo>
                  <a:lnTo>
                    <a:pt x="2415" y="2030"/>
                  </a:lnTo>
                  <a:lnTo>
                    <a:pt x="2410" y="2036"/>
                  </a:lnTo>
                  <a:lnTo>
                    <a:pt x="2403" y="2045"/>
                  </a:lnTo>
                  <a:lnTo>
                    <a:pt x="2399" y="2053"/>
                  </a:lnTo>
                  <a:lnTo>
                    <a:pt x="2387" y="2080"/>
                  </a:lnTo>
                  <a:lnTo>
                    <a:pt x="2376" y="2105"/>
                  </a:lnTo>
                  <a:lnTo>
                    <a:pt x="2365" y="2129"/>
                  </a:lnTo>
                  <a:lnTo>
                    <a:pt x="2353" y="2157"/>
                  </a:lnTo>
                  <a:lnTo>
                    <a:pt x="2347" y="2171"/>
                  </a:lnTo>
                  <a:lnTo>
                    <a:pt x="2339" y="2184"/>
                  </a:lnTo>
                  <a:lnTo>
                    <a:pt x="2336" y="2191"/>
                  </a:lnTo>
                  <a:lnTo>
                    <a:pt x="2334" y="2197"/>
                  </a:lnTo>
                  <a:lnTo>
                    <a:pt x="2332" y="2205"/>
                  </a:lnTo>
                  <a:lnTo>
                    <a:pt x="2332" y="2213"/>
                  </a:lnTo>
                  <a:lnTo>
                    <a:pt x="2332" y="2223"/>
                  </a:lnTo>
                  <a:lnTo>
                    <a:pt x="2334" y="2231"/>
                  </a:lnTo>
                  <a:lnTo>
                    <a:pt x="2338" y="2238"/>
                  </a:lnTo>
                  <a:lnTo>
                    <a:pt x="2343" y="2245"/>
                  </a:lnTo>
                  <a:lnTo>
                    <a:pt x="2353" y="2256"/>
                  </a:lnTo>
                  <a:lnTo>
                    <a:pt x="2365" y="2272"/>
                  </a:lnTo>
                  <a:lnTo>
                    <a:pt x="2372" y="2286"/>
                  </a:lnTo>
                  <a:lnTo>
                    <a:pt x="2380" y="2298"/>
                  </a:lnTo>
                  <a:lnTo>
                    <a:pt x="2385" y="2303"/>
                  </a:lnTo>
                  <a:lnTo>
                    <a:pt x="2387" y="2309"/>
                  </a:lnTo>
                  <a:lnTo>
                    <a:pt x="2389" y="2316"/>
                  </a:lnTo>
                  <a:lnTo>
                    <a:pt x="2390" y="2323"/>
                  </a:lnTo>
                  <a:lnTo>
                    <a:pt x="2389" y="2335"/>
                  </a:lnTo>
                  <a:lnTo>
                    <a:pt x="2387" y="2346"/>
                  </a:lnTo>
                  <a:lnTo>
                    <a:pt x="2384" y="2356"/>
                  </a:lnTo>
                  <a:lnTo>
                    <a:pt x="2379" y="2366"/>
                  </a:lnTo>
                  <a:lnTo>
                    <a:pt x="2369" y="2383"/>
                  </a:lnTo>
                  <a:lnTo>
                    <a:pt x="2356" y="2398"/>
                  </a:lnTo>
                  <a:lnTo>
                    <a:pt x="2343" y="2414"/>
                  </a:lnTo>
                  <a:lnTo>
                    <a:pt x="2331" y="2431"/>
                  </a:lnTo>
                  <a:lnTo>
                    <a:pt x="2326" y="2441"/>
                  </a:lnTo>
                  <a:lnTo>
                    <a:pt x="2323" y="2451"/>
                  </a:lnTo>
                  <a:lnTo>
                    <a:pt x="2321" y="2462"/>
                  </a:lnTo>
                  <a:lnTo>
                    <a:pt x="2320" y="2474"/>
                  </a:lnTo>
                  <a:lnTo>
                    <a:pt x="2320" y="2502"/>
                  </a:lnTo>
                  <a:lnTo>
                    <a:pt x="2320" y="2526"/>
                  </a:lnTo>
                  <a:lnTo>
                    <a:pt x="2320" y="2551"/>
                  </a:lnTo>
                  <a:lnTo>
                    <a:pt x="2320" y="2580"/>
                  </a:lnTo>
                  <a:lnTo>
                    <a:pt x="2308" y="2580"/>
                  </a:lnTo>
                  <a:lnTo>
                    <a:pt x="2296" y="2582"/>
                  </a:lnTo>
                  <a:lnTo>
                    <a:pt x="2285" y="2583"/>
                  </a:lnTo>
                  <a:lnTo>
                    <a:pt x="2275" y="2585"/>
                  </a:lnTo>
                  <a:lnTo>
                    <a:pt x="2254" y="2591"/>
                  </a:lnTo>
                  <a:lnTo>
                    <a:pt x="2236" y="2599"/>
                  </a:lnTo>
                  <a:lnTo>
                    <a:pt x="2217" y="2607"/>
                  </a:lnTo>
                  <a:lnTo>
                    <a:pt x="2199" y="2618"/>
                  </a:lnTo>
                  <a:lnTo>
                    <a:pt x="2179" y="2630"/>
                  </a:lnTo>
                  <a:lnTo>
                    <a:pt x="2158" y="2642"/>
                  </a:lnTo>
                  <a:lnTo>
                    <a:pt x="2142" y="2652"/>
                  </a:lnTo>
                  <a:lnTo>
                    <a:pt x="2127" y="2663"/>
                  </a:lnTo>
                  <a:lnTo>
                    <a:pt x="2119" y="2666"/>
                  </a:lnTo>
                  <a:lnTo>
                    <a:pt x="2112" y="2670"/>
                  </a:lnTo>
                  <a:lnTo>
                    <a:pt x="2103" y="2672"/>
                  </a:lnTo>
                  <a:lnTo>
                    <a:pt x="2093" y="2672"/>
                  </a:lnTo>
                  <a:lnTo>
                    <a:pt x="2086" y="2672"/>
                  </a:lnTo>
                  <a:lnTo>
                    <a:pt x="2079" y="2670"/>
                  </a:lnTo>
                  <a:lnTo>
                    <a:pt x="2074" y="2667"/>
                  </a:lnTo>
                  <a:lnTo>
                    <a:pt x="2067" y="2663"/>
                  </a:lnTo>
                  <a:lnTo>
                    <a:pt x="2062" y="2659"/>
                  </a:lnTo>
                  <a:lnTo>
                    <a:pt x="2056" y="2655"/>
                  </a:lnTo>
                  <a:lnTo>
                    <a:pt x="2050" y="2652"/>
                  </a:lnTo>
                  <a:lnTo>
                    <a:pt x="2042" y="2651"/>
                  </a:lnTo>
                  <a:lnTo>
                    <a:pt x="2013" y="2645"/>
                  </a:lnTo>
                  <a:lnTo>
                    <a:pt x="1987" y="2643"/>
                  </a:lnTo>
                  <a:lnTo>
                    <a:pt x="1960" y="2642"/>
                  </a:lnTo>
                  <a:lnTo>
                    <a:pt x="1931" y="2642"/>
                  </a:lnTo>
                  <a:lnTo>
                    <a:pt x="1908" y="2643"/>
                  </a:lnTo>
                  <a:lnTo>
                    <a:pt x="1888" y="2646"/>
                  </a:lnTo>
                  <a:lnTo>
                    <a:pt x="1869" y="2649"/>
                  </a:lnTo>
                  <a:lnTo>
                    <a:pt x="1846" y="2651"/>
                  </a:lnTo>
                  <a:lnTo>
                    <a:pt x="1827" y="2651"/>
                  </a:lnTo>
                  <a:lnTo>
                    <a:pt x="1811" y="2651"/>
                  </a:lnTo>
                  <a:lnTo>
                    <a:pt x="1795" y="2651"/>
                  </a:lnTo>
                  <a:lnTo>
                    <a:pt x="1777" y="2651"/>
                  </a:lnTo>
                  <a:lnTo>
                    <a:pt x="1759" y="2650"/>
                  </a:lnTo>
                  <a:lnTo>
                    <a:pt x="1743" y="2647"/>
                  </a:lnTo>
                  <a:lnTo>
                    <a:pt x="1736" y="2646"/>
                  </a:lnTo>
                  <a:lnTo>
                    <a:pt x="1728" y="2643"/>
                  </a:lnTo>
                  <a:lnTo>
                    <a:pt x="1721" y="2640"/>
                  </a:lnTo>
                  <a:lnTo>
                    <a:pt x="1712" y="2637"/>
                  </a:lnTo>
                  <a:lnTo>
                    <a:pt x="1705" y="2631"/>
                  </a:lnTo>
                  <a:lnTo>
                    <a:pt x="1699" y="2626"/>
                  </a:lnTo>
                  <a:lnTo>
                    <a:pt x="1694" y="2619"/>
                  </a:lnTo>
                  <a:lnTo>
                    <a:pt x="1689" y="2614"/>
                  </a:lnTo>
                  <a:lnTo>
                    <a:pt x="1684" y="2609"/>
                  </a:lnTo>
                  <a:lnTo>
                    <a:pt x="1677" y="2604"/>
                  </a:lnTo>
                  <a:lnTo>
                    <a:pt x="1674" y="2602"/>
                  </a:lnTo>
                  <a:lnTo>
                    <a:pt x="1671" y="2601"/>
                  </a:lnTo>
                  <a:lnTo>
                    <a:pt x="1668" y="2600"/>
                  </a:lnTo>
                  <a:lnTo>
                    <a:pt x="1663" y="2600"/>
                  </a:lnTo>
                  <a:lnTo>
                    <a:pt x="1655" y="2601"/>
                  </a:lnTo>
                  <a:lnTo>
                    <a:pt x="1647" y="2603"/>
                  </a:lnTo>
                  <a:lnTo>
                    <a:pt x="1641" y="2606"/>
                  </a:lnTo>
                  <a:lnTo>
                    <a:pt x="1634" y="2611"/>
                  </a:lnTo>
                  <a:lnTo>
                    <a:pt x="1622" y="2622"/>
                  </a:lnTo>
                  <a:lnTo>
                    <a:pt x="1608" y="2630"/>
                  </a:lnTo>
                  <a:lnTo>
                    <a:pt x="1591" y="2639"/>
                  </a:lnTo>
                  <a:lnTo>
                    <a:pt x="1575" y="2646"/>
                  </a:lnTo>
                  <a:lnTo>
                    <a:pt x="1559" y="2653"/>
                  </a:lnTo>
                  <a:lnTo>
                    <a:pt x="1541" y="2661"/>
                  </a:lnTo>
                  <a:lnTo>
                    <a:pt x="1533" y="2667"/>
                  </a:lnTo>
                  <a:lnTo>
                    <a:pt x="1526" y="2673"/>
                  </a:lnTo>
                  <a:lnTo>
                    <a:pt x="1521" y="2680"/>
                  </a:lnTo>
                  <a:lnTo>
                    <a:pt x="1515" y="2686"/>
                  </a:lnTo>
                  <a:lnTo>
                    <a:pt x="1510" y="2694"/>
                  </a:lnTo>
                  <a:lnTo>
                    <a:pt x="1505" y="2700"/>
                  </a:lnTo>
                  <a:lnTo>
                    <a:pt x="1498" y="2707"/>
                  </a:lnTo>
                  <a:lnTo>
                    <a:pt x="1491" y="2712"/>
                  </a:lnTo>
                  <a:lnTo>
                    <a:pt x="1489" y="2703"/>
                  </a:lnTo>
                  <a:lnTo>
                    <a:pt x="1487" y="2693"/>
                  </a:lnTo>
                  <a:lnTo>
                    <a:pt x="1484" y="2683"/>
                  </a:lnTo>
                  <a:lnTo>
                    <a:pt x="1481" y="2674"/>
                  </a:lnTo>
                  <a:lnTo>
                    <a:pt x="1476" y="2667"/>
                  </a:lnTo>
                  <a:lnTo>
                    <a:pt x="1470" y="2661"/>
                  </a:lnTo>
                  <a:lnTo>
                    <a:pt x="1467" y="2659"/>
                  </a:lnTo>
                  <a:lnTo>
                    <a:pt x="1464" y="2657"/>
                  </a:lnTo>
                  <a:lnTo>
                    <a:pt x="1459" y="2656"/>
                  </a:lnTo>
                  <a:lnTo>
                    <a:pt x="1454" y="2656"/>
                  </a:lnTo>
                  <a:lnTo>
                    <a:pt x="1448" y="2657"/>
                  </a:lnTo>
                  <a:lnTo>
                    <a:pt x="1443" y="2658"/>
                  </a:lnTo>
                  <a:lnTo>
                    <a:pt x="1439" y="2661"/>
                  </a:lnTo>
                  <a:lnTo>
                    <a:pt x="1434" y="2665"/>
                  </a:lnTo>
                  <a:lnTo>
                    <a:pt x="1430" y="2669"/>
                  </a:lnTo>
                  <a:lnTo>
                    <a:pt x="1426" y="2672"/>
                  </a:lnTo>
                  <a:lnTo>
                    <a:pt x="1420" y="2676"/>
                  </a:lnTo>
                  <a:lnTo>
                    <a:pt x="1415" y="2679"/>
                  </a:lnTo>
                  <a:lnTo>
                    <a:pt x="1377" y="2692"/>
                  </a:lnTo>
                  <a:lnTo>
                    <a:pt x="1343" y="2704"/>
                  </a:lnTo>
                  <a:lnTo>
                    <a:pt x="1309" y="2717"/>
                  </a:lnTo>
                  <a:lnTo>
                    <a:pt x="1272" y="2732"/>
                  </a:lnTo>
                  <a:lnTo>
                    <a:pt x="1239" y="2733"/>
                  </a:lnTo>
                  <a:lnTo>
                    <a:pt x="1210" y="2734"/>
                  </a:lnTo>
                  <a:lnTo>
                    <a:pt x="1182" y="2738"/>
                  </a:lnTo>
                  <a:lnTo>
                    <a:pt x="1149" y="2742"/>
                  </a:lnTo>
                  <a:lnTo>
                    <a:pt x="1136" y="2745"/>
                  </a:lnTo>
                  <a:lnTo>
                    <a:pt x="1125" y="2747"/>
                  </a:lnTo>
                  <a:lnTo>
                    <a:pt x="1115" y="2750"/>
                  </a:lnTo>
                  <a:lnTo>
                    <a:pt x="1104" y="2754"/>
                  </a:lnTo>
                  <a:lnTo>
                    <a:pt x="1100" y="2757"/>
                  </a:lnTo>
                  <a:lnTo>
                    <a:pt x="1095" y="2760"/>
                  </a:lnTo>
                  <a:lnTo>
                    <a:pt x="1093" y="2764"/>
                  </a:lnTo>
                  <a:lnTo>
                    <a:pt x="1090" y="2768"/>
                  </a:lnTo>
                  <a:lnTo>
                    <a:pt x="1087" y="2778"/>
                  </a:lnTo>
                  <a:lnTo>
                    <a:pt x="1081" y="2788"/>
                  </a:lnTo>
                  <a:lnTo>
                    <a:pt x="1075" y="2800"/>
                  </a:lnTo>
                  <a:lnTo>
                    <a:pt x="1068" y="2811"/>
                  </a:lnTo>
                  <a:lnTo>
                    <a:pt x="1061" y="2821"/>
                  </a:lnTo>
                  <a:lnTo>
                    <a:pt x="1053" y="2832"/>
                  </a:lnTo>
                  <a:lnTo>
                    <a:pt x="1049" y="2842"/>
                  </a:lnTo>
                  <a:lnTo>
                    <a:pt x="1044" y="2849"/>
                  </a:lnTo>
                  <a:lnTo>
                    <a:pt x="1040" y="2857"/>
                  </a:lnTo>
                  <a:lnTo>
                    <a:pt x="1036" y="2863"/>
                  </a:lnTo>
                  <a:lnTo>
                    <a:pt x="1030" y="2869"/>
                  </a:lnTo>
                  <a:lnTo>
                    <a:pt x="1024" y="2875"/>
                  </a:lnTo>
                  <a:lnTo>
                    <a:pt x="1016" y="2881"/>
                  </a:lnTo>
                  <a:lnTo>
                    <a:pt x="1009" y="2886"/>
                  </a:lnTo>
                  <a:lnTo>
                    <a:pt x="999" y="2893"/>
                  </a:lnTo>
                  <a:lnTo>
                    <a:pt x="993" y="2901"/>
                  </a:lnTo>
                  <a:lnTo>
                    <a:pt x="988" y="2906"/>
                  </a:lnTo>
                  <a:lnTo>
                    <a:pt x="985" y="2909"/>
                  </a:lnTo>
                  <a:lnTo>
                    <a:pt x="981" y="2912"/>
                  </a:lnTo>
                  <a:lnTo>
                    <a:pt x="975" y="2914"/>
                  </a:lnTo>
                  <a:lnTo>
                    <a:pt x="966" y="2915"/>
                  </a:lnTo>
                  <a:lnTo>
                    <a:pt x="957" y="2915"/>
                  </a:lnTo>
                  <a:lnTo>
                    <a:pt x="953" y="2915"/>
                  </a:lnTo>
                  <a:lnTo>
                    <a:pt x="949" y="2915"/>
                  </a:lnTo>
                  <a:lnTo>
                    <a:pt x="945" y="2917"/>
                  </a:lnTo>
                  <a:lnTo>
                    <a:pt x="941" y="2920"/>
                  </a:lnTo>
                  <a:lnTo>
                    <a:pt x="932" y="2928"/>
                  </a:lnTo>
                  <a:lnTo>
                    <a:pt x="923" y="2938"/>
                  </a:lnTo>
                  <a:lnTo>
                    <a:pt x="918" y="2948"/>
                  </a:lnTo>
                  <a:lnTo>
                    <a:pt x="913" y="2958"/>
                  </a:lnTo>
                  <a:lnTo>
                    <a:pt x="905" y="2980"/>
                  </a:lnTo>
                  <a:lnTo>
                    <a:pt x="900" y="3006"/>
                  </a:lnTo>
                  <a:lnTo>
                    <a:pt x="900" y="3006"/>
                  </a:lnTo>
                  <a:lnTo>
                    <a:pt x="892" y="3001"/>
                  </a:lnTo>
                  <a:lnTo>
                    <a:pt x="886" y="2995"/>
                  </a:lnTo>
                  <a:lnTo>
                    <a:pt x="879" y="2991"/>
                  </a:lnTo>
                  <a:lnTo>
                    <a:pt x="872" y="2988"/>
                  </a:lnTo>
                  <a:lnTo>
                    <a:pt x="856" y="2982"/>
                  </a:lnTo>
                  <a:lnTo>
                    <a:pt x="840" y="2976"/>
                  </a:lnTo>
                  <a:lnTo>
                    <a:pt x="817" y="2965"/>
                  </a:lnTo>
                  <a:lnTo>
                    <a:pt x="795" y="2956"/>
                  </a:lnTo>
                  <a:lnTo>
                    <a:pt x="774" y="2947"/>
                  </a:lnTo>
                  <a:lnTo>
                    <a:pt x="756" y="2937"/>
                  </a:lnTo>
                  <a:lnTo>
                    <a:pt x="746" y="2931"/>
                  </a:lnTo>
                  <a:lnTo>
                    <a:pt x="738" y="2925"/>
                  </a:lnTo>
                  <a:lnTo>
                    <a:pt x="730" y="2919"/>
                  </a:lnTo>
                  <a:lnTo>
                    <a:pt x="721" y="2911"/>
                  </a:lnTo>
                  <a:lnTo>
                    <a:pt x="714" y="2903"/>
                  </a:lnTo>
                  <a:lnTo>
                    <a:pt x="706" y="2895"/>
                  </a:lnTo>
                  <a:lnTo>
                    <a:pt x="699" y="2885"/>
                  </a:lnTo>
                  <a:lnTo>
                    <a:pt x="692" y="2874"/>
                  </a:lnTo>
                  <a:lnTo>
                    <a:pt x="687" y="2867"/>
                  </a:lnTo>
                  <a:lnTo>
                    <a:pt x="682" y="2860"/>
                  </a:lnTo>
                  <a:lnTo>
                    <a:pt x="676" y="2854"/>
                  </a:lnTo>
                  <a:lnTo>
                    <a:pt x="670" y="2848"/>
                  </a:lnTo>
                  <a:lnTo>
                    <a:pt x="658" y="2840"/>
                  </a:lnTo>
                  <a:lnTo>
                    <a:pt x="645" y="2831"/>
                  </a:lnTo>
                  <a:lnTo>
                    <a:pt x="617" y="2818"/>
                  </a:lnTo>
                  <a:lnTo>
                    <a:pt x="585" y="2802"/>
                  </a:lnTo>
                  <a:lnTo>
                    <a:pt x="551" y="2780"/>
                  </a:lnTo>
                  <a:lnTo>
                    <a:pt x="521" y="2760"/>
                  </a:lnTo>
                  <a:lnTo>
                    <a:pt x="490" y="2739"/>
                  </a:lnTo>
                  <a:lnTo>
                    <a:pt x="457" y="2718"/>
                  </a:lnTo>
                  <a:lnTo>
                    <a:pt x="430" y="2700"/>
                  </a:lnTo>
                  <a:lnTo>
                    <a:pt x="405" y="2683"/>
                  </a:lnTo>
                  <a:lnTo>
                    <a:pt x="383" y="2666"/>
                  </a:lnTo>
                  <a:lnTo>
                    <a:pt x="363" y="2650"/>
                  </a:lnTo>
                  <a:lnTo>
                    <a:pt x="342" y="2632"/>
                  </a:lnTo>
                  <a:lnTo>
                    <a:pt x="322" y="2615"/>
                  </a:lnTo>
                  <a:lnTo>
                    <a:pt x="299" y="2597"/>
                  </a:lnTo>
                  <a:lnTo>
                    <a:pt x="274" y="2577"/>
                  </a:lnTo>
                  <a:lnTo>
                    <a:pt x="254" y="2563"/>
                  </a:lnTo>
                  <a:lnTo>
                    <a:pt x="234" y="2550"/>
                  </a:lnTo>
                  <a:lnTo>
                    <a:pt x="225" y="2544"/>
                  </a:lnTo>
                  <a:lnTo>
                    <a:pt x="216" y="2536"/>
                  </a:lnTo>
                  <a:lnTo>
                    <a:pt x="207" y="2529"/>
                  </a:lnTo>
                  <a:lnTo>
                    <a:pt x="199" y="2519"/>
                  </a:lnTo>
                  <a:lnTo>
                    <a:pt x="176" y="2492"/>
                  </a:lnTo>
                  <a:lnTo>
                    <a:pt x="157" y="2468"/>
                  </a:lnTo>
                  <a:lnTo>
                    <a:pt x="145" y="2458"/>
                  </a:lnTo>
                  <a:lnTo>
                    <a:pt x="133" y="2450"/>
                  </a:lnTo>
                  <a:lnTo>
                    <a:pt x="119" y="2441"/>
                  </a:lnTo>
                  <a:lnTo>
                    <a:pt x="104" y="2435"/>
                  </a:lnTo>
                  <a:lnTo>
                    <a:pt x="93" y="2431"/>
                  </a:lnTo>
                  <a:lnTo>
                    <a:pt x="83" y="2429"/>
                  </a:lnTo>
                  <a:lnTo>
                    <a:pt x="73" y="2428"/>
                  </a:lnTo>
                  <a:lnTo>
                    <a:pt x="65" y="2427"/>
                  </a:lnTo>
                  <a:lnTo>
                    <a:pt x="45" y="2426"/>
                  </a:lnTo>
                  <a:lnTo>
                    <a:pt x="25" y="2423"/>
                  </a:lnTo>
                  <a:lnTo>
                    <a:pt x="25" y="2412"/>
                  </a:lnTo>
                  <a:lnTo>
                    <a:pt x="25" y="2400"/>
                  </a:lnTo>
                  <a:lnTo>
                    <a:pt x="26" y="2387"/>
                  </a:lnTo>
                  <a:lnTo>
                    <a:pt x="27" y="2375"/>
                  </a:lnTo>
                  <a:lnTo>
                    <a:pt x="30" y="2364"/>
                  </a:lnTo>
                  <a:lnTo>
                    <a:pt x="33" y="2355"/>
                  </a:lnTo>
                  <a:lnTo>
                    <a:pt x="37" y="2344"/>
                  </a:lnTo>
                  <a:lnTo>
                    <a:pt x="40" y="2333"/>
                  </a:lnTo>
                  <a:lnTo>
                    <a:pt x="43" y="2321"/>
                  </a:lnTo>
                  <a:lnTo>
                    <a:pt x="44" y="2308"/>
                  </a:lnTo>
                  <a:lnTo>
                    <a:pt x="46" y="2278"/>
                  </a:lnTo>
                  <a:lnTo>
                    <a:pt x="48" y="2249"/>
                  </a:lnTo>
                  <a:lnTo>
                    <a:pt x="49" y="2235"/>
                  </a:lnTo>
                  <a:lnTo>
                    <a:pt x="51" y="2221"/>
                  </a:lnTo>
                  <a:lnTo>
                    <a:pt x="53" y="2206"/>
                  </a:lnTo>
                  <a:lnTo>
                    <a:pt x="55" y="2191"/>
                  </a:lnTo>
                  <a:lnTo>
                    <a:pt x="55" y="2191"/>
                  </a:lnTo>
                  <a:lnTo>
                    <a:pt x="53" y="2174"/>
                  </a:lnTo>
                  <a:lnTo>
                    <a:pt x="50" y="2159"/>
                  </a:lnTo>
                  <a:lnTo>
                    <a:pt x="45" y="2144"/>
                  </a:lnTo>
                  <a:lnTo>
                    <a:pt x="41" y="2130"/>
                  </a:lnTo>
                  <a:lnTo>
                    <a:pt x="32" y="2101"/>
                  </a:lnTo>
                  <a:lnTo>
                    <a:pt x="22" y="2071"/>
                  </a:lnTo>
                  <a:lnTo>
                    <a:pt x="14" y="2059"/>
                  </a:lnTo>
                  <a:lnTo>
                    <a:pt x="6" y="2048"/>
                  </a:lnTo>
                  <a:lnTo>
                    <a:pt x="4" y="2042"/>
                  </a:lnTo>
                  <a:lnTo>
                    <a:pt x="1" y="2036"/>
                  </a:lnTo>
                  <a:lnTo>
                    <a:pt x="0" y="2030"/>
                  </a:lnTo>
                  <a:lnTo>
                    <a:pt x="0" y="2022"/>
                  </a:lnTo>
                  <a:lnTo>
                    <a:pt x="0" y="2016"/>
                  </a:lnTo>
                  <a:lnTo>
                    <a:pt x="1" y="2008"/>
                  </a:lnTo>
                  <a:lnTo>
                    <a:pt x="2" y="2003"/>
                  </a:lnTo>
                  <a:lnTo>
                    <a:pt x="4" y="1996"/>
                  </a:lnTo>
                  <a:lnTo>
                    <a:pt x="10" y="1985"/>
                  </a:lnTo>
                  <a:lnTo>
                    <a:pt x="16" y="1975"/>
                  </a:lnTo>
                  <a:lnTo>
                    <a:pt x="32" y="1955"/>
                  </a:lnTo>
                  <a:lnTo>
                    <a:pt x="50" y="1932"/>
                  </a:lnTo>
                  <a:lnTo>
                    <a:pt x="58" y="1922"/>
                  </a:lnTo>
                  <a:lnTo>
                    <a:pt x="66" y="1912"/>
                  </a:lnTo>
                  <a:lnTo>
                    <a:pt x="75" y="1902"/>
                  </a:lnTo>
                  <a:lnTo>
                    <a:pt x="83" y="1894"/>
                  </a:lnTo>
                  <a:lnTo>
                    <a:pt x="102" y="1880"/>
                  </a:lnTo>
                  <a:lnTo>
                    <a:pt x="121" y="1867"/>
                  </a:lnTo>
                  <a:lnTo>
                    <a:pt x="162" y="1843"/>
                  </a:lnTo>
                  <a:lnTo>
                    <a:pt x="207" y="1815"/>
                  </a:lnTo>
                  <a:lnTo>
                    <a:pt x="216" y="1808"/>
                  </a:lnTo>
                  <a:lnTo>
                    <a:pt x="224" y="1800"/>
                  </a:lnTo>
                  <a:lnTo>
                    <a:pt x="230" y="1791"/>
                  </a:lnTo>
                  <a:lnTo>
                    <a:pt x="235" y="1782"/>
                  </a:lnTo>
                  <a:lnTo>
                    <a:pt x="244" y="1762"/>
                  </a:lnTo>
                  <a:lnTo>
                    <a:pt x="252" y="1739"/>
                  </a:lnTo>
                  <a:lnTo>
                    <a:pt x="261" y="1715"/>
                  </a:lnTo>
                  <a:lnTo>
                    <a:pt x="272" y="1695"/>
                  </a:lnTo>
                  <a:lnTo>
                    <a:pt x="276" y="1684"/>
                  </a:lnTo>
                  <a:lnTo>
                    <a:pt x="280" y="1673"/>
                  </a:lnTo>
                  <a:lnTo>
                    <a:pt x="282" y="1661"/>
                  </a:lnTo>
                  <a:lnTo>
                    <a:pt x="283" y="1647"/>
                  </a:lnTo>
                  <a:lnTo>
                    <a:pt x="283" y="1632"/>
                  </a:lnTo>
                  <a:lnTo>
                    <a:pt x="283" y="1619"/>
                  </a:lnTo>
                  <a:lnTo>
                    <a:pt x="283" y="1605"/>
                  </a:lnTo>
                  <a:lnTo>
                    <a:pt x="283" y="1590"/>
                  </a:lnTo>
                  <a:lnTo>
                    <a:pt x="283" y="1586"/>
                  </a:lnTo>
                  <a:lnTo>
                    <a:pt x="284" y="1581"/>
                  </a:lnTo>
                  <a:lnTo>
                    <a:pt x="285" y="1577"/>
                  </a:lnTo>
                  <a:lnTo>
                    <a:pt x="287" y="1574"/>
                  </a:lnTo>
                  <a:lnTo>
                    <a:pt x="294" y="1569"/>
                  </a:lnTo>
                  <a:lnTo>
                    <a:pt x="301" y="1564"/>
                  </a:lnTo>
                  <a:lnTo>
                    <a:pt x="320" y="1558"/>
                  </a:lnTo>
                  <a:lnTo>
                    <a:pt x="339" y="1551"/>
                  </a:lnTo>
                  <a:lnTo>
                    <a:pt x="346" y="1549"/>
                  </a:lnTo>
                  <a:lnTo>
                    <a:pt x="351" y="1547"/>
                  </a:lnTo>
                  <a:lnTo>
                    <a:pt x="356" y="1544"/>
                  </a:lnTo>
                  <a:lnTo>
                    <a:pt x="362" y="1540"/>
                  </a:lnTo>
                  <a:lnTo>
                    <a:pt x="373" y="1532"/>
                  </a:lnTo>
                  <a:lnTo>
                    <a:pt x="383" y="1524"/>
                  </a:lnTo>
                  <a:lnTo>
                    <a:pt x="389" y="1519"/>
                  </a:lnTo>
                  <a:lnTo>
                    <a:pt x="394" y="1512"/>
                  </a:lnTo>
                  <a:lnTo>
                    <a:pt x="399" y="1506"/>
                  </a:lnTo>
                  <a:lnTo>
                    <a:pt x="402" y="1500"/>
                  </a:lnTo>
                  <a:lnTo>
                    <a:pt x="406" y="1494"/>
                  </a:lnTo>
                  <a:lnTo>
                    <a:pt x="410" y="1489"/>
                  </a:lnTo>
                  <a:lnTo>
                    <a:pt x="416" y="1484"/>
                  </a:lnTo>
                  <a:lnTo>
                    <a:pt x="422" y="1482"/>
                  </a:lnTo>
                  <a:lnTo>
                    <a:pt x="442" y="1478"/>
                  </a:lnTo>
                  <a:lnTo>
                    <a:pt x="459" y="1477"/>
                  </a:lnTo>
                  <a:lnTo>
                    <a:pt x="476" y="1476"/>
                  </a:lnTo>
                  <a:lnTo>
                    <a:pt x="496" y="1476"/>
                  </a:lnTo>
                  <a:lnTo>
                    <a:pt x="526" y="1478"/>
                  </a:lnTo>
                  <a:lnTo>
                    <a:pt x="555" y="1481"/>
                  </a:lnTo>
                  <a:lnTo>
                    <a:pt x="568" y="1481"/>
                  </a:lnTo>
                  <a:lnTo>
                    <a:pt x="581" y="1479"/>
                  </a:lnTo>
                  <a:lnTo>
                    <a:pt x="588" y="1478"/>
                  </a:lnTo>
                  <a:lnTo>
                    <a:pt x="595" y="1475"/>
                  </a:lnTo>
                  <a:lnTo>
                    <a:pt x="602" y="1471"/>
                  </a:lnTo>
                  <a:lnTo>
                    <a:pt x="608" y="1468"/>
                  </a:lnTo>
                  <a:lnTo>
                    <a:pt x="616" y="1462"/>
                  </a:lnTo>
                  <a:lnTo>
                    <a:pt x="623" y="1455"/>
                  </a:lnTo>
                  <a:lnTo>
                    <a:pt x="630" y="1449"/>
                  </a:lnTo>
                  <a:lnTo>
                    <a:pt x="636" y="1442"/>
                  </a:lnTo>
                  <a:lnTo>
                    <a:pt x="642" y="1436"/>
                  </a:lnTo>
                  <a:lnTo>
                    <a:pt x="646" y="1428"/>
                  </a:lnTo>
                  <a:lnTo>
                    <a:pt x="650" y="1421"/>
                  </a:lnTo>
                  <a:lnTo>
                    <a:pt x="653" y="1413"/>
                  </a:lnTo>
                  <a:lnTo>
                    <a:pt x="660" y="1397"/>
                  </a:lnTo>
                  <a:lnTo>
                    <a:pt x="663" y="1378"/>
                  </a:lnTo>
                  <a:lnTo>
                    <a:pt x="666" y="1360"/>
                  </a:lnTo>
                  <a:lnTo>
                    <a:pt x="666" y="1341"/>
                  </a:lnTo>
                  <a:lnTo>
                    <a:pt x="665" y="1329"/>
                  </a:lnTo>
                  <a:lnTo>
                    <a:pt x="662" y="1320"/>
                  </a:lnTo>
                  <a:lnTo>
                    <a:pt x="660" y="1310"/>
                  </a:lnTo>
                  <a:lnTo>
                    <a:pt x="658" y="1300"/>
                  </a:lnTo>
                  <a:lnTo>
                    <a:pt x="659" y="1290"/>
                  </a:lnTo>
                  <a:lnTo>
                    <a:pt x="660" y="1281"/>
                  </a:lnTo>
                  <a:lnTo>
                    <a:pt x="661" y="1273"/>
                  </a:lnTo>
                  <a:lnTo>
                    <a:pt x="664" y="1265"/>
                  </a:lnTo>
                  <a:lnTo>
                    <a:pt x="666" y="1257"/>
                  </a:lnTo>
                  <a:lnTo>
                    <a:pt x="671" y="1250"/>
                  </a:lnTo>
                  <a:lnTo>
                    <a:pt x="674" y="1243"/>
                  </a:lnTo>
                  <a:lnTo>
                    <a:pt x="678" y="1237"/>
                  </a:lnTo>
                  <a:lnTo>
                    <a:pt x="700" y="1211"/>
                  </a:lnTo>
                  <a:lnTo>
                    <a:pt x="726" y="1185"/>
                  </a:lnTo>
                  <a:lnTo>
                    <a:pt x="739" y="1168"/>
                  </a:lnTo>
                  <a:lnTo>
                    <a:pt x="751" y="1152"/>
                  </a:lnTo>
                  <a:lnTo>
                    <a:pt x="757" y="1144"/>
                  </a:lnTo>
                  <a:lnTo>
                    <a:pt x="765" y="1139"/>
                  </a:lnTo>
                  <a:lnTo>
                    <a:pt x="769" y="1137"/>
                  </a:lnTo>
                  <a:lnTo>
                    <a:pt x="774" y="1135"/>
                  </a:lnTo>
                  <a:lnTo>
                    <a:pt x="779" y="1134"/>
                  </a:lnTo>
                  <a:lnTo>
                    <a:pt x="784" y="1134"/>
                  </a:lnTo>
                  <a:lnTo>
                    <a:pt x="793" y="1134"/>
                  </a:lnTo>
                  <a:lnTo>
                    <a:pt x="800" y="1135"/>
                  </a:lnTo>
                  <a:lnTo>
                    <a:pt x="808" y="1138"/>
                  </a:lnTo>
                  <a:lnTo>
                    <a:pt x="815" y="1140"/>
                  </a:lnTo>
                  <a:lnTo>
                    <a:pt x="822" y="1142"/>
                  </a:lnTo>
                  <a:lnTo>
                    <a:pt x="829" y="1144"/>
                  </a:lnTo>
                  <a:lnTo>
                    <a:pt x="837" y="1145"/>
                  </a:lnTo>
                  <a:lnTo>
                    <a:pt x="846" y="1145"/>
                  </a:lnTo>
                  <a:lnTo>
                    <a:pt x="853" y="1145"/>
                  </a:lnTo>
                  <a:lnTo>
                    <a:pt x="861" y="1143"/>
                  </a:lnTo>
                  <a:lnTo>
                    <a:pt x="866" y="1141"/>
                  </a:lnTo>
                  <a:lnTo>
                    <a:pt x="873" y="1138"/>
                  </a:lnTo>
                  <a:lnTo>
                    <a:pt x="878" y="1134"/>
                  </a:lnTo>
                  <a:lnTo>
                    <a:pt x="882" y="1130"/>
                  </a:lnTo>
                  <a:lnTo>
                    <a:pt x="887" y="1125"/>
                  </a:lnTo>
                  <a:lnTo>
                    <a:pt x="891" y="1119"/>
                  </a:lnTo>
                  <a:lnTo>
                    <a:pt x="899" y="1106"/>
                  </a:lnTo>
                  <a:lnTo>
                    <a:pt x="904" y="1093"/>
                  </a:lnTo>
                  <a:lnTo>
                    <a:pt x="911" y="1078"/>
                  </a:lnTo>
                  <a:lnTo>
                    <a:pt x="916" y="1064"/>
                  </a:lnTo>
                  <a:lnTo>
                    <a:pt x="920" y="1056"/>
                  </a:lnTo>
                  <a:lnTo>
                    <a:pt x="925" y="1048"/>
                  </a:lnTo>
                  <a:lnTo>
                    <a:pt x="930" y="1040"/>
                  </a:lnTo>
                  <a:lnTo>
                    <a:pt x="935" y="1034"/>
                  </a:lnTo>
                  <a:lnTo>
                    <a:pt x="947" y="1022"/>
                  </a:lnTo>
                  <a:lnTo>
                    <a:pt x="960" y="1011"/>
                  </a:lnTo>
                  <a:lnTo>
                    <a:pt x="966" y="1006"/>
                  </a:lnTo>
                  <a:lnTo>
                    <a:pt x="971" y="999"/>
                  </a:lnTo>
                  <a:lnTo>
                    <a:pt x="976" y="994"/>
                  </a:lnTo>
                  <a:lnTo>
                    <a:pt x="981" y="987"/>
                  </a:lnTo>
                  <a:lnTo>
                    <a:pt x="984" y="981"/>
                  </a:lnTo>
                  <a:lnTo>
                    <a:pt x="986" y="973"/>
                  </a:lnTo>
                  <a:lnTo>
                    <a:pt x="988" y="965"/>
                  </a:lnTo>
                  <a:lnTo>
                    <a:pt x="989" y="955"/>
                  </a:lnTo>
                  <a:lnTo>
                    <a:pt x="989" y="936"/>
                  </a:lnTo>
                  <a:lnTo>
                    <a:pt x="989" y="918"/>
                  </a:lnTo>
                  <a:lnTo>
                    <a:pt x="989" y="901"/>
                  </a:lnTo>
                  <a:lnTo>
                    <a:pt x="989" y="882"/>
                  </a:lnTo>
                  <a:lnTo>
                    <a:pt x="989" y="870"/>
                  </a:lnTo>
                  <a:lnTo>
                    <a:pt x="990" y="860"/>
                  </a:lnTo>
                  <a:lnTo>
                    <a:pt x="993" y="850"/>
                  </a:lnTo>
                  <a:lnTo>
                    <a:pt x="995" y="841"/>
                  </a:lnTo>
                  <a:lnTo>
                    <a:pt x="1001" y="823"/>
                  </a:lnTo>
                  <a:lnTo>
                    <a:pt x="1010" y="807"/>
                  </a:lnTo>
                  <a:lnTo>
                    <a:pt x="1019" y="791"/>
                  </a:lnTo>
                  <a:lnTo>
                    <a:pt x="1026" y="774"/>
                  </a:lnTo>
                  <a:lnTo>
                    <a:pt x="1030" y="764"/>
                  </a:lnTo>
                  <a:lnTo>
                    <a:pt x="1034" y="754"/>
                  </a:lnTo>
                  <a:lnTo>
                    <a:pt x="1037" y="744"/>
                  </a:lnTo>
                  <a:lnTo>
                    <a:pt x="1039" y="734"/>
                  </a:lnTo>
                  <a:lnTo>
                    <a:pt x="1041" y="719"/>
                  </a:lnTo>
                  <a:lnTo>
                    <a:pt x="1042" y="706"/>
                  </a:lnTo>
                  <a:lnTo>
                    <a:pt x="1043" y="693"/>
                  </a:lnTo>
                  <a:lnTo>
                    <a:pt x="1043" y="680"/>
                  </a:lnTo>
                  <a:lnTo>
                    <a:pt x="1042" y="668"/>
                  </a:lnTo>
                  <a:lnTo>
                    <a:pt x="1042" y="655"/>
                  </a:lnTo>
                  <a:lnTo>
                    <a:pt x="1043" y="642"/>
                  </a:lnTo>
                  <a:lnTo>
                    <a:pt x="1044" y="627"/>
                  </a:lnTo>
                  <a:lnTo>
                    <a:pt x="1048" y="614"/>
                  </a:lnTo>
                  <a:lnTo>
                    <a:pt x="1052" y="603"/>
                  </a:lnTo>
                  <a:lnTo>
                    <a:pt x="1058" y="593"/>
                  </a:lnTo>
                  <a:lnTo>
                    <a:pt x="1065" y="585"/>
                  </a:lnTo>
                  <a:lnTo>
                    <a:pt x="1071" y="575"/>
                  </a:lnTo>
                  <a:lnTo>
                    <a:pt x="1078" y="565"/>
                  </a:lnTo>
                  <a:lnTo>
                    <a:pt x="1084" y="554"/>
                  </a:lnTo>
                  <a:lnTo>
                    <a:pt x="1090" y="543"/>
                  </a:lnTo>
                  <a:lnTo>
                    <a:pt x="1100" y="514"/>
                  </a:lnTo>
                  <a:lnTo>
                    <a:pt x="1107" y="490"/>
                  </a:lnTo>
                  <a:lnTo>
                    <a:pt x="1111" y="478"/>
                  </a:lnTo>
                  <a:lnTo>
                    <a:pt x="1117" y="466"/>
                  </a:lnTo>
                  <a:lnTo>
                    <a:pt x="1122" y="453"/>
                  </a:lnTo>
                  <a:lnTo>
                    <a:pt x="1129" y="439"/>
                  </a:lnTo>
                  <a:lnTo>
                    <a:pt x="1135" y="426"/>
                  </a:lnTo>
                  <a:lnTo>
                    <a:pt x="1141" y="413"/>
                  </a:lnTo>
                  <a:lnTo>
                    <a:pt x="1145" y="401"/>
                  </a:lnTo>
                  <a:lnTo>
                    <a:pt x="1148" y="388"/>
                  </a:lnTo>
                  <a:lnTo>
                    <a:pt x="1154" y="363"/>
                  </a:lnTo>
                  <a:lnTo>
                    <a:pt x="1162" y="335"/>
                  </a:lnTo>
                  <a:lnTo>
                    <a:pt x="1171" y="316"/>
                  </a:lnTo>
                  <a:lnTo>
                    <a:pt x="1181" y="298"/>
                  </a:lnTo>
                  <a:lnTo>
                    <a:pt x="1190" y="282"/>
                  </a:lnTo>
                  <a:lnTo>
                    <a:pt x="1200" y="267"/>
                  </a:lnTo>
                  <a:lnTo>
                    <a:pt x="1209" y="252"/>
                  </a:lnTo>
                  <a:lnTo>
                    <a:pt x="1218" y="236"/>
                  </a:lnTo>
                  <a:lnTo>
                    <a:pt x="1226" y="219"/>
                  </a:lnTo>
                  <a:lnTo>
                    <a:pt x="1232" y="198"/>
                  </a:lnTo>
                  <a:lnTo>
                    <a:pt x="1241" y="169"/>
                  </a:lnTo>
                  <a:lnTo>
                    <a:pt x="1249" y="142"/>
                  </a:lnTo>
                  <a:lnTo>
                    <a:pt x="1257" y="116"/>
                  </a:lnTo>
                  <a:lnTo>
                    <a:pt x="1266" y="91"/>
                  </a:lnTo>
                  <a:lnTo>
                    <a:pt x="1271" y="80"/>
                  </a:lnTo>
                  <a:lnTo>
                    <a:pt x="1277" y="68"/>
                  </a:lnTo>
                  <a:lnTo>
                    <a:pt x="1283" y="57"/>
                  </a:lnTo>
                  <a:lnTo>
                    <a:pt x="1290" y="46"/>
                  </a:lnTo>
                  <a:lnTo>
                    <a:pt x="1297" y="34"/>
                  </a:lnTo>
                  <a:lnTo>
                    <a:pt x="1306" y="23"/>
                  </a:lnTo>
                  <a:lnTo>
                    <a:pt x="1316" y="12"/>
                  </a:lnTo>
                  <a:lnTo>
                    <a:pt x="1327" y="0"/>
                  </a:lnTo>
                  <a:lnTo>
                    <a:pt x="1327" y="0"/>
                  </a:lnTo>
                  <a:lnTo>
                    <a:pt x="1434" y="47"/>
                  </a:lnTo>
                  <a:lnTo>
                    <a:pt x="1432" y="60"/>
                  </a:lnTo>
                  <a:lnTo>
                    <a:pt x="1428" y="72"/>
                  </a:lnTo>
                  <a:lnTo>
                    <a:pt x="1422" y="84"/>
                  </a:lnTo>
                  <a:lnTo>
                    <a:pt x="1417" y="94"/>
                  </a:lnTo>
                  <a:lnTo>
                    <a:pt x="1403" y="113"/>
                  </a:lnTo>
                  <a:lnTo>
                    <a:pt x="1388" y="131"/>
                  </a:lnTo>
                  <a:lnTo>
                    <a:pt x="1381" y="140"/>
                  </a:lnTo>
                  <a:lnTo>
                    <a:pt x="1374" y="148"/>
                  </a:lnTo>
                  <a:lnTo>
                    <a:pt x="1367" y="158"/>
                  </a:lnTo>
                  <a:lnTo>
                    <a:pt x="1362" y="168"/>
                  </a:lnTo>
                  <a:lnTo>
                    <a:pt x="1358" y="179"/>
                  </a:lnTo>
                  <a:lnTo>
                    <a:pt x="1353" y="189"/>
                  </a:lnTo>
                  <a:lnTo>
                    <a:pt x="1351" y="202"/>
                  </a:lnTo>
                  <a:lnTo>
                    <a:pt x="1350" y="215"/>
                  </a:lnTo>
                  <a:lnTo>
                    <a:pt x="1351" y="223"/>
                  </a:lnTo>
                  <a:lnTo>
                    <a:pt x="1352" y="230"/>
                  </a:lnTo>
                  <a:lnTo>
                    <a:pt x="1354" y="238"/>
                  </a:lnTo>
                  <a:lnTo>
                    <a:pt x="1358" y="244"/>
                  </a:lnTo>
                  <a:lnTo>
                    <a:pt x="1361" y="251"/>
                  </a:lnTo>
                  <a:lnTo>
                    <a:pt x="1366" y="256"/>
                  </a:lnTo>
                  <a:lnTo>
                    <a:pt x="1371" y="262"/>
                  </a:lnTo>
                  <a:lnTo>
                    <a:pt x="1376" y="267"/>
                  </a:lnTo>
                  <a:lnTo>
                    <a:pt x="1389" y="276"/>
                  </a:lnTo>
                  <a:lnTo>
                    <a:pt x="1403" y="283"/>
                  </a:lnTo>
                  <a:lnTo>
                    <a:pt x="1418" y="290"/>
                  </a:lnTo>
                  <a:lnTo>
                    <a:pt x="1434" y="296"/>
                  </a:lnTo>
                  <a:lnTo>
                    <a:pt x="1473" y="311"/>
                  </a:lnTo>
                  <a:lnTo>
                    <a:pt x="1508" y="323"/>
                  </a:lnTo>
                  <a:lnTo>
                    <a:pt x="1525" y="329"/>
                  </a:lnTo>
                  <a:lnTo>
                    <a:pt x="1542" y="332"/>
                  </a:lnTo>
                  <a:lnTo>
                    <a:pt x="1562" y="335"/>
                  </a:lnTo>
                  <a:lnTo>
                    <a:pt x="1583" y="335"/>
                  </a:lnTo>
                  <a:lnTo>
                    <a:pt x="1591" y="335"/>
                  </a:lnTo>
                  <a:lnTo>
                    <a:pt x="1600" y="334"/>
                  </a:lnTo>
                  <a:lnTo>
                    <a:pt x="1606" y="332"/>
                  </a:lnTo>
                  <a:lnTo>
                    <a:pt x="1613" y="329"/>
                  </a:lnTo>
                  <a:lnTo>
                    <a:pt x="1619" y="324"/>
                  </a:lnTo>
                  <a:lnTo>
                    <a:pt x="1626" y="320"/>
                  </a:lnTo>
                  <a:lnTo>
                    <a:pt x="1631" y="316"/>
                  </a:lnTo>
                  <a:lnTo>
                    <a:pt x="1635" y="310"/>
                  </a:lnTo>
                  <a:lnTo>
                    <a:pt x="1645" y="297"/>
                  </a:lnTo>
                  <a:lnTo>
                    <a:pt x="1654" y="284"/>
                  </a:lnTo>
                  <a:lnTo>
                    <a:pt x="1661" y="269"/>
                  </a:lnTo>
                  <a:lnTo>
                    <a:pt x="1669" y="254"/>
                  </a:lnTo>
                  <a:lnTo>
                    <a:pt x="1676" y="239"/>
                  </a:lnTo>
                  <a:lnTo>
                    <a:pt x="1684" y="224"/>
                  </a:lnTo>
                  <a:lnTo>
                    <a:pt x="1692" y="211"/>
                  </a:lnTo>
                  <a:lnTo>
                    <a:pt x="1701" y="198"/>
                  </a:lnTo>
                  <a:lnTo>
                    <a:pt x="1707" y="193"/>
                  </a:lnTo>
                  <a:lnTo>
                    <a:pt x="1712" y="188"/>
                  </a:lnTo>
                  <a:lnTo>
                    <a:pt x="1718" y="184"/>
                  </a:lnTo>
                  <a:lnTo>
                    <a:pt x="1724" y="180"/>
                  </a:lnTo>
                  <a:lnTo>
                    <a:pt x="1731" y="177"/>
                  </a:lnTo>
                  <a:lnTo>
                    <a:pt x="1738" y="174"/>
                  </a:lnTo>
                  <a:lnTo>
                    <a:pt x="1745" y="173"/>
                  </a:lnTo>
                  <a:lnTo>
                    <a:pt x="1754" y="173"/>
                  </a:lnTo>
                  <a:lnTo>
                    <a:pt x="1765" y="173"/>
                  </a:lnTo>
                  <a:lnTo>
                    <a:pt x="1775" y="175"/>
                  </a:lnTo>
                  <a:lnTo>
                    <a:pt x="1783" y="179"/>
                  </a:lnTo>
                  <a:lnTo>
                    <a:pt x="1792" y="183"/>
                  </a:lnTo>
                  <a:lnTo>
                    <a:pt x="1800" y="188"/>
                  </a:lnTo>
                  <a:lnTo>
                    <a:pt x="1808" y="195"/>
                  </a:lnTo>
                  <a:lnTo>
                    <a:pt x="1815" y="201"/>
                  </a:lnTo>
                  <a:lnTo>
                    <a:pt x="1820" y="210"/>
                  </a:lnTo>
                  <a:lnTo>
                    <a:pt x="1825" y="219"/>
                  </a:lnTo>
                  <a:lnTo>
                    <a:pt x="1831" y="227"/>
                  </a:lnTo>
                  <a:lnTo>
                    <a:pt x="1835" y="237"/>
                  </a:lnTo>
                  <a:lnTo>
                    <a:pt x="1838" y="247"/>
                  </a:lnTo>
                  <a:lnTo>
                    <a:pt x="1840" y="257"/>
                  </a:lnTo>
                  <a:lnTo>
                    <a:pt x="1843" y="268"/>
                  </a:lnTo>
                  <a:lnTo>
                    <a:pt x="1844" y="279"/>
                  </a:lnTo>
                  <a:lnTo>
                    <a:pt x="1844" y="289"/>
                  </a:lnTo>
                  <a:lnTo>
                    <a:pt x="1843" y="306"/>
                  </a:lnTo>
                  <a:lnTo>
                    <a:pt x="1840" y="320"/>
                  </a:lnTo>
                  <a:lnTo>
                    <a:pt x="1837" y="334"/>
                  </a:lnTo>
                  <a:lnTo>
                    <a:pt x="1834" y="347"/>
                  </a:lnTo>
                  <a:lnTo>
                    <a:pt x="1831" y="361"/>
                  </a:lnTo>
                  <a:lnTo>
                    <a:pt x="1827" y="374"/>
                  </a:lnTo>
                  <a:lnTo>
                    <a:pt x="1825" y="389"/>
                  </a:lnTo>
                  <a:lnTo>
                    <a:pt x="1824" y="405"/>
                  </a:lnTo>
                  <a:lnTo>
                    <a:pt x="1824" y="415"/>
                  </a:lnTo>
                  <a:lnTo>
                    <a:pt x="1825" y="424"/>
                  </a:lnTo>
                  <a:lnTo>
                    <a:pt x="1827" y="432"/>
                  </a:lnTo>
                  <a:lnTo>
                    <a:pt x="1831" y="441"/>
                  </a:lnTo>
                  <a:lnTo>
                    <a:pt x="1835" y="449"/>
                  </a:lnTo>
                  <a:lnTo>
                    <a:pt x="1840" y="454"/>
                  </a:lnTo>
                  <a:lnTo>
                    <a:pt x="1844" y="456"/>
                  </a:lnTo>
                  <a:lnTo>
                    <a:pt x="1847" y="457"/>
                  </a:lnTo>
                  <a:lnTo>
                    <a:pt x="1850" y="458"/>
                  </a:lnTo>
                  <a:lnTo>
                    <a:pt x="1854" y="458"/>
                  </a:lnTo>
                  <a:lnTo>
                    <a:pt x="1861" y="458"/>
                  </a:lnTo>
                  <a:lnTo>
                    <a:pt x="1865" y="456"/>
                  </a:lnTo>
                  <a:lnTo>
                    <a:pt x="1870" y="452"/>
                  </a:lnTo>
                  <a:lnTo>
                    <a:pt x="1873" y="447"/>
                  </a:lnTo>
                  <a:lnTo>
                    <a:pt x="1878" y="437"/>
                  </a:lnTo>
                  <a:lnTo>
                    <a:pt x="1883" y="425"/>
                  </a:lnTo>
                  <a:lnTo>
                    <a:pt x="1890" y="411"/>
                  </a:lnTo>
                  <a:lnTo>
                    <a:pt x="1898" y="398"/>
                  </a:lnTo>
                  <a:lnTo>
                    <a:pt x="1904" y="384"/>
                  </a:lnTo>
                  <a:lnTo>
                    <a:pt x="1911" y="369"/>
                  </a:lnTo>
                  <a:lnTo>
                    <a:pt x="1918" y="371"/>
                  </a:lnTo>
                  <a:lnTo>
                    <a:pt x="1925" y="374"/>
                  </a:lnTo>
                  <a:lnTo>
                    <a:pt x="1931" y="377"/>
                  </a:lnTo>
                  <a:lnTo>
                    <a:pt x="1937" y="381"/>
                  </a:lnTo>
                  <a:lnTo>
                    <a:pt x="1946" y="388"/>
                  </a:lnTo>
                  <a:lnTo>
                    <a:pt x="1957" y="397"/>
                  </a:lnTo>
                  <a:lnTo>
                    <a:pt x="1967" y="404"/>
                  </a:lnTo>
                  <a:lnTo>
                    <a:pt x="1978" y="411"/>
                  </a:lnTo>
                  <a:lnTo>
                    <a:pt x="1983" y="413"/>
                  </a:lnTo>
                  <a:lnTo>
                    <a:pt x="1989" y="415"/>
                  </a:lnTo>
                  <a:lnTo>
                    <a:pt x="1996" y="416"/>
                  </a:lnTo>
                  <a:lnTo>
                    <a:pt x="2004" y="417"/>
                  </a:lnTo>
                  <a:lnTo>
                    <a:pt x="2008" y="416"/>
                  </a:lnTo>
                  <a:lnTo>
                    <a:pt x="2011" y="415"/>
                  </a:lnTo>
                  <a:lnTo>
                    <a:pt x="2014" y="414"/>
                  </a:lnTo>
                  <a:lnTo>
                    <a:pt x="2018" y="412"/>
                  </a:lnTo>
                  <a:lnTo>
                    <a:pt x="2024" y="408"/>
                  </a:lnTo>
                  <a:lnTo>
                    <a:pt x="2028" y="401"/>
                  </a:lnTo>
                  <a:lnTo>
                    <a:pt x="2034" y="396"/>
                  </a:lnTo>
                  <a:lnTo>
                    <a:pt x="2039" y="390"/>
                  </a:lnTo>
                  <a:lnTo>
                    <a:pt x="2042" y="389"/>
                  </a:lnTo>
                  <a:lnTo>
                    <a:pt x="2046" y="387"/>
                  </a:lnTo>
                  <a:lnTo>
                    <a:pt x="2050" y="386"/>
                  </a:lnTo>
                  <a:lnTo>
                    <a:pt x="2054" y="386"/>
                  </a:lnTo>
                  <a:lnTo>
                    <a:pt x="2065" y="387"/>
                  </a:lnTo>
                  <a:lnTo>
                    <a:pt x="2074" y="390"/>
                  </a:lnTo>
                  <a:lnTo>
                    <a:pt x="2082" y="395"/>
                  </a:lnTo>
                  <a:lnTo>
                    <a:pt x="2090" y="400"/>
                  </a:lnTo>
                  <a:lnTo>
                    <a:pt x="2104" y="415"/>
                  </a:lnTo>
                  <a:lnTo>
                    <a:pt x="2118" y="431"/>
                  </a:lnTo>
                  <a:lnTo>
                    <a:pt x="2132" y="444"/>
                  </a:lnTo>
                  <a:lnTo>
                    <a:pt x="2145" y="455"/>
                  </a:lnTo>
                  <a:lnTo>
                    <a:pt x="2159" y="465"/>
                  </a:lnTo>
                  <a:lnTo>
                    <a:pt x="2172" y="473"/>
                  </a:lnTo>
                  <a:lnTo>
                    <a:pt x="2198" y="491"/>
                  </a:lnTo>
                  <a:lnTo>
                    <a:pt x="2228" y="512"/>
                  </a:lnTo>
                  <a:lnTo>
                    <a:pt x="2245" y="526"/>
                  </a:lnTo>
                  <a:lnTo>
                    <a:pt x="2262" y="537"/>
                  </a:lnTo>
                  <a:lnTo>
                    <a:pt x="2270" y="543"/>
                  </a:lnTo>
                  <a:lnTo>
                    <a:pt x="2279" y="546"/>
                  </a:lnTo>
                  <a:lnTo>
                    <a:pt x="2290" y="548"/>
                  </a:lnTo>
                  <a:lnTo>
                    <a:pt x="2301" y="549"/>
                  </a:lnTo>
                  <a:lnTo>
                    <a:pt x="2306" y="548"/>
                  </a:lnTo>
                  <a:lnTo>
                    <a:pt x="2309" y="546"/>
                  </a:lnTo>
                  <a:lnTo>
                    <a:pt x="2312" y="541"/>
                  </a:lnTo>
                  <a:lnTo>
                    <a:pt x="2315" y="537"/>
                  </a:lnTo>
                  <a:lnTo>
                    <a:pt x="2319" y="527"/>
                  </a:lnTo>
                  <a:lnTo>
                    <a:pt x="2323" y="518"/>
                  </a:lnTo>
                  <a:lnTo>
                    <a:pt x="2329" y="509"/>
                  </a:lnTo>
                  <a:lnTo>
                    <a:pt x="2334" y="500"/>
                  </a:lnTo>
                  <a:lnTo>
                    <a:pt x="2341" y="493"/>
                  </a:lnTo>
                  <a:lnTo>
                    <a:pt x="2347" y="486"/>
                  </a:lnTo>
                  <a:lnTo>
                    <a:pt x="2355" y="481"/>
                  </a:lnTo>
                  <a:lnTo>
                    <a:pt x="2362" y="477"/>
                  </a:lnTo>
                  <a:lnTo>
                    <a:pt x="2372" y="473"/>
                  </a:lnTo>
                  <a:lnTo>
                    <a:pt x="2382" y="472"/>
                  </a:lnTo>
                  <a:lnTo>
                    <a:pt x="2389" y="473"/>
                  </a:lnTo>
                  <a:lnTo>
                    <a:pt x="2397" y="476"/>
                  </a:lnTo>
                  <a:lnTo>
                    <a:pt x="2403" y="478"/>
                  </a:lnTo>
                  <a:lnTo>
                    <a:pt x="2409" y="481"/>
                  </a:lnTo>
                  <a:lnTo>
                    <a:pt x="2419" y="490"/>
                  </a:lnTo>
                  <a:lnTo>
                    <a:pt x="2430" y="499"/>
                  </a:lnTo>
                  <a:lnTo>
                    <a:pt x="2440" y="509"/>
                  </a:lnTo>
                  <a:lnTo>
                    <a:pt x="2451" y="518"/>
                  </a:lnTo>
                  <a:lnTo>
                    <a:pt x="2457" y="521"/>
                  </a:lnTo>
                  <a:lnTo>
                    <a:pt x="2464" y="524"/>
                  </a:lnTo>
                  <a:lnTo>
                    <a:pt x="2470" y="525"/>
                  </a:lnTo>
                  <a:lnTo>
                    <a:pt x="2478" y="526"/>
                  </a:lnTo>
                  <a:lnTo>
                    <a:pt x="2492" y="526"/>
                  </a:lnTo>
                  <a:lnTo>
                    <a:pt x="2504" y="526"/>
                  </a:lnTo>
                  <a:lnTo>
                    <a:pt x="2515" y="526"/>
                  </a:lnTo>
                  <a:lnTo>
                    <a:pt x="2530" y="526"/>
                  </a:lnTo>
                  <a:lnTo>
                    <a:pt x="2546" y="525"/>
                  </a:lnTo>
                  <a:lnTo>
                    <a:pt x="2561" y="523"/>
                  </a:lnTo>
                  <a:lnTo>
                    <a:pt x="2575" y="520"/>
                  </a:lnTo>
                  <a:lnTo>
                    <a:pt x="2589" y="517"/>
                  </a:lnTo>
                  <a:lnTo>
                    <a:pt x="2616" y="506"/>
                  </a:lnTo>
                  <a:lnTo>
                    <a:pt x="2645" y="495"/>
                  </a:lnTo>
                  <a:lnTo>
                    <a:pt x="2680" y="485"/>
                  </a:lnTo>
                  <a:lnTo>
                    <a:pt x="2710" y="479"/>
                  </a:lnTo>
                  <a:lnTo>
                    <a:pt x="2725" y="474"/>
                  </a:lnTo>
                  <a:lnTo>
                    <a:pt x="2739" y="468"/>
                  </a:lnTo>
                  <a:lnTo>
                    <a:pt x="2747" y="465"/>
                  </a:lnTo>
                  <a:lnTo>
                    <a:pt x="2754" y="460"/>
                  </a:lnTo>
                  <a:lnTo>
                    <a:pt x="2762" y="456"/>
                  </a:lnTo>
                  <a:lnTo>
                    <a:pt x="2768" y="451"/>
                  </a:lnTo>
                  <a:lnTo>
                    <a:pt x="2773" y="446"/>
                  </a:lnTo>
                  <a:lnTo>
                    <a:pt x="2777" y="442"/>
                  </a:lnTo>
                  <a:lnTo>
                    <a:pt x="2779" y="438"/>
                  </a:lnTo>
                  <a:lnTo>
                    <a:pt x="2781" y="433"/>
                  </a:lnTo>
                  <a:lnTo>
                    <a:pt x="2784" y="424"/>
                  </a:lnTo>
                  <a:lnTo>
                    <a:pt x="2788" y="414"/>
                  </a:lnTo>
                  <a:lnTo>
                    <a:pt x="2790" y="404"/>
                  </a:lnTo>
                  <a:lnTo>
                    <a:pt x="2793" y="395"/>
                  </a:lnTo>
                  <a:lnTo>
                    <a:pt x="2795" y="390"/>
                  </a:lnTo>
                  <a:lnTo>
                    <a:pt x="2797" y="386"/>
                  </a:lnTo>
                  <a:lnTo>
                    <a:pt x="2801" y="382"/>
                  </a:lnTo>
                  <a:lnTo>
                    <a:pt x="2805" y="377"/>
                  </a:lnTo>
                  <a:lnTo>
                    <a:pt x="2810" y="373"/>
                  </a:lnTo>
                  <a:lnTo>
                    <a:pt x="2816" y="370"/>
                  </a:lnTo>
                  <a:lnTo>
                    <a:pt x="2821" y="368"/>
                  </a:lnTo>
                  <a:lnTo>
                    <a:pt x="2827" y="365"/>
                  </a:lnTo>
                  <a:lnTo>
                    <a:pt x="2837" y="363"/>
                  </a:lnTo>
                  <a:lnTo>
                    <a:pt x="2848" y="362"/>
                  </a:lnTo>
                  <a:lnTo>
                    <a:pt x="2872" y="361"/>
                  </a:lnTo>
                  <a:lnTo>
                    <a:pt x="2898" y="358"/>
                  </a:lnTo>
                  <a:lnTo>
                    <a:pt x="3026" y="352"/>
                  </a:lnTo>
                  <a:lnTo>
                    <a:pt x="3026" y="352"/>
                  </a:lnTo>
                  <a:lnTo>
                    <a:pt x="3026" y="358"/>
                  </a:lnTo>
                  <a:lnTo>
                    <a:pt x="3025" y="363"/>
                  </a:lnTo>
                  <a:lnTo>
                    <a:pt x="3023" y="369"/>
                  </a:lnTo>
                  <a:lnTo>
                    <a:pt x="3022" y="374"/>
                  </a:lnTo>
                  <a:lnTo>
                    <a:pt x="3017" y="384"/>
                  </a:lnTo>
                  <a:lnTo>
                    <a:pt x="3011" y="392"/>
                  </a:lnTo>
                  <a:lnTo>
                    <a:pt x="3006" y="402"/>
                  </a:lnTo>
                  <a:lnTo>
                    <a:pt x="3000" y="411"/>
                  </a:lnTo>
                  <a:lnTo>
                    <a:pt x="2998" y="416"/>
                  </a:lnTo>
                  <a:lnTo>
                    <a:pt x="2997" y="422"/>
                  </a:lnTo>
                  <a:lnTo>
                    <a:pt x="2996" y="427"/>
                  </a:lnTo>
                  <a:lnTo>
                    <a:pt x="2996" y="432"/>
                  </a:lnTo>
                  <a:lnTo>
                    <a:pt x="2996" y="452"/>
                  </a:lnTo>
                  <a:lnTo>
                    <a:pt x="2996" y="469"/>
                  </a:lnTo>
                  <a:lnTo>
                    <a:pt x="2996" y="485"/>
                  </a:lnTo>
                  <a:lnTo>
                    <a:pt x="2996" y="505"/>
                  </a:lnTo>
                  <a:lnTo>
                    <a:pt x="2995" y="516"/>
                  </a:lnTo>
                  <a:lnTo>
                    <a:pt x="2994" y="525"/>
                  </a:lnTo>
                  <a:lnTo>
                    <a:pt x="2991" y="535"/>
                  </a:lnTo>
                  <a:lnTo>
                    <a:pt x="2987" y="544"/>
                  </a:lnTo>
                  <a:lnTo>
                    <a:pt x="2979" y="561"/>
                  </a:lnTo>
                  <a:lnTo>
                    <a:pt x="2970" y="576"/>
                  </a:lnTo>
                  <a:lnTo>
                    <a:pt x="2960" y="592"/>
                  </a:lnTo>
                  <a:lnTo>
                    <a:pt x="2952" y="609"/>
                  </a:lnTo>
                  <a:lnTo>
                    <a:pt x="2949" y="618"/>
                  </a:lnTo>
                  <a:lnTo>
                    <a:pt x="2946" y="628"/>
                  </a:lnTo>
                  <a:lnTo>
                    <a:pt x="2944" y="638"/>
                  </a:lnTo>
                  <a:lnTo>
                    <a:pt x="2944" y="648"/>
                  </a:lnTo>
                  <a:lnTo>
                    <a:pt x="2944" y="683"/>
                  </a:lnTo>
                  <a:lnTo>
                    <a:pt x="2944" y="713"/>
                  </a:lnTo>
                  <a:lnTo>
                    <a:pt x="2944" y="743"/>
                  </a:lnTo>
                  <a:lnTo>
                    <a:pt x="2944" y="778"/>
                  </a:lnTo>
                  <a:lnTo>
                    <a:pt x="2944" y="792"/>
                  </a:lnTo>
                  <a:lnTo>
                    <a:pt x="2946" y="806"/>
                  </a:lnTo>
                  <a:lnTo>
                    <a:pt x="2949" y="818"/>
                  </a:lnTo>
                  <a:lnTo>
                    <a:pt x="2952" y="831"/>
                  </a:lnTo>
                  <a:lnTo>
                    <a:pt x="2960" y="854"/>
                  </a:lnTo>
                  <a:lnTo>
                    <a:pt x="2970" y="876"/>
                  </a:lnTo>
                  <a:lnTo>
                    <a:pt x="2979" y="898"/>
                  </a:lnTo>
                  <a:lnTo>
                    <a:pt x="2987" y="922"/>
                  </a:lnTo>
                  <a:lnTo>
                    <a:pt x="2991" y="933"/>
                  </a:lnTo>
                  <a:lnTo>
                    <a:pt x="2994" y="946"/>
                  </a:lnTo>
                  <a:lnTo>
                    <a:pt x="2995" y="960"/>
                  </a:lnTo>
                  <a:lnTo>
                    <a:pt x="2996" y="975"/>
                  </a:lnTo>
                  <a:lnTo>
                    <a:pt x="2995" y="992"/>
                  </a:lnTo>
                  <a:lnTo>
                    <a:pt x="2994" y="1007"/>
                  </a:lnTo>
                  <a:lnTo>
                    <a:pt x="2993" y="1023"/>
                  </a:lnTo>
                  <a:lnTo>
                    <a:pt x="2991" y="1037"/>
                  </a:lnTo>
                  <a:lnTo>
                    <a:pt x="2985" y="1064"/>
                  </a:lnTo>
                  <a:lnTo>
                    <a:pt x="2978" y="1091"/>
                  </a:lnTo>
                  <a:lnTo>
                    <a:pt x="2968" y="1117"/>
                  </a:lnTo>
                  <a:lnTo>
                    <a:pt x="2958" y="1144"/>
                  </a:lnTo>
                  <a:lnTo>
                    <a:pt x="2948" y="1172"/>
                  </a:lnTo>
                  <a:lnTo>
                    <a:pt x="2937" y="1205"/>
                  </a:lnTo>
                  <a:lnTo>
                    <a:pt x="2937" y="1205"/>
                  </a:lnTo>
                  <a:lnTo>
                    <a:pt x="2915" y="1203"/>
                  </a:lnTo>
                  <a:lnTo>
                    <a:pt x="2896" y="1201"/>
                  </a:lnTo>
                  <a:lnTo>
                    <a:pt x="2877" y="1198"/>
                  </a:lnTo>
                  <a:lnTo>
                    <a:pt x="2859" y="1195"/>
                  </a:lnTo>
                  <a:lnTo>
                    <a:pt x="2842" y="1191"/>
                  </a:lnTo>
                  <a:lnTo>
                    <a:pt x="2822" y="1187"/>
                  </a:lnTo>
                  <a:lnTo>
                    <a:pt x="2803" y="1185"/>
                  </a:lnTo>
                  <a:lnTo>
                    <a:pt x="2781" y="1185"/>
                  </a:lnTo>
                  <a:lnTo>
                    <a:pt x="2771" y="1185"/>
                  </a:lnTo>
                  <a:lnTo>
                    <a:pt x="2761" y="1186"/>
                  </a:lnTo>
                  <a:lnTo>
                    <a:pt x="2752" y="1188"/>
                  </a:lnTo>
                  <a:lnTo>
                    <a:pt x="2743" y="1192"/>
                  </a:lnTo>
                  <a:lnTo>
                    <a:pt x="2735" y="1195"/>
                  </a:lnTo>
                  <a:lnTo>
                    <a:pt x="2727" y="1199"/>
                  </a:lnTo>
                  <a:lnTo>
                    <a:pt x="2720" y="1203"/>
                  </a:lnTo>
                  <a:lnTo>
                    <a:pt x="2712" y="1209"/>
                  </a:lnTo>
                  <a:lnTo>
                    <a:pt x="2706" y="1215"/>
                  </a:lnTo>
                  <a:lnTo>
                    <a:pt x="2699" y="1222"/>
                  </a:lnTo>
                  <a:lnTo>
                    <a:pt x="2693" y="1229"/>
                  </a:lnTo>
                  <a:lnTo>
                    <a:pt x="2687" y="1237"/>
                  </a:lnTo>
                  <a:lnTo>
                    <a:pt x="2675" y="1253"/>
                  </a:lnTo>
                  <a:lnTo>
                    <a:pt x="2665" y="1272"/>
                  </a:lnTo>
                  <a:lnTo>
                    <a:pt x="2645" y="1304"/>
                  </a:lnTo>
                  <a:lnTo>
                    <a:pt x="2626" y="1333"/>
                  </a:lnTo>
                  <a:lnTo>
                    <a:pt x="2617" y="1347"/>
                  </a:lnTo>
                  <a:lnTo>
                    <a:pt x="2608" y="1362"/>
                  </a:lnTo>
                  <a:lnTo>
                    <a:pt x="2601" y="1378"/>
                  </a:lnTo>
                  <a:lnTo>
                    <a:pt x="2595" y="1398"/>
                  </a:lnTo>
                  <a:lnTo>
                    <a:pt x="2587" y="1409"/>
                  </a:lnTo>
                  <a:lnTo>
                    <a:pt x="2578" y="1421"/>
                  </a:lnTo>
                  <a:lnTo>
                    <a:pt x="2572" y="1443"/>
                  </a:lnTo>
                  <a:lnTo>
                    <a:pt x="2566" y="1464"/>
                  </a:lnTo>
                  <a:lnTo>
                    <a:pt x="2562" y="1484"/>
                  </a:lnTo>
                  <a:lnTo>
                    <a:pt x="2559" y="1503"/>
                  </a:lnTo>
                  <a:lnTo>
                    <a:pt x="2554" y="1522"/>
                  </a:lnTo>
                  <a:lnTo>
                    <a:pt x="2549" y="1542"/>
                  </a:lnTo>
                  <a:lnTo>
                    <a:pt x="2542" y="1561"/>
                  </a:lnTo>
                  <a:lnTo>
                    <a:pt x="2533" y="1583"/>
                  </a:lnTo>
                  <a:lnTo>
                    <a:pt x="2526" y="1596"/>
                  </a:lnTo>
                  <a:lnTo>
                    <a:pt x="2519" y="1605"/>
                  </a:lnTo>
                  <a:lnTo>
                    <a:pt x="2510" y="1616"/>
                  </a:lnTo>
                  <a:lnTo>
                    <a:pt x="2503" y="1628"/>
                  </a:lnTo>
                  <a:lnTo>
                    <a:pt x="2496" y="1640"/>
                  </a:lnTo>
                  <a:lnTo>
                    <a:pt x="2491" y="1651"/>
                  </a:lnTo>
                  <a:lnTo>
                    <a:pt x="2487" y="1656"/>
                  </a:lnTo>
                  <a:lnTo>
                    <a:pt x="2484" y="1660"/>
                  </a:lnTo>
                  <a:lnTo>
                    <a:pt x="2479" y="1664"/>
                  </a:lnTo>
                  <a:lnTo>
                    <a:pt x="2473" y="1666"/>
                  </a:lnTo>
                  <a:lnTo>
                    <a:pt x="2473" y="1666"/>
                  </a:lnTo>
                  <a:lnTo>
                    <a:pt x="2468" y="1660"/>
                  </a:lnTo>
                  <a:lnTo>
                    <a:pt x="2464" y="1655"/>
                  </a:lnTo>
                  <a:lnTo>
                    <a:pt x="2459" y="1650"/>
                  </a:lnTo>
                  <a:lnTo>
                    <a:pt x="2457" y="1643"/>
                  </a:lnTo>
                  <a:lnTo>
                    <a:pt x="2453" y="1632"/>
                  </a:lnTo>
                  <a:lnTo>
                    <a:pt x="2450" y="1620"/>
                  </a:lnTo>
                  <a:lnTo>
                    <a:pt x="2449" y="1594"/>
                  </a:lnTo>
                  <a:lnTo>
                    <a:pt x="2450" y="1565"/>
                  </a:lnTo>
                  <a:lnTo>
                    <a:pt x="2450" y="1558"/>
                  </a:lnTo>
                  <a:lnTo>
                    <a:pt x="2451" y="1550"/>
                  </a:lnTo>
                  <a:lnTo>
                    <a:pt x="2453" y="1544"/>
                  </a:lnTo>
                  <a:lnTo>
                    <a:pt x="2456" y="1537"/>
                  </a:lnTo>
                  <a:lnTo>
                    <a:pt x="2461" y="1524"/>
                  </a:lnTo>
                  <a:lnTo>
                    <a:pt x="2466" y="1510"/>
                  </a:lnTo>
                  <a:lnTo>
                    <a:pt x="2472" y="1478"/>
                  </a:lnTo>
                  <a:lnTo>
                    <a:pt x="2477" y="1450"/>
                  </a:lnTo>
                  <a:lnTo>
                    <a:pt x="2479" y="1422"/>
                  </a:lnTo>
                  <a:lnTo>
                    <a:pt x="2480" y="1389"/>
                  </a:lnTo>
                  <a:lnTo>
                    <a:pt x="2480" y="1374"/>
                  </a:lnTo>
                  <a:lnTo>
                    <a:pt x="2479" y="1361"/>
                  </a:lnTo>
                  <a:lnTo>
                    <a:pt x="2478" y="1355"/>
                  </a:lnTo>
                  <a:lnTo>
                    <a:pt x="2474" y="1349"/>
                  </a:lnTo>
                  <a:lnTo>
                    <a:pt x="2471" y="1344"/>
                  </a:lnTo>
                  <a:lnTo>
                    <a:pt x="2466" y="1338"/>
                  </a:lnTo>
                  <a:lnTo>
                    <a:pt x="2459" y="1334"/>
                  </a:lnTo>
                  <a:lnTo>
                    <a:pt x="2452" y="1331"/>
                  </a:lnTo>
                  <a:lnTo>
                    <a:pt x="2445" y="1329"/>
                  </a:lnTo>
                  <a:lnTo>
                    <a:pt x="2438" y="1327"/>
                  </a:lnTo>
                  <a:lnTo>
                    <a:pt x="2423" y="1323"/>
                  </a:lnTo>
                  <a:lnTo>
                    <a:pt x="2407" y="1319"/>
                  </a:lnTo>
                  <a:lnTo>
                    <a:pt x="2388" y="1311"/>
                  </a:lnTo>
                  <a:lnTo>
                    <a:pt x="2370" y="1305"/>
                  </a:lnTo>
                  <a:lnTo>
                    <a:pt x="2352" y="1300"/>
                  </a:lnTo>
                  <a:lnTo>
                    <a:pt x="2335" y="1294"/>
                  </a:lnTo>
                  <a:lnTo>
                    <a:pt x="2318" y="1291"/>
                  </a:lnTo>
                  <a:lnTo>
                    <a:pt x="2301" y="1288"/>
                  </a:lnTo>
                  <a:lnTo>
                    <a:pt x="2281" y="1286"/>
                  </a:lnTo>
                  <a:lnTo>
                    <a:pt x="2261" y="1286"/>
                  </a:lnTo>
                  <a:lnTo>
                    <a:pt x="2217" y="1286"/>
                  </a:lnTo>
                  <a:lnTo>
                    <a:pt x="2180" y="1286"/>
                  </a:lnTo>
                  <a:lnTo>
                    <a:pt x="2143" y="1286"/>
                  </a:lnTo>
                  <a:lnTo>
                    <a:pt x="2100" y="1286"/>
                  </a:lnTo>
                  <a:lnTo>
                    <a:pt x="2072" y="1284"/>
                  </a:lnTo>
                  <a:lnTo>
                    <a:pt x="2046" y="1283"/>
                  </a:lnTo>
                  <a:lnTo>
                    <a:pt x="2022" y="1280"/>
                  </a:lnTo>
                  <a:lnTo>
                    <a:pt x="1999" y="1277"/>
                  </a:lnTo>
                  <a:lnTo>
                    <a:pt x="1975" y="1274"/>
                  </a:lnTo>
                  <a:lnTo>
                    <a:pt x="1952" y="1272"/>
                  </a:lnTo>
                  <a:lnTo>
                    <a:pt x="1927" y="1269"/>
                  </a:lnTo>
                  <a:lnTo>
                    <a:pt x="1899" y="1268"/>
                  </a:lnTo>
                  <a:lnTo>
                    <a:pt x="1880" y="1267"/>
                  </a:lnTo>
                  <a:lnTo>
                    <a:pt x="1864" y="1264"/>
                  </a:lnTo>
                  <a:lnTo>
                    <a:pt x="1857" y="1264"/>
                  </a:lnTo>
                  <a:lnTo>
                    <a:pt x="1849" y="1264"/>
                  </a:lnTo>
                  <a:lnTo>
                    <a:pt x="1840" y="1265"/>
                  </a:lnTo>
                  <a:lnTo>
                    <a:pt x="1833" y="1268"/>
                  </a:lnTo>
                  <a:lnTo>
                    <a:pt x="1826" y="1274"/>
                  </a:lnTo>
                  <a:lnTo>
                    <a:pt x="1821" y="1279"/>
                  </a:lnTo>
                  <a:lnTo>
                    <a:pt x="1818" y="1284"/>
                  </a:lnTo>
                  <a:lnTo>
                    <a:pt x="1816" y="1292"/>
                  </a:lnTo>
                  <a:lnTo>
                    <a:pt x="1813" y="1308"/>
                  </a:lnTo>
                  <a:lnTo>
                    <a:pt x="1810" y="1324"/>
                  </a:lnTo>
                  <a:lnTo>
                    <a:pt x="1803" y="1354"/>
                  </a:lnTo>
                  <a:lnTo>
                    <a:pt x="1797" y="1378"/>
                  </a:lnTo>
                  <a:lnTo>
                    <a:pt x="1796" y="1391"/>
                  </a:lnTo>
                  <a:lnTo>
                    <a:pt x="1794" y="1404"/>
                  </a:lnTo>
                  <a:lnTo>
                    <a:pt x="1794" y="1418"/>
                  </a:lnTo>
                  <a:lnTo>
                    <a:pt x="1793" y="1434"/>
                  </a:lnTo>
                  <a:lnTo>
                    <a:pt x="1793" y="1450"/>
                  </a:lnTo>
                  <a:lnTo>
                    <a:pt x="1793" y="1464"/>
                  </a:lnTo>
                  <a:lnTo>
                    <a:pt x="1793" y="1478"/>
                  </a:lnTo>
                  <a:lnTo>
                    <a:pt x="1793" y="1494"/>
                  </a:lnTo>
                  <a:lnTo>
                    <a:pt x="1789" y="1506"/>
                  </a:lnTo>
                  <a:lnTo>
                    <a:pt x="1785" y="1518"/>
                  </a:lnTo>
                  <a:lnTo>
                    <a:pt x="1785" y="1551"/>
                  </a:lnTo>
                  <a:lnTo>
                    <a:pt x="1785" y="1581"/>
                  </a:lnTo>
                  <a:lnTo>
                    <a:pt x="1785" y="1612"/>
                  </a:lnTo>
                  <a:lnTo>
                    <a:pt x="1785" y="1646"/>
                  </a:lnTo>
                  <a:lnTo>
                    <a:pt x="1785" y="1653"/>
                  </a:lnTo>
                  <a:lnTo>
                    <a:pt x="1786" y="1659"/>
                  </a:lnTo>
                  <a:lnTo>
                    <a:pt x="1790" y="1665"/>
                  </a:lnTo>
                  <a:lnTo>
                    <a:pt x="1792" y="1669"/>
                  </a:lnTo>
                  <a:lnTo>
                    <a:pt x="1796" y="1673"/>
                  </a:lnTo>
                  <a:lnTo>
                    <a:pt x="1800" y="1678"/>
                  </a:lnTo>
                  <a:lnTo>
                    <a:pt x="1806" y="1681"/>
                  </a:lnTo>
                  <a:lnTo>
                    <a:pt x="1811" y="1684"/>
                  </a:lnTo>
                  <a:lnTo>
                    <a:pt x="1824" y="1689"/>
                  </a:lnTo>
                  <a:lnTo>
                    <a:pt x="1838" y="1693"/>
                  </a:lnTo>
                  <a:lnTo>
                    <a:pt x="1852" y="1696"/>
                  </a:lnTo>
                  <a:lnTo>
                    <a:pt x="1866" y="1697"/>
                  </a:lnTo>
                  <a:lnTo>
                    <a:pt x="1899" y="1702"/>
                  </a:lnTo>
                  <a:lnTo>
                    <a:pt x="1928" y="1708"/>
                  </a:lnTo>
                  <a:lnTo>
                    <a:pt x="1957" y="1714"/>
                  </a:lnTo>
                  <a:lnTo>
                    <a:pt x="1989" y="1720"/>
                  </a:lnTo>
                  <a:lnTo>
                    <a:pt x="2022" y="1725"/>
                  </a:lnTo>
                  <a:lnTo>
                    <a:pt x="2051" y="1732"/>
                  </a:lnTo>
                  <a:lnTo>
                    <a:pt x="2079" y="1738"/>
                  </a:lnTo>
                  <a:lnTo>
                    <a:pt x="2105" y="1745"/>
                  </a:lnTo>
                  <a:lnTo>
                    <a:pt x="2132" y="1750"/>
                  </a:lnTo>
                  <a:lnTo>
                    <a:pt x="2160" y="1755"/>
                  </a:lnTo>
                  <a:lnTo>
                    <a:pt x="2174" y="1756"/>
                  </a:lnTo>
                  <a:lnTo>
                    <a:pt x="2189" y="1758"/>
                  </a:lnTo>
                  <a:lnTo>
                    <a:pt x="2206" y="1759"/>
                  </a:lnTo>
                  <a:lnTo>
                    <a:pt x="2222" y="1760"/>
                  </a:lnTo>
                  <a:lnTo>
                    <a:pt x="2250" y="1758"/>
                  </a:lnTo>
                  <a:lnTo>
                    <a:pt x="2274" y="1754"/>
                  </a:lnTo>
                  <a:lnTo>
                    <a:pt x="2298" y="1751"/>
                  </a:lnTo>
                  <a:lnTo>
                    <a:pt x="2325" y="1748"/>
                  </a:lnTo>
                  <a:lnTo>
                    <a:pt x="2339" y="1747"/>
                  </a:lnTo>
                  <a:lnTo>
                    <a:pt x="2352" y="1746"/>
                  </a:lnTo>
                  <a:lnTo>
                    <a:pt x="2364" y="1743"/>
                  </a:lnTo>
                  <a:lnTo>
                    <a:pt x="2375" y="1741"/>
                  </a:lnTo>
                  <a:lnTo>
                    <a:pt x="2386" y="1738"/>
                  </a:lnTo>
                  <a:lnTo>
                    <a:pt x="2397" y="1733"/>
                  </a:lnTo>
                  <a:lnTo>
                    <a:pt x="2406" y="1726"/>
                  </a:lnTo>
                  <a:lnTo>
                    <a:pt x="2415" y="1718"/>
                  </a:lnTo>
                  <a:lnTo>
                    <a:pt x="2430" y="1704"/>
                  </a:lnTo>
                  <a:lnTo>
                    <a:pt x="2445" y="1693"/>
                  </a:lnTo>
                  <a:lnTo>
                    <a:pt x="2452" y="1686"/>
                  </a:lnTo>
                  <a:lnTo>
                    <a:pt x="2459" y="1681"/>
                  </a:lnTo>
                  <a:lnTo>
                    <a:pt x="2466" y="1673"/>
                  </a:lnTo>
                  <a:lnTo>
                    <a:pt x="2473" y="1666"/>
                  </a:lnTo>
                  <a:lnTo>
                    <a:pt x="2473" y="1666"/>
                  </a:lnTo>
                  <a:close/>
                </a:path>
              </a:pathLst>
            </a:custGeom>
            <a:solidFill>
              <a:srgbClr val="FEFEFE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46">
              <a:extLst>
                <a:ext uri="{FF2B5EF4-FFF2-40B4-BE49-F238E27FC236}">
                  <a16:creationId xmlns:a16="http://schemas.microsoft.com/office/drawing/2014/main" id="{699067A8-1D6C-4096-AE62-54039DD01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7600" y="3114676"/>
              <a:ext cx="1201738" cy="1193800"/>
            </a:xfrm>
            <a:custGeom>
              <a:avLst/>
              <a:gdLst>
                <a:gd name="T0" fmla="*/ 2400 w 3026"/>
                <a:gd name="T1" fmla="*/ 1836 h 3006"/>
                <a:gd name="T2" fmla="*/ 2434 w 3026"/>
                <a:gd name="T3" fmla="*/ 1995 h 3006"/>
                <a:gd name="T4" fmla="*/ 2339 w 3026"/>
                <a:gd name="T5" fmla="*/ 2184 h 3006"/>
                <a:gd name="T6" fmla="*/ 2389 w 3026"/>
                <a:gd name="T7" fmla="*/ 2316 h 3006"/>
                <a:gd name="T8" fmla="*/ 2320 w 3026"/>
                <a:gd name="T9" fmla="*/ 2526 h 3006"/>
                <a:gd name="T10" fmla="*/ 2119 w 3026"/>
                <a:gd name="T11" fmla="*/ 2666 h 3006"/>
                <a:gd name="T12" fmla="*/ 1931 w 3026"/>
                <a:gd name="T13" fmla="*/ 2642 h 3006"/>
                <a:gd name="T14" fmla="*/ 1705 w 3026"/>
                <a:gd name="T15" fmla="*/ 2631 h 3006"/>
                <a:gd name="T16" fmla="*/ 1608 w 3026"/>
                <a:gd name="T17" fmla="*/ 2630 h 3006"/>
                <a:gd name="T18" fmla="*/ 1484 w 3026"/>
                <a:gd name="T19" fmla="*/ 2683 h 3006"/>
                <a:gd name="T20" fmla="*/ 1415 w 3026"/>
                <a:gd name="T21" fmla="*/ 2679 h 3006"/>
                <a:gd name="T22" fmla="*/ 1093 w 3026"/>
                <a:gd name="T23" fmla="*/ 2764 h 3006"/>
                <a:gd name="T24" fmla="*/ 1009 w 3026"/>
                <a:gd name="T25" fmla="*/ 2886 h 3006"/>
                <a:gd name="T26" fmla="*/ 918 w 3026"/>
                <a:gd name="T27" fmla="*/ 2948 h 3006"/>
                <a:gd name="T28" fmla="*/ 746 w 3026"/>
                <a:gd name="T29" fmla="*/ 2931 h 3006"/>
                <a:gd name="T30" fmla="*/ 585 w 3026"/>
                <a:gd name="T31" fmla="*/ 2802 h 3006"/>
                <a:gd name="T32" fmla="*/ 225 w 3026"/>
                <a:gd name="T33" fmla="*/ 2544 h 3006"/>
                <a:gd name="T34" fmla="*/ 25 w 3026"/>
                <a:gd name="T35" fmla="*/ 2423 h 3006"/>
                <a:gd name="T36" fmla="*/ 53 w 3026"/>
                <a:gd name="T37" fmla="*/ 2206 h 3006"/>
                <a:gd name="T38" fmla="*/ 0 w 3026"/>
                <a:gd name="T39" fmla="*/ 2016 h 3006"/>
                <a:gd name="T40" fmla="*/ 207 w 3026"/>
                <a:gd name="T41" fmla="*/ 1815 h 3006"/>
                <a:gd name="T42" fmla="*/ 283 w 3026"/>
                <a:gd name="T43" fmla="*/ 1605 h 3006"/>
                <a:gd name="T44" fmla="*/ 383 w 3026"/>
                <a:gd name="T45" fmla="*/ 1524 h 3006"/>
                <a:gd name="T46" fmla="*/ 568 w 3026"/>
                <a:gd name="T47" fmla="*/ 1481 h 3006"/>
                <a:gd name="T48" fmla="*/ 663 w 3026"/>
                <a:gd name="T49" fmla="*/ 1378 h 3006"/>
                <a:gd name="T50" fmla="*/ 700 w 3026"/>
                <a:gd name="T51" fmla="*/ 1211 h 3006"/>
                <a:gd name="T52" fmla="*/ 829 w 3026"/>
                <a:gd name="T53" fmla="*/ 1144 h 3006"/>
                <a:gd name="T54" fmla="*/ 920 w 3026"/>
                <a:gd name="T55" fmla="*/ 1056 h 3006"/>
                <a:gd name="T56" fmla="*/ 989 w 3026"/>
                <a:gd name="T57" fmla="*/ 918 h 3006"/>
                <a:gd name="T58" fmla="*/ 1041 w 3026"/>
                <a:gd name="T59" fmla="*/ 719 h 3006"/>
                <a:gd name="T60" fmla="*/ 1090 w 3026"/>
                <a:gd name="T61" fmla="*/ 543 h 3006"/>
                <a:gd name="T62" fmla="*/ 1190 w 3026"/>
                <a:gd name="T63" fmla="*/ 282 h 3006"/>
                <a:gd name="T64" fmla="*/ 1306 w 3026"/>
                <a:gd name="T65" fmla="*/ 23 h 3006"/>
                <a:gd name="T66" fmla="*/ 1358 w 3026"/>
                <a:gd name="T67" fmla="*/ 179 h 3006"/>
                <a:gd name="T68" fmla="*/ 1434 w 3026"/>
                <a:gd name="T69" fmla="*/ 296 h 3006"/>
                <a:gd name="T70" fmla="*/ 1645 w 3026"/>
                <a:gd name="T71" fmla="*/ 297 h 3006"/>
                <a:gd name="T72" fmla="*/ 1754 w 3026"/>
                <a:gd name="T73" fmla="*/ 173 h 3006"/>
                <a:gd name="T74" fmla="*/ 1844 w 3026"/>
                <a:gd name="T75" fmla="*/ 279 h 3006"/>
                <a:gd name="T76" fmla="*/ 1840 w 3026"/>
                <a:gd name="T77" fmla="*/ 454 h 3006"/>
                <a:gd name="T78" fmla="*/ 1918 w 3026"/>
                <a:gd name="T79" fmla="*/ 371 h 3006"/>
                <a:gd name="T80" fmla="*/ 2018 w 3026"/>
                <a:gd name="T81" fmla="*/ 412 h 3006"/>
                <a:gd name="T82" fmla="*/ 2132 w 3026"/>
                <a:gd name="T83" fmla="*/ 444 h 3006"/>
                <a:gd name="T84" fmla="*/ 2315 w 3026"/>
                <a:gd name="T85" fmla="*/ 537 h 3006"/>
                <a:gd name="T86" fmla="*/ 2419 w 3026"/>
                <a:gd name="T87" fmla="*/ 490 h 3006"/>
                <a:gd name="T88" fmla="*/ 2589 w 3026"/>
                <a:gd name="T89" fmla="*/ 517 h 3006"/>
                <a:gd name="T90" fmla="*/ 2784 w 3026"/>
                <a:gd name="T91" fmla="*/ 424 h 3006"/>
                <a:gd name="T92" fmla="*/ 2898 w 3026"/>
                <a:gd name="T93" fmla="*/ 358 h 3006"/>
                <a:gd name="T94" fmla="*/ 2996 w 3026"/>
                <a:gd name="T95" fmla="*/ 452 h 3006"/>
                <a:gd name="T96" fmla="*/ 2944 w 3026"/>
                <a:gd name="T97" fmla="*/ 648 h 3006"/>
                <a:gd name="T98" fmla="*/ 2995 w 3026"/>
                <a:gd name="T99" fmla="*/ 960 h 3006"/>
                <a:gd name="T100" fmla="*/ 2877 w 3026"/>
                <a:gd name="T101" fmla="*/ 1198 h 3006"/>
                <a:gd name="T102" fmla="*/ 2699 w 3026"/>
                <a:gd name="T103" fmla="*/ 1222 h 3006"/>
                <a:gd name="T104" fmla="*/ 2562 w 3026"/>
                <a:gd name="T105" fmla="*/ 1484 h 3006"/>
                <a:gd name="T106" fmla="*/ 2473 w 3026"/>
                <a:gd name="T107" fmla="*/ 1666 h 3006"/>
                <a:gd name="T108" fmla="*/ 2466 w 3026"/>
                <a:gd name="T109" fmla="*/ 1510 h 3006"/>
                <a:gd name="T110" fmla="*/ 2423 w 3026"/>
                <a:gd name="T111" fmla="*/ 1323 h 3006"/>
                <a:gd name="T112" fmla="*/ 2046 w 3026"/>
                <a:gd name="T113" fmla="*/ 1283 h 3006"/>
                <a:gd name="T114" fmla="*/ 1818 w 3026"/>
                <a:gd name="T115" fmla="*/ 1284 h 3006"/>
                <a:gd name="T116" fmla="*/ 1785 w 3026"/>
                <a:gd name="T117" fmla="*/ 1518 h 3006"/>
                <a:gd name="T118" fmla="*/ 1852 w 3026"/>
                <a:gd name="T119" fmla="*/ 1696 h 3006"/>
                <a:gd name="T120" fmla="*/ 2222 w 3026"/>
                <a:gd name="T121" fmla="*/ 1760 h 3006"/>
                <a:gd name="T122" fmla="*/ 2452 w 3026"/>
                <a:gd name="T123" fmla="*/ 1686 h 3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26" h="3006">
                  <a:moveTo>
                    <a:pt x="2473" y="1666"/>
                  </a:moveTo>
                  <a:lnTo>
                    <a:pt x="2471" y="1678"/>
                  </a:lnTo>
                  <a:lnTo>
                    <a:pt x="2468" y="1688"/>
                  </a:lnTo>
                  <a:lnTo>
                    <a:pt x="2465" y="1698"/>
                  </a:lnTo>
                  <a:lnTo>
                    <a:pt x="2459" y="1708"/>
                  </a:lnTo>
                  <a:lnTo>
                    <a:pt x="2447" y="1726"/>
                  </a:lnTo>
                  <a:lnTo>
                    <a:pt x="2433" y="1743"/>
                  </a:lnTo>
                  <a:lnTo>
                    <a:pt x="2420" y="1761"/>
                  </a:lnTo>
                  <a:lnTo>
                    <a:pt x="2410" y="1778"/>
                  </a:lnTo>
                  <a:lnTo>
                    <a:pt x="2405" y="1788"/>
                  </a:lnTo>
                  <a:lnTo>
                    <a:pt x="2402" y="1799"/>
                  </a:lnTo>
                  <a:lnTo>
                    <a:pt x="2400" y="1809"/>
                  </a:lnTo>
                  <a:lnTo>
                    <a:pt x="2399" y="1821"/>
                  </a:lnTo>
                  <a:lnTo>
                    <a:pt x="2399" y="1829"/>
                  </a:lnTo>
                  <a:lnTo>
                    <a:pt x="2400" y="1836"/>
                  </a:lnTo>
                  <a:lnTo>
                    <a:pt x="2402" y="1844"/>
                  </a:lnTo>
                  <a:lnTo>
                    <a:pt x="2404" y="1851"/>
                  </a:lnTo>
                  <a:lnTo>
                    <a:pt x="2411" y="1864"/>
                  </a:lnTo>
                  <a:lnTo>
                    <a:pt x="2417" y="1876"/>
                  </a:lnTo>
                  <a:lnTo>
                    <a:pt x="2424" y="1889"/>
                  </a:lnTo>
                  <a:lnTo>
                    <a:pt x="2429" y="1902"/>
                  </a:lnTo>
                  <a:lnTo>
                    <a:pt x="2431" y="1909"/>
                  </a:lnTo>
                  <a:lnTo>
                    <a:pt x="2433" y="1916"/>
                  </a:lnTo>
                  <a:lnTo>
                    <a:pt x="2434" y="1924"/>
                  </a:lnTo>
                  <a:lnTo>
                    <a:pt x="2436" y="1932"/>
                  </a:lnTo>
                  <a:lnTo>
                    <a:pt x="2436" y="1948"/>
                  </a:lnTo>
                  <a:lnTo>
                    <a:pt x="2436" y="1961"/>
                  </a:lnTo>
                  <a:lnTo>
                    <a:pt x="2436" y="1975"/>
                  </a:lnTo>
                  <a:lnTo>
                    <a:pt x="2436" y="1990"/>
                  </a:lnTo>
                  <a:lnTo>
                    <a:pt x="2434" y="1995"/>
                  </a:lnTo>
                  <a:lnTo>
                    <a:pt x="2434" y="1999"/>
                  </a:lnTo>
                  <a:lnTo>
                    <a:pt x="2432" y="2004"/>
                  </a:lnTo>
                  <a:lnTo>
                    <a:pt x="2431" y="2008"/>
                  </a:lnTo>
                  <a:lnTo>
                    <a:pt x="2427" y="2016"/>
                  </a:lnTo>
                  <a:lnTo>
                    <a:pt x="2422" y="2022"/>
                  </a:lnTo>
                  <a:lnTo>
                    <a:pt x="2415" y="2030"/>
                  </a:lnTo>
                  <a:lnTo>
                    <a:pt x="2410" y="2036"/>
                  </a:lnTo>
                  <a:lnTo>
                    <a:pt x="2403" y="2045"/>
                  </a:lnTo>
                  <a:lnTo>
                    <a:pt x="2399" y="2053"/>
                  </a:lnTo>
                  <a:lnTo>
                    <a:pt x="2387" y="2080"/>
                  </a:lnTo>
                  <a:lnTo>
                    <a:pt x="2376" y="2105"/>
                  </a:lnTo>
                  <a:lnTo>
                    <a:pt x="2365" y="2129"/>
                  </a:lnTo>
                  <a:lnTo>
                    <a:pt x="2353" y="2157"/>
                  </a:lnTo>
                  <a:lnTo>
                    <a:pt x="2347" y="2171"/>
                  </a:lnTo>
                  <a:lnTo>
                    <a:pt x="2339" y="2184"/>
                  </a:lnTo>
                  <a:lnTo>
                    <a:pt x="2336" y="2191"/>
                  </a:lnTo>
                  <a:lnTo>
                    <a:pt x="2334" y="2197"/>
                  </a:lnTo>
                  <a:lnTo>
                    <a:pt x="2332" y="2205"/>
                  </a:lnTo>
                  <a:lnTo>
                    <a:pt x="2332" y="2213"/>
                  </a:lnTo>
                  <a:lnTo>
                    <a:pt x="2332" y="2223"/>
                  </a:lnTo>
                  <a:lnTo>
                    <a:pt x="2334" y="2231"/>
                  </a:lnTo>
                  <a:lnTo>
                    <a:pt x="2338" y="2238"/>
                  </a:lnTo>
                  <a:lnTo>
                    <a:pt x="2343" y="2245"/>
                  </a:lnTo>
                  <a:lnTo>
                    <a:pt x="2353" y="2256"/>
                  </a:lnTo>
                  <a:lnTo>
                    <a:pt x="2365" y="2272"/>
                  </a:lnTo>
                  <a:lnTo>
                    <a:pt x="2372" y="2286"/>
                  </a:lnTo>
                  <a:lnTo>
                    <a:pt x="2380" y="2298"/>
                  </a:lnTo>
                  <a:lnTo>
                    <a:pt x="2385" y="2303"/>
                  </a:lnTo>
                  <a:lnTo>
                    <a:pt x="2387" y="2309"/>
                  </a:lnTo>
                  <a:lnTo>
                    <a:pt x="2389" y="2316"/>
                  </a:lnTo>
                  <a:lnTo>
                    <a:pt x="2390" y="2323"/>
                  </a:lnTo>
                  <a:lnTo>
                    <a:pt x="2389" y="2335"/>
                  </a:lnTo>
                  <a:lnTo>
                    <a:pt x="2387" y="2346"/>
                  </a:lnTo>
                  <a:lnTo>
                    <a:pt x="2384" y="2356"/>
                  </a:lnTo>
                  <a:lnTo>
                    <a:pt x="2379" y="2366"/>
                  </a:lnTo>
                  <a:lnTo>
                    <a:pt x="2369" y="2383"/>
                  </a:lnTo>
                  <a:lnTo>
                    <a:pt x="2356" y="2398"/>
                  </a:lnTo>
                  <a:lnTo>
                    <a:pt x="2343" y="2414"/>
                  </a:lnTo>
                  <a:lnTo>
                    <a:pt x="2331" y="2431"/>
                  </a:lnTo>
                  <a:lnTo>
                    <a:pt x="2326" y="2441"/>
                  </a:lnTo>
                  <a:lnTo>
                    <a:pt x="2323" y="2451"/>
                  </a:lnTo>
                  <a:lnTo>
                    <a:pt x="2321" y="2462"/>
                  </a:lnTo>
                  <a:lnTo>
                    <a:pt x="2320" y="2474"/>
                  </a:lnTo>
                  <a:lnTo>
                    <a:pt x="2320" y="2502"/>
                  </a:lnTo>
                  <a:lnTo>
                    <a:pt x="2320" y="2526"/>
                  </a:lnTo>
                  <a:lnTo>
                    <a:pt x="2320" y="2551"/>
                  </a:lnTo>
                  <a:lnTo>
                    <a:pt x="2320" y="2580"/>
                  </a:lnTo>
                  <a:lnTo>
                    <a:pt x="2308" y="2580"/>
                  </a:lnTo>
                  <a:lnTo>
                    <a:pt x="2296" y="2582"/>
                  </a:lnTo>
                  <a:lnTo>
                    <a:pt x="2285" y="2583"/>
                  </a:lnTo>
                  <a:lnTo>
                    <a:pt x="2275" y="2585"/>
                  </a:lnTo>
                  <a:lnTo>
                    <a:pt x="2254" y="2591"/>
                  </a:lnTo>
                  <a:lnTo>
                    <a:pt x="2236" y="2599"/>
                  </a:lnTo>
                  <a:lnTo>
                    <a:pt x="2217" y="2607"/>
                  </a:lnTo>
                  <a:lnTo>
                    <a:pt x="2199" y="2618"/>
                  </a:lnTo>
                  <a:lnTo>
                    <a:pt x="2179" y="2630"/>
                  </a:lnTo>
                  <a:lnTo>
                    <a:pt x="2158" y="2642"/>
                  </a:lnTo>
                  <a:lnTo>
                    <a:pt x="2142" y="2652"/>
                  </a:lnTo>
                  <a:lnTo>
                    <a:pt x="2127" y="2663"/>
                  </a:lnTo>
                  <a:lnTo>
                    <a:pt x="2119" y="2666"/>
                  </a:lnTo>
                  <a:lnTo>
                    <a:pt x="2112" y="2670"/>
                  </a:lnTo>
                  <a:lnTo>
                    <a:pt x="2103" y="2672"/>
                  </a:lnTo>
                  <a:lnTo>
                    <a:pt x="2093" y="2672"/>
                  </a:lnTo>
                  <a:lnTo>
                    <a:pt x="2086" y="2672"/>
                  </a:lnTo>
                  <a:lnTo>
                    <a:pt x="2079" y="2670"/>
                  </a:lnTo>
                  <a:lnTo>
                    <a:pt x="2074" y="2667"/>
                  </a:lnTo>
                  <a:lnTo>
                    <a:pt x="2067" y="2663"/>
                  </a:lnTo>
                  <a:lnTo>
                    <a:pt x="2062" y="2659"/>
                  </a:lnTo>
                  <a:lnTo>
                    <a:pt x="2056" y="2655"/>
                  </a:lnTo>
                  <a:lnTo>
                    <a:pt x="2050" y="2652"/>
                  </a:lnTo>
                  <a:lnTo>
                    <a:pt x="2042" y="2651"/>
                  </a:lnTo>
                  <a:lnTo>
                    <a:pt x="2013" y="2645"/>
                  </a:lnTo>
                  <a:lnTo>
                    <a:pt x="1987" y="2643"/>
                  </a:lnTo>
                  <a:lnTo>
                    <a:pt x="1960" y="2642"/>
                  </a:lnTo>
                  <a:lnTo>
                    <a:pt x="1931" y="2642"/>
                  </a:lnTo>
                  <a:lnTo>
                    <a:pt x="1908" y="2643"/>
                  </a:lnTo>
                  <a:lnTo>
                    <a:pt x="1888" y="2646"/>
                  </a:lnTo>
                  <a:lnTo>
                    <a:pt x="1869" y="2649"/>
                  </a:lnTo>
                  <a:lnTo>
                    <a:pt x="1846" y="2651"/>
                  </a:lnTo>
                  <a:lnTo>
                    <a:pt x="1827" y="2651"/>
                  </a:lnTo>
                  <a:lnTo>
                    <a:pt x="1811" y="2651"/>
                  </a:lnTo>
                  <a:lnTo>
                    <a:pt x="1795" y="2651"/>
                  </a:lnTo>
                  <a:lnTo>
                    <a:pt x="1777" y="2651"/>
                  </a:lnTo>
                  <a:lnTo>
                    <a:pt x="1759" y="2650"/>
                  </a:lnTo>
                  <a:lnTo>
                    <a:pt x="1743" y="2647"/>
                  </a:lnTo>
                  <a:lnTo>
                    <a:pt x="1736" y="2646"/>
                  </a:lnTo>
                  <a:lnTo>
                    <a:pt x="1728" y="2643"/>
                  </a:lnTo>
                  <a:lnTo>
                    <a:pt x="1721" y="2640"/>
                  </a:lnTo>
                  <a:lnTo>
                    <a:pt x="1712" y="2637"/>
                  </a:lnTo>
                  <a:lnTo>
                    <a:pt x="1705" y="2631"/>
                  </a:lnTo>
                  <a:lnTo>
                    <a:pt x="1699" y="2626"/>
                  </a:lnTo>
                  <a:lnTo>
                    <a:pt x="1694" y="2619"/>
                  </a:lnTo>
                  <a:lnTo>
                    <a:pt x="1689" y="2614"/>
                  </a:lnTo>
                  <a:lnTo>
                    <a:pt x="1684" y="2609"/>
                  </a:lnTo>
                  <a:lnTo>
                    <a:pt x="1677" y="2604"/>
                  </a:lnTo>
                  <a:lnTo>
                    <a:pt x="1674" y="2602"/>
                  </a:lnTo>
                  <a:lnTo>
                    <a:pt x="1671" y="2601"/>
                  </a:lnTo>
                  <a:lnTo>
                    <a:pt x="1668" y="2600"/>
                  </a:lnTo>
                  <a:lnTo>
                    <a:pt x="1663" y="2600"/>
                  </a:lnTo>
                  <a:lnTo>
                    <a:pt x="1655" y="2601"/>
                  </a:lnTo>
                  <a:lnTo>
                    <a:pt x="1647" y="2603"/>
                  </a:lnTo>
                  <a:lnTo>
                    <a:pt x="1641" y="2606"/>
                  </a:lnTo>
                  <a:lnTo>
                    <a:pt x="1634" y="2611"/>
                  </a:lnTo>
                  <a:lnTo>
                    <a:pt x="1622" y="2622"/>
                  </a:lnTo>
                  <a:lnTo>
                    <a:pt x="1608" y="2630"/>
                  </a:lnTo>
                  <a:lnTo>
                    <a:pt x="1591" y="2639"/>
                  </a:lnTo>
                  <a:lnTo>
                    <a:pt x="1575" y="2646"/>
                  </a:lnTo>
                  <a:lnTo>
                    <a:pt x="1559" y="2653"/>
                  </a:lnTo>
                  <a:lnTo>
                    <a:pt x="1541" y="2661"/>
                  </a:lnTo>
                  <a:lnTo>
                    <a:pt x="1533" y="2667"/>
                  </a:lnTo>
                  <a:lnTo>
                    <a:pt x="1526" y="2673"/>
                  </a:lnTo>
                  <a:lnTo>
                    <a:pt x="1521" y="2680"/>
                  </a:lnTo>
                  <a:lnTo>
                    <a:pt x="1515" y="2686"/>
                  </a:lnTo>
                  <a:lnTo>
                    <a:pt x="1510" y="2694"/>
                  </a:lnTo>
                  <a:lnTo>
                    <a:pt x="1505" y="2700"/>
                  </a:lnTo>
                  <a:lnTo>
                    <a:pt x="1498" y="2707"/>
                  </a:lnTo>
                  <a:lnTo>
                    <a:pt x="1491" y="2712"/>
                  </a:lnTo>
                  <a:lnTo>
                    <a:pt x="1489" y="2703"/>
                  </a:lnTo>
                  <a:lnTo>
                    <a:pt x="1487" y="2693"/>
                  </a:lnTo>
                  <a:lnTo>
                    <a:pt x="1484" y="2683"/>
                  </a:lnTo>
                  <a:lnTo>
                    <a:pt x="1481" y="2674"/>
                  </a:lnTo>
                  <a:lnTo>
                    <a:pt x="1476" y="2667"/>
                  </a:lnTo>
                  <a:lnTo>
                    <a:pt x="1470" y="2661"/>
                  </a:lnTo>
                  <a:lnTo>
                    <a:pt x="1467" y="2659"/>
                  </a:lnTo>
                  <a:lnTo>
                    <a:pt x="1464" y="2657"/>
                  </a:lnTo>
                  <a:lnTo>
                    <a:pt x="1459" y="2656"/>
                  </a:lnTo>
                  <a:lnTo>
                    <a:pt x="1454" y="2656"/>
                  </a:lnTo>
                  <a:lnTo>
                    <a:pt x="1448" y="2657"/>
                  </a:lnTo>
                  <a:lnTo>
                    <a:pt x="1443" y="2658"/>
                  </a:lnTo>
                  <a:lnTo>
                    <a:pt x="1439" y="2661"/>
                  </a:lnTo>
                  <a:lnTo>
                    <a:pt x="1434" y="2665"/>
                  </a:lnTo>
                  <a:lnTo>
                    <a:pt x="1430" y="2669"/>
                  </a:lnTo>
                  <a:lnTo>
                    <a:pt x="1426" y="2672"/>
                  </a:lnTo>
                  <a:lnTo>
                    <a:pt x="1420" y="2676"/>
                  </a:lnTo>
                  <a:lnTo>
                    <a:pt x="1415" y="2679"/>
                  </a:lnTo>
                  <a:lnTo>
                    <a:pt x="1377" y="2692"/>
                  </a:lnTo>
                  <a:lnTo>
                    <a:pt x="1343" y="2704"/>
                  </a:lnTo>
                  <a:lnTo>
                    <a:pt x="1309" y="2717"/>
                  </a:lnTo>
                  <a:lnTo>
                    <a:pt x="1272" y="2732"/>
                  </a:lnTo>
                  <a:lnTo>
                    <a:pt x="1239" y="2733"/>
                  </a:lnTo>
                  <a:lnTo>
                    <a:pt x="1210" y="2734"/>
                  </a:lnTo>
                  <a:lnTo>
                    <a:pt x="1182" y="2738"/>
                  </a:lnTo>
                  <a:lnTo>
                    <a:pt x="1149" y="2742"/>
                  </a:lnTo>
                  <a:lnTo>
                    <a:pt x="1136" y="2745"/>
                  </a:lnTo>
                  <a:lnTo>
                    <a:pt x="1125" y="2747"/>
                  </a:lnTo>
                  <a:lnTo>
                    <a:pt x="1115" y="2750"/>
                  </a:lnTo>
                  <a:lnTo>
                    <a:pt x="1104" y="2754"/>
                  </a:lnTo>
                  <a:lnTo>
                    <a:pt x="1100" y="2757"/>
                  </a:lnTo>
                  <a:lnTo>
                    <a:pt x="1095" y="2760"/>
                  </a:lnTo>
                  <a:lnTo>
                    <a:pt x="1093" y="2764"/>
                  </a:lnTo>
                  <a:lnTo>
                    <a:pt x="1090" y="2768"/>
                  </a:lnTo>
                  <a:lnTo>
                    <a:pt x="1087" y="2778"/>
                  </a:lnTo>
                  <a:lnTo>
                    <a:pt x="1081" y="2788"/>
                  </a:lnTo>
                  <a:lnTo>
                    <a:pt x="1075" y="2800"/>
                  </a:lnTo>
                  <a:lnTo>
                    <a:pt x="1068" y="2811"/>
                  </a:lnTo>
                  <a:lnTo>
                    <a:pt x="1061" y="2821"/>
                  </a:lnTo>
                  <a:lnTo>
                    <a:pt x="1053" y="2832"/>
                  </a:lnTo>
                  <a:lnTo>
                    <a:pt x="1049" y="2842"/>
                  </a:lnTo>
                  <a:lnTo>
                    <a:pt x="1044" y="2849"/>
                  </a:lnTo>
                  <a:lnTo>
                    <a:pt x="1040" y="2857"/>
                  </a:lnTo>
                  <a:lnTo>
                    <a:pt x="1036" y="2863"/>
                  </a:lnTo>
                  <a:lnTo>
                    <a:pt x="1030" y="2869"/>
                  </a:lnTo>
                  <a:lnTo>
                    <a:pt x="1024" y="2875"/>
                  </a:lnTo>
                  <a:lnTo>
                    <a:pt x="1016" y="2881"/>
                  </a:lnTo>
                  <a:lnTo>
                    <a:pt x="1009" y="2886"/>
                  </a:lnTo>
                  <a:lnTo>
                    <a:pt x="999" y="2893"/>
                  </a:lnTo>
                  <a:lnTo>
                    <a:pt x="993" y="2901"/>
                  </a:lnTo>
                  <a:lnTo>
                    <a:pt x="988" y="2906"/>
                  </a:lnTo>
                  <a:lnTo>
                    <a:pt x="985" y="2909"/>
                  </a:lnTo>
                  <a:lnTo>
                    <a:pt x="981" y="2912"/>
                  </a:lnTo>
                  <a:lnTo>
                    <a:pt x="975" y="2914"/>
                  </a:lnTo>
                  <a:lnTo>
                    <a:pt x="966" y="2915"/>
                  </a:lnTo>
                  <a:lnTo>
                    <a:pt x="957" y="2915"/>
                  </a:lnTo>
                  <a:lnTo>
                    <a:pt x="953" y="2915"/>
                  </a:lnTo>
                  <a:lnTo>
                    <a:pt x="949" y="2915"/>
                  </a:lnTo>
                  <a:lnTo>
                    <a:pt x="945" y="2917"/>
                  </a:lnTo>
                  <a:lnTo>
                    <a:pt x="941" y="2920"/>
                  </a:lnTo>
                  <a:lnTo>
                    <a:pt x="932" y="2928"/>
                  </a:lnTo>
                  <a:lnTo>
                    <a:pt x="923" y="2938"/>
                  </a:lnTo>
                  <a:lnTo>
                    <a:pt x="918" y="2948"/>
                  </a:lnTo>
                  <a:lnTo>
                    <a:pt x="913" y="2958"/>
                  </a:lnTo>
                  <a:lnTo>
                    <a:pt x="905" y="2980"/>
                  </a:lnTo>
                  <a:lnTo>
                    <a:pt x="900" y="3006"/>
                  </a:lnTo>
                  <a:lnTo>
                    <a:pt x="900" y="3006"/>
                  </a:lnTo>
                  <a:lnTo>
                    <a:pt x="892" y="3001"/>
                  </a:lnTo>
                  <a:lnTo>
                    <a:pt x="886" y="2995"/>
                  </a:lnTo>
                  <a:lnTo>
                    <a:pt x="879" y="2991"/>
                  </a:lnTo>
                  <a:lnTo>
                    <a:pt x="872" y="2988"/>
                  </a:lnTo>
                  <a:lnTo>
                    <a:pt x="856" y="2982"/>
                  </a:lnTo>
                  <a:lnTo>
                    <a:pt x="840" y="2976"/>
                  </a:lnTo>
                  <a:lnTo>
                    <a:pt x="817" y="2965"/>
                  </a:lnTo>
                  <a:lnTo>
                    <a:pt x="795" y="2956"/>
                  </a:lnTo>
                  <a:lnTo>
                    <a:pt x="774" y="2947"/>
                  </a:lnTo>
                  <a:lnTo>
                    <a:pt x="756" y="2937"/>
                  </a:lnTo>
                  <a:lnTo>
                    <a:pt x="746" y="2931"/>
                  </a:lnTo>
                  <a:lnTo>
                    <a:pt x="738" y="2925"/>
                  </a:lnTo>
                  <a:lnTo>
                    <a:pt x="730" y="2919"/>
                  </a:lnTo>
                  <a:lnTo>
                    <a:pt x="721" y="2911"/>
                  </a:lnTo>
                  <a:lnTo>
                    <a:pt x="714" y="2903"/>
                  </a:lnTo>
                  <a:lnTo>
                    <a:pt x="706" y="2895"/>
                  </a:lnTo>
                  <a:lnTo>
                    <a:pt x="699" y="2885"/>
                  </a:lnTo>
                  <a:lnTo>
                    <a:pt x="692" y="2874"/>
                  </a:lnTo>
                  <a:lnTo>
                    <a:pt x="687" y="2867"/>
                  </a:lnTo>
                  <a:lnTo>
                    <a:pt x="682" y="2860"/>
                  </a:lnTo>
                  <a:lnTo>
                    <a:pt x="676" y="2854"/>
                  </a:lnTo>
                  <a:lnTo>
                    <a:pt x="670" y="2848"/>
                  </a:lnTo>
                  <a:lnTo>
                    <a:pt x="658" y="2840"/>
                  </a:lnTo>
                  <a:lnTo>
                    <a:pt x="645" y="2831"/>
                  </a:lnTo>
                  <a:lnTo>
                    <a:pt x="617" y="2818"/>
                  </a:lnTo>
                  <a:lnTo>
                    <a:pt x="585" y="2802"/>
                  </a:lnTo>
                  <a:lnTo>
                    <a:pt x="551" y="2780"/>
                  </a:lnTo>
                  <a:lnTo>
                    <a:pt x="521" y="2760"/>
                  </a:lnTo>
                  <a:lnTo>
                    <a:pt x="490" y="2739"/>
                  </a:lnTo>
                  <a:lnTo>
                    <a:pt x="457" y="2718"/>
                  </a:lnTo>
                  <a:lnTo>
                    <a:pt x="430" y="2700"/>
                  </a:lnTo>
                  <a:lnTo>
                    <a:pt x="405" y="2683"/>
                  </a:lnTo>
                  <a:lnTo>
                    <a:pt x="383" y="2666"/>
                  </a:lnTo>
                  <a:lnTo>
                    <a:pt x="363" y="2650"/>
                  </a:lnTo>
                  <a:lnTo>
                    <a:pt x="342" y="2632"/>
                  </a:lnTo>
                  <a:lnTo>
                    <a:pt x="322" y="2615"/>
                  </a:lnTo>
                  <a:lnTo>
                    <a:pt x="299" y="2597"/>
                  </a:lnTo>
                  <a:lnTo>
                    <a:pt x="274" y="2577"/>
                  </a:lnTo>
                  <a:lnTo>
                    <a:pt x="254" y="2563"/>
                  </a:lnTo>
                  <a:lnTo>
                    <a:pt x="234" y="2550"/>
                  </a:lnTo>
                  <a:lnTo>
                    <a:pt x="225" y="2544"/>
                  </a:lnTo>
                  <a:lnTo>
                    <a:pt x="216" y="2536"/>
                  </a:lnTo>
                  <a:lnTo>
                    <a:pt x="207" y="2529"/>
                  </a:lnTo>
                  <a:lnTo>
                    <a:pt x="199" y="2519"/>
                  </a:lnTo>
                  <a:lnTo>
                    <a:pt x="176" y="2492"/>
                  </a:lnTo>
                  <a:lnTo>
                    <a:pt x="157" y="2468"/>
                  </a:lnTo>
                  <a:lnTo>
                    <a:pt x="145" y="2458"/>
                  </a:lnTo>
                  <a:lnTo>
                    <a:pt x="133" y="2450"/>
                  </a:lnTo>
                  <a:lnTo>
                    <a:pt x="119" y="2441"/>
                  </a:lnTo>
                  <a:lnTo>
                    <a:pt x="104" y="2435"/>
                  </a:lnTo>
                  <a:lnTo>
                    <a:pt x="93" y="2431"/>
                  </a:lnTo>
                  <a:lnTo>
                    <a:pt x="83" y="2429"/>
                  </a:lnTo>
                  <a:lnTo>
                    <a:pt x="73" y="2428"/>
                  </a:lnTo>
                  <a:lnTo>
                    <a:pt x="65" y="2427"/>
                  </a:lnTo>
                  <a:lnTo>
                    <a:pt x="45" y="2426"/>
                  </a:lnTo>
                  <a:lnTo>
                    <a:pt x="25" y="2423"/>
                  </a:lnTo>
                  <a:lnTo>
                    <a:pt x="25" y="2412"/>
                  </a:lnTo>
                  <a:lnTo>
                    <a:pt x="25" y="2400"/>
                  </a:lnTo>
                  <a:lnTo>
                    <a:pt x="26" y="2387"/>
                  </a:lnTo>
                  <a:lnTo>
                    <a:pt x="27" y="2375"/>
                  </a:lnTo>
                  <a:lnTo>
                    <a:pt x="30" y="2364"/>
                  </a:lnTo>
                  <a:lnTo>
                    <a:pt x="33" y="2355"/>
                  </a:lnTo>
                  <a:lnTo>
                    <a:pt x="37" y="2344"/>
                  </a:lnTo>
                  <a:lnTo>
                    <a:pt x="40" y="2333"/>
                  </a:lnTo>
                  <a:lnTo>
                    <a:pt x="43" y="2321"/>
                  </a:lnTo>
                  <a:lnTo>
                    <a:pt x="44" y="2308"/>
                  </a:lnTo>
                  <a:lnTo>
                    <a:pt x="46" y="2278"/>
                  </a:lnTo>
                  <a:lnTo>
                    <a:pt x="48" y="2249"/>
                  </a:lnTo>
                  <a:lnTo>
                    <a:pt x="49" y="2235"/>
                  </a:lnTo>
                  <a:lnTo>
                    <a:pt x="51" y="2221"/>
                  </a:lnTo>
                  <a:lnTo>
                    <a:pt x="53" y="2206"/>
                  </a:lnTo>
                  <a:lnTo>
                    <a:pt x="55" y="2191"/>
                  </a:lnTo>
                  <a:lnTo>
                    <a:pt x="55" y="2191"/>
                  </a:lnTo>
                  <a:lnTo>
                    <a:pt x="53" y="2174"/>
                  </a:lnTo>
                  <a:lnTo>
                    <a:pt x="50" y="2159"/>
                  </a:lnTo>
                  <a:lnTo>
                    <a:pt x="45" y="2144"/>
                  </a:lnTo>
                  <a:lnTo>
                    <a:pt x="41" y="2130"/>
                  </a:lnTo>
                  <a:lnTo>
                    <a:pt x="32" y="2101"/>
                  </a:lnTo>
                  <a:lnTo>
                    <a:pt x="22" y="2071"/>
                  </a:lnTo>
                  <a:lnTo>
                    <a:pt x="14" y="2059"/>
                  </a:lnTo>
                  <a:lnTo>
                    <a:pt x="6" y="2048"/>
                  </a:lnTo>
                  <a:lnTo>
                    <a:pt x="4" y="2042"/>
                  </a:lnTo>
                  <a:lnTo>
                    <a:pt x="1" y="2036"/>
                  </a:lnTo>
                  <a:lnTo>
                    <a:pt x="0" y="2030"/>
                  </a:lnTo>
                  <a:lnTo>
                    <a:pt x="0" y="2022"/>
                  </a:lnTo>
                  <a:lnTo>
                    <a:pt x="0" y="2016"/>
                  </a:lnTo>
                  <a:lnTo>
                    <a:pt x="1" y="2008"/>
                  </a:lnTo>
                  <a:lnTo>
                    <a:pt x="2" y="2003"/>
                  </a:lnTo>
                  <a:lnTo>
                    <a:pt x="4" y="1996"/>
                  </a:lnTo>
                  <a:lnTo>
                    <a:pt x="10" y="1985"/>
                  </a:lnTo>
                  <a:lnTo>
                    <a:pt x="16" y="1975"/>
                  </a:lnTo>
                  <a:lnTo>
                    <a:pt x="32" y="1955"/>
                  </a:lnTo>
                  <a:lnTo>
                    <a:pt x="50" y="1932"/>
                  </a:lnTo>
                  <a:lnTo>
                    <a:pt x="58" y="1922"/>
                  </a:lnTo>
                  <a:lnTo>
                    <a:pt x="66" y="1912"/>
                  </a:lnTo>
                  <a:lnTo>
                    <a:pt x="75" y="1902"/>
                  </a:lnTo>
                  <a:lnTo>
                    <a:pt x="83" y="1894"/>
                  </a:lnTo>
                  <a:lnTo>
                    <a:pt x="102" y="1880"/>
                  </a:lnTo>
                  <a:lnTo>
                    <a:pt x="121" y="1867"/>
                  </a:lnTo>
                  <a:lnTo>
                    <a:pt x="162" y="1843"/>
                  </a:lnTo>
                  <a:lnTo>
                    <a:pt x="207" y="1815"/>
                  </a:lnTo>
                  <a:lnTo>
                    <a:pt x="216" y="1808"/>
                  </a:lnTo>
                  <a:lnTo>
                    <a:pt x="224" y="1800"/>
                  </a:lnTo>
                  <a:lnTo>
                    <a:pt x="230" y="1791"/>
                  </a:lnTo>
                  <a:lnTo>
                    <a:pt x="235" y="1782"/>
                  </a:lnTo>
                  <a:lnTo>
                    <a:pt x="244" y="1762"/>
                  </a:lnTo>
                  <a:lnTo>
                    <a:pt x="252" y="1739"/>
                  </a:lnTo>
                  <a:lnTo>
                    <a:pt x="261" y="1715"/>
                  </a:lnTo>
                  <a:lnTo>
                    <a:pt x="272" y="1695"/>
                  </a:lnTo>
                  <a:lnTo>
                    <a:pt x="276" y="1684"/>
                  </a:lnTo>
                  <a:lnTo>
                    <a:pt x="280" y="1673"/>
                  </a:lnTo>
                  <a:lnTo>
                    <a:pt x="282" y="1661"/>
                  </a:lnTo>
                  <a:lnTo>
                    <a:pt x="283" y="1647"/>
                  </a:lnTo>
                  <a:lnTo>
                    <a:pt x="283" y="1632"/>
                  </a:lnTo>
                  <a:lnTo>
                    <a:pt x="283" y="1619"/>
                  </a:lnTo>
                  <a:lnTo>
                    <a:pt x="283" y="1605"/>
                  </a:lnTo>
                  <a:lnTo>
                    <a:pt x="283" y="1590"/>
                  </a:lnTo>
                  <a:lnTo>
                    <a:pt x="283" y="1586"/>
                  </a:lnTo>
                  <a:lnTo>
                    <a:pt x="284" y="1581"/>
                  </a:lnTo>
                  <a:lnTo>
                    <a:pt x="285" y="1577"/>
                  </a:lnTo>
                  <a:lnTo>
                    <a:pt x="287" y="1574"/>
                  </a:lnTo>
                  <a:lnTo>
                    <a:pt x="294" y="1569"/>
                  </a:lnTo>
                  <a:lnTo>
                    <a:pt x="301" y="1564"/>
                  </a:lnTo>
                  <a:lnTo>
                    <a:pt x="320" y="1558"/>
                  </a:lnTo>
                  <a:lnTo>
                    <a:pt x="339" y="1551"/>
                  </a:lnTo>
                  <a:lnTo>
                    <a:pt x="346" y="1549"/>
                  </a:lnTo>
                  <a:lnTo>
                    <a:pt x="351" y="1547"/>
                  </a:lnTo>
                  <a:lnTo>
                    <a:pt x="356" y="1544"/>
                  </a:lnTo>
                  <a:lnTo>
                    <a:pt x="362" y="1540"/>
                  </a:lnTo>
                  <a:lnTo>
                    <a:pt x="373" y="1532"/>
                  </a:lnTo>
                  <a:lnTo>
                    <a:pt x="383" y="1524"/>
                  </a:lnTo>
                  <a:lnTo>
                    <a:pt x="389" y="1519"/>
                  </a:lnTo>
                  <a:lnTo>
                    <a:pt x="394" y="1512"/>
                  </a:lnTo>
                  <a:lnTo>
                    <a:pt x="399" y="1506"/>
                  </a:lnTo>
                  <a:lnTo>
                    <a:pt x="402" y="1500"/>
                  </a:lnTo>
                  <a:lnTo>
                    <a:pt x="406" y="1494"/>
                  </a:lnTo>
                  <a:lnTo>
                    <a:pt x="410" y="1489"/>
                  </a:lnTo>
                  <a:lnTo>
                    <a:pt x="416" y="1484"/>
                  </a:lnTo>
                  <a:lnTo>
                    <a:pt x="422" y="1482"/>
                  </a:lnTo>
                  <a:lnTo>
                    <a:pt x="442" y="1478"/>
                  </a:lnTo>
                  <a:lnTo>
                    <a:pt x="459" y="1477"/>
                  </a:lnTo>
                  <a:lnTo>
                    <a:pt x="476" y="1476"/>
                  </a:lnTo>
                  <a:lnTo>
                    <a:pt x="496" y="1476"/>
                  </a:lnTo>
                  <a:lnTo>
                    <a:pt x="526" y="1478"/>
                  </a:lnTo>
                  <a:lnTo>
                    <a:pt x="555" y="1481"/>
                  </a:lnTo>
                  <a:lnTo>
                    <a:pt x="568" y="1481"/>
                  </a:lnTo>
                  <a:lnTo>
                    <a:pt x="581" y="1479"/>
                  </a:lnTo>
                  <a:lnTo>
                    <a:pt x="588" y="1478"/>
                  </a:lnTo>
                  <a:lnTo>
                    <a:pt x="595" y="1475"/>
                  </a:lnTo>
                  <a:lnTo>
                    <a:pt x="602" y="1471"/>
                  </a:lnTo>
                  <a:lnTo>
                    <a:pt x="608" y="1468"/>
                  </a:lnTo>
                  <a:lnTo>
                    <a:pt x="616" y="1462"/>
                  </a:lnTo>
                  <a:lnTo>
                    <a:pt x="623" y="1455"/>
                  </a:lnTo>
                  <a:lnTo>
                    <a:pt x="630" y="1449"/>
                  </a:lnTo>
                  <a:lnTo>
                    <a:pt x="636" y="1442"/>
                  </a:lnTo>
                  <a:lnTo>
                    <a:pt x="642" y="1436"/>
                  </a:lnTo>
                  <a:lnTo>
                    <a:pt x="646" y="1428"/>
                  </a:lnTo>
                  <a:lnTo>
                    <a:pt x="650" y="1421"/>
                  </a:lnTo>
                  <a:lnTo>
                    <a:pt x="653" y="1413"/>
                  </a:lnTo>
                  <a:lnTo>
                    <a:pt x="660" y="1397"/>
                  </a:lnTo>
                  <a:lnTo>
                    <a:pt x="663" y="1378"/>
                  </a:lnTo>
                  <a:lnTo>
                    <a:pt x="666" y="1360"/>
                  </a:lnTo>
                  <a:lnTo>
                    <a:pt x="666" y="1341"/>
                  </a:lnTo>
                  <a:lnTo>
                    <a:pt x="665" y="1329"/>
                  </a:lnTo>
                  <a:lnTo>
                    <a:pt x="662" y="1320"/>
                  </a:lnTo>
                  <a:lnTo>
                    <a:pt x="660" y="1310"/>
                  </a:lnTo>
                  <a:lnTo>
                    <a:pt x="658" y="1300"/>
                  </a:lnTo>
                  <a:lnTo>
                    <a:pt x="659" y="1290"/>
                  </a:lnTo>
                  <a:lnTo>
                    <a:pt x="660" y="1281"/>
                  </a:lnTo>
                  <a:lnTo>
                    <a:pt x="661" y="1273"/>
                  </a:lnTo>
                  <a:lnTo>
                    <a:pt x="664" y="1265"/>
                  </a:lnTo>
                  <a:lnTo>
                    <a:pt x="666" y="1257"/>
                  </a:lnTo>
                  <a:lnTo>
                    <a:pt x="671" y="1250"/>
                  </a:lnTo>
                  <a:lnTo>
                    <a:pt x="674" y="1243"/>
                  </a:lnTo>
                  <a:lnTo>
                    <a:pt x="678" y="1237"/>
                  </a:lnTo>
                  <a:lnTo>
                    <a:pt x="700" y="1211"/>
                  </a:lnTo>
                  <a:lnTo>
                    <a:pt x="726" y="1185"/>
                  </a:lnTo>
                  <a:lnTo>
                    <a:pt x="739" y="1168"/>
                  </a:lnTo>
                  <a:lnTo>
                    <a:pt x="751" y="1152"/>
                  </a:lnTo>
                  <a:lnTo>
                    <a:pt x="757" y="1144"/>
                  </a:lnTo>
                  <a:lnTo>
                    <a:pt x="765" y="1139"/>
                  </a:lnTo>
                  <a:lnTo>
                    <a:pt x="769" y="1137"/>
                  </a:lnTo>
                  <a:lnTo>
                    <a:pt x="774" y="1135"/>
                  </a:lnTo>
                  <a:lnTo>
                    <a:pt x="779" y="1134"/>
                  </a:lnTo>
                  <a:lnTo>
                    <a:pt x="784" y="1134"/>
                  </a:lnTo>
                  <a:lnTo>
                    <a:pt x="793" y="1134"/>
                  </a:lnTo>
                  <a:lnTo>
                    <a:pt x="800" y="1135"/>
                  </a:lnTo>
                  <a:lnTo>
                    <a:pt x="808" y="1138"/>
                  </a:lnTo>
                  <a:lnTo>
                    <a:pt x="815" y="1140"/>
                  </a:lnTo>
                  <a:lnTo>
                    <a:pt x="822" y="1142"/>
                  </a:lnTo>
                  <a:lnTo>
                    <a:pt x="829" y="1144"/>
                  </a:lnTo>
                  <a:lnTo>
                    <a:pt x="837" y="1145"/>
                  </a:lnTo>
                  <a:lnTo>
                    <a:pt x="846" y="1145"/>
                  </a:lnTo>
                  <a:lnTo>
                    <a:pt x="853" y="1145"/>
                  </a:lnTo>
                  <a:lnTo>
                    <a:pt x="861" y="1143"/>
                  </a:lnTo>
                  <a:lnTo>
                    <a:pt x="866" y="1141"/>
                  </a:lnTo>
                  <a:lnTo>
                    <a:pt x="873" y="1138"/>
                  </a:lnTo>
                  <a:lnTo>
                    <a:pt x="878" y="1134"/>
                  </a:lnTo>
                  <a:lnTo>
                    <a:pt x="882" y="1130"/>
                  </a:lnTo>
                  <a:lnTo>
                    <a:pt x="887" y="1125"/>
                  </a:lnTo>
                  <a:lnTo>
                    <a:pt x="891" y="1119"/>
                  </a:lnTo>
                  <a:lnTo>
                    <a:pt x="899" y="1106"/>
                  </a:lnTo>
                  <a:lnTo>
                    <a:pt x="904" y="1093"/>
                  </a:lnTo>
                  <a:lnTo>
                    <a:pt x="911" y="1078"/>
                  </a:lnTo>
                  <a:lnTo>
                    <a:pt x="916" y="1064"/>
                  </a:lnTo>
                  <a:lnTo>
                    <a:pt x="920" y="1056"/>
                  </a:lnTo>
                  <a:lnTo>
                    <a:pt x="925" y="1048"/>
                  </a:lnTo>
                  <a:lnTo>
                    <a:pt x="930" y="1040"/>
                  </a:lnTo>
                  <a:lnTo>
                    <a:pt x="935" y="1034"/>
                  </a:lnTo>
                  <a:lnTo>
                    <a:pt x="947" y="1022"/>
                  </a:lnTo>
                  <a:lnTo>
                    <a:pt x="960" y="1011"/>
                  </a:lnTo>
                  <a:lnTo>
                    <a:pt x="966" y="1006"/>
                  </a:lnTo>
                  <a:lnTo>
                    <a:pt x="971" y="999"/>
                  </a:lnTo>
                  <a:lnTo>
                    <a:pt x="976" y="994"/>
                  </a:lnTo>
                  <a:lnTo>
                    <a:pt x="981" y="987"/>
                  </a:lnTo>
                  <a:lnTo>
                    <a:pt x="984" y="981"/>
                  </a:lnTo>
                  <a:lnTo>
                    <a:pt x="986" y="973"/>
                  </a:lnTo>
                  <a:lnTo>
                    <a:pt x="988" y="965"/>
                  </a:lnTo>
                  <a:lnTo>
                    <a:pt x="989" y="955"/>
                  </a:lnTo>
                  <a:lnTo>
                    <a:pt x="989" y="936"/>
                  </a:lnTo>
                  <a:lnTo>
                    <a:pt x="989" y="918"/>
                  </a:lnTo>
                  <a:lnTo>
                    <a:pt x="989" y="901"/>
                  </a:lnTo>
                  <a:lnTo>
                    <a:pt x="989" y="882"/>
                  </a:lnTo>
                  <a:lnTo>
                    <a:pt x="989" y="870"/>
                  </a:lnTo>
                  <a:lnTo>
                    <a:pt x="990" y="860"/>
                  </a:lnTo>
                  <a:lnTo>
                    <a:pt x="993" y="850"/>
                  </a:lnTo>
                  <a:lnTo>
                    <a:pt x="995" y="841"/>
                  </a:lnTo>
                  <a:lnTo>
                    <a:pt x="1001" y="823"/>
                  </a:lnTo>
                  <a:lnTo>
                    <a:pt x="1010" y="807"/>
                  </a:lnTo>
                  <a:lnTo>
                    <a:pt x="1019" y="791"/>
                  </a:lnTo>
                  <a:lnTo>
                    <a:pt x="1026" y="774"/>
                  </a:lnTo>
                  <a:lnTo>
                    <a:pt x="1030" y="764"/>
                  </a:lnTo>
                  <a:lnTo>
                    <a:pt x="1034" y="754"/>
                  </a:lnTo>
                  <a:lnTo>
                    <a:pt x="1037" y="744"/>
                  </a:lnTo>
                  <a:lnTo>
                    <a:pt x="1039" y="734"/>
                  </a:lnTo>
                  <a:lnTo>
                    <a:pt x="1041" y="719"/>
                  </a:lnTo>
                  <a:lnTo>
                    <a:pt x="1042" y="706"/>
                  </a:lnTo>
                  <a:lnTo>
                    <a:pt x="1043" y="693"/>
                  </a:lnTo>
                  <a:lnTo>
                    <a:pt x="1043" y="680"/>
                  </a:lnTo>
                  <a:lnTo>
                    <a:pt x="1042" y="668"/>
                  </a:lnTo>
                  <a:lnTo>
                    <a:pt x="1042" y="655"/>
                  </a:lnTo>
                  <a:lnTo>
                    <a:pt x="1043" y="642"/>
                  </a:lnTo>
                  <a:lnTo>
                    <a:pt x="1044" y="627"/>
                  </a:lnTo>
                  <a:lnTo>
                    <a:pt x="1048" y="614"/>
                  </a:lnTo>
                  <a:lnTo>
                    <a:pt x="1052" y="603"/>
                  </a:lnTo>
                  <a:lnTo>
                    <a:pt x="1058" y="593"/>
                  </a:lnTo>
                  <a:lnTo>
                    <a:pt x="1065" y="585"/>
                  </a:lnTo>
                  <a:lnTo>
                    <a:pt x="1071" y="575"/>
                  </a:lnTo>
                  <a:lnTo>
                    <a:pt x="1078" y="565"/>
                  </a:lnTo>
                  <a:lnTo>
                    <a:pt x="1084" y="554"/>
                  </a:lnTo>
                  <a:lnTo>
                    <a:pt x="1090" y="543"/>
                  </a:lnTo>
                  <a:lnTo>
                    <a:pt x="1100" y="514"/>
                  </a:lnTo>
                  <a:lnTo>
                    <a:pt x="1107" y="490"/>
                  </a:lnTo>
                  <a:lnTo>
                    <a:pt x="1111" y="478"/>
                  </a:lnTo>
                  <a:lnTo>
                    <a:pt x="1117" y="466"/>
                  </a:lnTo>
                  <a:lnTo>
                    <a:pt x="1122" y="453"/>
                  </a:lnTo>
                  <a:lnTo>
                    <a:pt x="1129" y="439"/>
                  </a:lnTo>
                  <a:lnTo>
                    <a:pt x="1135" y="426"/>
                  </a:lnTo>
                  <a:lnTo>
                    <a:pt x="1141" y="413"/>
                  </a:lnTo>
                  <a:lnTo>
                    <a:pt x="1145" y="401"/>
                  </a:lnTo>
                  <a:lnTo>
                    <a:pt x="1148" y="388"/>
                  </a:lnTo>
                  <a:lnTo>
                    <a:pt x="1154" y="363"/>
                  </a:lnTo>
                  <a:lnTo>
                    <a:pt x="1162" y="335"/>
                  </a:lnTo>
                  <a:lnTo>
                    <a:pt x="1171" y="316"/>
                  </a:lnTo>
                  <a:lnTo>
                    <a:pt x="1181" y="298"/>
                  </a:lnTo>
                  <a:lnTo>
                    <a:pt x="1190" y="282"/>
                  </a:lnTo>
                  <a:lnTo>
                    <a:pt x="1200" y="267"/>
                  </a:lnTo>
                  <a:lnTo>
                    <a:pt x="1209" y="252"/>
                  </a:lnTo>
                  <a:lnTo>
                    <a:pt x="1218" y="236"/>
                  </a:lnTo>
                  <a:lnTo>
                    <a:pt x="1226" y="219"/>
                  </a:lnTo>
                  <a:lnTo>
                    <a:pt x="1232" y="198"/>
                  </a:lnTo>
                  <a:lnTo>
                    <a:pt x="1241" y="169"/>
                  </a:lnTo>
                  <a:lnTo>
                    <a:pt x="1249" y="142"/>
                  </a:lnTo>
                  <a:lnTo>
                    <a:pt x="1257" y="116"/>
                  </a:lnTo>
                  <a:lnTo>
                    <a:pt x="1266" y="91"/>
                  </a:lnTo>
                  <a:lnTo>
                    <a:pt x="1271" y="80"/>
                  </a:lnTo>
                  <a:lnTo>
                    <a:pt x="1277" y="68"/>
                  </a:lnTo>
                  <a:lnTo>
                    <a:pt x="1283" y="57"/>
                  </a:lnTo>
                  <a:lnTo>
                    <a:pt x="1290" y="46"/>
                  </a:lnTo>
                  <a:lnTo>
                    <a:pt x="1297" y="34"/>
                  </a:lnTo>
                  <a:lnTo>
                    <a:pt x="1306" y="23"/>
                  </a:lnTo>
                  <a:lnTo>
                    <a:pt x="1316" y="12"/>
                  </a:lnTo>
                  <a:lnTo>
                    <a:pt x="1327" y="0"/>
                  </a:lnTo>
                  <a:lnTo>
                    <a:pt x="1327" y="0"/>
                  </a:lnTo>
                  <a:lnTo>
                    <a:pt x="1434" y="47"/>
                  </a:lnTo>
                  <a:lnTo>
                    <a:pt x="1432" y="60"/>
                  </a:lnTo>
                  <a:lnTo>
                    <a:pt x="1428" y="72"/>
                  </a:lnTo>
                  <a:lnTo>
                    <a:pt x="1422" y="84"/>
                  </a:lnTo>
                  <a:lnTo>
                    <a:pt x="1417" y="94"/>
                  </a:lnTo>
                  <a:lnTo>
                    <a:pt x="1403" y="113"/>
                  </a:lnTo>
                  <a:lnTo>
                    <a:pt x="1388" y="131"/>
                  </a:lnTo>
                  <a:lnTo>
                    <a:pt x="1381" y="140"/>
                  </a:lnTo>
                  <a:lnTo>
                    <a:pt x="1374" y="148"/>
                  </a:lnTo>
                  <a:lnTo>
                    <a:pt x="1367" y="158"/>
                  </a:lnTo>
                  <a:lnTo>
                    <a:pt x="1362" y="168"/>
                  </a:lnTo>
                  <a:lnTo>
                    <a:pt x="1358" y="179"/>
                  </a:lnTo>
                  <a:lnTo>
                    <a:pt x="1353" y="189"/>
                  </a:lnTo>
                  <a:lnTo>
                    <a:pt x="1351" y="202"/>
                  </a:lnTo>
                  <a:lnTo>
                    <a:pt x="1350" y="215"/>
                  </a:lnTo>
                  <a:lnTo>
                    <a:pt x="1351" y="223"/>
                  </a:lnTo>
                  <a:lnTo>
                    <a:pt x="1352" y="230"/>
                  </a:lnTo>
                  <a:lnTo>
                    <a:pt x="1354" y="238"/>
                  </a:lnTo>
                  <a:lnTo>
                    <a:pt x="1358" y="244"/>
                  </a:lnTo>
                  <a:lnTo>
                    <a:pt x="1361" y="251"/>
                  </a:lnTo>
                  <a:lnTo>
                    <a:pt x="1366" y="256"/>
                  </a:lnTo>
                  <a:lnTo>
                    <a:pt x="1371" y="262"/>
                  </a:lnTo>
                  <a:lnTo>
                    <a:pt x="1376" y="267"/>
                  </a:lnTo>
                  <a:lnTo>
                    <a:pt x="1389" y="276"/>
                  </a:lnTo>
                  <a:lnTo>
                    <a:pt x="1403" y="283"/>
                  </a:lnTo>
                  <a:lnTo>
                    <a:pt x="1418" y="290"/>
                  </a:lnTo>
                  <a:lnTo>
                    <a:pt x="1434" y="296"/>
                  </a:lnTo>
                  <a:lnTo>
                    <a:pt x="1473" y="311"/>
                  </a:lnTo>
                  <a:lnTo>
                    <a:pt x="1508" y="323"/>
                  </a:lnTo>
                  <a:lnTo>
                    <a:pt x="1525" y="329"/>
                  </a:lnTo>
                  <a:lnTo>
                    <a:pt x="1542" y="332"/>
                  </a:lnTo>
                  <a:lnTo>
                    <a:pt x="1562" y="335"/>
                  </a:lnTo>
                  <a:lnTo>
                    <a:pt x="1583" y="335"/>
                  </a:lnTo>
                  <a:lnTo>
                    <a:pt x="1591" y="335"/>
                  </a:lnTo>
                  <a:lnTo>
                    <a:pt x="1600" y="334"/>
                  </a:lnTo>
                  <a:lnTo>
                    <a:pt x="1606" y="332"/>
                  </a:lnTo>
                  <a:lnTo>
                    <a:pt x="1613" y="329"/>
                  </a:lnTo>
                  <a:lnTo>
                    <a:pt x="1619" y="324"/>
                  </a:lnTo>
                  <a:lnTo>
                    <a:pt x="1626" y="320"/>
                  </a:lnTo>
                  <a:lnTo>
                    <a:pt x="1631" y="316"/>
                  </a:lnTo>
                  <a:lnTo>
                    <a:pt x="1635" y="310"/>
                  </a:lnTo>
                  <a:lnTo>
                    <a:pt x="1645" y="297"/>
                  </a:lnTo>
                  <a:lnTo>
                    <a:pt x="1654" y="284"/>
                  </a:lnTo>
                  <a:lnTo>
                    <a:pt x="1661" y="269"/>
                  </a:lnTo>
                  <a:lnTo>
                    <a:pt x="1669" y="254"/>
                  </a:lnTo>
                  <a:lnTo>
                    <a:pt x="1676" y="239"/>
                  </a:lnTo>
                  <a:lnTo>
                    <a:pt x="1684" y="224"/>
                  </a:lnTo>
                  <a:lnTo>
                    <a:pt x="1692" y="211"/>
                  </a:lnTo>
                  <a:lnTo>
                    <a:pt x="1701" y="198"/>
                  </a:lnTo>
                  <a:lnTo>
                    <a:pt x="1707" y="193"/>
                  </a:lnTo>
                  <a:lnTo>
                    <a:pt x="1712" y="188"/>
                  </a:lnTo>
                  <a:lnTo>
                    <a:pt x="1718" y="184"/>
                  </a:lnTo>
                  <a:lnTo>
                    <a:pt x="1724" y="180"/>
                  </a:lnTo>
                  <a:lnTo>
                    <a:pt x="1731" y="177"/>
                  </a:lnTo>
                  <a:lnTo>
                    <a:pt x="1738" y="174"/>
                  </a:lnTo>
                  <a:lnTo>
                    <a:pt x="1745" y="173"/>
                  </a:lnTo>
                  <a:lnTo>
                    <a:pt x="1754" y="173"/>
                  </a:lnTo>
                  <a:lnTo>
                    <a:pt x="1765" y="173"/>
                  </a:lnTo>
                  <a:lnTo>
                    <a:pt x="1775" y="175"/>
                  </a:lnTo>
                  <a:lnTo>
                    <a:pt x="1783" y="179"/>
                  </a:lnTo>
                  <a:lnTo>
                    <a:pt x="1792" y="183"/>
                  </a:lnTo>
                  <a:lnTo>
                    <a:pt x="1800" y="188"/>
                  </a:lnTo>
                  <a:lnTo>
                    <a:pt x="1808" y="195"/>
                  </a:lnTo>
                  <a:lnTo>
                    <a:pt x="1815" y="201"/>
                  </a:lnTo>
                  <a:lnTo>
                    <a:pt x="1820" y="210"/>
                  </a:lnTo>
                  <a:lnTo>
                    <a:pt x="1825" y="219"/>
                  </a:lnTo>
                  <a:lnTo>
                    <a:pt x="1831" y="227"/>
                  </a:lnTo>
                  <a:lnTo>
                    <a:pt x="1835" y="237"/>
                  </a:lnTo>
                  <a:lnTo>
                    <a:pt x="1838" y="247"/>
                  </a:lnTo>
                  <a:lnTo>
                    <a:pt x="1840" y="257"/>
                  </a:lnTo>
                  <a:lnTo>
                    <a:pt x="1843" y="268"/>
                  </a:lnTo>
                  <a:lnTo>
                    <a:pt x="1844" y="279"/>
                  </a:lnTo>
                  <a:lnTo>
                    <a:pt x="1844" y="289"/>
                  </a:lnTo>
                  <a:lnTo>
                    <a:pt x="1843" y="306"/>
                  </a:lnTo>
                  <a:lnTo>
                    <a:pt x="1840" y="320"/>
                  </a:lnTo>
                  <a:lnTo>
                    <a:pt x="1837" y="334"/>
                  </a:lnTo>
                  <a:lnTo>
                    <a:pt x="1834" y="347"/>
                  </a:lnTo>
                  <a:lnTo>
                    <a:pt x="1831" y="361"/>
                  </a:lnTo>
                  <a:lnTo>
                    <a:pt x="1827" y="374"/>
                  </a:lnTo>
                  <a:lnTo>
                    <a:pt x="1825" y="389"/>
                  </a:lnTo>
                  <a:lnTo>
                    <a:pt x="1824" y="405"/>
                  </a:lnTo>
                  <a:lnTo>
                    <a:pt x="1824" y="415"/>
                  </a:lnTo>
                  <a:lnTo>
                    <a:pt x="1825" y="424"/>
                  </a:lnTo>
                  <a:lnTo>
                    <a:pt x="1827" y="432"/>
                  </a:lnTo>
                  <a:lnTo>
                    <a:pt x="1831" y="441"/>
                  </a:lnTo>
                  <a:lnTo>
                    <a:pt x="1835" y="449"/>
                  </a:lnTo>
                  <a:lnTo>
                    <a:pt x="1840" y="454"/>
                  </a:lnTo>
                  <a:lnTo>
                    <a:pt x="1844" y="456"/>
                  </a:lnTo>
                  <a:lnTo>
                    <a:pt x="1847" y="457"/>
                  </a:lnTo>
                  <a:lnTo>
                    <a:pt x="1850" y="458"/>
                  </a:lnTo>
                  <a:lnTo>
                    <a:pt x="1854" y="458"/>
                  </a:lnTo>
                  <a:lnTo>
                    <a:pt x="1861" y="458"/>
                  </a:lnTo>
                  <a:lnTo>
                    <a:pt x="1865" y="456"/>
                  </a:lnTo>
                  <a:lnTo>
                    <a:pt x="1870" y="452"/>
                  </a:lnTo>
                  <a:lnTo>
                    <a:pt x="1873" y="447"/>
                  </a:lnTo>
                  <a:lnTo>
                    <a:pt x="1878" y="437"/>
                  </a:lnTo>
                  <a:lnTo>
                    <a:pt x="1883" y="425"/>
                  </a:lnTo>
                  <a:lnTo>
                    <a:pt x="1890" y="411"/>
                  </a:lnTo>
                  <a:lnTo>
                    <a:pt x="1898" y="398"/>
                  </a:lnTo>
                  <a:lnTo>
                    <a:pt x="1904" y="384"/>
                  </a:lnTo>
                  <a:lnTo>
                    <a:pt x="1911" y="369"/>
                  </a:lnTo>
                  <a:lnTo>
                    <a:pt x="1918" y="371"/>
                  </a:lnTo>
                  <a:lnTo>
                    <a:pt x="1925" y="374"/>
                  </a:lnTo>
                  <a:lnTo>
                    <a:pt x="1931" y="377"/>
                  </a:lnTo>
                  <a:lnTo>
                    <a:pt x="1937" y="381"/>
                  </a:lnTo>
                  <a:lnTo>
                    <a:pt x="1946" y="388"/>
                  </a:lnTo>
                  <a:lnTo>
                    <a:pt x="1957" y="397"/>
                  </a:lnTo>
                  <a:lnTo>
                    <a:pt x="1967" y="404"/>
                  </a:lnTo>
                  <a:lnTo>
                    <a:pt x="1978" y="411"/>
                  </a:lnTo>
                  <a:lnTo>
                    <a:pt x="1983" y="413"/>
                  </a:lnTo>
                  <a:lnTo>
                    <a:pt x="1989" y="415"/>
                  </a:lnTo>
                  <a:lnTo>
                    <a:pt x="1996" y="416"/>
                  </a:lnTo>
                  <a:lnTo>
                    <a:pt x="2004" y="417"/>
                  </a:lnTo>
                  <a:lnTo>
                    <a:pt x="2008" y="416"/>
                  </a:lnTo>
                  <a:lnTo>
                    <a:pt x="2011" y="415"/>
                  </a:lnTo>
                  <a:lnTo>
                    <a:pt x="2014" y="414"/>
                  </a:lnTo>
                  <a:lnTo>
                    <a:pt x="2018" y="412"/>
                  </a:lnTo>
                  <a:lnTo>
                    <a:pt x="2024" y="408"/>
                  </a:lnTo>
                  <a:lnTo>
                    <a:pt x="2028" y="401"/>
                  </a:lnTo>
                  <a:lnTo>
                    <a:pt x="2034" y="396"/>
                  </a:lnTo>
                  <a:lnTo>
                    <a:pt x="2039" y="390"/>
                  </a:lnTo>
                  <a:lnTo>
                    <a:pt x="2042" y="389"/>
                  </a:lnTo>
                  <a:lnTo>
                    <a:pt x="2046" y="387"/>
                  </a:lnTo>
                  <a:lnTo>
                    <a:pt x="2050" y="386"/>
                  </a:lnTo>
                  <a:lnTo>
                    <a:pt x="2054" y="386"/>
                  </a:lnTo>
                  <a:lnTo>
                    <a:pt x="2065" y="387"/>
                  </a:lnTo>
                  <a:lnTo>
                    <a:pt x="2074" y="390"/>
                  </a:lnTo>
                  <a:lnTo>
                    <a:pt x="2082" y="395"/>
                  </a:lnTo>
                  <a:lnTo>
                    <a:pt x="2090" y="400"/>
                  </a:lnTo>
                  <a:lnTo>
                    <a:pt x="2104" y="415"/>
                  </a:lnTo>
                  <a:lnTo>
                    <a:pt x="2118" y="431"/>
                  </a:lnTo>
                  <a:lnTo>
                    <a:pt x="2132" y="444"/>
                  </a:lnTo>
                  <a:lnTo>
                    <a:pt x="2145" y="455"/>
                  </a:lnTo>
                  <a:lnTo>
                    <a:pt x="2159" y="465"/>
                  </a:lnTo>
                  <a:lnTo>
                    <a:pt x="2172" y="473"/>
                  </a:lnTo>
                  <a:lnTo>
                    <a:pt x="2198" y="491"/>
                  </a:lnTo>
                  <a:lnTo>
                    <a:pt x="2228" y="512"/>
                  </a:lnTo>
                  <a:lnTo>
                    <a:pt x="2245" y="526"/>
                  </a:lnTo>
                  <a:lnTo>
                    <a:pt x="2262" y="537"/>
                  </a:lnTo>
                  <a:lnTo>
                    <a:pt x="2270" y="543"/>
                  </a:lnTo>
                  <a:lnTo>
                    <a:pt x="2279" y="546"/>
                  </a:lnTo>
                  <a:lnTo>
                    <a:pt x="2290" y="548"/>
                  </a:lnTo>
                  <a:lnTo>
                    <a:pt x="2301" y="549"/>
                  </a:lnTo>
                  <a:lnTo>
                    <a:pt x="2306" y="548"/>
                  </a:lnTo>
                  <a:lnTo>
                    <a:pt x="2309" y="546"/>
                  </a:lnTo>
                  <a:lnTo>
                    <a:pt x="2312" y="541"/>
                  </a:lnTo>
                  <a:lnTo>
                    <a:pt x="2315" y="537"/>
                  </a:lnTo>
                  <a:lnTo>
                    <a:pt x="2319" y="527"/>
                  </a:lnTo>
                  <a:lnTo>
                    <a:pt x="2323" y="518"/>
                  </a:lnTo>
                  <a:lnTo>
                    <a:pt x="2329" y="509"/>
                  </a:lnTo>
                  <a:lnTo>
                    <a:pt x="2334" y="500"/>
                  </a:lnTo>
                  <a:lnTo>
                    <a:pt x="2341" y="493"/>
                  </a:lnTo>
                  <a:lnTo>
                    <a:pt x="2347" y="486"/>
                  </a:lnTo>
                  <a:lnTo>
                    <a:pt x="2355" y="481"/>
                  </a:lnTo>
                  <a:lnTo>
                    <a:pt x="2362" y="477"/>
                  </a:lnTo>
                  <a:lnTo>
                    <a:pt x="2372" y="473"/>
                  </a:lnTo>
                  <a:lnTo>
                    <a:pt x="2382" y="472"/>
                  </a:lnTo>
                  <a:lnTo>
                    <a:pt x="2389" y="473"/>
                  </a:lnTo>
                  <a:lnTo>
                    <a:pt x="2397" y="476"/>
                  </a:lnTo>
                  <a:lnTo>
                    <a:pt x="2403" y="478"/>
                  </a:lnTo>
                  <a:lnTo>
                    <a:pt x="2409" y="481"/>
                  </a:lnTo>
                  <a:lnTo>
                    <a:pt x="2419" y="490"/>
                  </a:lnTo>
                  <a:lnTo>
                    <a:pt x="2430" y="499"/>
                  </a:lnTo>
                  <a:lnTo>
                    <a:pt x="2440" y="509"/>
                  </a:lnTo>
                  <a:lnTo>
                    <a:pt x="2451" y="518"/>
                  </a:lnTo>
                  <a:lnTo>
                    <a:pt x="2457" y="521"/>
                  </a:lnTo>
                  <a:lnTo>
                    <a:pt x="2464" y="524"/>
                  </a:lnTo>
                  <a:lnTo>
                    <a:pt x="2470" y="525"/>
                  </a:lnTo>
                  <a:lnTo>
                    <a:pt x="2478" y="526"/>
                  </a:lnTo>
                  <a:lnTo>
                    <a:pt x="2492" y="526"/>
                  </a:lnTo>
                  <a:lnTo>
                    <a:pt x="2504" y="526"/>
                  </a:lnTo>
                  <a:lnTo>
                    <a:pt x="2515" y="526"/>
                  </a:lnTo>
                  <a:lnTo>
                    <a:pt x="2530" y="526"/>
                  </a:lnTo>
                  <a:lnTo>
                    <a:pt x="2546" y="525"/>
                  </a:lnTo>
                  <a:lnTo>
                    <a:pt x="2561" y="523"/>
                  </a:lnTo>
                  <a:lnTo>
                    <a:pt x="2575" y="520"/>
                  </a:lnTo>
                  <a:lnTo>
                    <a:pt x="2589" y="517"/>
                  </a:lnTo>
                  <a:lnTo>
                    <a:pt x="2616" y="506"/>
                  </a:lnTo>
                  <a:lnTo>
                    <a:pt x="2645" y="495"/>
                  </a:lnTo>
                  <a:lnTo>
                    <a:pt x="2680" y="485"/>
                  </a:lnTo>
                  <a:lnTo>
                    <a:pt x="2710" y="479"/>
                  </a:lnTo>
                  <a:lnTo>
                    <a:pt x="2725" y="474"/>
                  </a:lnTo>
                  <a:lnTo>
                    <a:pt x="2739" y="468"/>
                  </a:lnTo>
                  <a:lnTo>
                    <a:pt x="2747" y="465"/>
                  </a:lnTo>
                  <a:lnTo>
                    <a:pt x="2754" y="460"/>
                  </a:lnTo>
                  <a:lnTo>
                    <a:pt x="2762" y="456"/>
                  </a:lnTo>
                  <a:lnTo>
                    <a:pt x="2768" y="451"/>
                  </a:lnTo>
                  <a:lnTo>
                    <a:pt x="2773" y="446"/>
                  </a:lnTo>
                  <a:lnTo>
                    <a:pt x="2777" y="442"/>
                  </a:lnTo>
                  <a:lnTo>
                    <a:pt x="2779" y="438"/>
                  </a:lnTo>
                  <a:lnTo>
                    <a:pt x="2781" y="433"/>
                  </a:lnTo>
                  <a:lnTo>
                    <a:pt x="2784" y="424"/>
                  </a:lnTo>
                  <a:lnTo>
                    <a:pt x="2788" y="414"/>
                  </a:lnTo>
                  <a:lnTo>
                    <a:pt x="2790" y="404"/>
                  </a:lnTo>
                  <a:lnTo>
                    <a:pt x="2793" y="395"/>
                  </a:lnTo>
                  <a:lnTo>
                    <a:pt x="2795" y="390"/>
                  </a:lnTo>
                  <a:lnTo>
                    <a:pt x="2797" y="386"/>
                  </a:lnTo>
                  <a:lnTo>
                    <a:pt x="2801" y="382"/>
                  </a:lnTo>
                  <a:lnTo>
                    <a:pt x="2805" y="377"/>
                  </a:lnTo>
                  <a:lnTo>
                    <a:pt x="2810" y="373"/>
                  </a:lnTo>
                  <a:lnTo>
                    <a:pt x="2816" y="370"/>
                  </a:lnTo>
                  <a:lnTo>
                    <a:pt x="2821" y="368"/>
                  </a:lnTo>
                  <a:lnTo>
                    <a:pt x="2827" y="365"/>
                  </a:lnTo>
                  <a:lnTo>
                    <a:pt x="2837" y="363"/>
                  </a:lnTo>
                  <a:lnTo>
                    <a:pt x="2848" y="362"/>
                  </a:lnTo>
                  <a:lnTo>
                    <a:pt x="2872" y="361"/>
                  </a:lnTo>
                  <a:lnTo>
                    <a:pt x="2898" y="358"/>
                  </a:lnTo>
                  <a:lnTo>
                    <a:pt x="3026" y="352"/>
                  </a:lnTo>
                  <a:lnTo>
                    <a:pt x="3026" y="352"/>
                  </a:lnTo>
                  <a:lnTo>
                    <a:pt x="3026" y="358"/>
                  </a:lnTo>
                  <a:lnTo>
                    <a:pt x="3025" y="363"/>
                  </a:lnTo>
                  <a:lnTo>
                    <a:pt x="3023" y="369"/>
                  </a:lnTo>
                  <a:lnTo>
                    <a:pt x="3022" y="374"/>
                  </a:lnTo>
                  <a:lnTo>
                    <a:pt x="3017" y="384"/>
                  </a:lnTo>
                  <a:lnTo>
                    <a:pt x="3011" y="392"/>
                  </a:lnTo>
                  <a:lnTo>
                    <a:pt x="3006" y="402"/>
                  </a:lnTo>
                  <a:lnTo>
                    <a:pt x="3000" y="411"/>
                  </a:lnTo>
                  <a:lnTo>
                    <a:pt x="2998" y="416"/>
                  </a:lnTo>
                  <a:lnTo>
                    <a:pt x="2997" y="422"/>
                  </a:lnTo>
                  <a:lnTo>
                    <a:pt x="2996" y="427"/>
                  </a:lnTo>
                  <a:lnTo>
                    <a:pt x="2996" y="432"/>
                  </a:lnTo>
                  <a:lnTo>
                    <a:pt x="2996" y="452"/>
                  </a:lnTo>
                  <a:lnTo>
                    <a:pt x="2996" y="469"/>
                  </a:lnTo>
                  <a:lnTo>
                    <a:pt x="2996" y="485"/>
                  </a:lnTo>
                  <a:lnTo>
                    <a:pt x="2996" y="505"/>
                  </a:lnTo>
                  <a:lnTo>
                    <a:pt x="2995" y="516"/>
                  </a:lnTo>
                  <a:lnTo>
                    <a:pt x="2994" y="525"/>
                  </a:lnTo>
                  <a:lnTo>
                    <a:pt x="2991" y="535"/>
                  </a:lnTo>
                  <a:lnTo>
                    <a:pt x="2987" y="544"/>
                  </a:lnTo>
                  <a:lnTo>
                    <a:pt x="2979" y="561"/>
                  </a:lnTo>
                  <a:lnTo>
                    <a:pt x="2970" y="576"/>
                  </a:lnTo>
                  <a:lnTo>
                    <a:pt x="2960" y="592"/>
                  </a:lnTo>
                  <a:lnTo>
                    <a:pt x="2952" y="609"/>
                  </a:lnTo>
                  <a:lnTo>
                    <a:pt x="2949" y="618"/>
                  </a:lnTo>
                  <a:lnTo>
                    <a:pt x="2946" y="628"/>
                  </a:lnTo>
                  <a:lnTo>
                    <a:pt x="2944" y="638"/>
                  </a:lnTo>
                  <a:lnTo>
                    <a:pt x="2944" y="648"/>
                  </a:lnTo>
                  <a:lnTo>
                    <a:pt x="2944" y="683"/>
                  </a:lnTo>
                  <a:lnTo>
                    <a:pt x="2944" y="713"/>
                  </a:lnTo>
                  <a:lnTo>
                    <a:pt x="2944" y="743"/>
                  </a:lnTo>
                  <a:lnTo>
                    <a:pt x="2944" y="778"/>
                  </a:lnTo>
                  <a:lnTo>
                    <a:pt x="2944" y="792"/>
                  </a:lnTo>
                  <a:lnTo>
                    <a:pt x="2946" y="806"/>
                  </a:lnTo>
                  <a:lnTo>
                    <a:pt x="2949" y="818"/>
                  </a:lnTo>
                  <a:lnTo>
                    <a:pt x="2952" y="831"/>
                  </a:lnTo>
                  <a:lnTo>
                    <a:pt x="2960" y="854"/>
                  </a:lnTo>
                  <a:lnTo>
                    <a:pt x="2970" y="876"/>
                  </a:lnTo>
                  <a:lnTo>
                    <a:pt x="2979" y="898"/>
                  </a:lnTo>
                  <a:lnTo>
                    <a:pt x="2987" y="922"/>
                  </a:lnTo>
                  <a:lnTo>
                    <a:pt x="2991" y="933"/>
                  </a:lnTo>
                  <a:lnTo>
                    <a:pt x="2994" y="946"/>
                  </a:lnTo>
                  <a:lnTo>
                    <a:pt x="2995" y="960"/>
                  </a:lnTo>
                  <a:lnTo>
                    <a:pt x="2996" y="975"/>
                  </a:lnTo>
                  <a:lnTo>
                    <a:pt x="2995" y="992"/>
                  </a:lnTo>
                  <a:lnTo>
                    <a:pt x="2994" y="1007"/>
                  </a:lnTo>
                  <a:lnTo>
                    <a:pt x="2993" y="1023"/>
                  </a:lnTo>
                  <a:lnTo>
                    <a:pt x="2991" y="1037"/>
                  </a:lnTo>
                  <a:lnTo>
                    <a:pt x="2985" y="1064"/>
                  </a:lnTo>
                  <a:lnTo>
                    <a:pt x="2978" y="1091"/>
                  </a:lnTo>
                  <a:lnTo>
                    <a:pt x="2968" y="1117"/>
                  </a:lnTo>
                  <a:lnTo>
                    <a:pt x="2958" y="1144"/>
                  </a:lnTo>
                  <a:lnTo>
                    <a:pt x="2948" y="1172"/>
                  </a:lnTo>
                  <a:lnTo>
                    <a:pt x="2937" y="1205"/>
                  </a:lnTo>
                  <a:lnTo>
                    <a:pt x="2937" y="1205"/>
                  </a:lnTo>
                  <a:lnTo>
                    <a:pt x="2915" y="1203"/>
                  </a:lnTo>
                  <a:lnTo>
                    <a:pt x="2896" y="1201"/>
                  </a:lnTo>
                  <a:lnTo>
                    <a:pt x="2877" y="1198"/>
                  </a:lnTo>
                  <a:lnTo>
                    <a:pt x="2859" y="1195"/>
                  </a:lnTo>
                  <a:lnTo>
                    <a:pt x="2842" y="1191"/>
                  </a:lnTo>
                  <a:lnTo>
                    <a:pt x="2822" y="1187"/>
                  </a:lnTo>
                  <a:lnTo>
                    <a:pt x="2803" y="1185"/>
                  </a:lnTo>
                  <a:lnTo>
                    <a:pt x="2781" y="1185"/>
                  </a:lnTo>
                  <a:lnTo>
                    <a:pt x="2771" y="1185"/>
                  </a:lnTo>
                  <a:lnTo>
                    <a:pt x="2761" y="1186"/>
                  </a:lnTo>
                  <a:lnTo>
                    <a:pt x="2752" y="1188"/>
                  </a:lnTo>
                  <a:lnTo>
                    <a:pt x="2743" y="1192"/>
                  </a:lnTo>
                  <a:lnTo>
                    <a:pt x="2735" y="1195"/>
                  </a:lnTo>
                  <a:lnTo>
                    <a:pt x="2727" y="1199"/>
                  </a:lnTo>
                  <a:lnTo>
                    <a:pt x="2720" y="1203"/>
                  </a:lnTo>
                  <a:lnTo>
                    <a:pt x="2712" y="1209"/>
                  </a:lnTo>
                  <a:lnTo>
                    <a:pt x="2706" y="1215"/>
                  </a:lnTo>
                  <a:lnTo>
                    <a:pt x="2699" y="1222"/>
                  </a:lnTo>
                  <a:lnTo>
                    <a:pt x="2693" y="1229"/>
                  </a:lnTo>
                  <a:lnTo>
                    <a:pt x="2687" y="1237"/>
                  </a:lnTo>
                  <a:lnTo>
                    <a:pt x="2675" y="1253"/>
                  </a:lnTo>
                  <a:lnTo>
                    <a:pt x="2665" y="1272"/>
                  </a:lnTo>
                  <a:lnTo>
                    <a:pt x="2645" y="1304"/>
                  </a:lnTo>
                  <a:lnTo>
                    <a:pt x="2626" y="1333"/>
                  </a:lnTo>
                  <a:lnTo>
                    <a:pt x="2617" y="1347"/>
                  </a:lnTo>
                  <a:lnTo>
                    <a:pt x="2608" y="1362"/>
                  </a:lnTo>
                  <a:lnTo>
                    <a:pt x="2601" y="1378"/>
                  </a:lnTo>
                  <a:lnTo>
                    <a:pt x="2595" y="1398"/>
                  </a:lnTo>
                  <a:lnTo>
                    <a:pt x="2587" y="1409"/>
                  </a:lnTo>
                  <a:lnTo>
                    <a:pt x="2578" y="1421"/>
                  </a:lnTo>
                  <a:lnTo>
                    <a:pt x="2572" y="1443"/>
                  </a:lnTo>
                  <a:lnTo>
                    <a:pt x="2566" y="1464"/>
                  </a:lnTo>
                  <a:lnTo>
                    <a:pt x="2562" y="1484"/>
                  </a:lnTo>
                  <a:lnTo>
                    <a:pt x="2559" y="1503"/>
                  </a:lnTo>
                  <a:lnTo>
                    <a:pt x="2554" y="1522"/>
                  </a:lnTo>
                  <a:lnTo>
                    <a:pt x="2549" y="1542"/>
                  </a:lnTo>
                  <a:lnTo>
                    <a:pt x="2542" y="1561"/>
                  </a:lnTo>
                  <a:lnTo>
                    <a:pt x="2533" y="1583"/>
                  </a:lnTo>
                  <a:lnTo>
                    <a:pt x="2526" y="1596"/>
                  </a:lnTo>
                  <a:lnTo>
                    <a:pt x="2519" y="1605"/>
                  </a:lnTo>
                  <a:lnTo>
                    <a:pt x="2510" y="1616"/>
                  </a:lnTo>
                  <a:lnTo>
                    <a:pt x="2503" y="1628"/>
                  </a:lnTo>
                  <a:lnTo>
                    <a:pt x="2496" y="1640"/>
                  </a:lnTo>
                  <a:lnTo>
                    <a:pt x="2491" y="1651"/>
                  </a:lnTo>
                  <a:lnTo>
                    <a:pt x="2487" y="1656"/>
                  </a:lnTo>
                  <a:lnTo>
                    <a:pt x="2484" y="1660"/>
                  </a:lnTo>
                  <a:lnTo>
                    <a:pt x="2479" y="1664"/>
                  </a:lnTo>
                  <a:lnTo>
                    <a:pt x="2473" y="1666"/>
                  </a:lnTo>
                  <a:lnTo>
                    <a:pt x="2473" y="1666"/>
                  </a:lnTo>
                  <a:lnTo>
                    <a:pt x="2468" y="1660"/>
                  </a:lnTo>
                  <a:lnTo>
                    <a:pt x="2464" y="1655"/>
                  </a:lnTo>
                  <a:lnTo>
                    <a:pt x="2459" y="1650"/>
                  </a:lnTo>
                  <a:lnTo>
                    <a:pt x="2457" y="1643"/>
                  </a:lnTo>
                  <a:lnTo>
                    <a:pt x="2453" y="1632"/>
                  </a:lnTo>
                  <a:lnTo>
                    <a:pt x="2450" y="1620"/>
                  </a:lnTo>
                  <a:lnTo>
                    <a:pt x="2449" y="1594"/>
                  </a:lnTo>
                  <a:lnTo>
                    <a:pt x="2450" y="1565"/>
                  </a:lnTo>
                  <a:lnTo>
                    <a:pt x="2450" y="1558"/>
                  </a:lnTo>
                  <a:lnTo>
                    <a:pt x="2451" y="1550"/>
                  </a:lnTo>
                  <a:lnTo>
                    <a:pt x="2453" y="1544"/>
                  </a:lnTo>
                  <a:lnTo>
                    <a:pt x="2456" y="1537"/>
                  </a:lnTo>
                  <a:lnTo>
                    <a:pt x="2461" y="1524"/>
                  </a:lnTo>
                  <a:lnTo>
                    <a:pt x="2466" y="1510"/>
                  </a:lnTo>
                  <a:lnTo>
                    <a:pt x="2472" y="1478"/>
                  </a:lnTo>
                  <a:lnTo>
                    <a:pt x="2477" y="1450"/>
                  </a:lnTo>
                  <a:lnTo>
                    <a:pt x="2479" y="1422"/>
                  </a:lnTo>
                  <a:lnTo>
                    <a:pt x="2480" y="1389"/>
                  </a:lnTo>
                  <a:lnTo>
                    <a:pt x="2480" y="1374"/>
                  </a:lnTo>
                  <a:lnTo>
                    <a:pt x="2479" y="1361"/>
                  </a:lnTo>
                  <a:lnTo>
                    <a:pt x="2478" y="1355"/>
                  </a:lnTo>
                  <a:lnTo>
                    <a:pt x="2474" y="1349"/>
                  </a:lnTo>
                  <a:lnTo>
                    <a:pt x="2471" y="1344"/>
                  </a:lnTo>
                  <a:lnTo>
                    <a:pt x="2466" y="1338"/>
                  </a:lnTo>
                  <a:lnTo>
                    <a:pt x="2459" y="1334"/>
                  </a:lnTo>
                  <a:lnTo>
                    <a:pt x="2452" y="1331"/>
                  </a:lnTo>
                  <a:lnTo>
                    <a:pt x="2445" y="1329"/>
                  </a:lnTo>
                  <a:lnTo>
                    <a:pt x="2438" y="1327"/>
                  </a:lnTo>
                  <a:lnTo>
                    <a:pt x="2423" y="1323"/>
                  </a:lnTo>
                  <a:lnTo>
                    <a:pt x="2407" y="1319"/>
                  </a:lnTo>
                  <a:lnTo>
                    <a:pt x="2388" y="1311"/>
                  </a:lnTo>
                  <a:lnTo>
                    <a:pt x="2370" y="1305"/>
                  </a:lnTo>
                  <a:lnTo>
                    <a:pt x="2352" y="1300"/>
                  </a:lnTo>
                  <a:lnTo>
                    <a:pt x="2335" y="1294"/>
                  </a:lnTo>
                  <a:lnTo>
                    <a:pt x="2318" y="1291"/>
                  </a:lnTo>
                  <a:lnTo>
                    <a:pt x="2301" y="1288"/>
                  </a:lnTo>
                  <a:lnTo>
                    <a:pt x="2281" y="1286"/>
                  </a:lnTo>
                  <a:lnTo>
                    <a:pt x="2261" y="1286"/>
                  </a:lnTo>
                  <a:lnTo>
                    <a:pt x="2217" y="1286"/>
                  </a:lnTo>
                  <a:lnTo>
                    <a:pt x="2180" y="1286"/>
                  </a:lnTo>
                  <a:lnTo>
                    <a:pt x="2143" y="1286"/>
                  </a:lnTo>
                  <a:lnTo>
                    <a:pt x="2100" y="1286"/>
                  </a:lnTo>
                  <a:lnTo>
                    <a:pt x="2072" y="1284"/>
                  </a:lnTo>
                  <a:lnTo>
                    <a:pt x="2046" y="1283"/>
                  </a:lnTo>
                  <a:lnTo>
                    <a:pt x="2022" y="1280"/>
                  </a:lnTo>
                  <a:lnTo>
                    <a:pt x="1999" y="1277"/>
                  </a:lnTo>
                  <a:lnTo>
                    <a:pt x="1975" y="1274"/>
                  </a:lnTo>
                  <a:lnTo>
                    <a:pt x="1952" y="1272"/>
                  </a:lnTo>
                  <a:lnTo>
                    <a:pt x="1927" y="1269"/>
                  </a:lnTo>
                  <a:lnTo>
                    <a:pt x="1899" y="1268"/>
                  </a:lnTo>
                  <a:lnTo>
                    <a:pt x="1880" y="1267"/>
                  </a:lnTo>
                  <a:lnTo>
                    <a:pt x="1864" y="1264"/>
                  </a:lnTo>
                  <a:lnTo>
                    <a:pt x="1857" y="1264"/>
                  </a:lnTo>
                  <a:lnTo>
                    <a:pt x="1849" y="1264"/>
                  </a:lnTo>
                  <a:lnTo>
                    <a:pt x="1840" y="1265"/>
                  </a:lnTo>
                  <a:lnTo>
                    <a:pt x="1833" y="1268"/>
                  </a:lnTo>
                  <a:lnTo>
                    <a:pt x="1826" y="1274"/>
                  </a:lnTo>
                  <a:lnTo>
                    <a:pt x="1821" y="1279"/>
                  </a:lnTo>
                  <a:lnTo>
                    <a:pt x="1818" y="1284"/>
                  </a:lnTo>
                  <a:lnTo>
                    <a:pt x="1816" y="1292"/>
                  </a:lnTo>
                  <a:lnTo>
                    <a:pt x="1813" y="1308"/>
                  </a:lnTo>
                  <a:lnTo>
                    <a:pt x="1810" y="1324"/>
                  </a:lnTo>
                  <a:lnTo>
                    <a:pt x="1803" y="1354"/>
                  </a:lnTo>
                  <a:lnTo>
                    <a:pt x="1797" y="1378"/>
                  </a:lnTo>
                  <a:lnTo>
                    <a:pt x="1796" y="1391"/>
                  </a:lnTo>
                  <a:lnTo>
                    <a:pt x="1794" y="1404"/>
                  </a:lnTo>
                  <a:lnTo>
                    <a:pt x="1794" y="1418"/>
                  </a:lnTo>
                  <a:lnTo>
                    <a:pt x="1793" y="1434"/>
                  </a:lnTo>
                  <a:lnTo>
                    <a:pt x="1793" y="1450"/>
                  </a:lnTo>
                  <a:lnTo>
                    <a:pt x="1793" y="1464"/>
                  </a:lnTo>
                  <a:lnTo>
                    <a:pt x="1793" y="1478"/>
                  </a:lnTo>
                  <a:lnTo>
                    <a:pt x="1793" y="1494"/>
                  </a:lnTo>
                  <a:lnTo>
                    <a:pt x="1789" y="1506"/>
                  </a:lnTo>
                  <a:lnTo>
                    <a:pt x="1785" y="1518"/>
                  </a:lnTo>
                  <a:lnTo>
                    <a:pt x="1785" y="1551"/>
                  </a:lnTo>
                  <a:lnTo>
                    <a:pt x="1785" y="1581"/>
                  </a:lnTo>
                  <a:lnTo>
                    <a:pt x="1785" y="1612"/>
                  </a:lnTo>
                  <a:lnTo>
                    <a:pt x="1785" y="1646"/>
                  </a:lnTo>
                  <a:lnTo>
                    <a:pt x="1785" y="1653"/>
                  </a:lnTo>
                  <a:lnTo>
                    <a:pt x="1786" y="1659"/>
                  </a:lnTo>
                  <a:lnTo>
                    <a:pt x="1790" y="1665"/>
                  </a:lnTo>
                  <a:lnTo>
                    <a:pt x="1792" y="1669"/>
                  </a:lnTo>
                  <a:lnTo>
                    <a:pt x="1796" y="1673"/>
                  </a:lnTo>
                  <a:lnTo>
                    <a:pt x="1800" y="1678"/>
                  </a:lnTo>
                  <a:lnTo>
                    <a:pt x="1806" y="1681"/>
                  </a:lnTo>
                  <a:lnTo>
                    <a:pt x="1811" y="1684"/>
                  </a:lnTo>
                  <a:lnTo>
                    <a:pt x="1824" y="1689"/>
                  </a:lnTo>
                  <a:lnTo>
                    <a:pt x="1838" y="1693"/>
                  </a:lnTo>
                  <a:lnTo>
                    <a:pt x="1852" y="1696"/>
                  </a:lnTo>
                  <a:lnTo>
                    <a:pt x="1866" y="1697"/>
                  </a:lnTo>
                  <a:lnTo>
                    <a:pt x="1899" y="1702"/>
                  </a:lnTo>
                  <a:lnTo>
                    <a:pt x="1928" y="1708"/>
                  </a:lnTo>
                  <a:lnTo>
                    <a:pt x="1957" y="1714"/>
                  </a:lnTo>
                  <a:lnTo>
                    <a:pt x="1989" y="1720"/>
                  </a:lnTo>
                  <a:lnTo>
                    <a:pt x="2022" y="1725"/>
                  </a:lnTo>
                  <a:lnTo>
                    <a:pt x="2051" y="1732"/>
                  </a:lnTo>
                  <a:lnTo>
                    <a:pt x="2079" y="1738"/>
                  </a:lnTo>
                  <a:lnTo>
                    <a:pt x="2105" y="1745"/>
                  </a:lnTo>
                  <a:lnTo>
                    <a:pt x="2132" y="1750"/>
                  </a:lnTo>
                  <a:lnTo>
                    <a:pt x="2160" y="1755"/>
                  </a:lnTo>
                  <a:lnTo>
                    <a:pt x="2174" y="1756"/>
                  </a:lnTo>
                  <a:lnTo>
                    <a:pt x="2189" y="1758"/>
                  </a:lnTo>
                  <a:lnTo>
                    <a:pt x="2206" y="1759"/>
                  </a:lnTo>
                  <a:lnTo>
                    <a:pt x="2222" y="1760"/>
                  </a:lnTo>
                  <a:lnTo>
                    <a:pt x="2250" y="1758"/>
                  </a:lnTo>
                  <a:lnTo>
                    <a:pt x="2274" y="1754"/>
                  </a:lnTo>
                  <a:lnTo>
                    <a:pt x="2298" y="1751"/>
                  </a:lnTo>
                  <a:lnTo>
                    <a:pt x="2325" y="1748"/>
                  </a:lnTo>
                  <a:lnTo>
                    <a:pt x="2339" y="1747"/>
                  </a:lnTo>
                  <a:lnTo>
                    <a:pt x="2352" y="1746"/>
                  </a:lnTo>
                  <a:lnTo>
                    <a:pt x="2364" y="1743"/>
                  </a:lnTo>
                  <a:lnTo>
                    <a:pt x="2375" y="1741"/>
                  </a:lnTo>
                  <a:lnTo>
                    <a:pt x="2386" y="1738"/>
                  </a:lnTo>
                  <a:lnTo>
                    <a:pt x="2397" y="1733"/>
                  </a:lnTo>
                  <a:lnTo>
                    <a:pt x="2406" y="1726"/>
                  </a:lnTo>
                  <a:lnTo>
                    <a:pt x="2415" y="1718"/>
                  </a:lnTo>
                  <a:lnTo>
                    <a:pt x="2430" y="1704"/>
                  </a:lnTo>
                  <a:lnTo>
                    <a:pt x="2445" y="1693"/>
                  </a:lnTo>
                  <a:lnTo>
                    <a:pt x="2452" y="1686"/>
                  </a:lnTo>
                  <a:lnTo>
                    <a:pt x="2459" y="1681"/>
                  </a:lnTo>
                  <a:lnTo>
                    <a:pt x="2466" y="1673"/>
                  </a:lnTo>
                  <a:lnTo>
                    <a:pt x="2473" y="1666"/>
                  </a:lnTo>
                  <a:lnTo>
                    <a:pt x="2473" y="1666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47">
              <a:extLst>
                <a:ext uri="{FF2B5EF4-FFF2-40B4-BE49-F238E27FC236}">
                  <a16:creationId xmlns:a16="http://schemas.microsoft.com/office/drawing/2014/main" id="{90DC3531-D4F2-4B55-99F8-7CA228963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47988" y="3616326"/>
              <a:ext cx="274638" cy="196850"/>
            </a:xfrm>
            <a:custGeom>
              <a:avLst/>
              <a:gdLst>
                <a:gd name="T0" fmla="*/ 683 w 695"/>
                <a:gd name="T1" fmla="*/ 396 h 496"/>
                <a:gd name="T2" fmla="*/ 674 w 695"/>
                <a:gd name="T3" fmla="*/ 386 h 496"/>
                <a:gd name="T4" fmla="*/ 668 w 695"/>
                <a:gd name="T5" fmla="*/ 368 h 496"/>
                <a:gd name="T6" fmla="*/ 664 w 695"/>
                <a:gd name="T7" fmla="*/ 330 h 496"/>
                <a:gd name="T8" fmla="*/ 665 w 695"/>
                <a:gd name="T9" fmla="*/ 294 h 496"/>
                <a:gd name="T10" fmla="*/ 668 w 695"/>
                <a:gd name="T11" fmla="*/ 280 h 496"/>
                <a:gd name="T12" fmla="*/ 676 w 695"/>
                <a:gd name="T13" fmla="*/ 260 h 496"/>
                <a:gd name="T14" fmla="*/ 687 w 695"/>
                <a:gd name="T15" fmla="*/ 214 h 496"/>
                <a:gd name="T16" fmla="*/ 694 w 695"/>
                <a:gd name="T17" fmla="*/ 158 h 496"/>
                <a:gd name="T18" fmla="*/ 695 w 695"/>
                <a:gd name="T19" fmla="*/ 110 h 496"/>
                <a:gd name="T20" fmla="*/ 693 w 695"/>
                <a:gd name="T21" fmla="*/ 91 h 496"/>
                <a:gd name="T22" fmla="*/ 686 w 695"/>
                <a:gd name="T23" fmla="*/ 80 h 496"/>
                <a:gd name="T24" fmla="*/ 674 w 695"/>
                <a:gd name="T25" fmla="*/ 70 h 496"/>
                <a:gd name="T26" fmla="*/ 660 w 695"/>
                <a:gd name="T27" fmla="*/ 65 h 496"/>
                <a:gd name="T28" fmla="*/ 638 w 695"/>
                <a:gd name="T29" fmla="*/ 59 h 496"/>
                <a:gd name="T30" fmla="*/ 603 w 695"/>
                <a:gd name="T31" fmla="*/ 47 h 496"/>
                <a:gd name="T32" fmla="*/ 567 w 695"/>
                <a:gd name="T33" fmla="*/ 36 h 496"/>
                <a:gd name="T34" fmla="*/ 533 w 695"/>
                <a:gd name="T35" fmla="*/ 27 h 496"/>
                <a:gd name="T36" fmla="*/ 496 w 695"/>
                <a:gd name="T37" fmla="*/ 22 h 496"/>
                <a:gd name="T38" fmla="*/ 432 w 695"/>
                <a:gd name="T39" fmla="*/ 22 h 496"/>
                <a:gd name="T40" fmla="*/ 358 w 695"/>
                <a:gd name="T41" fmla="*/ 22 h 496"/>
                <a:gd name="T42" fmla="*/ 287 w 695"/>
                <a:gd name="T43" fmla="*/ 20 h 496"/>
                <a:gd name="T44" fmla="*/ 237 w 695"/>
                <a:gd name="T45" fmla="*/ 16 h 496"/>
                <a:gd name="T46" fmla="*/ 190 w 695"/>
                <a:gd name="T47" fmla="*/ 10 h 496"/>
                <a:gd name="T48" fmla="*/ 142 w 695"/>
                <a:gd name="T49" fmla="*/ 5 h 496"/>
                <a:gd name="T50" fmla="*/ 95 w 695"/>
                <a:gd name="T51" fmla="*/ 3 h 496"/>
                <a:gd name="T52" fmla="*/ 72 w 695"/>
                <a:gd name="T53" fmla="*/ 0 h 496"/>
                <a:gd name="T54" fmla="*/ 55 w 695"/>
                <a:gd name="T55" fmla="*/ 1 h 496"/>
                <a:gd name="T56" fmla="*/ 41 w 695"/>
                <a:gd name="T57" fmla="*/ 10 h 496"/>
                <a:gd name="T58" fmla="*/ 33 w 695"/>
                <a:gd name="T59" fmla="*/ 20 h 496"/>
                <a:gd name="T60" fmla="*/ 28 w 695"/>
                <a:gd name="T61" fmla="*/ 44 h 496"/>
                <a:gd name="T62" fmla="*/ 18 w 695"/>
                <a:gd name="T63" fmla="*/ 90 h 496"/>
                <a:gd name="T64" fmla="*/ 11 w 695"/>
                <a:gd name="T65" fmla="*/ 127 h 496"/>
                <a:gd name="T66" fmla="*/ 9 w 695"/>
                <a:gd name="T67" fmla="*/ 154 h 496"/>
                <a:gd name="T68" fmla="*/ 8 w 695"/>
                <a:gd name="T69" fmla="*/ 186 h 496"/>
                <a:gd name="T70" fmla="*/ 8 w 695"/>
                <a:gd name="T71" fmla="*/ 214 h 496"/>
                <a:gd name="T72" fmla="*/ 4 w 695"/>
                <a:gd name="T73" fmla="*/ 242 h 496"/>
                <a:gd name="T74" fmla="*/ 0 w 695"/>
                <a:gd name="T75" fmla="*/ 287 h 496"/>
                <a:gd name="T76" fmla="*/ 0 w 695"/>
                <a:gd name="T77" fmla="*/ 348 h 496"/>
                <a:gd name="T78" fmla="*/ 0 w 695"/>
                <a:gd name="T79" fmla="*/ 389 h 496"/>
                <a:gd name="T80" fmla="*/ 5 w 695"/>
                <a:gd name="T81" fmla="*/ 401 h 496"/>
                <a:gd name="T82" fmla="*/ 11 w 695"/>
                <a:gd name="T83" fmla="*/ 409 h 496"/>
                <a:gd name="T84" fmla="*/ 21 w 695"/>
                <a:gd name="T85" fmla="*/ 417 h 496"/>
                <a:gd name="T86" fmla="*/ 39 w 695"/>
                <a:gd name="T87" fmla="*/ 425 h 496"/>
                <a:gd name="T88" fmla="*/ 67 w 695"/>
                <a:gd name="T89" fmla="*/ 432 h 496"/>
                <a:gd name="T90" fmla="*/ 114 w 695"/>
                <a:gd name="T91" fmla="*/ 438 h 496"/>
                <a:gd name="T92" fmla="*/ 172 w 695"/>
                <a:gd name="T93" fmla="*/ 450 h 496"/>
                <a:gd name="T94" fmla="*/ 237 w 695"/>
                <a:gd name="T95" fmla="*/ 461 h 496"/>
                <a:gd name="T96" fmla="*/ 294 w 695"/>
                <a:gd name="T97" fmla="*/ 474 h 496"/>
                <a:gd name="T98" fmla="*/ 347 w 695"/>
                <a:gd name="T99" fmla="*/ 486 h 496"/>
                <a:gd name="T100" fmla="*/ 389 w 695"/>
                <a:gd name="T101" fmla="*/ 492 h 496"/>
                <a:gd name="T102" fmla="*/ 421 w 695"/>
                <a:gd name="T103" fmla="*/ 495 h 496"/>
                <a:gd name="T104" fmla="*/ 465 w 695"/>
                <a:gd name="T105" fmla="*/ 494 h 496"/>
                <a:gd name="T106" fmla="*/ 513 w 695"/>
                <a:gd name="T107" fmla="*/ 487 h 496"/>
                <a:gd name="T108" fmla="*/ 554 w 695"/>
                <a:gd name="T109" fmla="*/ 483 h 496"/>
                <a:gd name="T110" fmla="*/ 579 w 695"/>
                <a:gd name="T111" fmla="*/ 479 h 496"/>
                <a:gd name="T112" fmla="*/ 601 w 695"/>
                <a:gd name="T113" fmla="*/ 474 h 496"/>
                <a:gd name="T114" fmla="*/ 621 w 695"/>
                <a:gd name="T115" fmla="*/ 462 h 496"/>
                <a:gd name="T116" fmla="*/ 645 w 695"/>
                <a:gd name="T117" fmla="*/ 440 h 496"/>
                <a:gd name="T118" fmla="*/ 667 w 695"/>
                <a:gd name="T119" fmla="*/ 422 h 496"/>
                <a:gd name="T120" fmla="*/ 681 w 695"/>
                <a:gd name="T121" fmla="*/ 409 h 496"/>
                <a:gd name="T122" fmla="*/ 688 w 695"/>
                <a:gd name="T123" fmla="*/ 402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95" h="496">
                  <a:moveTo>
                    <a:pt x="688" y="402"/>
                  </a:moveTo>
                  <a:lnTo>
                    <a:pt x="683" y="396"/>
                  </a:lnTo>
                  <a:lnTo>
                    <a:pt x="679" y="391"/>
                  </a:lnTo>
                  <a:lnTo>
                    <a:pt x="674" y="386"/>
                  </a:lnTo>
                  <a:lnTo>
                    <a:pt x="672" y="379"/>
                  </a:lnTo>
                  <a:lnTo>
                    <a:pt x="668" y="368"/>
                  </a:lnTo>
                  <a:lnTo>
                    <a:pt x="665" y="356"/>
                  </a:lnTo>
                  <a:lnTo>
                    <a:pt x="664" y="330"/>
                  </a:lnTo>
                  <a:lnTo>
                    <a:pt x="665" y="301"/>
                  </a:lnTo>
                  <a:lnTo>
                    <a:pt x="665" y="294"/>
                  </a:lnTo>
                  <a:lnTo>
                    <a:pt x="666" y="286"/>
                  </a:lnTo>
                  <a:lnTo>
                    <a:pt x="668" y="280"/>
                  </a:lnTo>
                  <a:lnTo>
                    <a:pt x="671" y="273"/>
                  </a:lnTo>
                  <a:lnTo>
                    <a:pt x="676" y="260"/>
                  </a:lnTo>
                  <a:lnTo>
                    <a:pt x="681" y="246"/>
                  </a:lnTo>
                  <a:lnTo>
                    <a:pt x="687" y="214"/>
                  </a:lnTo>
                  <a:lnTo>
                    <a:pt x="692" y="186"/>
                  </a:lnTo>
                  <a:lnTo>
                    <a:pt x="694" y="158"/>
                  </a:lnTo>
                  <a:lnTo>
                    <a:pt x="695" y="125"/>
                  </a:lnTo>
                  <a:lnTo>
                    <a:pt x="695" y="110"/>
                  </a:lnTo>
                  <a:lnTo>
                    <a:pt x="694" y="97"/>
                  </a:lnTo>
                  <a:lnTo>
                    <a:pt x="693" y="91"/>
                  </a:lnTo>
                  <a:lnTo>
                    <a:pt x="689" y="85"/>
                  </a:lnTo>
                  <a:lnTo>
                    <a:pt x="686" y="80"/>
                  </a:lnTo>
                  <a:lnTo>
                    <a:pt x="681" y="74"/>
                  </a:lnTo>
                  <a:lnTo>
                    <a:pt x="674" y="70"/>
                  </a:lnTo>
                  <a:lnTo>
                    <a:pt x="667" y="67"/>
                  </a:lnTo>
                  <a:lnTo>
                    <a:pt x="660" y="65"/>
                  </a:lnTo>
                  <a:lnTo>
                    <a:pt x="653" y="63"/>
                  </a:lnTo>
                  <a:lnTo>
                    <a:pt x="638" y="59"/>
                  </a:lnTo>
                  <a:lnTo>
                    <a:pt x="622" y="55"/>
                  </a:lnTo>
                  <a:lnTo>
                    <a:pt x="603" y="47"/>
                  </a:lnTo>
                  <a:lnTo>
                    <a:pt x="585" y="41"/>
                  </a:lnTo>
                  <a:lnTo>
                    <a:pt x="567" y="36"/>
                  </a:lnTo>
                  <a:lnTo>
                    <a:pt x="550" y="30"/>
                  </a:lnTo>
                  <a:lnTo>
                    <a:pt x="533" y="27"/>
                  </a:lnTo>
                  <a:lnTo>
                    <a:pt x="516" y="24"/>
                  </a:lnTo>
                  <a:lnTo>
                    <a:pt x="496" y="22"/>
                  </a:lnTo>
                  <a:lnTo>
                    <a:pt x="476" y="22"/>
                  </a:lnTo>
                  <a:lnTo>
                    <a:pt x="432" y="22"/>
                  </a:lnTo>
                  <a:lnTo>
                    <a:pt x="395" y="22"/>
                  </a:lnTo>
                  <a:lnTo>
                    <a:pt x="358" y="22"/>
                  </a:lnTo>
                  <a:lnTo>
                    <a:pt x="315" y="22"/>
                  </a:lnTo>
                  <a:lnTo>
                    <a:pt x="287" y="20"/>
                  </a:lnTo>
                  <a:lnTo>
                    <a:pt x="261" y="19"/>
                  </a:lnTo>
                  <a:lnTo>
                    <a:pt x="237" y="16"/>
                  </a:lnTo>
                  <a:lnTo>
                    <a:pt x="214" y="13"/>
                  </a:lnTo>
                  <a:lnTo>
                    <a:pt x="190" y="10"/>
                  </a:lnTo>
                  <a:lnTo>
                    <a:pt x="167" y="8"/>
                  </a:lnTo>
                  <a:lnTo>
                    <a:pt x="142" y="5"/>
                  </a:lnTo>
                  <a:lnTo>
                    <a:pt x="114" y="4"/>
                  </a:lnTo>
                  <a:lnTo>
                    <a:pt x="95" y="3"/>
                  </a:lnTo>
                  <a:lnTo>
                    <a:pt x="79" y="0"/>
                  </a:lnTo>
                  <a:lnTo>
                    <a:pt x="72" y="0"/>
                  </a:lnTo>
                  <a:lnTo>
                    <a:pt x="64" y="0"/>
                  </a:lnTo>
                  <a:lnTo>
                    <a:pt x="55" y="1"/>
                  </a:lnTo>
                  <a:lnTo>
                    <a:pt x="48" y="4"/>
                  </a:lnTo>
                  <a:lnTo>
                    <a:pt x="41" y="10"/>
                  </a:lnTo>
                  <a:lnTo>
                    <a:pt x="36" y="15"/>
                  </a:lnTo>
                  <a:lnTo>
                    <a:pt x="33" y="20"/>
                  </a:lnTo>
                  <a:lnTo>
                    <a:pt x="31" y="28"/>
                  </a:lnTo>
                  <a:lnTo>
                    <a:pt x="28" y="44"/>
                  </a:lnTo>
                  <a:lnTo>
                    <a:pt x="25" y="60"/>
                  </a:lnTo>
                  <a:lnTo>
                    <a:pt x="18" y="90"/>
                  </a:lnTo>
                  <a:lnTo>
                    <a:pt x="12" y="114"/>
                  </a:lnTo>
                  <a:lnTo>
                    <a:pt x="11" y="127"/>
                  </a:lnTo>
                  <a:lnTo>
                    <a:pt x="9" y="140"/>
                  </a:lnTo>
                  <a:lnTo>
                    <a:pt x="9" y="154"/>
                  </a:lnTo>
                  <a:lnTo>
                    <a:pt x="8" y="170"/>
                  </a:lnTo>
                  <a:lnTo>
                    <a:pt x="8" y="186"/>
                  </a:lnTo>
                  <a:lnTo>
                    <a:pt x="8" y="200"/>
                  </a:lnTo>
                  <a:lnTo>
                    <a:pt x="8" y="214"/>
                  </a:lnTo>
                  <a:lnTo>
                    <a:pt x="8" y="230"/>
                  </a:lnTo>
                  <a:lnTo>
                    <a:pt x="4" y="242"/>
                  </a:lnTo>
                  <a:lnTo>
                    <a:pt x="0" y="254"/>
                  </a:lnTo>
                  <a:lnTo>
                    <a:pt x="0" y="287"/>
                  </a:lnTo>
                  <a:lnTo>
                    <a:pt x="0" y="317"/>
                  </a:lnTo>
                  <a:lnTo>
                    <a:pt x="0" y="348"/>
                  </a:lnTo>
                  <a:lnTo>
                    <a:pt x="0" y="382"/>
                  </a:lnTo>
                  <a:lnTo>
                    <a:pt x="0" y="389"/>
                  </a:lnTo>
                  <a:lnTo>
                    <a:pt x="1" y="395"/>
                  </a:lnTo>
                  <a:lnTo>
                    <a:pt x="5" y="401"/>
                  </a:lnTo>
                  <a:lnTo>
                    <a:pt x="7" y="405"/>
                  </a:lnTo>
                  <a:lnTo>
                    <a:pt x="11" y="409"/>
                  </a:lnTo>
                  <a:lnTo>
                    <a:pt x="15" y="414"/>
                  </a:lnTo>
                  <a:lnTo>
                    <a:pt x="21" y="417"/>
                  </a:lnTo>
                  <a:lnTo>
                    <a:pt x="26" y="420"/>
                  </a:lnTo>
                  <a:lnTo>
                    <a:pt x="39" y="425"/>
                  </a:lnTo>
                  <a:lnTo>
                    <a:pt x="53" y="429"/>
                  </a:lnTo>
                  <a:lnTo>
                    <a:pt x="67" y="432"/>
                  </a:lnTo>
                  <a:lnTo>
                    <a:pt x="81" y="433"/>
                  </a:lnTo>
                  <a:lnTo>
                    <a:pt x="114" y="438"/>
                  </a:lnTo>
                  <a:lnTo>
                    <a:pt x="143" y="444"/>
                  </a:lnTo>
                  <a:lnTo>
                    <a:pt x="172" y="450"/>
                  </a:lnTo>
                  <a:lnTo>
                    <a:pt x="204" y="456"/>
                  </a:lnTo>
                  <a:lnTo>
                    <a:pt x="237" y="461"/>
                  </a:lnTo>
                  <a:lnTo>
                    <a:pt x="266" y="468"/>
                  </a:lnTo>
                  <a:lnTo>
                    <a:pt x="294" y="474"/>
                  </a:lnTo>
                  <a:lnTo>
                    <a:pt x="320" y="481"/>
                  </a:lnTo>
                  <a:lnTo>
                    <a:pt x="347" y="486"/>
                  </a:lnTo>
                  <a:lnTo>
                    <a:pt x="375" y="491"/>
                  </a:lnTo>
                  <a:lnTo>
                    <a:pt x="389" y="492"/>
                  </a:lnTo>
                  <a:lnTo>
                    <a:pt x="404" y="494"/>
                  </a:lnTo>
                  <a:lnTo>
                    <a:pt x="421" y="495"/>
                  </a:lnTo>
                  <a:lnTo>
                    <a:pt x="437" y="496"/>
                  </a:lnTo>
                  <a:lnTo>
                    <a:pt x="465" y="494"/>
                  </a:lnTo>
                  <a:lnTo>
                    <a:pt x="489" y="490"/>
                  </a:lnTo>
                  <a:lnTo>
                    <a:pt x="513" y="487"/>
                  </a:lnTo>
                  <a:lnTo>
                    <a:pt x="540" y="484"/>
                  </a:lnTo>
                  <a:lnTo>
                    <a:pt x="554" y="483"/>
                  </a:lnTo>
                  <a:lnTo>
                    <a:pt x="567" y="482"/>
                  </a:lnTo>
                  <a:lnTo>
                    <a:pt x="579" y="479"/>
                  </a:lnTo>
                  <a:lnTo>
                    <a:pt x="590" y="477"/>
                  </a:lnTo>
                  <a:lnTo>
                    <a:pt x="601" y="474"/>
                  </a:lnTo>
                  <a:lnTo>
                    <a:pt x="612" y="469"/>
                  </a:lnTo>
                  <a:lnTo>
                    <a:pt x="621" y="462"/>
                  </a:lnTo>
                  <a:lnTo>
                    <a:pt x="630" y="454"/>
                  </a:lnTo>
                  <a:lnTo>
                    <a:pt x="645" y="440"/>
                  </a:lnTo>
                  <a:lnTo>
                    <a:pt x="660" y="429"/>
                  </a:lnTo>
                  <a:lnTo>
                    <a:pt x="667" y="422"/>
                  </a:lnTo>
                  <a:lnTo>
                    <a:pt x="674" y="417"/>
                  </a:lnTo>
                  <a:lnTo>
                    <a:pt x="681" y="409"/>
                  </a:lnTo>
                  <a:lnTo>
                    <a:pt x="688" y="402"/>
                  </a:lnTo>
                  <a:lnTo>
                    <a:pt x="688" y="402"/>
                  </a:lnTo>
                  <a:close/>
                </a:path>
              </a:pathLst>
            </a:custGeom>
            <a:solidFill>
              <a:srgbClr val="FEFEFE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48">
              <a:extLst>
                <a:ext uri="{FF2B5EF4-FFF2-40B4-BE49-F238E27FC236}">
                  <a16:creationId xmlns:a16="http://schemas.microsoft.com/office/drawing/2014/main" id="{BF2CD0FC-16AE-459A-8DA4-009919B46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47988" y="3616326"/>
              <a:ext cx="274638" cy="196850"/>
            </a:xfrm>
            <a:custGeom>
              <a:avLst/>
              <a:gdLst>
                <a:gd name="T0" fmla="*/ 683 w 695"/>
                <a:gd name="T1" fmla="*/ 396 h 496"/>
                <a:gd name="T2" fmla="*/ 674 w 695"/>
                <a:gd name="T3" fmla="*/ 386 h 496"/>
                <a:gd name="T4" fmla="*/ 668 w 695"/>
                <a:gd name="T5" fmla="*/ 368 h 496"/>
                <a:gd name="T6" fmla="*/ 664 w 695"/>
                <a:gd name="T7" fmla="*/ 330 h 496"/>
                <a:gd name="T8" fmla="*/ 665 w 695"/>
                <a:gd name="T9" fmla="*/ 294 h 496"/>
                <a:gd name="T10" fmla="*/ 668 w 695"/>
                <a:gd name="T11" fmla="*/ 280 h 496"/>
                <a:gd name="T12" fmla="*/ 676 w 695"/>
                <a:gd name="T13" fmla="*/ 260 h 496"/>
                <a:gd name="T14" fmla="*/ 687 w 695"/>
                <a:gd name="T15" fmla="*/ 214 h 496"/>
                <a:gd name="T16" fmla="*/ 694 w 695"/>
                <a:gd name="T17" fmla="*/ 158 h 496"/>
                <a:gd name="T18" fmla="*/ 695 w 695"/>
                <a:gd name="T19" fmla="*/ 110 h 496"/>
                <a:gd name="T20" fmla="*/ 693 w 695"/>
                <a:gd name="T21" fmla="*/ 91 h 496"/>
                <a:gd name="T22" fmla="*/ 686 w 695"/>
                <a:gd name="T23" fmla="*/ 80 h 496"/>
                <a:gd name="T24" fmla="*/ 674 w 695"/>
                <a:gd name="T25" fmla="*/ 70 h 496"/>
                <a:gd name="T26" fmla="*/ 660 w 695"/>
                <a:gd name="T27" fmla="*/ 65 h 496"/>
                <a:gd name="T28" fmla="*/ 638 w 695"/>
                <a:gd name="T29" fmla="*/ 59 h 496"/>
                <a:gd name="T30" fmla="*/ 603 w 695"/>
                <a:gd name="T31" fmla="*/ 47 h 496"/>
                <a:gd name="T32" fmla="*/ 567 w 695"/>
                <a:gd name="T33" fmla="*/ 36 h 496"/>
                <a:gd name="T34" fmla="*/ 533 w 695"/>
                <a:gd name="T35" fmla="*/ 27 h 496"/>
                <a:gd name="T36" fmla="*/ 496 w 695"/>
                <a:gd name="T37" fmla="*/ 22 h 496"/>
                <a:gd name="T38" fmla="*/ 432 w 695"/>
                <a:gd name="T39" fmla="*/ 22 h 496"/>
                <a:gd name="T40" fmla="*/ 358 w 695"/>
                <a:gd name="T41" fmla="*/ 22 h 496"/>
                <a:gd name="T42" fmla="*/ 287 w 695"/>
                <a:gd name="T43" fmla="*/ 20 h 496"/>
                <a:gd name="T44" fmla="*/ 237 w 695"/>
                <a:gd name="T45" fmla="*/ 16 h 496"/>
                <a:gd name="T46" fmla="*/ 190 w 695"/>
                <a:gd name="T47" fmla="*/ 10 h 496"/>
                <a:gd name="T48" fmla="*/ 142 w 695"/>
                <a:gd name="T49" fmla="*/ 5 h 496"/>
                <a:gd name="T50" fmla="*/ 95 w 695"/>
                <a:gd name="T51" fmla="*/ 3 h 496"/>
                <a:gd name="T52" fmla="*/ 72 w 695"/>
                <a:gd name="T53" fmla="*/ 0 h 496"/>
                <a:gd name="T54" fmla="*/ 55 w 695"/>
                <a:gd name="T55" fmla="*/ 1 h 496"/>
                <a:gd name="T56" fmla="*/ 41 w 695"/>
                <a:gd name="T57" fmla="*/ 10 h 496"/>
                <a:gd name="T58" fmla="*/ 33 w 695"/>
                <a:gd name="T59" fmla="*/ 20 h 496"/>
                <a:gd name="T60" fmla="*/ 28 w 695"/>
                <a:gd name="T61" fmla="*/ 44 h 496"/>
                <a:gd name="T62" fmla="*/ 18 w 695"/>
                <a:gd name="T63" fmla="*/ 90 h 496"/>
                <a:gd name="T64" fmla="*/ 11 w 695"/>
                <a:gd name="T65" fmla="*/ 127 h 496"/>
                <a:gd name="T66" fmla="*/ 9 w 695"/>
                <a:gd name="T67" fmla="*/ 154 h 496"/>
                <a:gd name="T68" fmla="*/ 8 w 695"/>
                <a:gd name="T69" fmla="*/ 186 h 496"/>
                <a:gd name="T70" fmla="*/ 8 w 695"/>
                <a:gd name="T71" fmla="*/ 214 h 496"/>
                <a:gd name="T72" fmla="*/ 4 w 695"/>
                <a:gd name="T73" fmla="*/ 242 h 496"/>
                <a:gd name="T74" fmla="*/ 0 w 695"/>
                <a:gd name="T75" fmla="*/ 287 h 496"/>
                <a:gd name="T76" fmla="*/ 0 w 695"/>
                <a:gd name="T77" fmla="*/ 348 h 496"/>
                <a:gd name="T78" fmla="*/ 0 w 695"/>
                <a:gd name="T79" fmla="*/ 389 h 496"/>
                <a:gd name="T80" fmla="*/ 5 w 695"/>
                <a:gd name="T81" fmla="*/ 401 h 496"/>
                <a:gd name="T82" fmla="*/ 11 w 695"/>
                <a:gd name="T83" fmla="*/ 409 h 496"/>
                <a:gd name="T84" fmla="*/ 21 w 695"/>
                <a:gd name="T85" fmla="*/ 417 h 496"/>
                <a:gd name="T86" fmla="*/ 39 w 695"/>
                <a:gd name="T87" fmla="*/ 425 h 496"/>
                <a:gd name="T88" fmla="*/ 67 w 695"/>
                <a:gd name="T89" fmla="*/ 432 h 496"/>
                <a:gd name="T90" fmla="*/ 114 w 695"/>
                <a:gd name="T91" fmla="*/ 438 h 496"/>
                <a:gd name="T92" fmla="*/ 172 w 695"/>
                <a:gd name="T93" fmla="*/ 450 h 496"/>
                <a:gd name="T94" fmla="*/ 237 w 695"/>
                <a:gd name="T95" fmla="*/ 461 h 496"/>
                <a:gd name="T96" fmla="*/ 294 w 695"/>
                <a:gd name="T97" fmla="*/ 474 h 496"/>
                <a:gd name="T98" fmla="*/ 347 w 695"/>
                <a:gd name="T99" fmla="*/ 486 h 496"/>
                <a:gd name="T100" fmla="*/ 389 w 695"/>
                <a:gd name="T101" fmla="*/ 492 h 496"/>
                <a:gd name="T102" fmla="*/ 421 w 695"/>
                <a:gd name="T103" fmla="*/ 495 h 496"/>
                <a:gd name="T104" fmla="*/ 465 w 695"/>
                <a:gd name="T105" fmla="*/ 494 h 496"/>
                <a:gd name="T106" fmla="*/ 513 w 695"/>
                <a:gd name="T107" fmla="*/ 487 h 496"/>
                <a:gd name="T108" fmla="*/ 554 w 695"/>
                <a:gd name="T109" fmla="*/ 483 h 496"/>
                <a:gd name="T110" fmla="*/ 579 w 695"/>
                <a:gd name="T111" fmla="*/ 479 h 496"/>
                <a:gd name="T112" fmla="*/ 601 w 695"/>
                <a:gd name="T113" fmla="*/ 474 h 496"/>
                <a:gd name="T114" fmla="*/ 621 w 695"/>
                <a:gd name="T115" fmla="*/ 462 h 496"/>
                <a:gd name="T116" fmla="*/ 645 w 695"/>
                <a:gd name="T117" fmla="*/ 440 h 496"/>
                <a:gd name="T118" fmla="*/ 667 w 695"/>
                <a:gd name="T119" fmla="*/ 422 h 496"/>
                <a:gd name="T120" fmla="*/ 681 w 695"/>
                <a:gd name="T121" fmla="*/ 409 h 496"/>
                <a:gd name="T122" fmla="*/ 688 w 695"/>
                <a:gd name="T123" fmla="*/ 402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95" h="496">
                  <a:moveTo>
                    <a:pt x="688" y="402"/>
                  </a:moveTo>
                  <a:lnTo>
                    <a:pt x="683" y="396"/>
                  </a:lnTo>
                  <a:lnTo>
                    <a:pt x="679" y="391"/>
                  </a:lnTo>
                  <a:lnTo>
                    <a:pt x="674" y="386"/>
                  </a:lnTo>
                  <a:lnTo>
                    <a:pt x="672" y="379"/>
                  </a:lnTo>
                  <a:lnTo>
                    <a:pt x="668" y="368"/>
                  </a:lnTo>
                  <a:lnTo>
                    <a:pt x="665" y="356"/>
                  </a:lnTo>
                  <a:lnTo>
                    <a:pt x="664" y="330"/>
                  </a:lnTo>
                  <a:lnTo>
                    <a:pt x="665" y="301"/>
                  </a:lnTo>
                  <a:lnTo>
                    <a:pt x="665" y="294"/>
                  </a:lnTo>
                  <a:lnTo>
                    <a:pt x="666" y="286"/>
                  </a:lnTo>
                  <a:lnTo>
                    <a:pt x="668" y="280"/>
                  </a:lnTo>
                  <a:lnTo>
                    <a:pt x="671" y="273"/>
                  </a:lnTo>
                  <a:lnTo>
                    <a:pt x="676" y="260"/>
                  </a:lnTo>
                  <a:lnTo>
                    <a:pt x="681" y="246"/>
                  </a:lnTo>
                  <a:lnTo>
                    <a:pt x="687" y="214"/>
                  </a:lnTo>
                  <a:lnTo>
                    <a:pt x="692" y="186"/>
                  </a:lnTo>
                  <a:lnTo>
                    <a:pt x="694" y="158"/>
                  </a:lnTo>
                  <a:lnTo>
                    <a:pt x="695" y="125"/>
                  </a:lnTo>
                  <a:lnTo>
                    <a:pt x="695" y="110"/>
                  </a:lnTo>
                  <a:lnTo>
                    <a:pt x="694" y="97"/>
                  </a:lnTo>
                  <a:lnTo>
                    <a:pt x="693" y="91"/>
                  </a:lnTo>
                  <a:lnTo>
                    <a:pt x="689" y="85"/>
                  </a:lnTo>
                  <a:lnTo>
                    <a:pt x="686" y="80"/>
                  </a:lnTo>
                  <a:lnTo>
                    <a:pt x="681" y="74"/>
                  </a:lnTo>
                  <a:lnTo>
                    <a:pt x="674" y="70"/>
                  </a:lnTo>
                  <a:lnTo>
                    <a:pt x="667" y="67"/>
                  </a:lnTo>
                  <a:lnTo>
                    <a:pt x="660" y="65"/>
                  </a:lnTo>
                  <a:lnTo>
                    <a:pt x="653" y="63"/>
                  </a:lnTo>
                  <a:lnTo>
                    <a:pt x="638" y="59"/>
                  </a:lnTo>
                  <a:lnTo>
                    <a:pt x="622" y="55"/>
                  </a:lnTo>
                  <a:lnTo>
                    <a:pt x="603" y="47"/>
                  </a:lnTo>
                  <a:lnTo>
                    <a:pt x="585" y="41"/>
                  </a:lnTo>
                  <a:lnTo>
                    <a:pt x="567" y="36"/>
                  </a:lnTo>
                  <a:lnTo>
                    <a:pt x="550" y="30"/>
                  </a:lnTo>
                  <a:lnTo>
                    <a:pt x="533" y="27"/>
                  </a:lnTo>
                  <a:lnTo>
                    <a:pt x="516" y="24"/>
                  </a:lnTo>
                  <a:lnTo>
                    <a:pt x="496" y="22"/>
                  </a:lnTo>
                  <a:lnTo>
                    <a:pt x="476" y="22"/>
                  </a:lnTo>
                  <a:lnTo>
                    <a:pt x="432" y="22"/>
                  </a:lnTo>
                  <a:lnTo>
                    <a:pt x="395" y="22"/>
                  </a:lnTo>
                  <a:lnTo>
                    <a:pt x="358" y="22"/>
                  </a:lnTo>
                  <a:lnTo>
                    <a:pt x="315" y="22"/>
                  </a:lnTo>
                  <a:lnTo>
                    <a:pt x="287" y="20"/>
                  </a:lnTo>
                  <a:lnTo>
                    <a:pt x="261" y="19"/>
                  </a:lnTo>
                  <a:lnTo>
                    <a:pt x="237" y="16"/>
                  </a:lnTo>
                  <a:lnTo>
                    <a:pt x="214" y="13"/>
                  </a:lnTo>
                  <a:lnTo>
                    <a:pt x="190" y="10"/>
                  </a:lnTo>
                  <a:lnTo>
                    <a:pt x="167" y="8"/>
                  </a:lnTo>
                  <a:lnTo>
                    <a:pt x="142" y="5"/>
                  </a:lnTo>
                  <a:lnTo>
                    <a:pt x="114" y="4"/>
                  </a:lnTo>
                  <a:lnTo>
                    <a:pt x="95" y="3"/>
                  </a:lnTo>
                  <a:lnTo>
                    <a:pt x="79" y="0"/>
                  </a:lnTo>
                  <a:lnTo>
                    <a:pt x="72" y="0"/>
                  </a:lnTo>
                  <a:lnTo>
                    <a:pt x="64" y="0"/>
                  </a:lnTo>
                  <a:lnTo>
                    <a:pt x="55" y="1"/>
                  </a:lnTo>
                  <a:lnTo>
                    <a:pt x="48" y="4"/>
                  </a:lnTo>
                  <a:lnTo>
                    <a:pt x="41" y="10"/>
                  </a:lnTo>
                  <a:lnTo>
                    <a:pt x="36" y="15"/>
                  </a:lnTo>
                  <a:lnTo>
                    <a:pt x="33" y="20"/>
                  </a:lnTo>
                  <a:lnTo>
                    <a:pt x="31" y="28"/>
                  </a:lnTo>
                  <a:lnTo>
                    <a:pt x="28" y="44"/>
                  </a:lnTo>
                  <a:lnTo>
                    <a:pt x="25" y="60"/>
                  </a:lnTo>
                  <a:lnTo>
                    <a:pt x="18" y="90"/>
                  </a:lnTo>
                  <a:lnTo>
                    <a:pt x="12" y="114"/>
                  </a:lnTo>
                  <a:lnTo>
                    <a:pt x="11" y="127"/>
                  </a:lnTo>
                  <a:lnTo>
                    <a:pt x="9" y="140"/>
                  </a:lnTo>
                  <a:lnTo>
                    <a:pt x="9" y="154"/>
                  </a:lnTo>
                  <a:lnTo>
                    <a:pt x="8" y="170"/>
                  </a:lnTo>
                  <a:lnTo>
                    <a:pt x="8" y="186"/>
                  </a:lnTo>
                  <a:lnTo>
                    <a:pt x="8" y="200"/>
                  </a:lnTo>
                  <a:lnTo>
                    <a:pt x="8" y="214"/>
                  </a:lnTo>
                  <a:lnTo>
                    <a:pt x="8" y="230"/>
                  </a:lnTo>
                  <a:lnTo>
                    <a:pt x="4" y="242"/>
                  </a:lnTo>
                  <a:lnTo>
                    <a:pt x="0" y="254"/>
                  </a:lnTo>
                  <a:lnTo>
                    <a:pt x="0" y="287"/>
                  </a:lnTo>
                  <a:lnTo>
                    <a:pt x="0" y="317"/>
                  </a:lnTo>
                  <a:lnTo>
                    <a:pt x="0" y="348"/>
                  </a:lnTo>
                  <a:lnTo>
                    <a:pt x="0" y="382"/>
                  </a:lnTo>
                  <a:lnTo>
                    <a:pt x="0" y="389"/>
                  </a:lnTo>
                  <a:lnTo>
                    <a:pt x="1" y="395"/>
                  </a:lnTo>
                  <a:lnTo>
                    <a:pt x="5" y="401"/>
                  </a:lnTo>
                  <a:lnTo>
                    <a:pt x="7" y="405"/>
                  </a:lnTo>
                  <a:lnTo>
                    <a:pt x="11" y="409"/>
                  </a:lnTo>
                  <a:lnTo>
                    <a:pt x="15" y="414"/>
                  </a:lnTo>
                  <a:lnTo>
                    <a:pt x="21" y="417"/>
                  </a:lnTo>
                  <a:lnTo>
                    <a:pt x="26" y="420"/>
                  </a:lnTo>
                  <a:lnTo>
                    <a:pt x="39" y="425"/>
                  </a:lnTo>
                  <a:lnTo>
                    <a:pt x="53" y="429"/>
                  </a:lnTo>
                  <a:lnTo>
                    <a:pt x="67" y="432"/>
                  </a:lnTo>
                  <a:lnTo>
                    <a:pt x="81" y="433"/>
                  </a:lnTo>
                  <a:lnTo>
                    <a:pt x="114" y="438"/>
                  </a:lnTo>
                  <a:lnTo>
                    <a:pt x="143" y="444"/>
                  </a:lnTo>
                  <a:lnTo>
                    <a:pt x="172" y="450"/>
                  </a:lnTo>
                  <a:lnTo>
                    <a:pt x="204" y="456"/>
                  </a:lnTo>
                  <a:lnTo>
                    <a:pt x="237" y="461"/>
                  </a:lnTo>
                  <a:lnTo>
                    <a:pt x="266" y="468"/>
                  </a:lnTo>
                  <a:lnTo>
                    <a:pt x="294" y="474"/>
                  </a:lnTo>
                  <a:lnTo>
                    <a:pt x="320" y="481"/>
                  </a:lnTo>
                  <a:lnTo>
                    <a:pt x="347" y="486"/>
                  </a:lnTo>
                  <a:lnTo>
                    <a:pt x="375" y="491"/>
                  </a:lnTo>
                  <a:lnTo>
                    <a:pt x="389" y="492"/>
                  </a:lnTo>
                  <a:lnTo>
                    <a:pt x="404" y="494"/>
                  </a:lnTo>
                  <a:lnTo>
                    <a:pt x="421" y="495"/>
                  </a:lnTo>
                  <a:lnTo>
                    <a:pt x="437" y="496"/>
                  </a:lnTo>
                  <a:lnTo>
                    <a:pt x="465" y="494"/>
                  </a:lnTo>
                  <a:lnTo>
                    <a:pt x="489" y="490"/>
                  </a:lnTo>
                  <a:lnTo>
                    <a:pt x="513" y="487"/>
                  </a:lnTo>
                  <a:lnTo>
                    <a:pt x="540" y="484"/>
                  </a:lnTo>
                  <a:lnTo>
                    <a:pt x="554" y="483"/>
                  </a:lnTo>
                  <a:lnTo>
                    <a:pt x="567" y="482"/>
                  </a:lnTo>
                  <a:lnTo>
                    <a:pt x="579" y="479"/>
                  </a:lnTo>
                  <a:lnTo>
                    <a:pt x="590" y="477"/>
                  </a:lnTo>
                  <a:lnTo>
                    <a:pt x="601" y="474"/>
                  </a:lnTo>
                  <a:lnTo>
                    <a:pt x="612" y="469"/>
                  </a:lnTo>
                  <a:lnTo>
                    <a:pt x="621" y="462"/>
                  </a:lnTo>
                  <a:lnTo>
                    <a:pt x="630" y="454"/>
                  </a:lnTo>
                  <a:lnTo>
                    <a:pt x="645" y="440"/>
                  </a:lnTo>
                  <a:lnTo>
                    <a:pt x="660" y="429"/>
                  </a:lnTo>
                  <a:lnTo>
                    <a:pt x="667" y="422"/>
                  </a:lnTo>
                  <a:lnTo>
                    <a:pt x="674" y="417"/>
                  </a:lnTo>
                  <a:lnTo>
                    <a:pt x="681" y="409"/>
                  </a:lnTo>
                  <a:lnTo>
                    <a:pt x="688" y="402"/>
                  </a:lnTo>
                  <a:lnTo>
                    <a:pt x="688" y="402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49">
              <a:extLst>
                <a:ext uri="{FF2B5EF4-FFF2-40B4-BE49-F238E27FC236}">
                  <a16:creationId xmlns:a16="http://schemas.microsoft.com/office/drawing/2014/main" id="{EE9B3C19-CEC5-4B9A-83AA-1795F79B9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46338" y="4668838"/>
              <a:ext cx="627063" cy="392113"/>
            </a:xfrm>
            <a:custGeom>
              <a:avLst/>
              <a:gdLst>
                <a:gd name="T0" fmla="*/ 1292 w 1580"/>
                <a:gd name="T1" fmla="*/ 78 h 986"/>
                <a:gd name="T2" fmla="*/ 1316 w 1580"/>
                <a:gd name="T3" fmla="*/ 118 h 986"/>
                <a:gd name="T4" fmla="*/ 1387 w 1580"/>
                <a:gd name="T5" fmla="*/ 140 h 986"/>
                <a:gd name="T6" fmla="*/ 1503 w 1580"/>
                <a:gd name="T7" fmla="*/ 153 h 986"/>
                <a:gd name="T8" fmla="*/ 1551 w 1580"/>
                <a:gd name="T9" fmla="*/ 201 h 986"/>
                <a:gd name="T10" fmla="*/ 1565 w 1580"/>
                <a:gd name="T11" fmla="*/ 274 h 986"/>
                <a:gd name="T12" fmla="*/ 1534 w 1580"/>
                <a:gd name="T13" fmla="*/ 327 h 986"/>
                <a:gd name="T14" fmla="*/ 1523 w 1580"/>
                <a:gd name="T15" fmla="*/ 390 h 986"/>
                <a:gd name="T16" fmla="*/ 1536 w 1580"/>
                <a:gd name="T17" fmla="*/ 505 h 986"/>
                <a:gd name="T18" fmla="*/ 1529 w 1580"/>
                <a:gd name="T19" fmla="*/ 546 h 986"/>
                <a:gd name="T20" fmla="*/ 1490 w 1580"/>
                <a:gd name="T21" fmla="*/ 575 h 986"/>
                <a:gd name="T22" fmla="*/ 1335 w 1580"/>
                <a:gd name="T23" fmla="*/ 615 h 986"/>
                <a:gd name="T24" fmla="*/ 1228 w 1580"/>
                <a:gd name="T25" fmla="*/ 657 h 986"/>
                <a:gd name="T26" fmla="*/ 1127 w 1580"/>
                <a:gd name="T27" fmla="*/ 739 h 986"/>
                <a:gd name="T28" fmla="*/ 1116 w 1580"/>
                <a:gd name="T29" fmla="*/ 779 h 986"/>
                <a:gd name="T30" fmla="*/ 1105 w 1580"/>
                <a:gd name="T31" fmla="*/ 840 h 986"/>
                <a:gd name="T32" fmla="*/ 1068 w 1580"/>
                <a:gd name="T33" fmla="*/ 851 h 986"/>
                <a:gd name="T34" fmla="*/ 957 w 1580"/>
                <a:gd name="T35" fmla="*/ 856 h 986"/>
                <a:gd name="T36" fmla="*/ 837 w 1580"/>
                <a:gd name="T37" fmla="*/ 837 h 986"/>
                <a:gd name="T38" fmla="*/ 742 w 1580"/>
                <a:gd name="T39" fmla="*/ 852 h 986"/>
                <a:gd name="T40" fmla="*/ 689 w 1580"/>
                <a:gd name="T41" fmla="*/ 844 h 986"/>
                <a:gd name="T42" fmla="*/ 661 w 1580"/>
                <a:gd name="T43" fmla="*/ 798 h 986"/>
                <a:gd name="T44" fmla="*/ 621 w 1580"/>
                <a:gd name="T45" fmla="*/ 804 h 986"/>
                <a:gd name="T46" fmla="*/ 563 w 1580"/>
                <a:gd name="T47" fmla="*/ 854 h 986"/>
                <a:gd name="T48" fmla="*/ 492 w 1580"/>
                <a:gd name="T49" fmla="*/ 857 h 986"/>
                <a:gd name="T50" fmla="*/ 416 w 1580"/>
                <a:gd name="T51" fmla="*/ 827 h 986"/>
                <a:gd name="T52" fmla="*/ 340 w 1580"/>
                <a:gd name="T53" fmla="*/ 798 h 986"/>
                <a:gd name="T54" fmla="*/ 304 w 1580"/>
                <a:gd name="T55" fmla="*/ 826 h 986"/>
                <a:gd name="T56" fmla="*/ 239 w 1580"/>
                <a:gd name="T57" fmla="*/ 854 h 986"/>
                <a:gd name="T58" fmla="*/ 202 w 1580"/>
                <a:gd name="T59" fmla="*/ 833 h 986"/>
                <a:gd name="T60" fmla="*/ 167 w 1580"/>
                <a:gd name="T61" fmla="*/ 812 h 986"/>
                <a:gd name="T62" fmla="*/ 131 w 1580"/>
                <a:gd name="T63" fmla="*/ 832 h 986"/>
                <a:gd name="T64" fmla="*/ 91 w 1580"/>
                <a:gd name="T65" fmla="*/ 854 h 986"/>
                <a:gd name="T66" fmla="*/ 70 w 1580"/>
                <a:gd name="T67" fmla="*/ 986 h 986"/>
                <a:gd name="T68" fmla="*/ 32 w 1580"/>
                <a:gd name="T69" fmla="*/ 960 h 986"/>
                <a:gd name="T70" fmla="*/ 0 w 1580"/>
                <a:gd name="T71" fmla="*/ 946 h 986"/>
                <a:gd name="T72" fmla="*/ 14 w 1580"/>
                <a:gd name="T73" fmla="*/ 868 h 986"/>
                <a:gd name="T74" fmla="*/ 40 w 1580"/>
                <a:gd name="T75" fmla="*/ 803 h 986"/>
                <a:gd name="T76" fmla="*/ 111 w 1580"/>
                <a:gd name="T77" fmla="*/ 761 h 986"/>
                <a:gd name="T78" fmla="*/ 187 w 1580"/>
                <a:gd name="T79" fmla="*/ 741 h 986"/>
                <a:gd name="T80" fmla="*/ 242 w 1580"/>
                <a:gd name="T81" fmla="*/ 700 h 986"/>
                <a:gd name="T82" fmla="*/ 209 w 1580"/>
                <a:gd name="T83" fmla="*/ 665 h 986"/>
                <a:gd name="T84" fmla="*/ 163 w 1580"/>
                <a:gd name="T85" fmla="*/ 657 h 986"/>
                <a:gd name="T86" fmla="*/ 71 w 1580"/>
                <a:gd name="T87" fmla="*/ 654 h 986"/>
                <a:gd name="T88" fmla="*/ 54 w 1580"/>
                <a:gd name="T89" fmla="*/ 631 h 986"/>
                <a:gd name="T90" fmla="*/ 69 w 1580"/>
                <a:gd name="T91" fmla="*/ 557 h 986"/>
                <a:gd name="T92" fmla="*/ 141 w 1580"/>
                <a:gd name="T93" fmla="*/ 503 h 986"/>
                <a:gd name="T94" fmla="*/ 281 w 1580"/>
                <a:gd name="T95" fmla="*/ 461 h 986"/>
                <a:gd name="T96" fmla="*/ 488 w 1580"/>
                <a:gd name="T97" fmla="*/ 423 h 986"/>
                <a:gd name="T98" fmla="*/ 689 w 1580"/>
                <a:gd name="T99" fmla="*/ 424 h 986"/>
                <a:gd name="T100" fmla="*/ 831 w 1580"/>
                <a:gd name="T101" fmla="*/ 421 h 986"/>
                <a:gd name="T102" fmla="*/ 969 w 1580"/>
                <a:gd name="T103" fmla="*/ 387 h 986"/>
                <a:gd name="T104" fmla="*/ 1013 w 1580"/>
                <a:gd name="T105" fmla="*/ 356 h 986"/>
                <a:gd name="T106" fmla="*/ 1038 w 1580"/>
                <a:gd name="T107" fmla="*/ 289 h 986"/>
                <a:gd name="T108" fmla="*/ 1091 w 1580"/>
                <a:gd name="T109" fmla="*/ 163 h 986"/>
                <a:gd name="T110" fmla="*/ 1139 w 1580"/>
                <a:gd name="T111" fmla="*/ 49 h 986"/>
                <a:gd name="T112" fmla="*/ 1201 w 1580"/>
                <a:gd name="T113" fmla="*/ 17 h 986"/>
                <a:gd name="T114" fmla="*/ 1280 w 1580"/>
                <a:gd name="T115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0" h="986">
                  <a:moveTo>
                    <a:pt x="1280" y="0"/>
                  </a:moveTo>
                  <a:lnTo>
                    <a:pt x="1284" y="18"/>
                  </a:lnTo>
                  <a:lnTo>
                    <a:pt x="1287" y="35"/>
                  </a:lnTo>
                  <a:lnTo>
                    <a:pt x="1289" y="54"/>
                  </a:lnTo>
                  <a:lnTo>
                    <a:pt x="1291" y="71"/>
                  </a:lnTo>
                  <a:lnTo>
                    <a:pt x="1292" y="78"/>
                  </a:lnTo>
                  <a:lnTo>
                    <a:pt x="1294" y="86"/>
                  </a:lnTo>
                  <a:lnTo>
                    <a:pt x="1297" y="93"/>
                  </a:lnTo>
                  <a:lnTo>
                    <a:pt x="1301" y="101"/>
                  </a:lnTo>
                  <a:lnTo>
                    <a:pt x="1305" y="106"/>
                  </a:lnTo>
                  <a:lnTo>
                    <a:pt x="1309" y="113"/>
                  </a:lnTo>
                  <a:lnTo>
                    <a:pt x="1316" y="118"/>
                  </a:lnTo>
                  <a:lnTo>
                    <a:pt x="1323" y="123"/>
                  </a:lnTo>
                  <a:lnTo>
                    <a:pt x="1335" y="127"/>
                  </a:lnTo>
                  <a:lnTo>
                    <a:pt x="1346" y="131"/>
                  </a:lnTo>
                  <a:lnTo>
                    <a:pt x="1356" y="135"/>
                  </a:lnTo>
                  <a:lnTo>
                    <a:pt x="1367" y="137"/>
                  </a:lnTo>
                  <a:lnTo>
                    <a:pt x="1387" y="140"/>
                  </a:lnTo>
                  <a:lnTo>
                    <a:pt x="1408" y="142"/>
                  </a:lnTo>
                  <a:lnTo>
                    <a:pt x="1427" y="142"/>
                  </a:lnTo>
                  <a:lnTo>
                    <a:pt x="1449" y="143"/>
                  </a:lnTo>
                  <a:lnTo>
                    <a:pt x="1471" y="145"/>
                  </a:lnTo>
                  <a:lnTo>
                    <a:pt x="1495" y="151"/>
                  </a:lnTo>
                  <a:lnTo>
                    <a:pt x="1503" y="153"/>
                  </a:lnTo>
                  <a:lnTo>
                    <a:pt x="1510" y="156"/>
                  </a:lnTo>
                  <a:lnTo>
                    <a:pt x="1517" y="160"/>
                  </a:lnTo>
                  <a:lnTo>
                    <a:pt x="1523" y="165"/>
                  </a:lnTo>
                  <a:lnTo>
                    <a:pt x="1533" y="176"/>
                  </a:lnTo>
                  <a:lnTo>
                    <a:pt x="1543" y="189"/>
                  </a:lnTo>
                  <a:lnTo>
                    <a:pt x="1551" y="201"/>
                  </a:lnTo>
                  <a:lnTo>
                    <a:pt x="1560" y="216"/>
                  </a:lnTo>
                  <a:lnTo>
                    <a:pt x="1568" y="230"/>
                  </a:lnTo>
                  <a:lnTo>
                    <a:pt x="1580" y="243"/>
                  </a:lnTo>
                  <a:lnTo>
                    <a:pt x="1580" y="243"/>
                  </a:lnTo>
                  <a:lnTo>
                    <a:pt x="1573" y="258"/>
                  </a:lnTo>
                  <a:lnTo>
                    <a:pt x="1565" y="274"/>
                  </a:lnTo>
                  <a:lnTo>
                    <a:pt x="1562" y="281"/>
                  </a:lnTo>
                  <a:lnTo>
                    <a:pt x="1559" y="289"/>
                  </a:lnTo>
                  <a:lnTo>
                    <a:pt x="1556" y="295"/>
                  </a:lnTo>
                  <a:lnTo>
                    <a:pt x="1551" y="301"/>
                  </a:lnTo>
                  <a:lnTo>
                    <a:pt x="1543" y="313"/>
                  </a:lnTo>
                  <a:lnTo>
                    <a:pt x="1534" y="327"/>
                  </a:lnTo>
                  <a:lnTo>
                    <a:pt x="1530" y="335"/>
                  </a:lnTo>
                  <a:lnTo>
                    <a:pt x="1526" y="343"/>
                  </a:lnTo>
                  <a:lnTo>
                    <a:pt x="1524" y="352"/>
                  </a:lnTo>
                  <a:lnTo>
                    <a:pt x="1522" y="359"/>
                  </a:lnTo>
                  <a:lnTo>
                    <a:pt x="1522" y="374"/>
                  </a:lnTo>
                  <a:lnTo>
                    <a:pt x="1523" y="390"/>
                  </a:lnTo>
                  <a:lnTo>
                    <a:pt x="1525" y="407"/>
                  </a:lnTo>
                  <a:lnTo>
                    <a:pt x="1527" y="424"/>
                  </a:lnTo>
                  <a:lnTo>
                    <a:pt x="1530" y="441"/>
                  </a:lnTo>
                  <a:lnTo>
                    <a:pt x="1531" y="460"/>
                  </a:lnTo>
                  <a:lnTo>
                    <a:pt x="1533" y="483"/>
                  </a:lnTo>
                  <a:lnTo>
                    <a:pt x="1536" y="505"/>
                  </a:lnTo>
                  <a:lnTo>
                    <a:pt x="1537" y="515"/>
                  </a:lnTo>
                  <a:lnTo>
                    <a:pt x="1536" y="525"/>
                  </a:lnTo>
                  <a:lnTo>
                    <a:pt x="1535" y="530"/>
                  </a:lnTo>
                  <a:lnTo>
                    <a:pt x="1534" y="535"/>
                  </a:lnTo>
                  <a:lnTo>
                    <a:pt x="1531" y="541"/>
                  </a:lnTo>
                  <a:lnTo>
                    <a:pt x="1529" y="546"/>
                  </a:lnTo>
                  <a:lnTo>
                    <a:pt x="1524" y="551"/>
                  </a:lnTo>
                  <a:lnTo>
                    <a:pt x="1520" y="556"/>
                  </a:lnTo>
                  <a:lnTo>
                    <a:pt x="1516" y="560"/>
                  </a:lnTo>
                  <a:lnTo>
                    <a:pt x="1511" y="564"/>
                  </a:lnTo>
                  <a:lnTo>
                    <a:pt x="1500" y="571"/>
                  </a:lnTo>
                  <a:lnTo>
                    <a:pt x="1490" y="575"/>
                  </a:lnTo>
                  <a:lnTo>
                    <a:pt x="1466" y="582"/>
                  </a:lnTo>
                  <a:lnTo>
                    <a:pt x="1439" y="587"/>
                  </a:lnTo>
                  <a:lnTo>
                    <a:pt x="1411" y="596"/>
                  </a:lnTo>
                  <a:lnTo>
                    <a:pt x="1387" y="602"/>
                  </a:lnTo>
                  <a:lnTo>
                    <a:pt x="1362" y="609"/>
                  </a:lnTo>
                  <a:lnTo>
                    <a:pt x="1335" y="615"/>
                  </a:lnTo>
                  <a:lnTo>
                    <a:pt x="1305" y="624"/>
                  </a:lnTo>
                  <a:lnTo>
                    <a:pt x="1278" y="633"/>
                  </a:lnTo>
                  <a:lnTo>
                    <a:pt x="1265" y="639"/>
                  </a:lnTo>
                  <a:lnTo>
                    <a:pt x="1252" y="644"/>
                  </a:lnTo>
                  <a:lnTo>
                    <a:pt x="1240" y="651"/>
                  </a:lnTo>
                  <a:lnTo>
                    <a:pt x="1228" y="657"/>
                  </a:lnTo>
                  <a:lnTo>
                    <a:pt x="1206" y="672"/>
                  </a:lnTo>
                  <a:lnTo>
                    <a:pt x="1184" y="690"/>
                  </a:lnTo>
                  <a:lnTo>
                    <a:pt x="1161" y="709"/>
                  </a:lnTo>
                  <a:lnTo>
                    <a:pt x="1139" y="731"/>
                  </a:lnTo>
                  <a:lnTo>
                    <a:pt x="1132" y="735"/>
                  </a:lnTo>
                  <a:lnTo>
                    <a:pt x="1127" y="739"/>
                  </a:lnTo>
                  <a:lnTo>
                    <a:pt x="1122" y="745"/>
                  </a:lnTo>
                  <a:lnTo>
                    <a:pt x="1119" y="751"/>
                  </a:lnTo>
                  <a:lnTo>
                    <a:pt x="1117" y="758"/>
                  </a:lnTo>
                  <a:lnTo>
                    <a:pt x="1116" y="765"/>
                  </a:lnTo>
                  <a:lnTo>
                    <a:pt x="1116" y="772"/>
                  </a:lnTo>
                  <a:lnTo>
                    <a:pt x="1116" y="779"/>
                  </a:lnTo>
                  <a:lnTo>
                    <a:pt x="1116" y="795"/>
                  </a:lnTo>
                  <a:lnTo>
                    <a:pt x="1115" y="811"/>
                  </a:lnTo>
                  <a:lnTo>
                    <a:pt x="1114" y="818"/>
                  </a:lnTo>
                  <a:lnTo>
                    <a:pt x="1113" y="826"/>
                  </a:lnTo>
                  <a:lnTo>
                    <a:pt x="1109" y="833"/>
                  </a:lnTo>
                  <a:lnTo>
                    <a:pt x="1105" y="840"/>
                  </a:lnTo>
                  <a:lnTo>
                    <a:pt x="1102" y="844"/>
                  </a:lnTo>
                  <a:lnTo>
                    <a:pt x="1098" y="846"/>
                  </a:lnTo>
                  <a:lnTo>
                    <a:pt x="1093" y="848"/>
                  </a:lnTo>
                  <a:lnTo>
                    <a:pt x="1089" y="849"/>
                  </a:lnTo>
                  <a:lnTo>
                    <a:pt x="1079" y="849"/>
                  </a:lnTo>
                  <a:lnTo>
                    <a:pt x="1068" y="851"/>
                  </a:lnTo>
                  <a:lnTo>
                    <a:pt x="1051" y="854"/>
                  </a:lnTo>
                  <a:lnTo>
                    <a:pt x="1035" y="857"/>
                  </a:lnTo>
                  <a:lnTo>
                    <a:pt x="1019" y="858"/>
                  </a:lnTo>
                  <a:lnTo>
                    <a:pt x="1001" y="859"/>
                  </a:lnTo>
                  <a:lnTo>
                    <a:pt x="979" y="858"/>
                  </a:lnTo>
                  <a:lnTo>
                    <a:pt x="957" y="856"/>
                  </a:lnTo>
                  <a:lnTo>
                    <a:pt x="938" y="853"/>
                  </a:lnTo>
                  <a:lnTo>
                    <a:pt x="919" y="848"/>
                  </a:lnTo>
                  <a:lnTo>
                    <a:pt x="901" y="844"/>
                  </a:lnTo>
                  <a:lnTo>
                    <a:pt x="882" y="841"/>
                  </a:lnTo>
                  <a:lnTo>
                    <a:pt x="860" y="838"/>
                  </a:lnTo>
                  <a:lnTo>
                    <a:pt x="837" y="837"/>
                  </a:lnTo>
                  <a:lnTo>
                    <a:pt x="819" y="838"/>
                  </a:lnTo>
                  <a:lnTo>
                    <a:pt x="803" y="840"/>
                  </a:lnTo>
                  <a:lnTo>
                    <a:pt x="788" y="842"/>
                  </a:lnTo>
                  <a:lnTo>
                    <a:pt x="772" y="845"/>
                  </a:lnTo>
                  <a:lnTo>
                    <a:pt x="757" y="848"/>
                  </a:lnTo>
                  <a:lnTo>
                    <a:pt x="742" y="852"/>
                  </a:lnTo>
                  <a:lnTo>
                    <a:pt x="725" y="853"/>
                  </a:lnTo>
                  <a:lnTo>
                    <a:pt x="707" y="854"/>
                  </a:lnTo>
                  <a:lnTo>
                    <a:pt x="701" y="853"/>
                  </a:lnTo>
                  <a:lnTo>
                    <a:pt x="697" y="852"/>
                  </a:lnTo>
                  <a:lnTo>
                    <a:pt x="693" y="848"/>
                  </a:lnTo>
                  <a:lnTo>
                    <a:pt x="689" y="844"/>
                  </a:lnTo>
                  <a:lnTo>
                    <a:pt x="684" y="835"/>
                  </a:lnTo>
                  <a:lnTo>
                    <a:pt x="680" y="825"/>
                  </a:lnTo>
                  <a:lnTo>
                    <a:pt x="674" y="814"/>
                  </a:lnTo>
                  <a:lnTo>
                    <a:pt x="669" y="804"/>
                  </a:lnTo>
                  <a:lnTo>
                    <a:pt x="666" y="800"/>
                  </a:lnTo>
                  <a:lnTo>
                    <a:pt x="661" y="798"/>
                  </a:lnTo>
                  <a:lnTo>
                    <a:pt x="657" y="795"/>
                  </a:lnTo>
                  <a:lnTo>
                    <a:pt x="651" y="794"/>
                  </a:lnTo>
                  <a:lnTo>
                    <a:pt x="643" y="795"/>
                  </a:lnTo>
                  <a:lnTo>
                    <a:pt x="635" y="798"/>
                  </a:lnTo>
                  <a:lnTo>
                    <a:pt x="628" y="801"/>
                  </a:lnTo>
                  <a:lnTo>
                    <a:pt x="621" y="804"/>
                  </a:lnTo>
                  <a:lnTo>
                    <a:pt x="609" y="815"/>
                  </a:lnTo>
                  <a:lnTo>
                    <a:pt x="599" y="826"/>
                  </a:lnTo>
                  <a:lnTo>
                    <a:pt x="588" y="837"/>
                  </a:lnTo>
                  <a:lnTo>
                    <a:pt x="576" y="847"/>
                  </a:lnTo>
                  <a:lnTo>
                    <a:pt x="569" y="851"/>
                  </a:lnTo>
                  <a:lnTo>
                    <a:pt x="563" y="854"/>
                  </a:lnTo>
                  <a:lnTo>
                    <a:pt x="555" y="856"/>
                  </a:lnTo>
                  <a:lnTo>
                    <a:pt x="547" y="857"/>
                  </a:lnTo>
                  <a:lnTo>
                    <a:pt x="532" y="857"/>
                  </a:lnTo>
                  <a:lnTo>
                    <a:pt x="520" y="857"/>
                  </a:lnTo>
                  <a:lnTo>
                    <a:pt x="507" y="857"/>
                  </a:lnTo>
                  <a:lnTo>
                    <a:pt x="492" y="857"/>
                  </a:lnTo>
                  <a:lnTo>
                    <a:pt x="481" y="856"/>
                  </a:lnTo>
                  <a:lnTo>
                    <a:pt x="470" y="854"/>
                  </a:lnTo>
                  <a:lnTo>
                    <a:pt x="460" y="852"/>
                  </a:lnTo>
                  <a:lnTo>
                    <a:pt x="451" y="847"/>
                  </a:lnTo>
                  <a:lnTo>
                    <a:pt x="432" y="838"/>
                  </a:lnTo>
                  <a:lnTo>
                    <a:pt x="416" y="827"/>
                  </a:lnTo>
                  <a:lnTo>
                    <a:pt x="399" y="816"/>
                  </a:lnTo>
                  <a:lnTo>
                    <a:pt x="381" y="807"/>
                  </a:lnTo>
                  <a:lnTo>
                    <a:pt x="372" y="803"/>
                  </a:lnTo>
                  <a:lnTo>
                    <a:pt x="362" y="800"/>
                  </a:lnTo>
                  <a:lnTo>
                    <a:pt x="351" y="799"/>
                  </a:lnTo>
                  <a:lnTo>
                    <a:pt x="340" y="798"/>
                  </a:lnTo>
                  <a:lnTo>
                    <a:pt x="334" y="799"/>
                  </a:lnTo>
                  <a:lnTo>
                    <a:pt x="329" y="801"/>
                  </a:lnTo>
                  <a:lnTo>
                    <a:pt x="324" y="804"/>
                  </a:lnTo>
                  <a:lnTo>
                    <a:pt x="320" y="808"/>
                  </a:lnTo>
                  <a:lnTo>
                    <a:pt x="312" y="817"/>
                  </a:lnTo>
                  <a:lnTo>
                    <a:pt x="304" y="826"/>
                  </a:lnTo>
                  <a:lnTo>
                    <a:pt x="288" y="837"/>
                  </a:lnTo>
                  <a:lnTo>
                    <a:pt x="273" y="845"/>
                  </a:lnTo>
                  <a:lnTo>
                    <a:pt x="266" y="849"/>
                  </a:lnTo>
                  <a:lnTo>
                    <a:pt x="257" y="852"/>
                  </a:lnTo>
                  <a:lnTo>
                    <a:pt x="249" y="853"/>
                  </a:lnTo>
                  <a:lnTo>
                    <a:pt x="239" y="854"/>
                  </a:lnTo>
                  <a:lnTo>
                    <a:pt x="234" y="854"/>
                  </a:lnTo>
                  <a:lnTo>
                    <a:pt x="228" y="852"/>
                  </a:lnTo>
                  <a:lnTo>
                    <a:pt x="223" y="849"/>
                  </a:lnTo>
                  <a:lnTo>
                    <a:pt x="218" y="847"/>
                  </a:lnTo>
                  <a:lnTo>
                    <a:pt x="210" y="841"/>
                  </a:lnTo>
                  <a:lnTo>
                    <a:pt x="202" y="833"/>
                  </a:lnTo>
                  <a:lnTo>
                    <a:pt x="195" y="825"/>
                  </a:lnTo>
                  <a:lnTo>
                    <a:pt x="187" y="818"/>
                  </a:lnTo>
                  <a:lnTo>
                    <a:pt x="183" y="816"/>
                  </a:lnTo>
                  <a:lnTo>
                    <a:pt x="177" y="814"/>
                  </a:lnTo>
                  <a:lnTo>
                    <a:pt x="172" y="812"/>
                  </a:lnTo>
                  <a:lnTo>
                    <a:pt x="167" y="812"/>
                  </a:lnTo>
                  <a:lnTo>
                    <a:pt x="159" y="813"/>
                  </a:lnTo>
                  <a:lnTo>
                    <a:pt x="152" y="815"/>
                  </a:lnTo>
                  <a:lnTo>
                    <a:pt x="147" y="818"/>
                  </a:lnTo>
                  <a:lnTo>
                    <a:pt x="142" y="822"/>
                  </a:lnTo>
                  <a:lnTo>
                    <a:pt x="136" y="828"/>
                  </a:lnTo>
                  <a:lnTo>
                    <a:pt x="131" y="832"/>
                  </a:lnTo>
                  <a:lnTo>
                    <a:pt x="125" y="837"/>
                  </a:lnTo>
                  <a:lnTo>
                    <a:pt x="119" y="840"/>
                  </a:lnTo>
                  <a:lnTo>
                    <a:pt x="108" y="844"/>
                  </a:lnTo>
                  <a:lnTo>
                    <a:pt x="98" y="848"/>
                  </a:lnTo>
                  <a:lnTo>
                    <a:pt x="95" y="851"/>
                  </a:lnTo>
                  <a:lnTo>
                    <a:pt x="91" y="854"/>
                  </a:lnTo>
                  <a:lnTo>
                    <a:pt x="88" y="858"/>
                  </a:lnTo>
                  <a:lnTo>
                    <a:pt x="84" y="862"/>
                  </a:lnTo>
                  <a:lnTo>
                    <a:pt x="84" y="862"/>
                  </a:lnTo>
                  <a:lnTo>
                    <a:pt x="98" y="949"/>
                  </a:lnTo>
                  <a:lnTo>
                    <a:pt x="98" y="986"/>
                  </a:lnTo>
                  <a:lnTo>
                    <a:pt x="70" y="986"/>
                  </a:lnTo>
                  <a:lnTo>
                    <a:pt x="70" y="986"/>
                  </a:lnTo>
                  <a:lnTo>
                    <a:pt x="63" y="978"/>
                  </a:lnTo>
                  <a:lnTo>
                    <a:pt x="55" y="973"/>
                  </a:lnTo>
                  <a:lnTo>
                    <a:pt x="48" y="967"/>
                  </a:lnTo>
                  <a:lnTo>
                    <a:pt x="40" y="963"/>
                  </a:lnTo>
                  <a:lnTo>
                    <a:pt x="32" y="960"/>
                  </a:lnTo>
                  <a:lnTo>
                    <a:pt x="23" y="957"/>
                  </a:lnTo>
                  <a:lnTo>
                    <a:pt x="14" y="955"/>
                  </a:lnTo>
                  <a:lnTo>
                    <a:pt x="3" y="955"/>
                  </a:lnTo>
                  <a:lnTo>
                    <a:pt x="3" y="955"/>
                  </a:lnTo>
                  <a:lnTo>
                    <a:pt x="2" y="950"/>
                  </a:lnTo>
                  <a:lnTo>
                    <a:pt x="0" y="946"/>
                  </a:lnTo>
                  <a:lnTo>
                    <a:pt x="1" y="935"/>
                  </a:lnTo>
                  <a:lnTo>
                    <a:pt x="2" y="925"/>
                  </a:lnTo>
                  <a:lnTo>
                    <a:pt x="5" y="915"/>
                  </a:lnTo>
                  <a:lnTo>
                    <a:pt x="7" y="907"/>
                  </a:lnTo>
                  <a:lnTo>
                    <a:pt x="11" y="888"/>
                  </a:lnTo>
                  <a:lnTo>
                    <a:pt x="14" y="868"/>
                  </a:lnTo>
                  <a:lnTo>
                    <a:pt x="17" y="848"/>
                  </a:lnTo>
                  <a:lnTo>
                    <a:pt x="21" y="831"/>
                  </a:lnTo>
                  <a:lnTo>
                    <a:pt x="24" y="824"/>
                  </a:lnTo>
                  <a:lnTo>
                    <a:pt x="27" y="816"/>
                  </a:lnTo>
                  <a:lnTo>
                    <a:pt x="33" y="810"/>
                  </a:lnTo>
                  <a:lnTo>
                    <a:pt x="40" y="803"/>
                  </a:lnTo>
                  <a:lnTo>
                    <a:pt x="52" y="794"/>
                  </a:lnTo>
                  <a:lnTo>
                    <a:pt x="64" y="786"/>
                  </a:lnTo>
                  <a:lnTo>
                    <a:pt x="77" y="779"/>
                  </a:lnTo>
                  <a:lnTo>
                    <a:pt x="89" y="772"/>
                  </a:lnTo>
                  <a:lnTo>
                    <a:pt x="101" y="766"/>
                  </a:lnTo>
                  <a:lnTo>
                    <a:pt x="111" y="761"/>
                  </a:lnTo>
                  <a:lnTo>
                    <a:pt x="124" y="757"/>
                  </a:lnTo>
                  <a:lnTo>
                    <a:pt x="136" y="752"/>
                  </a:lnTo>
                  <a:lnTo>
                    <a:pt x="148" y="749"/>
                  </a:lnTo>
                  <a:lnTo>
                    <a:pt x="161" y="746"/>
                  </a:lnTo>
                  <a:lnTo>
                    <a:pt x="174" y="744"/>
                  </a:lnTo>
                  <a:lnTo>
                    <a:pt x="187" y="741"/>
                  </a:lnTo>
                  <a:lnTo>
                    <a:pt x="214" y="739"/>
                  </a:lnTo>
                  <a:lnTo>
                    <a:pt x="244" y="739"/>
                  </a:lnTo>
                  <a:lnTo>
                    <a:pt x="244" y="724"/>
                  </a:lnTo>
                  <a:lnTo>
                    <a:pt x="244" y="710"/>
                  </a:lnTo>
                  <a:lnTo>
                    <a:pt x="244" y="705"/>
                  </a:lnTo>
                  <a:lnTo>
                    <a:pt x="242" y="700"/>
                  </a:lnTo>
                  <a:lnTo>
                    <a:pt x="240" y="697"/>
                  </a:lnTo>
                  <a:lnTo>
                    <a:pt x="237" y="693"/>
                  </a:lnTo>
                  <a:lnTo>
                    <a:pt x="230" y="686"/>
                  </a:lnTo>
                  <a:lnTo>
                    <a:pt x="223" y="680"/>
                  </a:lnTo>
                  <a:lnTo>
                    <a:pt x="215" y="672"/>
                  </a:lnTo>
                  <a:lnTo>
                    <a:pt x="209" y="665"/>
                  </a:lnTo>
                  <a:lnTo>
                    <a:pt x="204" y="662"/>
                  </a:lnTo>
                  <a:lnTo>
                    <a:pt x="200" y="659"/>
                  </a:lnTo>
                  <a:lnTo>
                    <a:pt x="196" y="658"/>
                  </a:lnTo>
                  <a:lnTo>
                    <a:pt x="190" y="657"/>
                  </a:lnTo>
                  <a:lnTo>
                    <a:pt x="176" y="657"/>
                  </a:lnTo>
                  <a:lnTo>
                    <a:pt x="163" y="657"/>
                  </a:lnTo>
                  <a:lnTo>
                    <a:pt x="150" y="657"/>
                  </a:lnTo>
                  <a:lnTo>
                    <a:pt x="136" y="657"/>
                  </a:lnTo>
                  <a:lnTo>
                    <a:pt x="109" y="658"/>
                  </a:lnTo>
                  <a:lnTo>
                    <a:pt x="82" y="657"/>
                  </a:lnTo>
                  <a:lnTo>
                    <a:pt x="77" y="656"/>
                  </a:lnTo>
                  <a:lnTo>
                    <a:pt x="71" y="654"/>
                  </a:lnTo>
                  <a:lnTo>
                    <a:pt x="66" y="652"/>
                  </a:lnTo>
                  <a:lnTo>
                    <a:pt x="62" y="650"/>
                  </a:lnTo>
                  <a:lnTo>
                    <a:pt x="59" y="645"/>
                  </a:lnTo>
                  <a:lnTo>
                    <a:pt x="56" y="642"/>
                  </a:lnTo>
                  <a:lnTo>
                    <a:pt x="54" y="637"/>
                  </a:lnTo>
                  <a:lnTo>
                    <a:pt x="54" y="631"/>
                  </a:lnTo>
                  <a:lnTo>
                    <a:pt x="54" y="617"/>
                  </a:lnTo>
                  <a:lnTo>
                    <a:pt x="55" y="604"/>
                  </a:lnTo>
                  <a:lnTo>
                    <a:pt x="57" y="592"/>
                  </a:lnTo>
                  <a:lnTo>
                    <a:pt x="61" y="581"/>
                  </a:lnTo>
                  <a:lnTo>
                    <a:pt x="64" y="569"/>
                  </a:lnTo>
                  <a:lnTo>
                    <a:pt x="69" y="557"/>
                  </a:lnTo>
                  <a:lnTo>
                    <a:pt x="75" y="546"/>
                  </a:lnTo>
                  <a:lnTo>
                    <a:pt x="82" y="534"/>
                  </a:lnTo>
                  <a:lnTo>
                    <a:pt x="82" y="534"/>
                  </a:lnTo>
                  <a:lnTo>
                    <a:pt x="103" y="522"/>
                  </a:lnTo>
                  <a:lnTo>
                    <a:pt x="122" y="513"/>
                  </a:lnTo>
                  <a:lnTo>
                    <a:pt x="141" y="503"/>
                  </a:lnTo>
                  <a:lnTo>
                    <a:pt x="159" y="495"/>
                  </a:lnTo>
                  <a:lnTo>
                    <a:pt x="177" y="488"/>
                  </a:lnTo>
                  <a:lnTo>
                    <a:pt x="197" y="481"/>
                  </a:lnTo>
                  <a:lnTo>
                    <a:pt x="218" y="476"/>
                  </a:lnTo>
                  <a:lnTo>
                    <a:pt x="242" y="469"/>
                  </a:lnTo>
                  <a:lnTo>
                    <a:pt x="281" y="461"/>
                  </a:lnTo>
                  <a:lnTo>
                    <a:pt x="317" y="451"/>
                  </a:lnTo>
                  <a:lnTo>
                    <a:pt x="351" y="443"/>
                  </a:lnTo>
                  <a:lnTo>
                    <a:pt x="384" y="436"/>
                  </a:lnTo>
                  <a:lnTo>
                    <a:pt x="417" y="430"/>
                  </a:lnTo>
                  <a:lnTo>
                    <a:pt x="452" y="426"/>
                  </a:lnTo>
                  <a:lnTo>
                    <a:pt x="488" y="423"/>
                  </a:lnTo>
                  <a:lnTo>
                    <a:pt x="528" y="422"/>
                  </a:lnTo>
                  <a:lnTo>
                    <a:pt x="565" y="422"/>
                  </a:lnTo>
                  <a:lnTo>
                    <a:pt x="599" y="423"/>
                  </a:lnTo>
                  <a:lnTo>
                    <a:pt x="629" y="423"/>
                  </a:lnTo>
                  <a:lnTo>
                    <a:pt x="659" y="424"/>
                  </a:lnTo>
                  <a:lnTo>
                    <a:pt x="689" y="424"/>
                  </a:lnTo>
                  <a:lnTo>
                    <a:pt x="721" y="425"/>
                  </a:lnTo>
                  <a:lnTo>
                    <a:pt x="754" y="425"/>
                  </a:lnTo>
                  <a:lnTo>
                    <a:pt x="791" y="425"/>
                  </a:lnTo>
                  <a:lnTo>
                    <a:pt x="805" y="424"/>
                  </a:lnTo>
                  <a:lnTo>
                    <a:pt x="819" y="423"/>
                  </a:lnTo>
                  <a:lnTo>
                    <a:pt x="831" y="421"/>
                  </a:lnTo>
                  <a:lnTo>
                    <a:pt x="843" y="417"/>
                  </a:lnTo>
                  <a:lnTo>
                    <a:pt x="868" y="411"/>
                  </a:lnTo>
                  <a:lnTo>
                    <a:pt x="895" y="402"/>
                  </a:lnTo>
                  <a:lnTo>
                    <a:pt x="927" y="396"/>
                  </a:lnTo>
                  <a:lnTo>
                    <a:pt x="956" y="392"/>
                  </a:lnTo>
                  <a:lnTo>
                    <a:pt x="969" y="387"/>
                  </a:lnTo>
                  <a:lnTo>
                    <a:pt x="982" y="382"/>
                  </a:lnTo>
                  <a:lnTo>
                    <a:pt x="988" y="379"/>
                  </a:lnTo>
                  <a:lnTo>
                    <a:pt x="995" y="374"/>
                  </a:lnTo>
                  <a:lnTo>
                    <a:pt x="1001" y="369"/>
                  </a:lnTo>
                  <a:lnTo>
                    <a:pt x="1007" y="363"/>
                  </a:lnTo>
                  <a:lnTo>
                    <a:pt x="1013" y="356"/>
                  </a:lnTo>
                  <a:lnTo>
                    <a:pt x="1018" y="349"/>
                  </a:lnTo>
                  <a:lnTo>
                    <a:pt x="1022" y="342"/>
                  </a:lnTo>
                  <a:lnTo>
                    <a:pt x="1026" y="334"/>
                  </a:lnTo>
                  <a:lnTo>
                    <a:pt x="1032" y="320"/>
                  </a:lnTo>
                  <a:lnTo>
                    <a:pt x="1035" y="304"/>
                  </a:lnTo>
                  <a:lnTo>
                    <a:pt x="1038" y="289"/>
                  </a:lnTo>
                  <a:lnTo>
                    <a:pt x="1042" y="273"/>
                  </a:lnTo>
                  <a:lnTo>
                    <a:pt x="1047" y="257"/>
                  </a:lnTo>
                  <a:lnTo>
                    <a:pt x="1054" y="240"/>
                  </a:lnTo>
                  <a:lnTo>
                    <a:pt x="1068" y="212"/>
                  </a:lnTo>
                  <a:lnTo>
                    <a:pt x="1080" y="187"/>
                  </a:lnTo>
                  <a:lnTo>
                    <a:pt x="1091" y="163"/>
                  </a:lnTo>
                  <a:lnTo>
                    <a:pt x="1102" y="133"/>
                  </a:lnTo>
                  <a:lnTo>
                    <a:pt x="1112" y="104"/>
                  </a:lnTo>
                  <a:lnTo>
                    <a:pt x="1121" y="78"/>
                  </a:lnTo>
                  <a:lnTo>
                    <a:pt x="1127" y="65"/>
                  </a:lnTo>
                  <a:lnTo>
                    <a:pt x="1134" y="55"/>
                  </a:lnTo>
                  <a:lnTo>
                    <a:pt x="1139" y="49"/>
                  </a:lnTo>
                  <a:lnTo>
                    <a:pt x="1143" y="45"/>
                  </a:lnTo>
                  <a:lnTo>
                    <a:pt x="1149" y="39"/>
                  </a:lnTo>
                  <a:lnTo>
                    <a:pt x="1156" y="35"/>
                  </a:lnTo>
                  <a:lnTo>
                    <a:pt x="1171" y="27"/>
                  </a:lnTo>
                  <a:lnTo>
                    <a:pt x="1186" y="20"/>
                  </a:lnTo>
                  <a:lnTo>
                    <a:pt x="1201" y="17"/>
                  </a:lnTo>
                  <a:lnTo>
                    <a:pt x="1215" y="14"/>
                  </a:lnTo>
                  <a:lnTo>
                    <a:pt x="1230" y="10"/>
                  </a:lnTo>
                  <a:lnTo>
                    <a:pt x="1247" y="8"/>
                  </a:lnTo>
                  <a:lnTo>
                    <a:pt x="1263" y="5"/>
                  </a:lnTo>
                  <a:lnTo>
                    <a:pt x="1280" y="0"/>
                  </a:lnTo>
                  <a:lnTo>
                    <a:pt x="1280" y="0"/>
                  </a:lnTo>
                  <a:close/>
                </a:path>
              </a:pathLst>
            </a:custGeom>
            <a:solidFill>
              <a:srgbClr val="73B84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50">
              <a:extLst>
                <a:ext uri="{FF2B5EF4-FFF2-40B4-BE49-F238E27FC236}">
                  <a16:creationId xmlns:a16="http://schemas.microsoft.com/office/drawing/2014/main" id="{F82B08A4-BB20-4C0D-8291-394867B33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46338" y="4668838"/>
              <a:ext cx="627063" cy="392113"/>
            </a:xfrm>
            <a:custGeom>
              <a:avLst/>
              <a:gdLst>
                <a:gd name="T0" fmla="*/ 1292 w 1580"/>
                <a:gd name="T1" fmla="*/ 78 h 986"/>
                <a:gd name="T2" fmla="*/ 1316 w 1580"/>
                <a:gd name="T3" fmla="*/ 118 h 986"/>
                <a:gd name="T4" fmla="*/ 1387 w 1580"/>
                <a:gd name="T5" fmla="*/ 140 h 986"/>
                <a:gd name="T6" fmla="*/ 1503 w 1580"/>
                <a:gd name="T7" fmla="*/ 153 h 986"/>
                <a:gd name="T8" fmla="*/ 1551 w 1580"/>
                <a:gd name="T9" fmla="*/ 201 h 986"/>
                <a:gd name="T10" fmla="*/ 1565 w 1580"/>
                <a:gd name="T11" fmla="*/ 274 h 986"/>
                <a:gd name="T12" fmla="*/ 1534 w 1580"/>
                <a:gd name="T13" fmla="*/ 327 h 986"/>
                <a:gd name="T14" fmla="*/ 1523 w 1580"/>
                <a:gd name="T15" fmla="*/ 390 h 986"/>
                <a:gd name="T16" fmla="*/ 1536 w 1580"/>
                <a:gd name="T17" fmla="*/ 505 h 986"/>
                <a:gd name="T18" fmla="*/ 1529 w 1580"/>
                <a:gd name="T19" fmla="*/ 546 h 986"/>
                <a:gd name="T20" fmla="*/ 1490 w 1580"/>
                <a:gd name="T21" fmla="*/ 575 h 986"/>
                <a:gd name="T22" fmla="*/ 1335 w 1580"/>
                <a:gd name="T23" fmla="*/ 615 h 986"/>
                <a:gd name="T24" fmla="*/ 1228 w 1580"/>
                <a:gd name="T25" fmla="*/ 657 h 986"/>
                <a:gd name="T26" fmla="*/ 1127 w 1580"/>
                <a:gd name="T27" fmla="*/ 739 h 986"/>
                <a:gd name="T28" fmla="*/ 1116 w 1580"/>
                <a:gd name="T29" fmla="*/ 779 h 986"/>
                <a:gd name="T30" fmla="*/ 1105 w 1580"/>
                <a:gd name="T31" fmla="*/ 840 h 986"/>
                <a:gd name="T32" fmla="*/ 1068 w 1580"/>
                <a:gd name="T33" fmla="*/ 851 h 986"/>
                <a:gd name="T34" fmla="*/ 957 w 1580"/>
                <a:gd name="T35" fmla="*/ 856 h 986"/>
                <a:gd name="T36" fmla="*/ 837 w 1580"/>
                <a:gd name="T37" fmla="*/ 837 h 986"/>
                <a:gd name="T38" fmla="*/ 742 w 1580"/>
                <a:gd name="T39" fmla="*/ 852 h 986"/>
                <a:gd name="T40" fmla="*/ 689 w 1580"/>
                <a:gd name="T41" fmla="*/ 844 h 986"/>
                <a:gd name="T42" fmla="*/ 661 w 1580"/>
                <a:gd name="T43" fmla="*/ 798 h 986"/>
                <a:gd name="T44" fmla="*/ 621 w 1580"/>
                <a:gd name="T45" fmla="*/ 804 h 986"/>
                <a:gd name="T46" fmla="*/ 563 w 1580"/>
                <a:gd name="T47" fmla="*/ 854 h 986"/>
                <a:gd name="T48" fmla="*/ 492 w 1580"/>
                <a:gd name="T49" fmla="*/ 857 h 986"/>
                <a:gd name="T50" fmla="*/ 416 w 1580"/>
                <a:gd name="T51" fmla="*/ 827 h 986"/>
                <a:gd name="T52" fmla="*/ 340 w 1580"/>
                <a:gd name="T53" fmla="*/ 798 h 986"/>
                <a:gd name="T54" fmla="*/ 304 w 1580"/>
                <a:gd name="T55" fmla="*/ 826 h 986"/>
                <a:gd name="T56" fmla="*/ 239 w 1580"/>
                <a:gd name="T57" fmla="*/ 854 h 986"/>
                <a:gd name="T58" fmla="*/ 202 w 1580"/>
                <a:gd name="T59" fmla="*/ 833 h 986"/>
                <a:gd name="T60" fmla="*/ 167 w 1580"/>
                <a:gd name="T61" fmla="*/ 812 h 986"/>
                <a:gd name="T62" fmla="*/ 131 w 1580"/>
                <a:gd name="T63" fmla="*/ 832 h 986"/>
                <a:gd name="T64" fmla="*/ 91 w 1580"/>
                <a:gd name="T65" fmla="*/ 854 h 986"/>
                <a:gd name="T66" fmla="*/ 70 w 1580"/>
                <a:gd name="T67" fmla="*/ 986 h 986"/>
                <a:gd name="T68" fmla="*/ 32 w 1580"/>
                <a:gd name="T69" fmla="*/ 960 h 986"/>
                <a:gd name="T70" fmla="*/ 0 w 1580"/>
                <a:gd name="T71" fmla="*/ 946 h 986"/>
                <a:gd name="T72" fmla="*/ 14 w 1580"/>
                <a:gd name="T73" fmla="*/ 868 h 986"/>
                <a:gd name="T74" fmla="*/ 40 w 1580"/>
                <a:gd name="T75" fmla="*/ 803 h 986"/>
                <a:gd name="T76" fmla="*/ 111 w 1580"/>
                <a:gd name="T77" fmla="*/ 761 h 986"/>
                <a:gd name="T78" fmla="*/ 187 w 1580"/>
                <a:gd name="T79" fmla="*/ 741 h 986"/>
                <a:gd name="T80" fmla="*/ 242 w 1580"/>
                <a:gd name="T81" fmla="*/ 700 h 986"/>
                <a:gd name="T82" fmla="*/ 209 w 1580"/>
                <a:gd name="T83" fmla="*/ 665 h 986"/>
                <a:gd name="T84" fmla="*/ 163 w 1580"/>
                <a:gd name="T85" fmla="*/ 657 h 986"/>
                <a:gd name="T86" fmla="*/ 71 w 1580"/>
                <a:gd name="T87" fmla="*/ 654 h 986"/>
                <a:gd name="T88" fmla="*/ 54 w 1580"/>
                <a:gd name="T89" fmla="*/ 631 h 986"/>
                <a:gd name="T90" fmla="*/ 69 w 1580"/>
                <a:gd name="T91" fmla="*/ 557 h 986"/>
                <a:gd name="T92" fmla="*/ 141 w 1580"/>
                <a:gd name="T93" fmla="*/ 503 h 986"/>
                <a:gd name="T94" fmla="*/ 281 w 1580"/>
                <a:gd name="T95" fmla="*/ 461 h 986"/>
                <a:gd name="T96" fmla="*/ 488 w 1580"/>
                <a:gd name="T97" fmla="*/ 423 h 986"/>
                <a:gd name="T98" fmla="*/ 689 w 1580"/>
                <a:gd name="T99" fmla="*/ 424 h 986"/>
                <a:gd name="T100" fmla="*/ 831 w 1580"/>
                <a:gd name="T101" fmla="*/ 421 h 986"/>
                <a:gd name="T102" fmla="*/ 969 w 1580"/>
                <a:gd name="T103" fmla="*/ 387 h 986"/>
                <a:gd name="T104" fmla="*/ 1013 w 1580"/>
                <a:gd name="T105" fmla="*/ 356 h 986"/>
                <a:gd name="T106" fmla="*/ 1038 w 1580"/>
                <a:gd name="T107" fmla="*/ 289 h 986"/>
                <a:gd name="T108" fmla="*/ 1091 w 1580"/>
                <a:gd name="T109" fmla="*/ 163 h 986"/>
                <a:gd name="T110" fmla="*/ 1139 w 1580"/>
                <a:gd name="T111" fmla="*/ 49 h 986"/>
                <a:gd name="T112" fmla="*/ 1201 w 1580"/>
                <a:gd name="T113" fmla="*/ 17 h 986"/>
                <a:gd name="T114" fmla="*/ 1280 w 1580"/>
                <a:gd name="T115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0" h="986">
                  <a:moveTo>
                    <a:pt x="1280" y="0"/>
                  </a:moveTo>
                  <a:lnTo>
                    <a:pt x="1284" y="18"/>
                  </a:lnTo>
                  <a:lnTo>
                    <a:pt x="1287" y="35"/>
                  </a:lnTo>
                  <a:lnTo>
                    <a:pt x="1289" y="54"/>
                  </a:lnTo>
                  <a:lnTo>
                    <a:pt x="1291" y="71"/>
                  </a:lnTo>
                  <a:lnTo>
                    <a:pt x="1292" y="78"/>
                  </a:lnTo>
                  <a:lnTo>
                    <a:pt x="1294" y="86"/>
                  </a:lnTo>
                  <a:lnTo>
                    <a:pt x="1297" y="93"/>
                  </a:lnTo>
                  <a:lnTo>
                    <a:pt x="1301" y="101"/>
                  </a:lnTo>
                  <a:lnTo>
                    <a:pt x="1305" y="106"/>
                  </a:lnTo>
                  <a:lnTo>
                    <a:pt x="1309" y="113"/>
                  </a:lnTo>
                  <a:lnTo>
                    <a:pt x="1316" y="118"/>
                  </a:lnTo>
                  <a:lnTo>
                    <a:pt x="1323" y="123"/>
                  </a:lnTo>
                  <a:lnTo>
                    <a:pt x="1335" y="127"/>
                  </a:lnTo>
                  <a:lnTo>
                    <a:pt x="1346" y="131"/>
                  </a:lnTo>
                  <a:lnTo>
                    <a:pt x="1356" y="135"/>
                  </a:lnTo>
                  <a:lnTo>
                    <a:pt x="1367" y="137"/>
                  </a:lnTo>
                  <a:lnTo>
                    <a:pt x="1387" y="140"/>
                  </a:lnTo>
                  <a:lnTo>
                    <a:pt x="1408" y="142"/>
                  </a:lnTo>
                  <a:lnTo>
                    <a:pt x="1427" y="142"/>
                  </a:lnTo>
                  <a:lnTo>
                    <a:pt x="1449" y="143"/>
                  </a:lnTo>
                  <a:lnTo>
                    <a:pt x="1471" y="145"/>
                  </a:lnTo>
                  <a:lnTo>
                    <a:pt x="1495" y="151"/>
                  </a:lnTo>
                  <a:lnTo>
                    <a:pt x="1503" y="153"/>
                  </a:lnTo>
                  <a:lnTo>
                    <a:pt x="1510" y="156"/>
                  </a:lnTo>
                  <a:lnTo>
                    <a:pt x="1517" y="160"/>
                  </a:lnTo>
                  <a:lnTo>
                    <a:pt x="1523" y="165"/>
                  </a:lnTo>
                  <a:lnTo>
                    <a:pt x="1533" y="176"/>
                  </a:lnTo>
                  <a:lnTo>
                    <a:pt x="1543" y="189"/>
                  </a:lnTo>
                  <a:lnTo>
                    <a:pt x="1551" y="201"/>
                  </a:lnTo>
                  <a:lnTo>
                    <a:pt x="1560" y="216"/>
                  </a:lnTo>
                  <a:lnTo>
                    <a:pt x="1568" y="230"/>
                  </a:lnTo>
                  <a:lnTo>
                    <a:pt x="1580" y="243"/>
                  </a:lnTo>
                  <a:lnTo>
                    <a:pt x="1580" y="243"/>
                  </a:lnTo>
                  <a:lnTo>
                    <a:pt x="1573" y="258"/>
                  </a:lnTo>
                  <a:lnTo>
                    <a:pt x="1565" y="274"/>
                  </a:lnTo>
                  <a:lnTo>
                    <a:pt x="1562" y="281"/>
                  </a:lnTo>
                  <a:lnTo>
                    <a:pt x="1559" y="289"/>
                  </a:lnTo>
                  <a:lnTo>
                    <a:pt x="1556" y="295"/>
                  </a:lnTo>
                  <a:lnTo>
                    <a:pt x="1551" y="301"/>
                  </a:lnTo>
                  <a:lnTo>
                    <a:pt x="1543" y="313"/>
                  </a:lnTo>
                  <a:lnTo>
                    <a:pt x="1534" y="327"/>
                  </a:lnTo>
                  <a:lnTo>
                    <a:pt x="1530" y="335"/>
                  </a:lnTo>
                  <a:lnTo>
                    <a:pt x="1526" y="343"/>
                  </a:lnTo>
                  <a:lnTo>
                    <a:pt x="1524" y="352"/>
                  </a:lnTo>
                  <a:lnTo>
                    <a:pt x="1522" y="359"/>
                  </a:lnTo>
                  <a:lnTo>
                    <a:pt x="1522" y="374"/>
                  </a:lnTo>
                  <a:lnTo>
                    <a:pt x="1523" y="390"/>
                  </a:lnTo>
                  <a:lnTo>
                    <a:pt x="1525" y="407"/>
                  </a:lnTo>
                  <a:lnTo>
                    <a:pt x="1527" y="424"/>
                  </a:lnTo>
                  <a:lnTo>
                    <a:pt x="1530" y="441"/>
                  </a:lnTo>
                  <a:lnTo>
                    <a:pt x="1531" y="460"/>
                  </a:lnTo>
                  <a:lnTo>
                    <a:pt x="1533" y="483"/>
                  </a:lnTo>
                  <a:lnTo>
                    <a:pt x="1536" y="505"/>
                  </a:lnTo>
                  <a:lnTo>
                    <a:pt x="1537" y="515"/>
                  </a:lnTo>
                  <a:lnTo>
                    <a:pt x="1536" y="525"/>
                  </a:lnTo>
                  <a:lnTo>
                    <a:pt x="1535" y="530"/>
                  </a:lnTo>
                  <a:lnTo>
                    <a:pt x="1534" y="535"/>
                  </a:lnTo>
                  <a:lnTo>
                    <a:pt x="1531" y="541"/>
                  </a:lnTo>
                  <a:lnTo>
                    <a:pt x="1529" y="546"/>
                  </a:lnTo>
                  <a:lnTo>
                    <a:pt x="1524" y="551"/>
                  </a:lnTo>
                  <a:lnTo>
                    <a:pt x="1520" y="556"/>
                  </a:lnTo>
                  <a:lnTo>
                    <a:pt x="1516" y="560"/>
                  </a:lnTo>
                  <a:lnTo>
                    <a:pt x="1511" y="564"/>
                  </a:lnTo>
                  <a:lnTo>
                    <a:pt x="1500" y="571"/>
                  </a:lnTo>
                  <a:lnTo>
                    <a:pt x="1490" y="575"/>
                  </a:lnTo>
                  <a:lnTo>
                    <a:pt x="1466" y="582"/>
                  </a:lnTo>
                  <a:lnTo>
                    <a:pt x="1439" y="587"/>
                  </a:lnTo>
                  <a:lnTo>
                    <a:pt x="1411" y="596"/>
                  </a:lnTo>
                  <a:lnTo>
                    <a:pt x="1387" y="602"/>
                  </a:lnTo>
                  <a:lnTo>
                    <a:pt x="1362" y="609"/>
                  </a:lnTo>
                  <a:lnTo>
                    <a:pt x="1335" y="615"/>
                  </a:lnTo>
                  <a:lnTo>
                    <a:pt x="1305" y="624"/>
                  </a:lnTo>
                  <a:lnTo>
                    <a:pt x="1278" y="633"/>
                  </a:lnTo>
                  <a:lnTo>
                    <a:pt x="1265" y="639"/>
                  </a:lnTo>
                  <a:lnTo>
                    <a:pt x="1252" y="644"/>
                  </a:lnTo>
                  <a:lnTo>
                    <a:pt x="1240" y="651"/>
                  </a:lnTo>
                  <a:lnTo>
                    <a:pt x="1228" y="657"/>
                  </a:lnTo>
                  <a:lnTo>
                    <a:pt x="1206" y="672"/>
                  </a:lnTo>
                  <a:lnTo>
                    <a:pt x="1184" y="690"/>
                  </a:lnTo>
                  <a:lnTo>
                    <a:pt x="1161" y="709"/>
                  </a:lnTo>
                  <a:lnTo>
                    <a:pt x="1139" y="731"/>
                  </a:lnTo>
                  <a:lnTo>
                    <a:pt x="1132" y="735"/>
                  </a:lnTo>
                  <a:lnTo>
                    <a:pt x="1127" y="739"/>
                  </a:lnTo>
                  <a:lnTo>
                    <a:pt x="1122" y="745"/>
                  </a:lnTo>
                  <a:lnTo>
                    <a:pt x="1119" y="751"/>
                  </a:lnTo>
                  <a:lnTo>
                    <a:pt x="1117" y="758"/>
                  </a:lnTo>
                  <a:lnTo>
                    <a:pt x="1116" y="765"/>
                  </a:lnTo>
                  <a:lnTo>
                    <a:pt x="1116" y="772"/>
                  </a:lnTo>
                  <a:lnTo>
                    <a:pt x="1116" y="779"/>
                  </a:lnTo>
                  <a:lnTo>
                    <a:pt x="1116" y="795"/>
                  </a:lnTo>
                  <a:lnTo>
                    <a:pt x="1115" y="811"/>
                  </a:lnTo>
                  <a:lnTo>
                    <a:pt x="1114" y="818"/>
                  </a:lnTo>
                  <a:lnTo>
                    <a:pt x="1113" y="826"/>
                  </a:lnTo>
                  <a:lnTo>
                    <a:pt x="1109" y="833"/>
                  </a:lnTo>
                  <a:lnTo>
                    <a:pt x="1105" y="840"/>
                  </a:lnTo>
                  <a:lnTo>
                    <a:pt x="1102" y="844"/>
                  </a:lnTo>
                  <a:lnTo>
                    <a:pt x="1098" y="846"/>
                  </a:lnTo>
                  <a:lnTo>
                    <a:pt x="1093" y="848"/>
                  </a:lnTo>
                  <a:lnTo>
                    <a:pt x="1089" y="849"/>
                  </a:lnTo>
                  <a:lnTo>
                    <a:pt x="1079" y="849"/>
                  </a:lnTo>
                  <a:lnTo>
                    <a:pt x="1068" y="851"/>
                  </a:lnTo>
                  <a:lnTo>
                    <a:pt x="1051" y="854"/>
                  </a:lnTo>
                  <a:lnTo>
                    <a:pt x="1035" y="857"/>
                  </a:lnTo>
                  <a:lnTo>
                    <a:pt x="1019" y="858"/>
                  </a:lnTo>
                  <a:lnTo>
                    <a:pt x="1001" y="859"/>
                  </a:lnTo>
                  <a:lnTo>
                    <a:pt x="979" y="858"/>
                  </a:lnTo>
                  <a:lnTo>
                    <a:pt x="957" y="856"/>
                  </a:lnTo>
                  <a:lnTo>
                    <a:pt x="938" y="853"/>
                  </a:lnTo>
                  <a:lnTo>
                    <a:pt x="919" y="848"/>
                  </a:lnTo>
                  <a:lnTo>
                    <a:pt x="901" y="844"/>
                  </a:lnTo>
                  <a:lnTo>
                    <a:pt x="882" y="841"/>
                  </a:lnTo>
                  <a:lnTo>
                    <a:pt x="860" y="838"/>
                  </a:lnTo>
                  <a:lnTo>
                    <a:pt x="837" y="837"/>
                  </a:lnTo>
                  <a:lnTo>
                    <a:pt x="819" y="838"/>
                  </a:lnTo>
                  <a:lnTo>
                    <a:pt x="803" y="840"/>
                  </a:lnTo>
                  <a:lnTo>
                    <a:pt x="788" y="842"/>
                  </a:lnTo>
                  <a:lnTo>
                    <a:pt x="772" y="845"/>
                  </a:lnTo>
                  <a:lnTo>
                    <a:pt x="757" y="848"/>
                  </a:lnTo>
                  <a:lnTo>
                    <a:pt x="742" y="852"/>
                  </a:lnTo>
                  <a:lnTo>
                    <a:pt x="725" y="853"/>
                  </a:lnTo>
                  <a:lnTo>
                    <a:pt x="707" y="854"/>
                  </a:lnTo>
                  <a:lnTo>
                    <a:pt x="701" y="853"/>
                  </a:lnTo>
                  <a:lnTo>
                    <a:pt x="697" y="852"/>
                  </a:lnTo>
                  <a:lnTo>
                    <a:pt x="693" y="848"/>
                  </a:lnTo>
                  <a:lnTo>
                    <a:pt x="689" y="844"/>
                  </a:lnTo>
                  <a:lnTo>
                    <a:pt x="684" y="835"/>
                  </a:lnTo>
                  <a:lnTo>
                    <a:pt x="680" y="825"/>
                  </a:lnTo>
                  <a:lnTo>
                    <a:pt x="674" y="814"/>
                  </a:lnTo>
                  <a:lnTo>
                    <a:pt x="669" y="804"/>
                  </a:lnTo>
                  <a:lnTo>
                    <a:pt x="666" y="800"/>
                  </a:lnTo>
                  <a:lnTo>
                    <a:pt x="661" y="798"/>
                  </a:lnTo>
                  <a:lnTo>
                    <a:pt x="657" y="795"/>
                  </a:lnTo>
                  <a:lnTo>
                    <a:pt x="651" y="794"/>
                  </a:lnTo>
                  <a:lnTo>
                    <a:pt x="643" y="795"/>
                  </a:lnTo>
                  <a:lnTo>
                    <a:pt x="635" y="798"/>
                  </a:lnTo>
                  <a:lnTo>
                    <a:pt x="628" y="801"/>
                  </a:lnTo>
                  <a:lnTo>
                    <a:pt x="621" y="804"/>
                  </a:lnTo>
                  <a:lnTo>
                    <a:pt x="609" y="815"/>
                  </a:lnTo>
                  <a:lnTo>
                    <a:pt x="599" y="826"/>
                  </a:lnTo>
                  <a:lnTo>
                    <a:pt x="588" y="837"/>
                  </a:lnTo>
                  <a:lnTo>
                    <a:pt x="576" y="847"/>
                  </a:lnTo>
                  <a:lnTo>
                    <a:pt x="569" y="851"/>
                  </a:lnTo>
                  <a:lnTo>
                    <a:pt x="563" y="854"/>
                  </a:lnTo>
                  <a:lnTo>
                    <a:pt x="555" y="856"/>
                  </a:lnTo>
                  <a:lnTo>
                    <a:pt x="547" y="857"/>
                  </a:lnTo>
                  <a:lnTo>
                    <a:pt x="532" y="857"/>
                  </a:lnTo>
                  <a:lnTo>
                    <a:pt x="520" y="857"/>
                  </a:lnTo>
                  <a:lnTo>
                    <a:pt x="507" y="857"/>
                  </a:lnTo>
                  <a:lnTo>
                    <a:pt x="492" y="857"/>
                  </a:lnTo>
                  <a:lnTo>
                    <a:pt x="481" y="856"/>
                  </a:lnTo>
                  <a:lnTo>
                    <a:pt x="470" y="854"/>
                  </a:lnTo>
                  <a:lnTo>
                    <a:pt x="460" y="852"/>
                  </a:lnTo>
                  <a:lnTo>
                    <a:pt x="451" y="847"/>
                  </a:lnTo>
                  <a:lnTo>
                    <a:pt x="432" y="838"/>
                  </a:lnTo>
                  <a:lnTo>
                    <a:pt x="416" y="827"/>
                  </a:lnTo>
                  <a:lnTo>
                    <a:pt x="399" y="816"/>
                  </a:lnTo>
                  <a:lnTo>
                    <a:pt x="381" y="807"/>
                  </a:lnTo>
                  <a:lnTo>
                    <a:pt x="372" y="803"/>
                  </a:lnTo>
                  <a:lnTo>
                    <a:pt x="362" y="800"/>
                  </a:lnTo>
                  <a:lnTo>
                    <a:pt x="351" y="799"/>
                  </a:lnTo>
                  <a:lnTo>
                    <a:pt x="340" y="798"/>
                  </a:lnTo>
                  <a:lnTo>
                    <a:pt x="334" y="799"/>
                  </a:lnTo>
                  <a:lnTo>
                    <a:pt x="329" y="801"/>
                  </a:lnTo>
                  <a:lnTo>
                    <a:pt x="324" y="804"/>
                  </a:lnTo>
                  <a:lnTo>
                    <a:pt x="320" y="808"/>
                  </a:lnTo>
                  <a:lnTo>
                    <a:pt x="312" y="817"/>
                  </a:lnTo>
                  <a:lnTo>
                    <a:pt x="304" y="826"/>
                  </a:lnTo>
                  <a:lnTo>
                    <a:pt x="288" y="837"/>
                  </a:lnTo>
                  <a:lnTo>
                    <a:pt x="273" y="845"/>
                  </a:lnTo>
                  <a:lnTo>
                    <a:pt x="266" y="849"/>
                  </a:lnTo>
                  <a:lnTo>
                    <a:pt x="257" y="852"/>
                  </a:lnTo>
                  <a:lnTo>
                    <a:pt x="249" y="853"/>
                  </a:lnTo>
                  <a:lnTo>
                    <a:pt x="239" y="854"/>
                  </a:lnTo>
                  <a:lnTo>
                    <a:pt x="234" y="854"/>
                  </a:lnTo>
                  <a:lnTo>
                    <a:pt x="228" y="852"/>
                  </a:lnTo>
                  <a:lnTo>
                    <a:pt x="223" y="849"/>
                  </a:lnTo>
                  <a:lnTo>
                    <a:pt x="218" y="847"/>
                  </a:lnTo>
                  <a:lnTo>
                    <a:pt x="210" y="841"/>
                  </a:lnTo>
                  <a:lnTo>
                    <a:pt x="202" y="833"/>
                  </a:lnTo>
                  <a:lnTo>
                    <a:pt x="195" y="825"/>
                  </a:lnTo>
                  <a:lnTo>
                    <a:pt x="187" y="818"/>
                  </a:lnTo>
                  <a:lnTo>
                    <a:pt x="183" y="816"/>
                  </a:lnTo>
                  <a:lnTo>
                    <a:pt x="177" y="814"/>
                  </a:lnTo>
                  <a:lnTo>
                    <a:pt x="172" y="812"/>
                  </a:lnTo>
                  <a:lnTo>
                    <a:pt x="167" y="812"/>
                  </a:lnTo>
                  <a:lnTo>
                    <a:pt x="159" y="813"/>
                  </a:lnTo>
                  <a:lnTo>
                    <a:pt x="152" y="815"/>
                  </a:lnTo>
                  <a:lnTo>
                    <a:pt x="147" y="818"/>
                  </a:lnTo>
                  <a:lnTo>
                    <a:pt x="142" y="822"/>
                  </a:lnTo>
                  <a:lnTo>
                    <a:pt x="136" y="828"/>
                  </a:lnTo>
                  <a:lnTo>
                    <a:pt x="131" y="832"/>
                  </a:lnTo>
                  <a:lnTo>
                    <a:pt x="125" y="837"/>
                  </a:lnTo>
                  <a:lnTo>
                    <a:pt x="119" y="840"/>
                  </a:lnTo>
                  <a:lnTo>
                    <a:pt x="108" y="844"/>
                  </a:lnTo>
                  <a:lnTo>
                    <a:pt x="98" y="848"/>
                  </a:lnTo>
                  <a:lnTo>
                    <a:pt x="95" y="851"/>
                  </a:lnTo>
                  <a:lnTo>
                    <a:pt x="91" y="854"/>
                  </a:lnTo>
                  <a:lnTo>
                    <a:pt x="88" y="858"/>
                  </a:lnTo>
                  <a:lnTo>
                    <a:pt x="84" y="862"/>
                  </a:lnTo>
                  <a:lnTo>
                    <a:pt x="84" y="862"/>
                  </a:lnTo>
                  <a:lnTo>
                    <a:pt x="98" y="949"/>
                  </a:lnTo>
                  <a:lnTo>
                    <a:pt x="98" y="986"/>
                  </a:lnTo>
                  <a:lnTo>
                    <a:pt x="70" y="986"/>
                  </a:lnTo>
                  <a:lnTo>
                    <a:pt x="70" y="986"/>
                  </a:lnTo>
                  <a:lnTo>
                    <a:pt x="63" y="978"/>
                  </a:lnTo>
                  <a:lnTo>
                    <a:pt x="55" y="973"/>
                  </a:lnTo>
                  <a:lnTo>
                    <a:pt x="48" y="967"/>
                  </a:lnTo>
                  <a:lnTo>
                    <a:pt x="40" y="963"/>
                  </a:lnTo>
                  <a:lnTo>
                    <a:pt x="32" y="960"/>
                  </a:lnTo>
                  <a:lnTo>
                    <a:pt x="23" y="957"/>
                  </a:lnTo>
                  <a:lnTo>
                    <a:pt x="14" y="955"/>
                  </a:lnTo>
                  <a:lnTo>
                    <a:pt x="3" y="955"/>
                  </a:lnTo>
                  <a:lnTo>
                    <a:pt x="3" y="955"/>
                  </a:lnTo>
                  <a:lnTo>
                    <a:pt x="2" y="950"/>
                  </a:lnTo>
                  <a:lnTo>
                    <a:pt x="0" y="946"/>
                  </a:lnTo>
                  <a:lnTo>
                    <a:pt x="1" y="935"/>
                  </a:lnTo>
                  <a:lnTo>
                    <a:pt x="2" y="925"/>
                  </a:lnTo>
                  <a:lnTo>
                    <a:pt x="5" y="915"/>
                  </a:lnTo>
                  <a:lnTo>
                    <a:pt x="7" y="907"/>
                  </a:lnTo>
                  <a:lnTo>
                    <a:pt x="11" y="888"/>
                  </a:lnTo>
                  <a:lnTo>
                    <a:pt x="14" y="868"/>
                  </a:lnTo>
                  <a:lnTo>
                    <a:pt x="17" y="848"/>
                  </a:lnTo>
                  <a:lnTo>
                    <a:pt x="21" y="831"/>
                  </a:lnTo>
                  <a:lnTo>
                    <a:pt x="24" y="824"/>
                  </a:lnTo>
                  <a:lnTo>
                    <a:pt x="27" y="816"/>
                  </a:lnTo>
                  <a:lnTo>
                    <a:pt x="33" y="810"/>
                  </a:lnTo>
                  <a:lnTo>
                    <a:pt x="40" y="803"/>
                  </a:lnTo>
                  <a:lnTo>
                    <a:pt x="52" y="794"/>
                  </a:lnTo>
                  <a:lnTo>
                    <a:pt x="64" y="786"/>
                  </a:lnTo>
                  <a:lnTo>
                    <a:pt x="77" y="779"/>
                  </a:lnTo>
                  <a:lnTo>
                    <a:pt x="89" y="772"/>
                  </a:lnTo>
                  <a:lnTo>
                    <a:pt x="101" y="766"/>
                  </a:lnTo>
                  <a:lnTo>
                    <a:pt x="111" y="761"/>
                  </a:lnTo>
                  <a:lnTo>
                    <a:pt x="124" y="757"/>
                  </a:lnTo>
                  <a:lnTo>
                    <a:pt x="136" y="752"/>
                  </a:lnTo>
                  <a:lnTo>
                    <a:pt x="148" y="749"/>
                  </a:lnTo>
                  <a:lnTo>
                    <a:pt x="161" y="746"/>
                  </a:lnTo>
                  <a:lnTo>
                    <a:pt x="174" y="744"/>
                  </a:lnTo>
                  <a:lnTo>
                    <a:pt x="187" y="741"/>
                  </a:lnTo>
                  <a:lnTo>
                    <a:pt x="214" y="739"/>
                  </a:lnTo>
                  <a:lnTo>
                    <a:pt x="244" y="739"/>
                  </a:lnTo>
                  <a:lnTo>
                    <a:pt x="244" y="724"/>
                  </a:lnTo>
                  <a:lnTo>
                    <a:pt x="244" y="710"/>
                  </a:lnTo>
                  <a:lnTo>
                    <a:pt x="244" y="705"/>
                  </a:lnTo>
                  <a:lnTo>
                    <a:pt x="242" y="700"/>
                  </a:lnTo>
                  <a:lnTo>
                    <a:pt x="240" y="697"/>
                  </a:lnTo>
                  <a:lnTo>
                    <a:pt x="237" y="693"/>
                  </a:lnTo>
                  <a:lnTo>
                    <a:pt x="230" y="686"/>
                  </a:lnTo>
                  <a:lnTo>
                    <a:pt x="223" y="680"/>
                  </a:lnTo>
                  <a:lnTo>
                    <a:pt x="215" y="672"/>
                  </a:lnTo>
                  <a:lnTo>
                    <a:pt x="209" y="665"/>
                  </a:lnTo>
                  <a:lnTo>
                    <a:pt x="204" y="662"/>
                  </a:lnTo>
                  <a:lnTo>
                    <a:pt x="200" y="659"/>
                  </a:lnTo>
                  <a:lnTo>
                    <a:pt x="196" y="658"/>
                  </a:lnTo>
                  <a:lnTo>
                    <a:pt x="190" y="657"/>
                  </a:lnTo>
                  <a:lnTo>
                    <a:pt x="176" y="657"/>
                  </a:lnTo>
                  <a:lnTo>
                    <a:pt x="163" y="657"/>
                  </a:lnTo>
                  <a:lnTo>
                    <a:pt x="150" y="657"/>
                  </a:lnTo>
                  <a:lnTo>
                    <a:pt x="136" y="657"/>
                  </a:lnTo>
                  <a:lnTo>
                    <a:pt x="109" y="658"/>
                  </a:lnTo>
                  <a:lnTo>
                    <a:pt x="82" y="657"/>
                  </a:lnTo>
                  <a:lnTo>
                    <a:pt x="77" y="656"/>
                  </a:lnTo>
                  <a:lnTo>
                    <a:pt x="71" y="654"/>
                  </a:lnTo>
                  <a:lnTo>
                    <a:pt x="66" y="652"/>
                  </a:lnTo>
                  <a:lnTo>
                    <a:pt x="62" y="650"/>
                  </a:lnTo>
                  <a:lnTo>
                    <a:pt x="59" y="645"/>
                  </a:lnTo>
                  <a:lnTo>
                    <a:pt x="56" y="642"/>
                  </a:lnTo>
                  <a:lnTo>
                    <a:pt x="54" y="637"/>
                  </a:lnTo>
                  <a:lnTo>
                    <a:pt x="54" y="631"/>
                  </a:lnTo>
                  <a:lnTo>
                    <a:pt x="54" y="617"/>
                  </a:lnTo>
                  <a:lnTo>
                    <a:pt x="55" y="604"/>
                  </a:lnTo>
                  <a:lnTo>
                    <a:pt x="57" y="592"/>
                  </a:lnTo>
                  <a:lnTo>
                    <a:pt x="61" y="581"/>
                  </a:lnTo>
                  <a:lnTo>
                    <a:pt x="64" y="569"/>
                  </a:lnTo>
                  <a:lnTo>
                    <a:pt x="69" y="557"/>
                  </a:lnTo>
                  <a:lnTo>
                    <a:pt x="75" y="546"/>
                  </a:lnTo>
                  <a:lnTo>
                    <a:pt x="82" y="534"/>
                  </a:lnTo>
                  <a:lnTo>
                    <a:pt x="82" y="534"/>
                  </a:lnTo>
                  <a:lnTo>
                    <a:pt x="103" y="522"/>
                  </a:lnTo>
                  <a:lnTo>
                    <a:pt x="122" y="513"/>
                  </a:lnTo>
                  <a:lnTo>
                    <a:pt x="141" y="503"/>
                  </a:lnTo>
                  <a:lnTo>
                    <a:pt x="159" y="495"/>
                  </a:lnTo>
                  <a:lnTo>
                    <a:pt x="177" y="488"/>
                  </a:lnTo>
                  <a:lnTo>
                    <a:pt x="197" y="481"/>
                  </a:lnTo>
                  <a:lnTo>
                    <a:pt x="218" y="476"/>
                  </a:lnTo>
                  <a:lnTo>
                    <a:pt x="242" y="469"/>
                  </a:lnTo>
                  <a:lnTo>
                    <a:pt x="281" y="461"/>
                  </a:lnTo>
                  <a:lnTo>
                    <a:pt x="317" y="451"/>
                  </a:lnTo>
                  <a:lnTo>
                    <a:pt x="351" y="443"/>
                  </a:lnTo>
                  <a:lnTo>
                    <a:pt x="384" y="436"/>
                  </a:lnTo>
                  <a:lnTo>
                    <a:pt x="417" y="430"/>
                  </a:lnTo>
                  <a:lnTo>
                    <a:pt x="452" y="426"/>
                  </a:lnTo>
                  <a:lnTo>
                    <a:pt x="488" y="423"/>
                  </a:lnTo>
                  <a:lnTo>
                    <a:pt x="528" y="422"/>
                  </a:lnTo>
                  <a:lnTo>
                    <a:pt x="565" y="422"/>
                  </a:lnTo>
                  <a:lnTo>
                    <a:pt x="599" y="423"/>
                  </a:lnTo>
                  <a:lnTo>
                    <a:pt x="629" y="423"/>
                  </a:lnTo>
                  <a:lnTo>
                    <a:pt x="659" y="424"/>
                  </a:lnTo>
                  <a:lnTo>
                    <a:pt x="689" y="424"/>
                  </a:lnTo>
                  <a:lnTo>
                    <a:pt x="721" y="425"/>
                  </a:lnTo>
                  <a:lnTo>
                    <a:pt x="754" y="425"/>
                  </a:lnTo>
                  <a:lnTo>
                    <a:pt x="791" y="425"/>
                  </a:lnTo>
                  <a:lnTo>
                    <a:pt x="805" y="424"/>
                  </a:lnTo>
                  <a:lnTo>
                    <a:pt x="819" y="423"/>
                  </a:lnTo>
                  <a:lnTo>
                    <a:pt x="831" y="421"/>
                  </a:lnTo>
                  <a:lnTo>
                    <a:pt x="843" y="417"/>
                  </a:lnTo>
                  <a:lnTo>
                    <a:pt x="868" y="411"/>
                  </a:lnTo>
                  <a:lnTo>
                    <a:pt x="895" y="402"/>
                  </a:lnTo>
                  <a:lnTo>
                    <a:pt x="927" y="396"/>
                  </a:lnTo>
                  <a:lnTo>
                    <a:pt x="956" y="392"/>
                  </a:lnTo>
                  <a:lnTo>
                    <a:pt x="969" y="387"/>
                  </a:lnTo>
                  <a:lnTo>
                    <a:pt x="982" y="382"/>
                  </a:lnTo>
                  <a:lnTo>
                    <a:pt x="988" y="379"/>
                  </a:lnTo>
                  <a:lnTo>
                    <a:pt x="995" y="374"/>
                  </a:lnTo>
                  <a:lnTo>
                    <a:pt x="1001" y="369"/>
                  </a:lnTo>
                  <a:lnTo>
                    <a:pt x="1007" y="363"/>
                  </a:lnTo>
                  <a:lnTo>
                    <a:pt x="1013" y="356"/>
                  </a:lnTo>
                  <a:lnTo>
                    <a:pt x="1018" y="349"/>
                  </a:lnTo>
                  <a:lnTo>
                    <a:pt x="1022" y="342"/>
                  </a:lnTo>
                  <a:lnTo>
                    <a:pt x="1026" y="334"/>
                  </a:lnTo>
                  <a:lnTo>
                    <a:pt x="1032" y="320"/>
                  </a:lnTo>
                  <a:lnTo>
                    <a:pt x="1035" y="304"/>
                  </a:lnTo>
                  <a:lnTo>
                    <a:pt x="1038" y="289"/>
                  </a:lnTo>
                  <a:lnTo>
                    <a:pt x="1042" y="273"/>
                  </a:lnTo>
                  <a:lnTo>
                    <a:pt x="1047" y="257"/>
                  </a:lnTo>
                  <a:lnTo>
                    <a:pt x="1054" y="240"/>
                  </a:lnTo>
                  <a:lnTo>
                    <a:pt x="1068" y="212"/>
                  </a:lnTo>
                  <a:lnTo>
                    <a:pt x="1080" y="187"/>
                  </a:lnTo>
                  <a:lnTo>
                    <a:pt x="1091" y="163"/>
                  </a:lnTo>
                  <a:lnTo>
                    <a:pt x="1102" y="133"/>
                  </a:lnTo>
                  <a:lnTo>
                    <a:pt x="1112" y="104"/>
                  </a:lnTo>
                  <a:lnTo>
                    <a:pt x="1121" y="78"/>
                  </a:lnTo>
                  <a:lnTo>
                    <a:pt x="1127" y="65"/>
                  </a:lnTo>
                  <a:lnTo>
                    <a:pt x="1134" y="55"/>
                  </a:lnTo>
                  <a:lnTo>
                    <a:pt x="1139" y="49"/>
                  </a:lnTo>
                  <a:lnTo>
                    <a:pt x="1143" y="45"/>
                  </a:lnTo>
                  <a:lnTo>
                    <a:pt x="1149" y="39"/>
                  </a:lnTo>
                  <a:lnTo>
                    <a:pt x="1156" y="35"/>
                  </a:lnTo>
                  <a:lnTo>
                    <a:pt x="1171" y="27"/>
                  </a:lnTo>
                  <a:lnTo>
                    <a:pt x="1186" y="20"/>
                  </a:lnTo>
                  <a:lnTo>
                    <a:pt x="1201" y="17"/>
                  </a:lnTo>
                  <a:lnTo>
                    <a:pt x="1215" y="14"/>
                  </a:lnTo>
                  <a:lnTo>
                    <a:pt x="1230" y="10"/>
                  </a:lnTo>
                  <a:lnTo>
                    <a:pt x="1247" y="8"/>
                  </a:lnTo>
                  <a:lnTo>
                    <a:pt x="1263" y="5"/>
                  </a:lnTo>
                  <a:lnTo>
                    <a:pt x="1280" y="0"/>
                  </a:lnTo>
                  <a:lnTo>
                    <a:pt x="128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51">
              <a:extLst>
                <a:ext uri="{FF2B5EF4-FFF2-40B4-BE49-F238E27FC236}">
                  <a16:creationId xmlns:a16="http://schemas.microsoft.com/office/drawing/2014/main" id="{3A89699C-67D5-44BC-AB3D-AEF17B598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8338" y="4208463"/>
              <a:ext cx="393700" cy="557213"/>
            </a:xfrm>
            <a:custGeom>
              <a:avLst/>
              <a:gdLst>
                <a:gd name="T0" fmla="*/ 786 w 992"/>
                <a:gd name="T1" fmla="*/ 62 h 1407"/>
                <a:gd name="T2" fmla="*/ 800 w 992"/>
                <a:gd name="T3" fmla="*/ 86 h 1407"/>
                <a:gd name="T4" fmla="*/ 818 w 992"/>
                <a:gd name="T5" fmla="*/ 94 h 1407"/>
                <a:gd name="T6" fmla="*/ 861 w 992"/>
                <a:gd name="T7" fmla="*/ 108 h 1407"/>
                <a:gd name="T8" fmla="*/ 933 w 992"/>
                <a:gd name="T9" fmla="*/ 148 h 1407"/>
                <a:gd name="T10" fmla="*/ 992 w 992"/>
                <a:gd name="T11" fmla="*/ 176 h 1407"/>
                <a:gd name="T12" fmla="*/ 983 w 992"/>
                <a:gd name="T13" fmla="*/ 238 h 1407"/>
                <a:gd name="T14" fmla="*/ 983 w 992"/>
                <a:gd name="T15" fmla="*/ 334 h 1407"/>
                <a:gd name="T16" fmla="*/ 976 w 992"/>
                <a:gd name="T17" fmla="*/ 457 h 1407"/>
                <a:gd name="T18" fmla="*/ 961 w 992"/>
                <a:gd name="T19" fmla="*/ 530 h 1407"/>
                <a:gd name="T20" fmla="*/ 931 w 992"/>
                <a:gd name="T21" fmla="*/ 601 h 1407"/>
                <a:gd name="T22" fmla="*/ 899 w 992"/>
                <a:gd name="T23" fmla="*/ 661 h 1407"/>
                <a:gd name="T24" fmla="*/ 878 w 992"/>
                <a:gd name="T25" fmla="*/ 694 h 1407"/>
                <a:gd name="T26" fmla="*/ 839 w 992"/>
                <a:gd name="T27" fmla="*/ 709 h 1407"/>
                <a:gd name="T28" fmla="*/ 765 w 992"/>
                <a:gd name="T29" fmla="*/ 761 h 1407"/>
                <a:gd name="T30" fmla="*/ 725 w 992"/>
                <a:gd name="T31" fmla="*/ 800 h 1407"/>
                <a:gd name="T32" fmla="*/ 695 w 992"/>
                <a:gd name="T33" fmla="*/ 847 h 1407"/>
                <a:gd name="T34" fmla="*/ 675 w 992"/>
                <a:gd name="T35" fmla="*/ 898 h 1407"/>
                <a:gd name="T36" fmla="*/ 644 w 992"/>
                <a:gd name="T37" fmla="*/ 945 h 1407"/>
                <a:gd name="T38" fmla="*/ 596 w 992"/>
                <a:gd name="T39" fmla="*/ 1009 h 1407"/>
                <a:gd name="T40" fmla="*/ 569 w 992"/>
                <a:gd name="T41" fmla="*/ 1067 h 1407"/>
                <a:gd name="T42" fmla="*/ 540 w 992"/>
                <a:gd name="T43" fmla="*/ 1124 h 1407"/>
                <a:gd name="T44" fmla="*/ 493 w 992"/>
                <a:gd name="T45" fmla="*/ 1176 h 1407"/>
                <a:gd name="T46" fmla="*/ 394 w 992"/>
                <a:gd name="T47" fmla="*/ 1265 h 1407"/>
                <a:gd name="T48" fmla="*/ 328 w 992"/>
                <a:gd name="T49" fmla="*/ 1355 h 1407"/>
                <a:gd name="T50" fmla="*/ 288 w 992"/>
                <a:gd name="T51" fmla="*/ 1394 h 1407"/>
                <a:gd name="T52" fmla="*/ 253 w 992"/>
                <a:gd name="T53" fmla="*/ 1340 h 1407"/>
                <a:gd name="T54" fmla="*/ 223 w 992"/>
                <a:gd name="T55" fmla="*/ 1317 h 1407"/>
                <a:gd name="T56" fmla="*/ 147 w 992"/>
                <a:gd name="T57" fmla="*/ 1306 h 1407"/>
                <a:gd name="T58" fmla="*/ 76 w 992"/>
                <a:gd name="T59" fmla="*/ 1299 h 1407"/>
                <a:gd name="T60" fmla="*/ 36 w 992"/>
                <a:gd name="T61" fmla="*/ 1282 h 1407"/>
                <a:gd name="T62" fmla="*/ 17 w 992"/>
                <a:gd name="T63" fmla="*/ 1257 h 1407"/>
                <a:gd name="T64" fmla="*/ 9 w 992"/>
                <a:gd name="T65" fmla="*/ 1218 h 1407"/>
                <a:gd name="T66" fmla="*/ 0 w 992"/>
                <a:gd name="T67" fmla="*/ 1164 h 1407"/>
                <a:gd name="T68" fmla="*/ 20 w 992"/>
                <a:gd name="T69" fmla="*/ 1107 h 1407"/>
                <a:gd name="T70" fmla="*/ 34 w 992"/>
                <a:gd name="T71" fmla="*/ 1050 h 1407"/>
                <a:gd name="T72" fmla="*/ 34 w 992"/>
                <a:gd name="T73" fmla="*/ 993 h 1407"/>
                <a:gd name="T74" fmla="*/ 42 w 992"/>
                <a:gd name="T75" fmla="*/ 958 h 1407"/>
                <a:gd name="T76" fmla="*/ 62 w 992"/>
                <a:gd name="T77" fmla="*/ 932 h 1407"/>
                <a:gd name="T78" fmla="*/ 157 w 992"/>
                <a:gd name="T79" fmla="*/ 855 h 1407"/>
                <a:gd name="T80" fmla="*/ 197 w 992"/>
                <a:gd name="T81" fmla="*/ 829 h 1407"/>
                <a:gd name="T82" fmla="*/ 256 w 992"/>
                <a:gd name="T83" fmla="*/ 808 h 1407"/>
                <a:gd name="T84" fmla="*/ 311 w 992"/>
                <a:gd name="T85" fmla="*/ 783 h 1407"/>
                <a:gd name="T86" fmla="*/ 333 w 992"/>
                <a:gd name="T87" fmla="*/ 763 h 1407"/>
                <a:gd name="T88" fmla="*/ 359 w 992"/>
                <a:gd name="T89" fmla="*/ 713 h 1407"/>
                <a:gd name="T90" fmla="*/ 398 w 992"/>
                <a:gd name="T91" fmla="*/ 657 h 1407"/>
                <a:gd name="T92" fmla="*/ 421 w 992"/>
                <a:gd name="T93" fmla="*/ 592 h 1407"/>
                <a:gd name="T94" fmla="*/ 445 w 992"/>
                <a:gd name="T95" fmla="*/ 503 h 1407"/>
                <a:gd name="T96" fmla="*/ 455 w 992"/>
                <a:gd name="T97" fmla="*/ 450 h 1407"/>
                <a:gd name="T98" fmla="*/ 446 w 992"/>
                <a:gd name="T99" fmla="*/ 402 h 1407"/>
                <a:gd name="T100" fmla="*/ 506 w 992"/>
                <a:gd name="T101" fmla="*/ 368 h 1407"/>
                <a:gd name="T102" fmla="*/ 521 w 992"/>
                <a:gd name="T103" fmla="*/ 352 h 1407"/>
                <a:gd name="T104" fmla="*/ 521 w 992"/>
                <a:gd name="T105" fmla="*/ 332 h 1407"/>
                <a:gd name="T106" fmla="*/ 504 w 992"/>
                <a:gd name="T107" fmla="*/ 301 h 1407"/>
                <a:gd name="T108" fmla="*/ 489 w 992"/>
                <a:gd name="T109" fmla="*/ 269 h 1407"/>
                <a:gd name="T110" fmla="*/ 489 w 992"/>
                <a:gd name="T111" fmla="*/ 250 h 1407"/>
                <a:gd name="T112" fmla="*/ 502 w 992"/>
                <a:gd name="T113" fmla="*/ 236 h 1407"/>
                <a:gd name="T114" fmla="*/ 524 w 992"/>
                <a:gd name="T115" fmla="*/ 217 h 1407"/>
                <a:gd name="T116" fmla="*/ 551 w 992"/>
                <a:gd name="T117" fmla="*/ 177 h 1407"/>
                <a:gd name="T118" fmla="*/ 579 w 992"/>
                <a:gd name="T119" fmla="*/ 106 h 1407"/>
                <a:gd name="T120" fmla="*/ 608 w 992"/>
                <a:gd name="T121" fmla="*/ 54 h 1407"/>
                <a:gd name="T122" fmla="*/ 641 w 992"/>
                <a:gd name="T123" fmla="*/ 33 h 1407"/>
                <a:gd name="T124" fmla="*/ 732 w 992"/>
                <a:gd name="T125" fmla="*/ 10 h 1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2" h="1407">
                  <a:moveTo>
                    <a:pt x="783" y="0"/>
                  </a:moveTo>
                  <a:lnTo>
                    <a:pt x="783" y="27"/>
                  </a:lnTo>
                  <a:lnTo>
                    <a:pt x="783" y="51"/>
                  </a:lnTo>
                  <a:lnTo>
                    <a:pt x="786" y="62"/>
                  </a:lnTo>
                  <a:lnTo>
                    <a:pt x="790" y="72"/>
                  </a:lnTo>
                  <a:lnTo>
                    <a:pt x="793" y="76"/>
                  </a:lnTo>
                  <a:lnTo>
                    <a:pt x="796" y="81"/>
                  </a:lnTo>
                  <a:lnTo>
                    <a:pt x="800" y="86"/>
                  </a:lnTo>
                  <a:lnTo>
                    <a:pt x="806" y="89"/>
                  </a:lnTo>
                  <a:lnTo>
                    <a:pt x="810" y="92"/>
                  </a:lnTo>
                  <a:lnTo>
                    <a:pt x="814" y="93"/>
                  </a:lnTo>
                  <a:lnTo>
                    <a:pt x="818" y="94"/>
                  </a:lnTo>
                  <a:lnTo>
                    <a:pt x="822" y="94"/>
                  </a:lnTo>
                  <a:lnTo>
                    <a:pt x="831" y="95"/>
                  </a:lnTo>
                  <a:lnTo>
                    <a:pt x="839" y="98"/>
                  </a:lnTo>
                  <a:lnTo>
                    <a:pt x="861" y="108"/>
                  </a:lnTo>
                  <a:lnTo>
                    <a:pt x="880" y="118"/>
                  </a:lnTo>
                  <a:lnTo>
                    <a:pt x="898" y="128"/>
                  </a:lnTo>
                  <a:lnTo>
                    <a:pt x="915" y="138"/>
                  </a:lnTo>
                  <a:lnTo>
                    <a:pt x="933" y="148"/>
                  </a:lnTo>
                  <a:lnTo>
                    <a:pt x="951" y="158"/>
                  </a:lnTo>
                  <a:lnTo>
                    <a:pt x="970" y="167"/>
                  </a:lnTo>
                  <a:lnTo>
                    <a:pt x="992" y="176"/>
                  </a:lnTo>
                  <a:lnTo>
                    <a:pt x="992" y="176"/>
                  </a:lnTo>
                  <a:lnTo>
                    <a:pt x="987" y="190"/>
                  </a:lnTo>
                  <a:lnTo>
                    <a:pt x="985" y="206"/>
                  </a:lnTo>
                  <a:lnTo>
                    <a:pt x="983" y="222"/>
                  </a:lnTo>
                  <a:lnTo>
                    <a:pt x="983" y="238"/>
                  </a:lnTo>
                  <a:lnTo>
                    <a:pt x="983" y="263"/>
                  </a:lnTo>
                  <a:lnTo>
                    <a:pt x="983" y="285"/>
                  </a:lnTo>
                  <a:lnTo>
                    <a:pt x="983" y="308"/>
                  </a:lnTo>
                  <a:lnTo>
                    <a:pt x="983" y="334"/>
                  </a:lnTo>
                  <a:lnTo>
                    <a:pt x="982" y="378"/>
                  </a:lnTo>
                  <a:lnTo>
                    <a:pt x="981" y="418"/>
                  </a:lnTo>
                  <a:lnTo>
                    <a:pt x="979" y="438"/>
                  </a:lnTo>
                  <a:lnTo>
                    <a:pt x="976" y="457"/>
                  </a:lnTo>
                  <a:lnTo>
                    <a:pt x="973" y="476"/>
                  </a:lnTo>
                  <a:lnTo>
                    <a:pt x="970" y="494"/>
                  </a:lnTo>
                  <a:lnTo>
                    <a:pt x="966" y="511"/>
                  </a:lnTo>
                  <a:lnTo>
                    <a:pt x="961" y="530"/>
                  </a:lnTo>
                  <a:lnTo>
                    <a:pt x="955" y="547"/>
                  </a:lnTo>
                  <a:lnTo>
                    <a:pt x="948" y="565"/>
                  </a:lnTo>
                  <a:lnTo>
                    <a:pt x="941" y="582"/>
                  </a:lnTo>
                  <a:lnTo>
                    <a:pt x="931" y="601"/>
                  </a:lnTo>
                  <a:lnTo>
                    <a:pt x="921" y="620"/>
                  </a:lnTo>
                  <a:lnTo>
                    <a:pt x="910" y="639"/>
                  </a:lnTo>
                  <a:lnTo>
                    <a:pt x="903" y="651"/>
                  </a:lnTo>
                  <a:lnTo>
                    <a:pt x="899" y="661"/>
                  </a:lnTo>
                  <a:lnTo>
                    <a:pt x="893" y="672"/>
                  </a:lnTo>
                  <a:lnTo>
                    <a:pt x="887" y="684"/>
                  </a:lnTo>
                  <a:lnTo>
                    <a:pt x="883" y="689"/>
                  </a:lnTo>
                  <a:lnTo>
                    <a:pt x="878" y="694"/>
                  </a:lnTo>
                  <a:lnTo>
                    <a:pt x="872" y="697"/>
                  </a:lnTo>
                  <a:lnTo>
                    <a:pt x="866" y="699"/>
                  </a:lnTo>
                  <a:lnTo>
                    <a:pt x="853" y="703"/>
                  </a:lnTo>
                  <a:lnTo>
                    <a:pt x="839" y="709"/>
                  </a:lnTo>
                  <a:lnTo>
                    <a:pt x="812" y="726"/>
                  </a:lnTo>
                  <a:lnTo>
                    <a:pt x="787" y="743"/>
                  </a:lnTo>
                  <a:lnTo>
                    <a:pt x="776" y="752"/>
                  </a:lnTo>
                  <a:lnTo>
                    <a:pt x="765" y="761"/>
                  </a:lnTo>
                  <a:lnTo>
                    <a:pt x="754" y="769"/>
                  </a:lnTo>
                  <a:lnTo>
                    <a:pt x="743" y="779"/>
                  </a:lnTo>
                  <a:lnTo>
                    <a:pt x="735" y="789"/>
                  </a:lnTo>
                  <a:lnTo>
                    <a:pt x="725" y="800"/>
                  </a:lnTo>
                  <a:lnTo>
                    <a:pt x="716" y="810"/>
                  </a:lnTo>
                  <a:lnTo>
                    <a:pt x="709" y="822"/>
                  </a:lnTo>
                  <a:lnTo>
                    <a:pt x="701" y="834"/>
                  </a:lnTo>
                  <a:lnTo>
                    <a:pt x="695" y="847"/>
                  </a:lnTo>
                  <a:lnTo>
                    <a:pt x="688" y="862"/>
                  </a:lnTo>
                  <a:lnTo>
                    <a:pt x="683" y="877"/>
                  </a:lnTo>
                  <a:lnTo>
                    <a:pt x="678" y="888"/>
                  </a:lnTo>
                  <a:lnTo>
                    <a:pt x="675" y="898"/>
                  </a:lnTo>
                  <a:lnTo>
                    <a:pt x="670" y="906"/>
                  </a:lnTo>
                  <a:lnTo>
                    <a:pt x="665" y="915"/>
                  </a:lnTo>
                  <a:lnTo>
                    <a:pt x="655" y="930"/>
                  </a:lnTo>
                  <a:lnTo>
                    <a:pt x="644" y="945"/>
                  </a:lnTo>
                  <a:lnTo>
                    <a:pt x="632" y="959"/>
                  </a:lnTo>
                  <a:lnTo>
                    <a:pt x="620" y="975"/>
                  </a:lnTo>
                  <a:lnTo>
                    <a:pt x="608" y="991"/>
                  </a:lnTo>
                  <a:lnTo>
                    <a:pt x="596" y="1009"/>
                  </a:lnTo>
                  <a:lnTo>
                    <a:pt x="588" y="1024"/>
                  </a:lnTo>
                  <a:lnTo>
                    <a:pt x="580" y="1039"/>
                  </a:lnTo>
                  <a:lnTo>
                    <a:pt x="575" y="1053"/>
                  </a:lnTo>
                  <a:lnTo>
                    <a:pt x="569" y="1067"/>
                  </a:lnTo>
                  <a:lnTo>
                    <a:pt x="563" y="1081"/>
                  </a:lnTo>
                  <a:lnTo>
                    <a:pt x="557" y="1094"/>
                  </a:lnTo>
                  <a:lnTo>
                    <a:pt x="550" y="1110"/>
                  </a:lnTo>
                  <a:lnTo>
                    <a:pt x="540" y="1124"/>
                  </a:lnTo>
                  <a:lnTo>
                    <a:pt x="528" y="1139"/>
                  </a:lnTo>
                  <a:lnTo>
                    <a:pt x="516" y="1153"/>
                  </a:lnTo>
                  <a:lnTo>
                    <a:pt x="504" y="1165"/>
                  </a:lnTo>
                  <a:lnTo>
                    <a:pt x="493" y="1176"/>
                  </a:lnTo>
                  <a:lnTo>
                    <a:pt x="468" y="1198"/>
                  </a:lnTo>
                  <a:lnTo>
                    <a:pt x="439" y="1222"/>
                  </a:lnTo>
                  <a:lnTo>
                    <a:pt x="415" y="1243"/>
                  </a:lnTo>
                  <a:lnTo>
                    <a:pt x="394" y="1265"/>
                  </a:lnTo>
                  <a:lnTo>
                    <a:pt x="375" y="1287"/>
                  </a:lnTo>
                  <a:lnTo>
                    <a:pt x="359" y="1308"/>
                  </a:lnTo>
                  <a:lnTo>
                    <a:pt x="342" y="1331"/>
                  </a:lnTo>
                  <a:lnTo>
                    <a:pt x="328" y="1355"/>
                  </a:lnTo>
                  <a:lnTo>
                    <a:pt x="314" y="1380"/>
                  </a:lnTo>
                  <a:lnTo>
                    <a:pt x="300" y="1407"/>
                  </a:lnTo>
                  <a:lnTo>
                    <a:pt x="300" y="1407"/>
                  </a:lnTo>
                  <a:lnTo>
                    <a:pt x="288" y="1394"/>
                  </a:lnTo>
                  <a:lnTo>
                    <a:pt x="280" y="1380"/>
                  </a:lnTo>
                  <a:lnTo>
                    <a:pt x="271" y="1365"/>
                  </a:lnTo>
                  <a:lnTo>
                    <a:pt x="263" y="1353"/>
                  </a:lnTo>
                  <a:lnTo>
                    <a:pt x="253" y="1340"/>
                  </a:lnTo>
                  <a:lnTo>
                    <a:pt x="243" y="1329"/>
                  </a:lnTo>
                  <a:lnTo>
                    <a:pt x="237" y="1324"/>
                  </a:lnTo>
                  <a:lnTo>
                    <a:pt x="230" y="1320"/>
                  </a:lnTo>
                  <a:lnTo>
                    <a:pt x="223" y="1317"/>
                  </a:lnTo>
                  <a:lnTo>
                    <a:pt x="215" y="1315"/>
                  </a:lnTo>
                  <a:lnTo>
                    <a:pt x="191" y="1309"/>
                  </a:lnTo>
                  <a:lnTo>
                    <a:pt x="169" y="1307"/>
                  </a:lnTo>
                  <a:lnTo>
                    <a:pt x="147" y="1306"/>
                  </a:lnTo>
                  <a:lnTo>
                    <a:pt x="128" y="1306"/>
                  </a:lnTo>
                  <a:lnTo>
                    <a:pt x="107" y="1304"/>
                  </a:lnTo>
                  <a:lnTo>
                    <a:pt x="87" y="1301"/>
                  </a:lnTo>
                  <a:lnTo>
                    <a:pt x="76" y="1299"/>
                  </a:lnTo>
                  <a:lnTo>
                    <a:pt x="66" y="1295"/>
                  </a:lnTo>
                  <a:lnTo>
                    <a:pt x="55" y="1291"/>
                  </a:lnTo>
                  <a:lnTo>
                    <a:pt x="43" y="1287"/>
                  </a:lnTo>
                  <a:lnTo>
                    <a:pt x="36" y="1282"/>
                  </a:lnTo>
                  <a:lnTo>
                    <a:pt x="29" y="1277"/>
                  </a:lnTo>
                  <a:lnTo>
                    <a:pt x="25" y="1270"/>
                  </a:lnTo>
                  <a:lnTo>
                    <a:pt x="21" y="1265"/>
                  </a:lnTo>
                  <a:lnTo>
                    <a:pt x="17" y="1257"/>
                  </a:lnTo>
                  <a:lnTo>
                    <a:pt x="14" y="1250"/>
                  </a:lnTo>
                  <a:lnTo>
                    <a:pt x="12" y="1242"/>
                  </a:lnTo>
                  <a:lnTo>
                    <a:pt x="11" y="1235"/>
                  </a:lnTo>
                  <a:lnTo>
                    <a:pt x="9" y="1218"/>
                  </a:lnTo>
                  <a:lnTo>
                    <a:pt x="7" y="1199"/>
                  </a:lnTo>
                  <a:lnTo>
                    <a:pt x="4" y="1182"/>
                  </a:lnTo>
                  <a:lnTo>
                    <a:pt x="0" y="1164"/>
                  </a:lnTo>
                  <a:lnTo>
                    <a:pt x="0" y="1164"/>
                  </a:lnTo>
                  <a:lnTo>
                    <a:pt x="3" y="1149"/>
                  </a:lnTo>
                  <a:lnTo>
                    <a:pt x="8" y="1135"/>
                  </a:lnTo>
                  <a:lnTo>
                    <a:pt x="13" y="1121"/>
                  </a:lnTo>
                  <a:lnTo>
                    <a:pt x="20" y="1107"/>
                  </a:lnTo>
                  <a:lnTo>
                    <a:pt x="25" y="1092"/>
                  </a:lnTo>
                  <a:lnTo>
                    <a:pt x="29" y="1078"/>
                  </a:lnTo>
                  <a:lnTo>
                    <a:pt x="32" y="1064"/>
                  </a:lnTo>
                  <a:lnTo>
                    <a:pt x="34" y="1050"/>
                  </a:lnTo>
                  <a:lnTo>
                    <a:pt x="34" y="1035"/>
                  </a:lnTo>
                  <a:lnTo>
                    <a:pt x="34" y="1022"/>
                  </a:lnTo>
                  <a:lnTo>
                    <a:pt x="34" y="1008"/>
                  </a:lnTo>
                  <a:lnTo>
                    <a:pt x="34" y="993"/>
                  </a:lnTo>
                  <a:lnTo>
                    <a:pt x="35" y="983"/>
                  </a:lnTo>
                  <a:lnTo>
                    <a:pt x="36" y="975"/>
                  </a:lnTo>
                  <a:lnTo>
                    <a:pt x="38" y="966"/>
                  </a:lnTo>
                  <a:lnTo>
                    <a:pt x="42" y="958"/>
                  </a:lnTo>
                  <a:lnTo>
                    <a:pt x="45" y="952"/>
                  </a:lnTo>
                  <a:lnTo>
                    <a:pt x="51" y="945"/>
                  </a:lnTo>
                  <a:lnTo>
                    <a:pt x="56" y="939"/>
                  </a:lnTo>
                  <a:lnTo>
                    <a:pt x="62" y="932"/>
                  </a:lnTo>
                  <a:lnTo>
                    <a:pt x="90" y="911"/>
                  </a:lnTo>
                  <a:lnTo>
                    <a:pt x="121" y="887"/>
                  </a:lnTo>
                  <a:lnTo>
                    <a:pt x="139" y="870"/>
                  </a:lnTo>
                  <a:lnTo>
                    <a:pt x="157" y="855"/>
                  </a:lnTo>
                  <a:lnTo>
                    <a:pt x="165" y="847"/>
                  </a:lnTo>
                  <a:lnTo>
                    <a:pt x="174" y="841"/>
                  </a:lnTo>
                  <a:lnTo>
                    <a:pt x="185" y="834"/>
                  </a:lnTo>
                  <a:lnTo>
                    <a:pt x="197" y="829"/>
                  </a:lnTo>
                  <a:lnTo>
                    <a:pt x="213" y="822"/>
                  </a:lnTo>
                  <a:lnTo>
                    <a:pt x="228" y="817"/>
                  </a:lnTo>
                  <a:lnTo>
                    <a:pt x="242" y="813"/>
                  </a:lnTo>
                  <a:lnTo>
                    <a:pt x="256" y="808"/>
                  </a:lnTo>
                  <a:lnTo>
                    <a:pt x="269" y="805"/>
                  </a:lnTo>
                  <a:lnTo>
                    <a:pt x="283" y="800"/>
                  </a:lnTo>
                  <a:lnTo>
                    <a:pt x="297" y="792"/>
                  </a:lnTo>
                  <a:lnTo>
                    <a:pt x="311" y="783"/>
                  </a:lnTo>
                  <a:lnTo>
                    <a:pt x="318" y="779"/>
                  </a:lnTo>
                  <a:lnTo>
                    <a:pt x="324" y="774"/>
                  </a:lnTo>
                  <a:lnTo>
                    <a:pt x="328" y="768"/>
                  </a:lnTo>
                  <a:lnTo>
                    <a:pt x="333" y="763"/>
                  </a:lnTo>
                  <a:lnTo>
                    <a:pt x="340" y="751"/>
                  </a:lnTo>
                  <a:lnTo>
                    <a:pt x="347" y="739"/>
                  </a:lnTo>
                  <a:lnTo>
                    <a:pt x="352" y="726"/>
                  </a:lnTo>
                  <a:lnTo>
                    <a:pt x="359" y="713"/>
                  </a:lnTo>
                  <a:lnTo>
                    <a:pt x="366" y="701"/>
                  </a:lnTo>
                  <a:lnTo>
                    <a:pt x="376" y="688"/>
                  </a:lnTo>
                  <a:lnTo>
                    <a:pt x="388" y="672"/>
                  </a:lnTo>
                  <a:lnTo>
                    <a:pt x="398" y="657"/>
                  </a:lnTo>
                  <a:lnTo>
                    <a:pt x="406" y="642"/>
                  </a:lnTo>
                  <a:lnTo>
                    <a:pt x="412" y="626"/>
                  </a:lnTo>
                  <a:lnTo>
                    <a:pt x="417" y="609"/>
                  </a:lnTo>
                  <a:lnTo>
                    <a:pt x="421" y="592"/>
                  </a:lnTo>
                  <a:lnTo>
                    <a:pt x="426" y="574"/>
                  </a:lnTo>
                  <a:lnTo>
                    <a:pt x="429" y="553"/>
                  </a:lnTo>
                  <a:lnTo>
                    <a:pt x="436" y="526"/>
                  </a:lnTo>
                  <a:lnTo>
                    <a:pt x="445" y="503"/>
                  </a:lnTo>
                  <a:lnTo>
                    <a:pt x="448" y="491"/>
                  </a:lnTo>
                  <a:lnTo>
                    <a:pt x="452" y="478"/>
                  </a:lnTo>
                  <a:lnTo>
                    <a:pt x="454" y="465"/>
                  </a:lnTo>
                  <a:lnTo>
                    <a:pt x="455" y="450"/>
                  </a:lnTo>
                  <a:lnTo>
                    <a:pt x="454" y="437"/>
                  </a:lnTo>
                  <a:lnTo>
                    <a:pt x="452" y="426"/>
                  </a:lnTo>
                  <a:lnTo>
                    <a:pt x="449" y="415"/>
                  </a:lnTo>
                  <a:lnTo>
                    <a:pt x="446" y="402"/>
                  </a:lnTo>
                  <a:lnTo>
                    <a:pt x="460" y="391"/>
                  </a:lnTo>
                  <a:lnTo>
                    <a:pt x="474" y="379"/>
                  </a:lnTo>
                  <a:lnTo>
                    <a:pt x="490" y="373"/>
                  </a:lnTo>
                  <a:lnTo>
                    <a:pt x="506" y="368"/>
                  </a:lnTo>
                  <a:lnTo>
                    <a:pt x="512" y="363"/>
                  </a:lnTo>
                  <a:lnTo>
                    <a:pt x="517" y="359"/>
                  </a:lnTo>
                  <a:lnTo>
                    <a:pt x="519" y="356"/>
                  </a:lnTo>
                  <a:lnTo>
                    <a:pt x="521" y="352"/>
                  </a:lnTo>
                  <a:lnTo>
                    <a:pt x="522" y="349"/>
                  </a:lnTo>
                  <a:lnTo>
                    <a:pt x="522" y="345"/>
                  </a:lnTo>
                  <a:lnTo>
                    <a:pt x="522" y="338"/>
                  </a:lnTo>
                  <a:lnTo>
                    <a:pt x="521" y="332"/>
                  </a:lnTo>
                  <a:lnTo>
                    <a:pt x="519" y="327"/>
                  </a:lnTo>
                  <a:lnTo>
                    <a:pt x="516" y="321"/>
                  </a:lnTo>
                  <a:lnTo>
                    <a:pt x="511" y="310"/>
                  </a:lnTo>
                  <a:lnTo>
                    <a:pt x="504" y="301"/>
                  </a:lnTo>
                  <a:lnTo>
                    <a:pt x="499" y="291"/>
                  </a:lnTo>
                  <a:lnTo>
                    <a:pt x="494" y="280"/>
                  </a:lnTo>
                  <a:lnTo>
                    <a:pt x="492" y="275"/>
                  </a:lnTo>
                  <a:lnTo>
                    <a:pt x="489" y="269"/>
                  </a:lnTo>
                  <a:lnTo>
                    <a:pt x="488" y="263"/>
                  </a:lnTo>
                  <a:lnTo>
                    <a:pt x="488" y="256"/>
                  </a:lnTo>
                  <a:lnTo>
                    <a:pt x="488" y="253"/>
                  </a:lnTo>
                  <a:lnTo>
                    <a:pt x="489" y="250"/>
                  </a:lnTo>
                  <a:lnTo>
                    <a:pt x="490" y="247"/>
                  </a:lnTo>
                  <a:lnTo>
                    <a:pt x="493" y="244"/>
                  </a:lnTo>
                  <a:lnTo>
                    <a:pt x="497" y="239"/>
                  </a:lnTo>
                  <a:lnTo>
                    <a:pt x="502" y="236"/>
                  </a:lnTo>
                  <a:lnTo>
                    <a:pt x="508" y="231"/>
                  </a:lnTo>
                  <a:lnTo>
                    <a:pt x="514" y="227"/>
                  </a:lnTo>
                  <a:lnTo>
                    <a:pt x="520" y="223"/>
                  </a:lnTo>
                  <a:lnTo>
                    <a:pt x="524" y="217"/>
                  </a:lnTo>
                  <a:lnTo>
                    <a:pt x="535" y="203"/>
                  </a:lnTo>
                  <a:lnTo>
                    <a:pt x="543" y="190"/>
                  </a:lnTo>
                  <a:lnTo>
                    <a:pt x="548" y="184"/>
                  </a:lnTo>
                  <a:lnTo>
                    <a:pt x="551" y="177"/>
                  </a:lnTo>
                  <a:lnTo>
                    <a:pt x="555" y="170"/>
                  </a:lnTo>
                  <a:lnTo>
                    <a:pt x="558" y="161"/>
                  </a:lnTo>
                  <a:lnTo>
                    <a:pt x="568" y="132"/>
                  </a:lnTo>
                  <a:lnTo>
                    <a:pt x="579" y="106"/>
                  </a:lnTo>
                  <a:lnTo>
                    <a:pt x="584" y="94"/>
                  </a:lnTo>
                  <a:lnTo>
                    <a:pt x="591" y="81"/>
                  </a:lnTo>
                  <a:lnTo>
                    <a:pt x="600" y="68"/>
                  </a:lnTo>
                  <a:lnTo>
                    <a:pt x="608" y="54"/>
                  </a:lnTo>
                  <a:lnTo>
                    <a:pt x="616" y="47"/>
                  </a:lnTo>
                  <a:lnTo>
                    <a:pt x="623" y="40"/>
                  </a:lnTo>
                  <a:lnTo>
                    <a:pt x="631" y="36"/>
                  </a:lnTo>
                  <a:lnTo>
                    <a:pt x="641" y="33"/>
                  </a:lnTo>
                  <a:lnTo>
                    <a:pt x="660" y="28"/>
                  </a:lnTo>
                  <a:lnTo>
                    <a:pt x="682" y="24"/>
                  </a:lnTo>
                  <a:lnTo>
                    <a:pt x="712" y="17"/>
                  </a:lnTo>
                  <a:lnTo>
                    <a:pt x="732" y="10"/>
                  </a:lnTo>
                  <a:lnTo>
                    <a:pt x="753" y="6"/>
                  </a:lnTo>
                  <a:lnTo>
                    <a:pt x="783" y="0"/>
                  </a:lnTo>
                  <a:lnTo>
                    <a:pt x="783" y="0"/>
                  </a:lnTo>
                  <a:close/>
                </a:path>
              </a:pathLst>
            </a:custGeom>
            <a:solidFill>
              <a:srgbClr val="9DC877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52">
              <a:extLst>
                <a:ext uri="{FF2B5EF4-FFF2-40B4-BE49-F238E27FC236}">
                  <a16:creationId xmlns:a16="http://schemas.microsoft.com/office/drawing/2014/main" id="{8F365722-D1E2-4B2A-9E22-12504A1A2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8338" y="4208463"/>
              <a:ext cx="393700" cy="557213"/>
            </a:xfrm>
            <a:custGeom>
              <a:avLst/>
              <a:gdLst>
                <a:gd name="T0" fmla="*/ 786 w 992"/>
                <a:gd name="T1" fmla="*/ 62 h 1407"/>
                <a:gd name="T2" fmla="*/ 800 w 992"/>
                <a:gd name="T3" fmla="*/ 86 h 1407"/>
                <a:gd name="T4" fmla="*/ 818 w 992"/>
                <a:gd name="T5" fmla="*/ 94 h 1407"/>
                <a:gd name="T6" fmla="*/ 861 w 992"/>
                <a:gd name="T7" fmla="*/ 108 h 1407"/>
                <a:gd name="T8" fmla="*/ 933 w 992"/>
                <a:gd name="T9" fmla="*/ 148 h 1407"/>
                <a:gd name="T10" fmla="*/ 992 w 992"/>
                <a:gd name="T11" fmla="*/ 176 h 1407"/>
                <a:gd name="T12" fmla="*/ 983 w 992"/>
                <a:gd name="T13" fmla="*/ 238 h 1407"/>
                <a:gd name="T14" fmla="*/ 983 w 992"/>
                <a:gd name="T15" fmla="*/ 334 h 1407"/>
                <a:gd name="T16" fmla="*/ 976 w 992"/>
                <a:gd name="T17" fmla="*/ 457 h 1407"/>
                <a:gd name="T18" fmla="*/ 961 w 992"/>
                <a:gd name="T19" fmla="*/ 530 h 1407"/>
                <a:gd name="T20" fmla="*/ 931 w 992"/>
                <a:gd name="T21" fmla="*/ 601 h 1407"/>
                <a:gd name="T22" fmla="*/ 899 w 992"/>
                <a:gd name="T23" fmla="*/ 661 h 1407"/>
                <a:gd name="T24" fmla="*/ 878 w 992"/>
                <a:gd name="T25" fmla="*/ 694 h 1407"/>
                <a:gd name="T26" fmla="*/ 839 w 992"/>
                <a:gd name="T27" fmla="*/ 709 h 1407"/>
                <a:gd name="T28" fmla="*/ 765 w 992"/>
                <a:gd name="T29" fmla="*/ 761 h 1407"/>
                <a:gd name="T30" fmla="*/ 725 w 992"/>
                <a:gd name="T31" fmla="*/ 800 h 1407"/>
                <a:gd name="T32" fmla="*/ 695 w 992"/>
                <a:gd name="T33" fmla="*/ 847 h 1407"/>
                <a:gd name="T34" fmla="*/ 675 w 992"/>
                <a:gd name="T35" fmla="*/ 898 h 1407"/>
                <a:gd name="T36" fmla="*/ 644 w 992"/>
                <a:gd name="T37" fmla="*/ 945 h 1407"/>
                <a:gd name="T38" fmla="*/ 596 w 992"/>
                <a:gd name="T39" fmla="*/ 1009 h 1407"/>
                <a:gd name="T40" fmla="*/ 569 w 992"/>
                <a:gd name="T41" fmla="*/ 1067 h 1407"/>
                <a:gd name="T42" fmla="*/ 540 w 992"/>
                <a:gd name="T43" fmla="*/ 1124 h 1407"/>
                <a:gd name="T44" fmla="*/ 493 w 992"/>
                <a:gd name="T45" fmla="*/ 1176 h 1407"/>
                <a:gd name="T46" fmla="*/ 394 w 992"/>
                <a:gd name="T47" fmla="*/ 1265 h 1407"/>
                <a:gd name="T48" fmla="*/ 328 w 992"/>
                <a:gd name="T49" fmla="*/ 1355 h 1407"/>
                <a:gd name="T50" fmla="*/ 288 w 992"/>
                <a:gd name="T51" fmla="*/ 1394 h 1407"/>
                <a:gd name="T52" fmla="*/ 253 w 992"/>
                <a:gd name="T53" fmla="*/ 1340 h 1407"/>
                <a:gd name="T54" fmla="*/ 223 w 992"/>
                <a:gd name="T55" fmla="*/ 1317 h 1407"/>
                <a:gd name="T56" fmla="*/ 147 w 992"/>
                <a:gd name="T57" fmla="*/ 1306 h 1407"/>
                <a:gd name="T58" fmla="*/ 76 w 992"/>
                <a:gd name="T59" fmla="*/ 1299 h 1407"/>
                <a:gd name="T60" fmla="*/ 36 w 992"/>
                <a:gd name="T61" fmla="*/ 1282 h 1407"/>
                <a:gd name="T62" fmla="*/ 17 w 992"/>
                <a:gd name="T63" fmla="*/ 1257 h 1407"/>
                <a:gd name="T64" fmla="*/ 9 w 992"/>
                <a:gd name="T65" fmla="*/ 1218 h 1407"/>
                <a:gd name="T66" fmla="*/ 0 w 992"/>
                <a:gd name="T67" fmla="*/ 1164 h 1407"/>
                <a:gd name="T68" fmla="*/ 20 w 992"/>
                <a:gd name="T69" fmla="*/ 1107 h 1407"/>
                <a:gd name="T70" fmla="*/ 34 w 992"/>
                <a:gd name="T71" fmla="*/ 1050 h 1407"/>
                <a:gd name="T72" fmla="*/ 34 w 992"/>
                <a:gd name="T73" fmla="*/ 993 h 1407"/>
                <a:gd name="T74" fmla="*/ 42 w 992"/>
                <a:gd name="T75" fmla="*/ 958 h 1407"/>
                <a:gd name="T76" fmla="*/ 62 w 992"/>
                <a:gd name="T77" fmla="*/ 932 h 1407"/>
                <a:gd name="T78" fmla="*/ 157 w 992"/>
                <a:gd name="T79" fmla="*/ 855 h 1407"/>
                <a:gd name="T80" fmla="*/ 197 w 992"/>
                <a:gd name="T81" fmla="*/ 829 h 1407"/>
                <a:gd name="T82" fmla="*/ 256 w 992"/>
                <a:gd name="T83" fmla="*/ 808 h 1407"/>
                <a:gd name="T84" fmla="*/ 311 w 992"/>
                <a:gd name="T85" fmla="*/ 783 h 1407"/>
                <a:gd name="T86" fmla="*/ 333 w 992"/>
                <a:gd name="T87" fmla="*/ 763 h 1407"/>
                <a:gd name="T88" fmla="*/ 359 w 992"/>
                <a:gd name="T89" fmla="*/ 713 h 1407"/>
                <a:gd name="T90" fmla="*/ 398 w 992"/>
                <a:gd name="T91" fmla="*/ 657 h 1407"/>
                <a:gd name="T92" fmla="*/ 421 w 992"/>
                <a:gd name="T93" fmla="*/ 592 h 1407"/>
                <a:gd name="T94" fmla="*/ 445 w 992"/>
                <a:gd name="T95" fmla="*/ 503 h 1407"/>
                <a:gd name="T96" fmla="*/ 455 w 992"/>
                <a:gd name="T97" fmla="*/ 450 h 1407"/>
                <a:gd name="T98" fmla="*/ 446 w 992"/>
                <a:gd name="T99" fmla="*/ 402 h 1407"/>
                <a:gd name="T100" fmla="*/ 506 w 992"/>
                <a:gd name="T101" fmla="*/ 368 h 1407"/>
                <a:gd name="T102" fmla="*/ 521 w 992"/>
                <a:gd name="T103" fmla="*/ 352 h 1407"/>
                <a:gd name="T104" fmla="*/ 521 w 992"/>
                <a:gd name="T105" fmla="*/ 332 h 1407"/>
                <a:gd name="T106" fmla="*/ 504 w 992"/>
                <a:gd name="T107" fmla="*/ 301 h 1407"/>
                <a:gd name="T108" fmla="*/ 489 w 992"/>
                <a:gd name="T109" fmla="*/ 269 h 1407"/>
                <a:gd name="T110" fmla="*/ 489 w 992"/>
                <a:gd name="T111" fmla="*/ 250 h 1407"/>
                <a:gd name="T112" fmla="*/ 502 w 992"/>
                <a:gd name="T113" fmla="*/ 236 h 1407"/>
                <a:gd name="T114" fmla="*/ 524 w 992"/>
                <a:gd name="T115" fmla="*/ 217 h 1407"/>
                <a:gd name="T116" fmla="*/ 551 w 992"/>
                <a:gd name="T117" fmla="*/ 177 h 1407"/>
                <a:gd name="T118" fmla="*/ 579 w 992"/>
                <a:gd name="T119" fmla="*/ 106 h 1407"/>
                <a:gd name="T120" fmla="*/ 608 w 992"/>
                <a:gd name="T121" fmla="*/ 54 h 1407"/>
                <a:gd name="T122" fmla="*/ 641 w 992"/>
                <a:gd name="T123" fmla="*/ 33 h 1407"/>
                <a:gd name="T124" fmla="*/ 732 w 992"/>
                <a:gd name="T125" fmla="*/ 10 h 1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2" h="1407">
                  <a:moveTo>
                    <a:pt x="783" y="0"/>
                  </a:moveTo>
                  <a:lnTo>
                    <a:pt x="783" y="27"/>
                  </a:lnTo>
                  <a:lnTo>
                    <a:pt x="783" y="51"/>
                  </a:lnTo>
                  <a:lnTo>
                    <a:pt x="786" y="62"/>
                  </a:lnTo>
                  <a:lnTo>
                    <a:pt x="790" y="72"/>
                  </a:lnTo>
                  <a:lnTo>
                    <a:pt x="793" y="76"/>
                  </a:lnTo>
                  <a:lnTo>
                    <a:pt x="796" y="81"/>
                  </a:lnTo>
                  <a:lnTo>
                    <a:pt x="800" y="86"/>
                  </a:lnTo>
                  <a:lnTo>
                    <a:pt x="806" y="89"/>
                  </a:lnTo>
                  <a:lnTo>
                    <a:pt x="810" y="92"/>
                  </a:lnTo>
                  <a:lnTo>
                    <a:pt x="814" y="93"/>
                  </a:lnTo>
                  <a:lnTo>
                    <a:pt x="818" y="94"/>
                  </a:lnTo>
                  <a:lnTo>
                    <a:pt x="822" y="94"/>
                  </a:lnTo>
                  <a:lnTo>
                    <a:pt x="831" y="95"/>
                  </a:lnTo>
                  <a:lnTo>
                    <a:pt x="839" y="98"/>
                  </a:lnTo>
                  <a:lnTo>
                    <a:pt x="861" y="108"/>
                  </a:lnTo>
                  <a:lnTo>
                    <a:pt x="880" y="118"/>
                  </a:lnTo>
                  <a:lnTo>
                    <a:pt x="898" y="128"/>
                  </a:lnTo>
                  <a:lnTo>
                    <a:pt x="915" y="138"/>
                  </a:lnTo>
                  <a:lnTo>
                    <a:pt x="933" y="148"/>
                  </a:lnTo>
                  <a:lnTo>
                    <a:pt x="951" y="158"/>
                  </a:lnTo>
                  <a:lnTo>
                    <a:pt x="970" y="167"/>
                  </a:lnTo>
                  <a:lnTo>
                    <a:pt x="992" y="176"/>
                  </a:lnTo>
                  <a:lnTo>
                    <a:pt x="992" y="176"/>
                  </a:lnTo>
                  <a:lnTo>
                    <a:pt x="987" y="190"/>
                  </a:lnTo>
                  <a:lnTo>
                    <a:pt x="985" y="206"/>
                  </a:lnTo>
                  <a:lnTo>
                    <a:pt x="983" y="222"/>
                  </a:lnTo>
                  <a:lnTo>
                    <a:pt x="983" y="238"/>
                  </a:lnTo>
                  <a:lnTo>
                    <a:pt x="983" y="263"/>
                  </a:lnTo>
                  <a:lnTo>
                    <a:pt x="983" y="285"/>
                  </a:lnTo>
                  <a:lnTo>
                    <a:pt x="983" y="308"/>
                  </a:lnTo>
                  <a:lnTo>
                    <a:pt x="983" y="334"/>
                  </a:lnTo>
                  <a:lnTo>
                    <a:pt x="982" y="378"/>
                  </a:lnTo>
                  <a:lnTo>
                    <a:pt x="981" y="418"/>
                  </a:lnTo>
                  <a:lnTo>
                    <a:pt x="979" y="438"/>
                  </a:lnTo>
                  <a:lnTo>
                    <a:pt x="976" y="457"/>
                  </a:lnTo>
                  <a:lnTo>
                    <a:pt x="973" y="476"/>
                  </a:lnTo>
                  <a:lnTo>
                    <a:pt x="970" y="494"/>
                  </a:lnTo>
                  <a:lnTo>
                    <a:pt x="966" y="511"/>
                  </a:lnTo>
                  <a:lnTo>
                    <a:pt x="961" y="530"/>
                  </a:lnTo>
                  <a:lnTo>
                    <a:pt x="955" y="547"/>
                  </a:lnTo>
                  <a:lnTo>
                    <a:pt x="948" y="565"/>
                  </a:lnTo>
                  <a:lnTo>
                    <a:pt x="941" y="582"/>
                  </a:lnTo>
                  <a:lnTo>
                    <a:pt x="931" y="601"/>
                  </a:lnTo>
                  <a:lnTo>
                    <a:pt x="921" y="620"/>
                  </a:lnTo>
                  <a:lnTo>
                    <a:pt x="910" y="639"/>
                  </a:lnTo>
                  <a:lnTo>
                    <a:pt x="903" y="651"/>
                  </a:lnTo>
                  <a:lnTo>
                    <a:pt x="899" y="661"/>
                  </a:lnTo>
                  <a:lnTo>
                    <a:pt x="893" y="672"/>
                  </a:lnTo>
                  <a:lnTo>
                    <a:pt x="887" y="684"/>
                  </a:lnTo>
                  <a:lnTo>
                    <a:pt x="883" y="689"/>
                  </a:lnTo>
                  <a:lnTo>
                    <a:pt x="878" y="694"/>
                  </a:lnTo>
                  <a:lnTo>
                    <a:pt x="872" y="697"/>
                  </a:lnTo>
                  <a:lnTo>
                    <a:pt x="866" y="699"/>
                  </a:lnTo>
                  <a:lnTo>
                    <a:pt x="853" y="703"/>
                  </a:lnTo>
                  <a:lnTo>
                    <a:pt x="839" y="709"/>
                  </a:lnTo>
                  <a:lnTo>
                    <a:pt x="812" y="726"/>
                  </a:lnTo>
                  <a:lnTo>
                    <a:pt x="787" y="743"/>
                  </a:lnTo>
                  <a:lnTo>
                    <a:pt x="776" y="752"/>
                  </a:lnTo>
                  <a:lnTo>
                    <a:pt x="765" y="761"/>
                  </a:lnTo>
                  <a:lnTo>
                    <a:pt x="754" y="769"/>
                  </a:lnTo>
                  <a:lnTo>
                    <a:pt x="743" y="779"/>
                  </a:lnTo>
                  <a:lnTo>
                    <a:pt x="735" y="789"/>
                  </a:lnTo>
                  <a:lnTo>
                    <a:pt x="725" y="800"/>
                  </a:lnTo>
                  <a:lnTo>
                    <a:pt x="716" y="810"/>
                  </a:lnTo>
                  <a:lnTo>
                    <a:pt x="709" y="822"/>
                  </a:lnTo>
                  <a:lnTo>
                    <a:pt x="701" y="834"/>
                  </a:lnTo>
                  <a:lnTo>
                    <a:pt x="695" y="847"/>
                  </a:lnTo>
                  <a:lnTo>
                    <a:pt x="688" y="862"/>
                  </a:lnTo>
                  <a:lnTo>
                    <a:pt x="683" y="877"/>
                  </a:lnTo>
                  <a:lnTo>
                    <a:pt x="678" y="888"/>
                  </a:lnTo>
                  <a:lnTo>
                    <a:pt x="675" y="898"/>
                  </a:lnTo>
                  <a:lnTo>
                    <a:pt x="670" y="906"/>
                  </a:lnTo>
                  <a:lnTo>
                    <a:pt x="665" y="915"/>
                  </a:lnTo>
                  <a:lnTo>
                    <a:pt x="655" y="930"/>
                  </a:lnTo>
                  <a:lnTo>
                    <a:pt x="644" y="945"/>
                  </a:lnTo>
                  <a:lnTo>
                    <a:pt x="632" y="959"/>
                  </a:lnTo>
                  <a:lnTo>
                    <a:pt x="620" y="975"/>
                  </a:lnTo>
                  <a:lnTo>
                    <a:pt x="608" y="991"/>
                  </a:lnTo>
                  <a:lnTo>
                    <a:pt x="596" y="1009"/>
                  </a:lnTo>
                  <a:lnTo>
                    <a:pt x="588" y="1024"/>
                  </a:lnTo>
                  <a:lnTo>
                    <a:pt x="580" y="1039"/>
                  </a:lnTo>
                  <a:lnTo>
                    <a:pt x="575" y="1053"/>
                  </a:lnTo>
                  <a:lnTo>
                    <a:pt x="569" y="1067"/>
                  </a:lnTo>
                  <a:lnTo>
                    <a:pt x="563" y="1081"/>
                  </a:lnTo>
                  <a:lnTo>
                    <a:pt x="557" y="1094"/>
                  </a:lnTo>
                  <a:lnTo>
                    <a:pt x="550" y="1110"/>
                  </a:lnTo>
                  <a:lnTo>
                    <a:pt x="540" y="1124"/>
                  </a:lnTo>
                  <a:lnTo>
                    <a:pt x="528" y="1139"/>
                  </a:lnTo>
                  <a:lnTo>
                    <a:pt x="516" y="1153"/>
                  </a:lnTo>
                  <a:lnTo>
                    <a:pt x="504" y="1165"/>
                  </a:lnTo>
                  <a:lnTo>
                    <a:pt x="493" y="1176"/>
                  </a:lnTo>
                  <a:lnTo>
                    <a:pt x="468" y="1198"/>
                  </a:lnTo>
                  <a:lnTo>
                    <a:pt x="439" y="1222"/>
                  </a:lnTo>
                  <a:lnTo>
                    <a:pt x="415" y="1243"/>
                  </a:lnTo>
                  <a:lnTo>
                    <a:pt x="394" y="1265"/>
                  </a:lnTo>
                  <a:lnTo>
                    <a:pt x="375" y="1287"/>
                  </a:lnTo>
                  <a:lnTo>
                    <a:pt x="359" y="1308"/>
                  </a:lnTo>
                  <a:lnTo>
                    <a:pt x="342" y="1331"/>
                  </a:lnTo>
                  <a:lnTo>
                    <a:pt x="328" y="1355"/>
                  </a:lnTo>
                  <a:lnTo>
                    <a:pt x="314" y="1380"/>
                  </a:lnTo>
                  <a:lnTo>
                    <a:pt x="300" y="1407"/>
                  </a:lnTo>
                  <a:lnTo>
                    <a:pt x="300" y="1407"/>
                  </a:lnTo>
                  <a:lnTo>
                    <a:pt x="288" y="1394"/>
                  </a:lnTo>
                  <a:lnTo>
                    <a:pt x="280" y="1380"/>
                  </a:lnTo>
                  <a:lnTo>
                    <a:pt x="271" y="1365"/>
                  </a:lnTo>
                  <a:lnTo>
                    <a:pt x="263" y="1353"/>
                  </a:lnTo>
                  <a:lnTo>
                    <a:pt x="253" y="1340"/>
                  </a:lnTo>
                  <a:lnTo>
                    <a:pt x="243" y="1329"/>
                  </a:lnTo>
                  <a:lnTo>
                    <a:pt x="237" y="1324"/>
                  </a:lnTo>
                  <a:lnTo>
                    <a:pt x="230" y="1320"/>
                  </a:lnTo>
                  <a:lnTo>
                    <a:pt x="223" y="1317"/>
                  </a:lnTo>
                  <a:lnTo>
                    <a:pt x="215" y="1315"/>
                  </a:lnTo>
                  <a:lnTo>
                    <a:pt x="191" y="1309"/>
                  </a:lnTo>
                  <a:lnTo>
                    <a:pt x="169" y="1307"/>
                  </a:lnTo>
                  <a:lnTo>
                    <a:pt x="147" y="1306"/>
                  </a:lnTo>
                  <a:lnTo>
                    <a:pt x="128" y="1306"/>
                  </a:lnTo>
                  <a:lnTo>
                    <a:pt x="107" y="1304"/>
                  </a:lnTo>
                  <a:lnTo>
                    <a:pt x="87" y="1301"/>
                  </a:lnTo>
                  <a:lnTo>
                    <a:pt x="76" y="1299"/>
                  </a:lnTo>
                  <a:lnTo>
                    <a:pt x="66" y="1295"/>
                  </a:lnTo>
                  <a:lnTo>
                    <a:pt x="55" y="1291"/>
                  </a:lnTo>
                  <a:lnTo>
                    <a:pt x="43" y="1287"/>
                  </a:lnTo>
                  <a:lnTo>
                    <a:pt x="36" y="1282"/>
                  </a:lnTo>
                  <a:lnTo>
                    <a:pt x="29" y="1277"/>
                  </a:lnTo>
                  <a:lnTo>
                    <a:pt x="25" y="1270"/>
                  </a:lnTo>
                  <a:lnTo>
                    <a:pt x="21" y="1265"/>
                  </a:lnTo>
                  <a:lnTo>
                    <a:pt x="17" y="1257"/>
                  </a:lnTo>
                  <a:lnTo>
                    <a:pt x="14" y="1250"/>
                  </a:lnTo>
                  <a:lnTo>
                    <a:pt x="12" y="1242"/>
                  </a:lnTo>
                  <a:lnTo>
                    <a:pt x="11" y="1235"/>
                  </a:lnTo>
                  <a:lnTo>
                    <a:pt x="9" y="1218"/>
                  </a:lnTo>
                  <a:lnTo>
                    <a:pt x="7" y="1199"/>
                  </a:lnTo>
                  <a:lnTo>
                    <a:pt x="4" y="1182"/>
                  </a:lnTo>
                  <a:lnTo>
                    <a:pt x="0" y="1164"/>
                  </a:lnTo>
                  <a:lnTo>
                    <a:pt x="0" y="1164"/>
                  </a:lnTo>
                  <a:lnTo>
                    <a:pt x="3" y="1149"/>
                  </a:lnTo>
                  <a:lnTo>
                    <a:pt x="8" y="1135"/>
                  </a:lnTo>
                  <a:lnTo>
                    <a:pt x="13" y="1121"/>
                  </a:lnTo>
                  <a:lnTo>
                    <a:pt x="20" y="1107"/>
                  </a:lnTo>
                  <a:lnTo>
                    <a:pt x="25" y="1092"/>
                  </a:lnTo>
                  <a:lnTo>
                    <a:pt x="29" y="1078"/>
                  </a:lnTo>
                  <a:lnTo>
                    <a:pt x="32" y="1064"/>
                  </a:lnTo>
                  <a:lnTo>
                    <a:pt x="34" y="1050"/>
                  </a:lnTo>
                  <a:lnTo>
                    <a:pt x="34" y="1035"/>
                  </a:lnTo>
                  <a:lnTo>
                    <a:pt x="34" y="1022"/>
                  </a:lnTo>
                  <a:lnTo>
                    <a:pt x="34" y="1008"/>
                  </a:lnTo>
                  <a:lnTo>
                    <a:pt x="34" y="993"/>
                  </a:lnTo>
                  <a:lnTo>
                    <a:pt x="35" y="983"/>
                  </a:lnTo>
                  <a:lnTo>
                    <a:pt x="36" y="975"/>
                  </a:lnTo>
                  <a:lnTo>
                    <a:pt x="38" y="966"/>
                  </a:lnTo>
                  <a:lnTo>
                    <a:pt x="42" y="958"/>
                  </a:lnTo>
                  <a:lnTo>
                    <a:pt x="45" y="952"/>
                  </a:lnTo>
                  <a:lnTo>
                    <a:pt x="51" y="945"/>
                  </a:lnTo>
                  <a:lnTo>
                    <a:pt x="56" y="939"/>
                  </a:lnTo>
                  <a:lnTo>
                    <a:pt x="62" y="932"/>
                  </a:lnTo>
                  <a:lnTo>
                    <a:pt x="90" y="911"/>
                  </a:lnTo>
                  <a:lnTo>
                    <a:pt x="121" y="887"/>
                  </a:lnTo>
                  <a:lnTo>
                    <a:pt x="139" y="870"/>
                  </a:lnTo>
                  <a:lnTo>
                    <a:pt x="157" y="855"/>
                  </a:lnTo>
                  <a:lnTo>
                    <a:pt x="165" y="847"/>
                  </a:lnTo>
                  <a:lnTo>
                    <a:pt x="174" y="841"/>
                  </a:lnTo>
                  <a:lnTo>
                    <a:pt x="185" y="834"/>
                  </a:lnTo>
                  <a:lnTo>
                    <a:pt x="197" y="829"/>
                  </a:lnTo>
                  <a:lnTo>
                    <a:pt x="213" y="822"/>
                  </a:lnTo>
                  <a:lnTo>
                    <a:pt x="228" y="817"/>
                  </a:lnTo>
                  <a:lnTo>
                    <a:pt x="242" y="813"/>
                  </a:lnTo>
                  <a:lnTo>
                    <a:pt x="256" y="808"/>
                  </a:lnTo>
                  <a:lnTo>
                    <a:pt x="269" y="805"/>
                  </a:lnTo>
                  <a:lnTo>
                    <a:pt x="283" y="800"/>
                  </a:lnTo>
                  <a:lnTo>
                    <a:pt x="297" y="792"/>
                  </a:lnTo>
                  <a:lnTo>
                    <a:pt x="311" y="783"/>
                  </a:lnTo>
                  <a:lnTo>
                    <a:pt x="318" y="779"/>
                  </a:lnTo>
                  <a:lnTo>
                    <a:pt x="324" y="774"/>
                  </a:lnTo>
                  <a:lnTo>
                    <a:pt x="328" y="768"/>
                  </a:lnTo>
                  <a:lnTo>
                    <a:pt x="333" y="763"/>
                  </a:lnTo>
                  <a:lnTo>
                    <a:pt x="340" y="751"/>
                  </a:lnTo>
                  <a:lnTo>
                    <a:pt x="347" y="739"/>
                  </a:lnTo>
                  <a:lnTo>
                    <a:pt x="352" y="726"/>
                  </a:lnTo>
                  <a:lnTo>
                    <a:pt x="359" y="713"/>
                  </a:lnTo>
                  <a:lnTo>
                    <a:pt x="366" y="701"/>
                  </a:lnTo>
                  <a:lnTo>
                    <a:pt x="376" y="688"/>
                  </a:lnTo>
                  <a:lnTo>
                    <a:pt x="388" y="672"/>
                  </a:lnTo>
                  <a:lnTo>
                    <a:pt x="398" y="657"/>
                  </a:lnTo>
                  <a:lnTo>
                    <a:pt x="406" y="642"/>
                  </a:lnTo>
                  <a:lnTo>
                    <a:pt x="412" y="626"/>
                  </a:lnTo>
                  <a:lnTo>
                    <a:pt x="417" y="609"/>
                  </a:lnTo>
                  <a:lnTo>
                    <a:pt x="421" y="592"/>
                  </a:lnTo>
                  <a:lnTo>
                    <a:pt x="426" y="574"/>
                  </a:lnTo>
                  <a:lnTo>
                    <a:pt x="429" y="553"/>
                  </a:lnTo>
                  <a:lnTo>
                    <a:pt x="436" y="526"/>
                  </a:lnTo>
                  <a:lnTo>
                    <a:pt x="445" y="503"/>
                  </a:lnTo>
                  <a:lnTo>
                    <a:pt x="448" y="491"/>
                  </a:lnTo>
                  <a:lnTo>
                    <a:pt x="452" y="478"/>
                  </a:lnTo>
                  <a:lnTo>
                    <a:pt x="454" y="465"/>
                  </a:lnTo>
                  <a:lnTo>
                    <a:pt x="455" y="450"/>
                  </a:lnTo>
                  <a:lnTo>
                    <a:pt x="454" y="437"/>
                  </a:lnTo>
                  <a:lnTo>
                    <a:pt x="452" y="426"/>
                  </a:lnTo>
                  <a:lnTo>
                    <a:pt x="449" y="415"/>
                  </a:lnTo>
                  <a:lnTo>
                    <a:pt x="446" y="402"/>
                  </a:lnTo>
                  <a:lnTo>
                    <a:pt x="460" y="391"/>
                  </a:lnTo>
                  <a:lnTo>
                    <a:pt x="474" y="379"/>
                  </a:lnTo>
                  <a:lnTo>
                    <a:pt x="490" y="373"/>
                  </a:lnTo>
                  <a:lnTo>
                    <a:pt x="506" y="368"/>
                  </a:lnTo>
                  <a:lnTo>
                    <a:pt x="512" y="363"/>
                  </a:lnTo>
                  <a:lnTo>
                    <a:pt x="517" y="359"/>
                  </a:lnTo>
                  <a:lnTo>
                    <a:pt x="519" y="356"/>
                  </a:lnTo>
                  <a:lnTo>
                    <a:pt x="521" y="352"/>
                  </a:lnTo>
                  <a:lnTo>
                    <a:pt x="522" y="349"/>
                  </a:lnTo>
                  <a:lnTo>
                    <a:pt x="522" y="345"/>
                  </a:lnTo>
                  <a:lnTo>
                    <a:pt x="522" y="338"/>
                  </a:lnTo>
                  <a:lnTo>
                    <a:pt x="521" y="332"/>
                  </a:lnTo>
                  <a:lnTo>
                    <a:pt x="519" y="327"/>
                  </a:lnTo>
                  <a:lnTo>
                    <a:pt x="516" y="321"/>
                  </a:lnTo>
                  <a:lnTo>
                    <a:pt x="511" y="310"/>
                  </a:lnTo>
                  <a:lnTo>
                    <a:pt x="504" y="301"/>
                  </a:lnTo>
                  <a:lnTo>
                    <a:pt x="499" y="291"/>
                  </a:lnTo>
                  <a:lnTo>
                    <a:pt x="494" y="280"/>
                  </a:lnTo>
                  <a:lnTo>
                    <a:pt x="492" y="275"/>
                  </a:lnTo>
                  <a:lnTo>
                    <a:pt x="489" y="269"/>
                  </a:lnTo>
                  <a:lnTo>
                    <a:pt x="488" y="263"/>
                  </a:lnTo>
                  <a:lnTo>
                    <a:pt x="488" y="256"/>
                  </a:lnTo>
                  <a:lnTo>
                    <a:pt x="488" y="253"/>
                  </a:lnTo>
                  <a:lnTo>
                    <a:pt x="489" y="250"/>
                  </a:lnTo>
                  <a:lnTo>
                    <a:pt x="490" y="247"/>
                  </a:lnTo>
                  <a:lnTo>
                    <a:pt x="493" y="244"/>
                  </a:lnTo>
                  <a:lnTo>
                    <a:pt x="497" y="239"/>
                  </a:lnTo>
                  <a:lnTo>
                    <a:pt x="502" y="236"/>
                  </a:lnTo>
                  <a:lnTo>
                    <a:pt x="508" y="231"/>
                  </a:lnTo>
                  <a:lnTo>
                    <a:pt x="514" y="227"/>
                  </a:lnTo>
                  <a:lnTo>
                    <a:pt x="520" y="223"/>
                  </a:lnTo>
                  <a:lnTo>
                    <a:pt x="524" y="217"/>
                  </a:lnTo>
                  <a:lnTo>
                    <a:pt x="535" y="203"/>
                  </a:lnTo>
                  <a:lnTo>
                    <a:pt x="543" y="190"/>
                  </a:lnTo>
                  <a:lnTo>
                    <a:pt x="548" y="184"/>
                  </a:lnTo>
                  <a:lnTo>
                    <a:pt x="551" y="177"/>
                  </a:lnTo>
                  <a:lnTo>
                    <a:pt x="555" y="170"/>
                  </a:lnTo>
                  <a:lnTo>
                    <a:pt x="558" y="161"/>
                  </a:lnTo>
                  <a:lnTo>
                    <a:pt x="568" y="132"/>
                  </a:lnTo>
                  <a:lnTo>
                    <a:pt x="579" y="106"/>
                  </a:lnTo>
                  <a:lnTo>
                    <a:pt x="584" y="94"/>
                  </a:lnTo>
                  <a:lnTo>
                    <a:pt x="591" y="81"/>
                  </a:lnTo>
                  <a:lnTo>
                    <a:pt x="600" y="68"/>
                  </a:lnTo>
                  <a:lnTo>
                    <a:pt x="608" y="54"/>
                  </a:lnTo>
                  <a:lnTo>
                    <a:pt x="616" y="47"/>
                  </a:lnTo>
                  <a:lnTo>
                    <a:pt x="623" y="40"/>
                  </a:lnTo>
                  <a:lnTo>
                    <a:pt x="631" y="36"/>
                  </a:lnTo>
                  <a:lnTo>
                    <a:pt x="641" y="33"/>
                  </a:lnTo>
                  <a:lnTo>
                    <a:pt x="660" y="28"/>
                  </a:lnTo>
                  <a:lnTo>
                    <a:pt x="682" y="24"/>
                  </a:lnTo>
                  <a:lnTo>
                    <a:pt x="712" y="17"/>
                  </a:lnTo>
                  <a:lnTo>
                    <a:pt x="732" y="10"/>
                  </a:lnTo>
                  <a:lnTo>
                    <a:pt x="753" y="6"/>
                  </a:lnTo>
                  <a:lnTo>
                    <a:pt x="783" y="0"/>
                  </a:lnTo>
                  <a:lnTo>
                    <a:pt x="783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53">
              <a:extLst>
                <a:ext uri="{FF2B5EF4-FFF2-40B4-BE49-F238E27FC236}">
                  <a16:creationId xmlns:a16="http://schemas.microsoft.com/office/drawing/2014/main" id="{CAA3B1B2-AAF4-47B9-AAB4-2892A3AD4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2638" y="3508376"/>
              <a:ext cx="1784350" cy="1416050"/>
            </a:xfrm>
            <a:custGeom>
              <a:avLst/>
              <a:gdLst>
                <a:gd name="T0" fmla="*/ 1564 w 4499"/>
                <a:gd name="T1" fmla="*/ 857 h 3567"/>
                <a:gd name="T2" fmla="*/ 1587 w 4499"/>
                <a:gd name="T3" fmla="*/ 1022 h 3567"/>
                <a:gd name="T4" fmla="*/ 1494 w 4499"/>
                <a:gd name="T5" fmla="*/ 1237 h 3567"/>
                <a:gd name="T6" fmla="*/ 1503 w 4499"/>
                <a:gd name="T7" fmla="*/ 1420 h 3567"/>
                <a:gd name="T8" fmla="*/ 1359 w 4499"/>
                <a:gd name="T9" fmla="*/ 1624 h 3567"/>
                <a:gd name="T10" fmla="*/ 1173 w 4499"/>
                <a:gd name="T11" fmla="*/ 1651 h 3567"/>
                <a:gd name="T12" fmla="*/ 872 w 4499"/>
                <a:gd name="T13" fmla="*/ 1643 h 3567"/>
                <a:gd name="T14" fmla="*/ 751 w 4499"/>
                <a:gd name="T15" fmla="*/ 1645 h 3567"/>
                <a:gd name="T16" fmla="*/ 630 w 4499"/>
                <a:gd name="T17" fmla="*/ 1667 h 3567"/>
                <a:gd name="T18" fmla="*/ 399 w 4499"/>
                <a:gd name="T19" fmla="*/ 1739 h 3567"/>
                <a:gd name="T20" fmla="*/ 213 w 4499"/>
                <a:gd name="T21" fmla="*/ 1838 h 3567"/>
                <a:gd name="T22" fmla="*/ 113 w 4499"/>
                <a:gd name="T23" fmla="*/ 1921 h 3567"/>
                <a:gd name="T24" fmla="*/ 1 w 4499"/>
                <a:gd name="T25" fmla="*/ 2123 h 3567"/>
                <a:gd name="T26" fmla="*/ 94 w 4499"/>
                <a:gd name="T27" fmla="*/ 2170 h 3567"/>
                <a:gd name="T28" fmla="*/ 443 w 4499"/>
                <a:gd name="T29" fmla="*/ 2214 h 3567"/>
                <a:gd name="T30" fmla="*/ 622 w 4499"/>
                <a:gd name="T31" fmla="*/ 2279 h 3567"/>
                <a:gd name="T32" fmla="*/ 635 w 4499"/>
                <a:gd name="T33" fmla="*/ 2415 h 3567"/>
                <a:gd name="T34" fmla="*/ 723 w 4499"/>
                <a:gd name="T35" fmla="*/ 2388 h 3567"/>
                <a:gd name="T36" fmla="*/ 923 w 4499"/>
                <a:gd name="T37" fmla="*/ 2380 h 3567"/>
                <a:gd name="T38" fmla="*/ 1148 w 4499"/>
                <a:gd name="T39" fmla="*/ 2369 h 3567"/>
                <a:gd name="T40" fmla="*/ 1277 w 4499"/>
                <a:gd name="T41" fmla="*/ 2352 h 3567"/>
                <a:gd name="T42" fmla="*/ 1425 w 4499"/>
                <a:gd name="T43" fmla="*/ 2403 h 3567"/>
                <a:gd name="T44" fmla="*/ 1450 w 4499"/>
                <a:gd name="T45" fmla="*/ 2573 h 3567"/>
                <a:gd name="T46" fmla="*/ 1472 w 4499"/>
                <a:gd name="T47" fmla="*/ 2879 h 3567"/>
                <a:gd name="T48" fmla="*/ 1629 w 4499"/>
                <a:gd name="T49" fmla="*/ 2930 h 3567"/>
                <a:gd name="T50" fmla="*/ 1630 w 4499"/>
                <a:gd name="T51" fmla="*/ 3368 h 3567"/>
                <a:gd name="T52" fmla="*/ 1683 w 4499"/>
                <a:gd name="T53" fmla="*/ 3549 h 3567"/>
                <a:gd name="T54" fmla="*/ 1842 w 4499"/>
                <a:gd name="T55" fmla="*/ 3511 h 3567"/>
                <a:gd name="T56" fmla="*/ 1923 w 4499"/>
                <a:gd name="T57" fmla="*/ 3479 h 3567"/>
                <a:gd name="T58" fmla="*/ 2103 w 4499"/>
                <a:gd name="T59" fmla="*/ 3444 h 3567"/>
                <a:gd name="T60" fmla="*/ 2370 w 4499"/>
                <a:gd name="T61" fmla="*/ 3419 h 3567"/>
                <a:gd name="T62" fmla="*/ 2900 w 4499"/>
                <a:gd name="T63" fmla="*/ 3348 h 3567"/>
                <a:gd name="T64" fmla="*/ 3218 w 4499"/>
                <a:gd name="T65" fmla="*/ 3287 h 3567"/>
                <a:gd name="T66" fmla="*/ 3338 w 4499"/>
                <a:gd name="T67" fmla="*/ 2989 h 3567"/>
                <a:gd name="T68" fmla="*/ 3504 w 4499"/>
                <a:gd name="T69" fmla="*/ 2881 h 3567"/>
                <a:gd name="T70" fmla="*/ 3553 w 4499"/>
                <a:gd name="T71" fmla="*/ 2692 h 3567"/>
                <a:gd name="T72" fmla="*/ 3809 w 4499"/>
                <a:gd name="T73" fmla="*/ 2539 h 3567"/>
                <a:gd name="T74" fmla="*/ 3920 w 4499"/>
                <a:gd name="T75" fmla="*/ 2313 h 3567"/>
                <a:gd name="T76" fmla="*/ 4010 w 4499"/>
                <a:gd name="T77" fmla="*/ 2116 h 3567"/>
                <a:gd name="T78" fmla="*/ 3980 w 4499"/>
                <a:gd name="T79" fmla="*/ 2010 h 3567"/>
                <a:gd name="T80" fmla="*/ 4075 w 4499"/>
                <a:gd name="T81" fmla="*/ 1854 h 3567"/>
                <a:gd name="T82" fmla="*/ 4270 w 4499"/>
                <a:gd name="T83" fmla="*/ 1738 h 3567"/>
                <a:gd name="T84" fmla="*/ 4318 w 4499"/>
                <a:gd name="T85" fmla="*/ 1529 h 3567"/>
                <a:gd name="T86" fmla="*/ 4433 w 4499"/>
                <a:gd name="T87" fmla="*/ 1220 h 3567"/>
                <a:gd name="T88" fmla="*/ 4476 w 4499"/>
                <a:gd name="T89" fmla="*/ 984 h 3567"/>
                <a:gd name="T90" fmla="*/ 4261 w 4499"/>
                <a:gd name="T91" fmla="*/ 819 h 3567"/>
                <a:gd name="T92" fmla="*/ 4069 w 4499"/>
                <a:gd name="T93" fmla="*/ 792 h 3567"/>
                <a:gd name="T94" fmla="*/ 3954 w 4499"/>
                <a:gd name="T95" fmla="*/ 677 h 3567"/>
                <a:gd name="T96" fmla="*/ 3750 w 4499"/>
                <a:gd name="T97" fmla="*/ 546 h 3567"/>
                <a:gd name="T98" fmla="*/ 3552 w 4499"/>
                <a:gd name="T99" fmla="*/ 430 h 3567"/>
                <a:gd name="T100" fmla="*/ 3301 w 4499"/>
                <a:gd name="T101" fmla="*/ 240 h 3567"/>
                <a:gd name="T102" fmla="*/ 3156 w 4499"/>
                <a:gd name="T103" fmla="*/ 257 h 3567"/>
                <a:gd name="T104" fmla="*/ 3015 w 4499"/>
                <a:gd name="T105" fmla="*/ 175 h 3567"/>
                <a:gd name="T106" fmla="*/ 3042 w 4499"/>
                <a:gd name="T107" fmla="*/ 31 h 3567"/>
                <a:gd name="T108" fmla="*/ 2860 w 4499"/>
                <a:gd name="T109" fmla="*/ 8 h 3567"/>
                <a:gd name="T110" fmla="*/ 2663 w 4499"/>
                <a:gd name="T111" fmla="*/ 93 h 3567"/>
                <a:gd name="T112" fmla="*/ 2286 w 4499"/>
                <a:gd name="T113" fmla="*/ 293 h 3567"/>
                <a:gd name="T114" fmla="*/ 2132 w 4499"/>
                <a:gd name="T115" fmla="*/ 300 h 3567"/>
                <a:gd name="T116" fmla="*/ 1912 w 4499"/>
                <a:gd name="T117" fmla="*/ 194 h 3567"/>
                <a:gd name="T118" fmla="*/ 1755 w 4499"/>
                <a:gd name="T119" fmla="*/ 404 h 3567"/>
                <a:gd name="T120" fmla="*/ 1647 w 4499"/>
                <a:gd name="T121" fmla="*/ 662 h 3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99" h="3567">
                  <a:moveTo>
                    <a:pt x="1633" y="672"/>
                  </a:moveTo>
                  <a:lnTo>
                    <a:pt x="1631" y="684"/>
                  </a:lnTo>
                  <a:lnTo>
                    <a:pt x="1628" y="694"/>
                  </a:lnTo>
                  <a:lnTo>
                    <a:pt x="1625" y="704"/>
                  </a:lnTo>
                  <a:lnTo>
                    <a:pt x="1619" y="714"/>
                  </a:lnTo>
                  <a:lnTo>
                    <a:pt x="1607" y="732"/>
                  </a:lnTo>
                  <a:lnTo>
                    <a:pt x="1593" y="749"/>
                  </a:lnTo>
                  <a:lnTo>
                    <a:pt x="1580" y="767"/>
                  </a:lnTo>
                  <a:lnTo>
                    <a:pt x="1570" y="784"/>
                  </a:lnTo>
                  <a:lnTo>
                    <a:pt x="1565" y="794"/>
                  </a:lnTo>
                  <a:lnTo>
                    <a:pt x="1562" y="805"/>
                  </a:lnTo>
                  <a:lnTo>
                    <a:pt x="1560" y="815"/>
                  </a:lnTo>
                  <a:lnTo>
                    <a:pt x="1559" y="827"/>
                  </a:lnTo>
                  <a:lnTo>
                    <a:pt x="1559" y="835"/>
                  </a:lnTo>
                  <a:lnTo>
                    <a:pt x="1560" y="842"/>
                  </a:lnTo>
                  <a:lnTo>
                    <a:pt x="1562" y="850"/>
                  </a:lnTo>
                  <a:lnTo>
                    <a:pt x="1564" y="857"/>
                  </a:lnTo>
                  <a:lnTo>
                    <a:pt x="1571" y="870"/>
                  </a:lnTo>
                  <a:lnTo>
                    <a:pt x="1577" y="882"/>
                  </a:lnTo>
                  <a:lnTo>
                    <a:pt x="1584" y="895"/>
                  </a:lnTo>
                  <a:lnTo>
                    <a:pt x="1589" y="908"/>
                  </a:lnTo>
                  <a:lnTo>
                    <a:pt x="1591" y="915"/>
                  </a:lnTo>
                  <a:lnTo>
                    <a:pt x="1593" y="922"/>
                  </a:lnTo>
                  <a:lnTo>
                    <a:pt x="1594" y="930"/>
                  </a:lnTo>
                  <a:lnTo>
                    <a:pt x="1596" y="938"/>
                  </a:lnTo>
                  <a:lnTo>
                    <a:pt x="1596" y="954"/>
                  </a:lnTo>
                  <a:lnTo>
                    <a:pt x="1596" y="967"/>
                  </a:lnTo>
                  <a:lnTo>
                    <a:pt x="1596" y="981"/>
                  </a:lnTo>
                  <a:lnTo>
                    <a:pt x="1596" y="996"/>
                  </a:lnTo>
                  <a:lnTo>
                    <a:pt x="1594" y="1001"/>
                  </a:lnTo>
                  <a:lnTo>
                    <a:pt x="1594" y="1005"/>
                  </a:lnTo>
                  <a:lnTo>
                    <a:pt x="1592" y="1010"/>
                  </a:lnTo>
                  <a:lnTo>
                    <a:pt x="1591" y="1014"/>
                  </a:lnTo>
                  <a:lnTo>
                    <a:pt x="1587" y="1022"/>
                  </a:lnTo>
                  <a:lnTo>
                    <a:pt x="1582" y="1028"/>
                  </a:lnTo>
                  <a:lnTo>
                    <a:pt x="1575" y="1036"/>
                  </a:lnTo>
                  <a:lnTo>
                    <a:pt x="1570" y="1042"/>
                  </a:lnTo>
                  <a:lnTo>
                    <a:pt x="1563" y="1051"/>
                  </a:lnTo>
                  <a:lnTo>
                    <a:pt x="1559" y="1059"/>
                  </a:lnTo>
                  <a:lnTo>
                    <a:pt x="1547" y="1086"/>
                  </a:lnTo>
                  <a:lnTo>
                    <a:pt x="1536" y="1111"/>
                  </a:lnTo>
                  <a:lnTo>
                    <a:pt x="1525" y="1135"/>
                  </a:lnTo>
                  <a:lnTo>
                    <a:pt x="1513" y="1163"/>
                  </a:lnTo>
                  <a:lnTo>
                    <a:pt x="1507" y="1177"/>
                  </a:lnTo>
                  <a:lnTo>
                    <a:pt x="1499" y="1190"/>
                  </a:lnTo>
                  <a:lnTo>
                    <a:pt x="1496" y="1197"/>
                  </a:lnTo>
                  <a:lnTo>
                    <a:pt x="1494" y="1203"/>
                  </a:lnTo>
                  <a:lnTo>
                    <a:pt x="1492" y="1211"/>
                  </a:lnTo>
                  <a:lnTo>
                    <a:pt x="1492" y="1219"/>
                  </a:lnTo>
                  <a:lnTo>
                    <a:pt x="1492" y="1229"/>
                  </a:lnTo>
                  <a:lnTo>
                    <a:pt x="1494" y="1237"/>
                  </a:lnTo>
                  <a:lnTo>
                    <a:pt x="1498" y="1244"/>
                  </a:lnTo>
                  <a:lnTo>
                    <a:pt x="1503" y="1251"/>
                  </a:lnTo>
                  <a:lnTo>
                    <a:pt x="1513" y="1262"/>
                  </a:lnTo>
                  <a:lnTo>
                    <a:pt x="1525" y="1278"/>
                  </a:lnTo>
                  <a:lnTo>
                    <a:pt x="1532" y="1292"/>
                  </a:lnTo>
                  <a:lnTo>
                    <a:pt x="1540" y="1304"/>
                  </a:lnTo>
                  <a:lnTo>
                    <a:pt x="1545" y="1309"/>
                  </a:lnTo>
                  <a:lnTo>
                    <a:pt x="1547" y="1315"/>
                  </a:lnTo>
                  <a:lnTo>
                    <a:pt x="1549" y="1322"/>
                  </a:lnTo>
                  <a:lnTo>
                    <a:pt x="1550" y="1329"/>
                  </a:lnTo>
                  <a:lnTo>
                    <a:pt x="1549" y="1341"/>
                  </a:lnTo>
                  <a:lnTo>
                    <a:pt x="1547" y="1352"/>
                  </a:lnTo>
                  <a:lnTo>
                    <a:pt x="1544" y="1362"/>
                  </a:lnTo>
                  <a:lnTo>
                    <a:pt x="1539" y="1372"/>
                  </a:lnTo>
                  <a:lnTo>
                    <a:pt x="1529" y="1389"/>
                  </a:lnTo>
                  <a:lnTo>
                    <a:pt x="1516" y="1404"/>
                  </a:lnTo>
                  <a:lnTo>
                    <a:pt x="1503" y="1420"/>
                  </a:lnTo>
                  <a:lnTo>
                    <a:pt x="1491" y="1437"/>
                  </a:lnTo>
                  <a:lnTo>
                    <a:pt x="1486" y="1447"/>
                  </a:lnTo>
                  <a:lnTo>
                    <a:pt x="1483" y="1457"/>
                  </a:lnTo>
                  <a:lnTo>
                    <a:pt x="1481" y="1468"/>
                  </a:lnTo>
                  <a:lnTo>
                    <a:pt x="1480" y="1480"/>
                  </a:lnTo>
                  <a:lnTo>
                    <a:pt x="1480" y="1508"/>
                  </a:lnTo>
                  <a:lnTo>
                    <a:pt x="1480" y="1532"/>
                  </a:lnTo>
                  <a:lnTo>
                    <a:pt x="1480" y="1557"/>
                  </a:lnTo>
                  <a:lnTo>
                    <a:pt x="1480" y="1586"/>
                  </a:lnTo>
                  <a:lnTo>
                    <a:pt x="1468" y="1586"/>
                  </a:lnTo>
                  <a:lnTo>
                    <a:pt x="1456" y="1588"/>
                  </a:lnTo>
                  <a:lnTo>
                    <a:pt x="1445" y="1589"/>
                  </a:lnTo>
                  <a:lnTo>
                    <a:pt x="1435" y="1591"/>
                  </a:lnTo>
                  <a:lnTo>
                    <a:pt x="1414" y="1597"/>
                  </a:lnTo>
                  <a:lnTo>
                    <a:pt x="1396" y="1605"/>
                  </a:lnTo>
                  <a:lnTo>
                    <a:pt x="1377" y="1613"/>
                  </a:lnTo>
                  <a:lnTo>
                    <a:pt x="1359" y="1624"/>
                  </a:lnTo>
                  <a:lnTo>
                    <a:pt x="1339" y="1636"/>
                  </a:lnTo>
                  <a:lnTo>
                    <a:pt x="1318" y="1648"/>
                  </a:lnTo>
                  <a:lnTo>
                    <a:pt x="1302" y="1658"/>
                  </a:lnTo>
                  <a:lnTo>
                    <a:pt x="1287" y="1669"/>
                  </a:lnTo>
                  <a:lnTo>
                    <a:pt x="1279" y="1672"/>
                  </a:lnTo>
                  <a:lnTo>
                    <a:pt x="1272" y="1676"/>
                  </a:lnTo>
                  <a:lnTo>
                    <a:pt x="1263" y="1678"/>
                  </a:lnTo>
                  <a:lnTo>
                    <a:pt x="1253" y="1678"/>
                  </a:lnTo>
                  <a:lnTo>
                    <a:pt x="1246" y="1678"/>
                  </a:lnTo>
                  <a:lnTo>
                    <a:pt x="1239" y="1676"/>
                  </a:lnTo>
                  <a:lnTo>
                    <a:pt x="1234" y="1673"/>
                  </a:lnTo>
                  <a:lnTo>
                    <a:pt x="1227" y="1669"/>
                  </a:lnTo>
                  <a:lnTo>
                    <a:pt x="1222" y="1665"/>
                  </a:lnTo>
                  <a:lnTo>
                    <a:pt x="1216" y="1661"/>
                  </a:lnTo>
                  <a:lnTo>
                    <a:pt x="1210" y="1658"/>
                  </a:lnTo>
                  <a:lnTo>
                    <a:pt x="1202" y="1657"/>
                  </a:lnTo>
                  <a:lnTo>
                    <a:pt x="1173" y="1651"/>
                  </a:lnTo>
                  <a:lnTo>
                    <a:pt x="1147" y="1649"/>
                  </a:lnTo>
                  <a:lnTo>
                    <a:pt x="1120" y="1648"/>
                  </a:lnTo>
                  <a:lnTo>
                    <a:pt x="1091" y="1648"/>
                  </a:lnTo>
                  <a:lnTo>
                    <a:pt x="1068" y="1649"/>
                  </a:lnTo>
                  <a:lnTo>
                    <a:pt x="1048" y="1652"/>
                  </a:lnTo>
                  <a:lnTo>
                    <a:pt x="1029" y="1655"/>
                  </a:lnTo>
                  <a:lnTo>
                    <a:pt x="1006" y="1657"/>
                  </a:lnTo>
                  <a:lnTo>
                    <a:pt x="987" y="1657"/>
                  </a:lnTo>
                  <a:lnTo>
                    <a:pt x="971" y="1657"/>
                  </a:lnTo>
                  <a:lnTo>
                    <a:pt x="955" y="1657"/>
                  </a:lnTo>
                  <a:lnTo>
                    <a:pt x="937" y="1657"/>
                  </a:lnTo>
                  <a:lnTo>
                    <a:pt x="919" y="1656"/>
                  </a:lnTo>
                  <a:lnTo>
                    <a:pt x="903" y="1653"/>
                  </a:lnTo>
                  <a:lnTo>
                    <a:pt x="896" y="1652"/>
                  </a:lnTo>
                  <a:lnTo>
                    <a:pt x="888" y="1649"/>
                  </a:lnTo>
                  <a:lnTo>
                    <a:pt x="881" y="1646"/>
                  </a:lnTo>
                  <a:lnTo>
                    <a:pt x="872" y="1643"/>
                  </a:lnTo>
                  <a:lnTo>
                    <a:pt x="865" y="1637"/>
                  </a:lnTo>
                  <a:lnTo>
                    <a:pt x="859" y="1632"/>
                  </a:lnTo>
                  <a:lnTo>
                    <a:pt x="854" y="1625"/>
                  </a:lnTo>
                  <a:lnTo>
                    <a:pt x="849" y="1620"/>
                  </a:lnTo>
                  <a:lnTo>
                    <a:pt x="844" y="1615"/>
                  </a:lnTo>
                  <a:lnTo>
                    <a:pt x="837" y="1610"/>
                  </a:lnTo>
                  <a:lnTo>
                    <a:pt x="834" y="1608"/>
                  </a:lnTo>
                  <a:lnTo>
                    <a:pt x="831" y="1607"/>
                  </a:lnTo>
                  <a:lnTo>
                    <a:pt x="828" y="1606"/>
                  </a:lnTo>
                  <a:lnTo>
                    <a:pt x="823" y="1606"/>
                  </a:lnTo>
                  <a:lnTo>
                    <a:pt x="815" y="1607"/>
                  </a:lnTo>
                  <a:lnTo>
                    <a:pt x="807" y="1609"/>
                  </a:lnTo>
                  <a:lnTo>
                    <a:pt x="801" y="1612"/>
                  </a:lnTo>
                  <a:lnTo>
                    <a:pt x="794" y="1617"/>
                  </a:lnTo>
                  <a:lnTo>
                    <a:pt x="782" y="1628"/>
                  </a:lnTo>
                  <a:lnTo>
                    <a:pt x="768" y="1636"/>
                  </a:lnTo>
                  <a:lnTo>
                    <a:pt x="751" y="1645"/>
                  </a:lnTo>
                  <a:lnTo>
                    <a:pt x="735" y="1652"/>
                  </a:lnTo>
                  <a:lnTo>
                    <a:pt x="719" y="1659"/>
                  </a:lnTo>
                  <a:lnTo>
                    <a:pt x="701" y="1667"/>
                  </a:lnTo>
                  <a:lnTo>
                    <a:pt x="693" y="1673"/>
                  </a:lnTo>
                  <a:lnTo>
                    <a:pt x="686" y="1679"/>
                  </a:lnTo>
                  <a:lnTo>
                    <a:pt x="681" y="1686"/>
                  </a:lnTo>
                  <a:lnTo>
                    <a:pt x="675" y="1692"/>
                  </a:lnTo>
                  <a:lnTo>
                    <a:pt x="670" y="1700"/>
                  </a:lnTo>
                  <a:lnTo>
                    <a:pt x="665" y="1706"/>
                  </a:lnTo>
                  <a:lnTo>
                    <a:pt x="658" y="1713"/>
                  </a:lnTo>
                  <a:lnTo>
                    <a:pt x="651" y="1718"/>
                  </a:lnTo>
                  <a:lnTo>
                    <a:pt x="649" y="1709"/>
                  </a:lnTo>
                  <a:lnTo>
                    <a:pt x="647" y="1699"/>
                  </a:lnTo>
                  <a:lnTo>
                    <a:pt x="644" y="1689"/>
                  </a:lnTo>
                  <a:lnTo>
                    <a:pt x="641" y="1680"/>
                  </a:lnTo>
                  <a:lnTo>
                    <a:pt x="636" y="1673"/>
                  </a:lnTo>
                  <a:lnTo>
                    <a:pt x="630" y="1667"/>
                  </a:lnTo>
                  <a:lnTo>
                    <a:pt x="627" y="1665"/>
                  </a:lnTo>
                  <a:lnTo>
                    <a:pt x="624" y="1663"/>
                  </a:lnTo>
                  <a:lnTo>
                    <a:pt x="619" y="1662"/>
                  </a:lnTo>
                  <a:lnTo>
                    <a:pt x="614" y="1662"/>
                  </a:lnTo>
                  <a:lnTo>
                    <a:pt x="608" y="1663"/>
                  </a:lnTo>
                  <a:lnTo>
                    <a:pt x="603" y="1664"/>
                  </a:lnTo>
                  <a:lnTo>
                    <a:pt x="599" y="1667"/>
                  </a:lnTo>
                  <a:lnTo>
                    <a:pt x="594" y="1671"/>
                  </a:lnTo>
                  <a:lnTo>
                    <a:pt x="590" y="1675"/>
                  </a:lnTo>
                  <a:lnTo>
                    <a:pt x="586" y="1678"/>
                  </a:lnTo>
                  <a:lnTo>
                    <a:pt x="580" y="1682"/>
                  </a:lnTo>
                  <a:lnTo>
                    <a:pt x="575" y="1685"/>
                  </a:lnTo>
                  <a:lnTo>
                    <a:pt x="537" y="1698"/>
                  </a:lnTo>
                  <a:lnTo>
                    <a:pt x="503" y="1710"/>
                  </a:lnTo>
                  <a:lnTo>
                    <a:pt x="469" y="1723"/>
                  </a:lnTo>
                  <a:lnTo>
                    <a:pt x="432" y="1738"/>
                  </a:lnTo>
                  <a:lnTo>
                    <a:pt x="399" y="1739"/>
                  </a:lnTo>
                  <a:lnTo>
                    <a:pt x="370" y="1740"/>
                  </a:lnTo>
                  <a:lnTo>
                    <a:pt x="342" y="1744"/>
                  </a:lnTo>
                  <a:lnTo>
                    <a:pt x="309" y="1748"/>
                  </a:lnTo>
                  <a:lnTo>
                    <a:pt x="296" y="1751"/>
                  </a:lnTo>
                  <a:lnTo>
                    <a:pt x="285" y="1753"/>
                  </a:lnTo>
                  <a:lnTo>
                    <a:pt x="275" y="1756"/>
                  </a:lnTo>
                  <a:lnTo>
                    <a:pt x="264" y="1760"/>
                  </a:lnTo>
                  <a:lnTo>
                    <a:pt x="260" y="1763"/>
                  </a:lnTo>
                  <a:lnTo>
                    <a:pt x="255" y="1766"/>
                  </a:lnTo>
                  <a:lnTo>
                    <a:pt x="253" y="1770"/>
                  </a:lnTo>
                  <a:lnTo>
                    <a:pt x="250" y="1774"/>
                  </a:lnTo>
                  <a:lnTo>
                    <a:pt x="247" y="1784"/>
                  </a:lnTo>
                  <a:lnTo>
                    <a:pt x="241" y="1794"/>
                  </a:lnTo>
                  <a:lnTo>
                    <a:pt x="235" y="1806"/>
                  </a:lnTo>
                  <a:lnTo>
                    <a:pt x="228" y="1817"/>
                  </a:lnTo>
                  <a:lnTo>
                    <a:pt x="221" y="1827"/>
                  </a:lnTo>
                  <a:lnTo>
                    <a:pt x="213" y="1838"/>
                  </a:lnTo>
                  <a:lnTo>
                    <a:pt x="209" y="1848"/>
                  </a:lnTo>
                  <a:lnTo>
                    <a:pt x="204" y="1855"/>
                  </a:lnTo>
                  <a:lnTo>
                    <a:pt x="200" y="1863"/>
                  </a:lnTo>
                  <a:lnTo>
                    <a:pt x="196" y="1869"/>
                  </a:lnTo>
                  <a:lnTo>
                    <a:pt x="190" y="1875"/>
                  </a:lnTo>
                  <a:lnTo>
                    <a:pt x="184" y="1881"/>
                  </a:lnTo>
                  <a:lnTo>
                    <a:pt x="176" y="1887"/>
                  </a:lnTo>
                  <a:lnTo>
                    <a:pt x="169" y="1892"/>
                  </a:lnTo>
                  <a:lnTo>
                    <a:pt x="159" y="1899"/>
                  </a:lnTo>
                  <a:lnTo>
                    <a:pt x="153" y="1907"/>
                  </a:lnTo>
                  <a:lnTo>
                    <a:pt x="148" y="1912"/>
                  </a:lnTo>
                  <a:lnTo>
                    <a:pt x="145" y="1915"/>
                  </a:lnTo>
                  <a:lnTo>
                    <a:pt x="141" y="1918"/>
                  </a:lnTo>
                  <a:lnTo>
                    <a:pt x="135" y="1920"/>
                  </a:lnTo>
                  <a:lnTo>
                    <a:pt x="126" y="1921"/>
                  </a:lnTo>
                  <a:lnTo>
                    <a:pt x="117" y="1921"/>
                  </a:lnTo>
                  <a:lnTo>
                    <a:pt x="113" y="1921"/>
                  </a:lnTo>
                  <a:lnTo>
                    <a:pt x="109" y="1921"/>
                  </a:lnTo>
                  <a:lnTo>
                    <a:pt x="105" y="1923"/>
                  </a:lnTo>
                  <a:lnTo>
                    <a:pt x="101" y="1926"/>
                  </a:lnTo>
                  <a:lnTo>
                    <a:pt x="92" y="1934"/>
                  </a:lnTo>
                  <a:lnTo>
                    <a:pt x="83" y="1944"/>
                  </a:lnTo>
                  <a:lnTo>
                    <a:pt x="78" y="1954"/>
                  </a:lnTo>
                  <a:lnTo>
                    <a:pt x="73" y="1964"/>
                  </a:lnTo>
                  <a:lnTo>
                    <a:pt x="65" y="1986"/>
                  </a:lnTo>
                  <a:lnTo>
                    <a:pt x="60" y="2012"/>
                  </a:lnTo>
                  <a:lnTo>
                    <a:pt x="60" y="2012"/>
                  </a:lnTo>
                  <a:lnTo>
                    <a:pt x="45" y="2026"/>
                  </a:lnTo>
                  <a:lnTo>
                    <a:pt x="33" y="2040"/>
                  </a:lnTo>
                  <a:lnTo>
                    <a:pt x="22" y="2055"/>
                  </a:lnTo>
                  <a:lnTo>
                    <a:pt x="14" y="2071"/>
                  </a:lnTo>
                  <a:lnTo>
                    <a:pt x="8" y="2088"/>
                  </a:lnTo>
                  <a:lnTo>
                    <a:pt x="4" y="2105"/>
                  </a:lnTo>
                  <a:lnTo>
                    <a:pt x="1" y="2123"/>
                  </a:lnTo>
                  <a:lnTo>
                    <a:pt x="0" y="2144"/>
                  </a:lnTo>
                  <a:lnTo>
                    <a:pt x="1" y="2156"/>
                  </a:lnTo>
                  <a:lnTo>
                    <a:pt x="4" y="2165"/>
                  </a:lnTo>
                  <a:lnTo>
                    <a:pt x="6" y="2175"/>
                  </a:lnTo>
                  <a:lnTo>
                    <a:pt x="9" y="2185"/>
                  </a:lnTo>
                  <a:lnTo>
                    <a:pt x="11" y="2193"/>
                  </a:lnTo>
                  <a:lnTo>
                    <a:pt x="13" y="2203"/>
                  </a:lnTo>
                  <a:lnTo>
                    <a:pt x="14" y="2214"/>
                  </a:lnTo>
                  <a:lnTo>
                    <a:pt x="13" y="2225"/>
                  </a:lnTo>
                  <a:lnTo>
                    <a:pt x="13" y="2225"/>
                  </a:lnTo>
                  <a:lnTo>
                    <a:pt x="22" y="2213"/>
                  </a:lnTo>
                  <a:lnTo>
                    <a:pt x="32" y="2201"/>
                  </a:lnTo>
                  <a:lnTo>
                    <a:pt x="42" y="2191"/>
                  </a:lnTo>
                  <a:lnTo>
                    <a:pt x="54" y="2184"/>
                  </a:lnTo>
                  <a:lnTo>
                    <a:pt x="66" y="2177"/>
                  </a:lnTo>
                  <a:lnTo>
                    <a:pt x="80" y="2173"/>
                  </a:lnTo>
                  <a:lnTo>
                    <a:pt x="94" y="2170"/>
                  </a:lnTo>
                  <a:lnTo>
                    <a:pt x="109" y="2170"/>
                  </a:lnTo>
                  <a:lnTo>
                    <a:pt x="118" y="2170"/>
                  </a:lnTo>
                  <a:lnTo>
                    <a:pt x="126" y="2171"/>
                  </a:lnTo>
                  <a:lnTo>
                    <a:pt x="132" y="2174"/>
                  </a:lnTo>
                  <a:lnTo>
                    <a:pt x="139" y="2176"/>
                  </a:lnTo>
                  <a:lnTo>
                    <a:pt x="152" y="2184"/>
                  </a:lnTo>
                  <a:lnTo>
                    <a:pt x="166" y="2191"/>
                  </a:lnTo>
                  <a:lnTo>
                    <a:pt x="183" y="2198"/>
                  </a:lnTo>
                  <a:lnTo>
                    <a:pt x="198" y="2203"/>
                  </a:lnTo>
                  <a:lnTo>
                    <a:pt x="214" y="2206"/>
                  </a:lnTo>
                  <a:lnTo>
                    <a:pt x="228" y="2210"/>
                  </a:lnTo>
                  <a:lnTo>
                    <a:pt x="260" y="2214"/>
                  </a:lnTo>
                  <a:lnTo>
                    <a:pt x="295" y="2219"/>
                  </a:lnTo>
                  <a:lnTo>
                    <a:pt x="334" y="2218"/>
                  </a:lnTo>
                  <a:lnTo>
                    <a:pt x="369" y="2216"/>
                  </a:lnTo>
                  <a:lnTo>
                    <a:pt x="403" y="2215"/>
                  </a:lnTo>
                  <a:lnTo>
                    <a:pt x="443" y="2214"/>
                  </a:lnTo>
                  <a:lnTo>
                    <a:pt x="470" y="2214"/>
                  </a:lnTo>
                  <a:lnTo>
                    <a:pt x="494" y="2214"/>
                  </a:lnTo>
                  <a:lnTo>
                    <a:pt x="506" y="2214"/>
                  </a:lnTo>
                  <a:lnTo>
                    <a:pt x="518" y="2215"/>
                  </a:lnTo>
                  <a:lnTo>
                    <a:pt x="531" y="2217"/>
                  </a:lnTo>
                  <a:lnTo>
                    <a:pt x="544" y="2219"/>
                  </a:lnTo>
                  <a:lnTo>
                    <a:pt x="555" y="2223"/>
                  </a:lnTo>
                  <a:lnTo>
                    <a:pt x="566" y="2225"/>
                  </a:lnTo>
                  <a:lnTo>
                    <a:pt x="577" y="2228"/>
                  </a:lnTo>
                  <a:lnTo>
                    <a:pt x="589" y="2231"/>
                  </a:lnTo>
                  <a:lnTo>
                    <a:pt x="596" y="2236"/>
                  </a:lnTo>
                  <a:lnTo>
                    <a:pt x="603" y="2241"/>
                  </a:lnTo>
                  <a:lnTo>
                    <a:pt x="608" y="2247"/>
                  </a:lnTo>
                  <a:lnTo>
                    <a:pt x="614" y="2254"/>
                  </a:lnTo>
                  <a:lnTo>
                    <a:pt x="617" y="2261"/>
                  </a:lnTo>
                  <a:lnTo>
                    <a:pt x="620" y="2270"/>
                  </a:lnTo>
                  <a:lnTo>
                    <a:pt x="622" y="2279"/>
                  </a:lnTo>
                  <a:lnTo>
                    <a:pt x="622" y="2286"/>
                  </a:lnTo>
                  <a:lnTo>
                    <a:pt x="622" y="2298"/>
                  </a:lnTo>
                  <a:lnTo>
                    <a:pt x="620" y="2309"/>
                  </a:lnTo>
                  <a:lnTo>
                    <a:pt x="618" y="2319"/>
                  </a:lnTo>
                  <a:lnTo>
                    <a:pt x="616" y="2327"/>
                  </a:lnTo>
                  <a:lnTo>
                    <a:pt x="613" y="2337"/>
                  </a:lnTo>
                  <a:lnTo>
                    <a:pt x="611" y="2347"/>
                  </a:lnTo>
                  <a:lnTo>
                    <a:pt x="609" y="2357"/>
                  </a:lnTo>
                  <a:lnTo>
                    <a:pt x="608" y="2368"/>
                  </a:lnTo>
                  <a:lnTo>
                    <a:pt x="609" y="2373"/>
                  </a:lnTo>
                  <a:lnTo>
                    <a:pt x="611" y="2376"/>
                  </a:lnTo>
                  <a:lnTo>
                    <a:pt x="613" y="2380"/>
                  </a:lnTo>
                  <a:lnTo>
                    <a:pt x="615" y="2382"/>
                  </a:lnTo>
                  <a:lnTo>
                    <a:pt x="620" y="2389"/>
                  </a:lnTo>
                  <a:lnTo>
                    <a:pt x="626" y="2396"/>
                  </a:lnTo>
                  <a:lnTo>
                    <a:pt x="630" y="2405"/>
                  </a:lnTo>
                  <a:lnTo>
                    <a:pt x="635" y="2415"/>
                  </a:lnTo>
                  <a:lnTo>
                    <a:pt x="638" y="2418"/>
                  </a:lnTo>
                  <a:lnTo>
                    <a:pt x="642" y="2421"/>
                  </a:lnTo>
                  <a:lnTo>
                    <a:pt x="645" y="2423"/>
                  </a:lnTo>
                  <a:lnTo>
                    <a:pt x="651" y="2425"/>
                  </a:lnTo>
                  <a:lnTo>
                    <a:pt x="656" y="2423"/>
                  </a:lnTo>
                  <a:lnTo>
                    <a:pt x="661" y="2422"/>
                  </a:lnTo>
                  <a:lnTo>
                    <a:pt x="666" y="2421"/>
                  </a:lnTo>
                  <a:lnTo>
                    <a:pt x="670" y="2418"/>
                  </a:lnTo>
                  <a:lnTo>
                    <a:pt x="678" y="2413"/>
                  </a:lnTo>
                  <a:lnTo>
                    <a:pt x="684" y="2406"/>
                  </a:lnTo>
                  <a:lnTo>
                    <a:pt x="692" y="2400"/>
                  </a:lnTo>
                  <a:lnTo>
                    <a:pt x="699" y="2393"/>
                  </a:lnTo>
                  <a:lnTo>
                    <a:pt x="703" y="2391"/>
                  </a:lnTo>
                  <a:lnTo>
                    <a:pt x="708" y="2389"/>
                  </a:lnTo>
                  <a:lnTo>
                    <a:pt x="712" y="2388"/>
                  </a:lnTo>
                  <a:lnTo>
                    <a:pt x="717" y="2388"/>
                  </a:lnTo>
                  <a:lnTo>
                    <a:pt x="723" y="2388"/>
                  </a:lnTo>
                  <a:lnTo>
                    <a:pt x="728" y="2389"/>
                  </a:lnTo>
                  <a:lnTo>
                    <a:pt x="733" y="2391"/>
                  </a:lnTo>
                  <a:lnTo>
                    <a:pt x="737" y="2393"/>
                  </a:lnTo>
                  <a:lnTo>
                    <a:pt x="744" y="2399"/>
                  </a:lnTo>
                  <a:lnTo>
                    <a:pt x="750" y="2406"/>
                  </a:lnTo>
                  <a:lnTo>
                    <a:pt x="755" y="2415"/>
                  </a:lnTo>
                  <a:lnTo>
                    <a:pt x="761" y="2423"/>
                  </a:lnTo>
                  <a:lnTo>
                    <a:pt x="764" y="2434"/>
                  </a:lnTo>
                  <a:lnTo>
                    <a:pt x="768" y="2444"/>
                  </a:lnTo>
                  <a:lnTo>
                    <a:pt x="801" y="2426"/>
                  </a:lnTo>
                  <a:lnTo>
                    <a:pt x="832" y="2409"/>
                  </a:lnTo>
                  <a:lnTo>
                    <a:pt x="847" y="2403"/>
                  </a:lnTo>
                  <a:lnTo>
                    <a:pt x="862" y="2398"/>
                  </a:lnTo>
                  <a:lnTo>
                    <a:pt x="877" y="2392"/>
                  </a:lnTo>
                  <a:lnTo>
                    <a:pt x="892" y="2387"/>
                  </a:lnTo>
                  <a:lnTo>
                    <a:pt x="908" y="2384"/>
                  </a:lnTo>
                  <a:lnTo>
                    <a:pt x="923" y="2380"/>
                  </a:lnTo>
                  <a:lnTo>
                    <a:pt x="938" y="2377"/>
                  </a:lnTo>
                  <a:lnTo>
                    <a:pt x="955" y="2375"/>
                  </a:lnTo>
                  <a:lnTo>
                    <a:pt x="989" y="2372"/>
                  </a:lnTo>
                  <a:lnTo>
                    <a:pt x="1026" y="2371"/>
                  </a:lnTo>
                  <a:lnTo>
                    <a:pt x="1038" y="2372"/>
                  </a:lnTo>
                  <a:lnTo>
                    <a:pt x="1049" y="2373"/>
                  </a:lnTo>
                  <a:lnTo>
                    <a:pt x="1060" y="2375"/>
                  </a:lnTo>
                  <a:lnTo>
                    <a:pt x="1070" y="2377"/>
                  </a:lnTo>
                  <a:lnTo>
                    <a:pt x="1079" y="2378"/>
                  </a:lnTo>
                  <a:lnTo>
                    <a:pt x="1090" y="2380"/>
                  </a:lnTo>
                  <a:lnTo>
                    <a:pt x="1101" y="2381"/>
                  </a:lnTo>
                  <a:lnTo>
                    <a:pt x="1113" y="2382"/>
                  </a:lnTo>
                  <a:lnTo>
                    <a:pt x="1120" y="2381"/>
                  </a:lnTo>
                  <a:lnTo>
                    <a:pt x="1126" y="2380"/>
                  </a:lnTo>
                  <a:lnTo>
                    <a:pt x="1132" y="2378"/>
                  </a:lnTo>
                  <a:lnTo>
                    <a:pt x="1138" y="2376"/>
                  </a:lnTo>
                  <a:lnTo>
                    <a:pt x="1148" y="2369"/>
                  </a:lnTo>
                  <a:lnTo>
                    <a:pt x="1158" y="2363"/>
                  </a:lnTo>
                  <a:lnTo>
                    <a:pt x="1168" y="2355"/>
                  </a:lnTo>
                  <a:lnTo>
                    <a:pt x="1178" y="2349"/>
                  </a:lnTo>
                  <a:lnTo>
                    <a:pt x="1184" y="2347"/>
                  </a:lnTo>
                  <a:lnTo>
                    <a:pt x="1189" y="2345"/>
                  </a:lnTo>
                  <a:lnTo>
                    <a:pt x="1196" y="2344"/>
                  </a:lnTo>
                  <a:lnTo>
                    <a:pt x="1202" y="2342"/>
                  </a:lnTo>
                  <a:lnTo>
                    <a:pt x="1210" y="2344"/>
                  </a:lnTo>
                  <a:lnTo>
                    <a:pt x="1216" y="2345"/>
                  </a:lnTo>
                  <a:lnTo>
                    <a:pt x="1223" y="2347"/>
                  </a:lnTo>
                  <a:lnTo>
                    <a:pt x="1228" y="2349"/>
                  </a:lnTo>
                  <a:lnTo>
                    <a:pt x="1235" y="2350"/>
                  </a:lnTo>
                  <a:lnTo>
                    <a:pt x="1241" y="2352"/>
                  </a:lnTo>
                  <a:lnTo>
                    <a:pt x="1248" y="2353"/>
                  </a:lnTo>
                  <a:lnTo>
                    <a:pt x="1254" y="2354"/>
                  </a:lnTo>
                  <a:lnTo>
                    <a:pt x="1266" y="2353"/>
                  </a:lnTo>
                  <a:lnTo>
                    <a:pt x="1277" y="2352"/>
                  </a:lnTo>
                  <a:lnTo>
                    <a:pt x="1288" y="2350"/>
                  </a:lnTo>
                  <a:lnTo>
                    <a:pt x="1297" y="2349"/>
                  </a:lnTo>
                  <a:lnTo>
                    <a:pt x="1307" y="2347"/>
                  </a:lnTo>
                  <a:lnTo>
                    <a:pt x="1317" y="2345"/>
                  </a:lnTo>
                  <a:lnTo>
                    <a:pt x="1328" y="2344"/>
                  </a:lnTo>
                  <a:lnTo>
                    <a:pt x="1340" y="2342"/>
                  </a:lnTo>
                  <a:lnTo>
                    <a:pt x="1350" y="2344"/>
                  </a:lnTo>
                  <a:lnTo>
                    <a:pt x="1361" y="2346"/>
                  </a:lnTo>
                  <a:lnTo>
                    <a:pt x="1370" y="2348"/>
                  </a:lnTo>
                  <a:lnTo>
                    <a:pt x="1380" y="2352"/>
                  </a:lnTo>
                  <a:lnTo>
                    <a:pt x="1388" y="2358"/>
                  </a:lnTo>
                  <a:lnTo>
                    <a:pt x="1396" y="2363"/>
                  </a:lnTo>
                  <a:lnTo>
                    <a:pt x="1402" y="2369"/>
                  </a:lnTo>
                  <a:lnTo>
                    <a:pt x="1410" y="2377"/>
                  </a:lnTo>
                  <a:lnTo>
                    <a:pt x="1415" y="2385"/>
                  </a:lnTo>
                  <a:lnTo>
                    <a:pt x="1421" y="2394"/>
                  </a:lnTo>
                  <a:lnTo>
                    <a:pt x="1425" y="2403"/>
                  </a:lnTo>
                  <a:lnTo>
                    <a:pt x="1428" y="2413"/>
                  </a:lnTo>
                  <a:lnTo>
                    <a:pt x="1431" y="2422"/>
                  </a:lnTo>
                  <a:lnTo>
                    <a:pt x="1434" y="2433"/>
                  </a:lnTo>
                  <a:lnTo>
                    <a:pt x="1435" y="2444"/>
                  </a:lnTo>
                  <a:lnTo>
                    <a:pt x="1436" y="2455"/>
                  </a:lnTo>
                  <a:lnTo>
                    <a:pt x="1436" y="2473"/>
                  </a:lnTo>
                  <a:lnTo>
                    <a:pt x="1436" y="2490"/>
                  </a:lnTo>
                  <a:lnTo>
                    <a:pt x="1436" y="2507"/>
                  </a:lnTo>
                  <a:lnTo>
                    <a:pt x="1436" y="2526"/>
                  </a:lnTo>
                  <a:lnTo>
                    <a:pt x="1436" y="2533"/>
                  </a:lnTo>
                  <a:lnTo>
                    <a:pt x="1438" y="2538"/>
                  </a:lnTo>
                  <a:lnTo>
                    <a:pt x="1440" y="2544"/>
                  </a:lnTo>
                  <a:lnTo>
                    <a:pt x="1442" y="2549"/>
                  </a:lnTo>
                  <a:lnTo>
                    <a:pt x="1445" y="2554"/>
                  </a:lnTo>
                  <a:lnTo>
                    <a:pt x="1448" y="2560"/>
                  </a:lnTo>
                  <a:lnTo>
                    <a:pt x="1449" y="2566"/>
                  </a:lnTo>
                  <a:lnTo>
                    <a:pt x="1450" y="2573"/>
                  </a:lnTo>
                  <a:lnTo>
                    <a:pt x="1449" y="2593"/>
                  </a:lnTo>
                  <a:lnTo>
                    <a:pt x="1445" y="2611"/>
                  </a:lnTo>
                  <a:lnTo>
                    <a:pt x="1442" y="2629"/>
                  </a:lnTo>
                  <a:lnTo>
                    <a:pt x="1438" y="2646"/>
                  </a:lnTo>
                  <a:lnTo>
                    <a:pt x="1434" y="2662"/>
                  </a:lnTo>
                  <a:lnTo>
                    <a:pt x="1430" y="2679"/>
                  </a:lnTo>
                  <a:lnTo>
                    <a:pt x="1428" y="2698"/>
                  </a:lnTo>
                  <a:lnTo>
                    <a:pt x="1427" y="2718"/>
                  </a:lnTo>
                  <a:lnTo>
                    <a:pt x="1427" y="2735"/>
                  </a:lnTo>
                  <a:lnTo>
                    <a:pt x="1429" y="2751"/>
                  </a:lnTo>
                  <a:lnTo>
                    <a:pt x="1431" y="2765"/>
                  </a:lnTo>
                  <a:lnTo>
                    <a:pt x="1435" y="2779"/>
                  </a:lnTo>
                  <a:lnTo>
                    <a:pt x="1441" y="2808"/>
                  </a:lnTo>
                  <a:lnTo>
                    <a:pt x="1450" y="2839"/>
                  </a:lnTo>
                  <a:lnTo>
                    <a:pt x="1456" y="2853"/>
                  </a:lnTo>
                  <a:lnTo>
                    <a:pt x="1464" y="2867"/>
                  </a:lnTo>
                  <a:lnTo>
                    <a:pt x="1472" y="2879"/>
                  </a:lnTo>
                  <a:lnTo>
                    <a:pt x="1481" y="2891"/>
                  </a:lnTo>
                  <a:lnTo>
                    <a:pt x="1485" y="2895"/>
                  </a:lnTo>
                  <a:lnTo>
                    <a:pt x="1491" y="2901"/>
                  </a:lnTo>
                  <a:lnTo>
                    <a:pt x="1496" y="2904"/>
                  </a:lnTo>
                  <a:lnTo>
                    <a:pt x="1503" y="2908"/>
                  </a:lnTo>
                  <a:lnTo>
                    <a:pt x="1509" y="2912"/>
                  </a:lnTo>
                  <a:lnTo>
                    <a:pt x="1516" y="2914"/>
                  </a:lnTo>
                  <a:lnTo>
                    <a:pt x="1523" y="2916"/>
                  </a:lnTo>
                  <a:lnTo>
                    <a:pt x="1531" y="2917"/>
                  </a:lnTo>
                  <a:lnTo>
                    <a:pt x="1562" y="2919"/>
                  </a:lnTo>
                  <a:lnTo>
                    <a:pt x="1590" y="2918"/>
                  </a:lnTo>
                  <a:lnTo>
                    <a:pt x="1598" y="2919"/>
                  </a:lnTo>
                  <a:lnTo>
                    <a:pt x="1604" y="2920"/>
                  </a:lnTo>
                  <a:lnTo>
                    <a:pt x="1611" y="2921"/>
                  </a:lnTo>
                  <a:lnTo>
                    <a:pt x="1617" y="2924"/>
                  </a:lnTo>
                  <a:lnTo>
                    <a:pt x="1623" y="2926"/>
                  </a:lnTo>
                  <a:lnTo>
                    <a:pt x="1629" y="2930"/>
                  </a:lnTo>
                  <a:lnTo>
                    <a:pt x="1634" y="2934"/>
                  </a:lnTo>
                  <a:lnTo>
                    <a:pt x="1640" y="2940"/>
                  </a:lnTo>
                  <a:lnTo>
                    <a:pt x="1648" y="2951"/>
                  </a:lnTo>
                  <a:lnTo>
                    <a:pt x="1655" y="2962"/>
                  </a:lnTo>
                  <a:lnTo>
                    <a:pt x="1659" y="2973"/>
                  </a:lnTo>
                  <a:lnTo>
                    <a:pt x="1661" y="2985"/>
                  </a:lnTo>
                  <a:lnTo>
                    <a:pt x="1665" y="3010"/>
                  </a:lnTo>
                  <a:lnTo>
                    <a:pt x="1668" y="3038"/>
                  </a:lnTo>
                  <a:lnTo>
                    <a:pt x="1559" y="3312"/>
                  </a:lnTo>
                  <a:lnTo>
                    <a:pt x="1564" y="3321"/>
                  </a:lnTo>
                  <a:lnTo>
                    <a:pt x="1570" y="3327"/>
                  </a:lnTo>
                  <a:lnTo>
                    <a:pt x="1576" y="3333"/>
                  </a:lnTo>
                  <a:lnTo>
                    <a:pt x="1583" y="3337"/>
                  </a:lnTo>
                  <a:lnTo>
                    <a:pt x="1599" y="3345"/>
                  </a:lnTo>
                  <a:lnTo>
                    <a:pt x="1615" y="3354"/>
                  </a:lnTo>
                  <a:lnTo>
                    <a:pt x="1623" y="3361"/>
                  </a:lnTo>
                  <a:lnTo>
                    <a:pt x="1630" y="3368"/>
                  </a:lnTo>
                  <a:lnTo>
                    <a:pt x="1634" y="3376"/>
                  </a:lnTo>
                  <a:lnTo>
                    <a:pt x="1639" y="3385"/>
                  </a:lnTo>
                  <a:lnTo>
                    <a:pt x="1642" y="3393"/>
                  </a:lnTo>
                  <a:lnTo>
                    <a:pt x="1644" y="3403"/>
                  </a:lnTo>
                  <a:lnTo>
                    <a:pt x="1645" y="3413"/>
                  </a:lnTo>
                  <a:lnTo>
                    <a:pt x="1645" y="3424"/>
                  </a:lnTo>
                  <a:lnTo>
                    <a:pt x="1645" y="3442"/>
                  </a:lnTo>
                  <a:lnTo>
                    <a:pt x="1645" y="3458"/>
                  </a:lnTo>
                  <a:lnTo>
                    <a:pt x="1645" y="3474"/>
                  </a:lnTo>
                  <a:lnTo>
                    <a:pt x="1645" y="3493"/>
                  </a:lnTo>
                  <a:lnTo>
                    <a:pt x="1646" y="3503"/>
                  </a:lnTo>
                  <a:lnTo>
                    <a:pt x="1650" y="3513"/>
                  </a:lnTo>
                  <a:lnTo>
                    <a:pt x="1653" y="3523"/>
                  </a:lnTo>
                  <a:lnTo>
                    <a:pt x="1659" y="3530"/>
                  </a:lnTo>
                  <a:lnTo>
                    <a:pt x="1666" y="3537"/>
                  </a:lnTo>
                  <a:lnTo>
                    <a:pt x="1673" y="3543"/>
                  </a:lnTo>
                  <a:lnTo>
                    <a:pt x="1683" y="3549"/>
                  </a:lnTo>
                  <a:lnTo>
                    <a:pt x="1693" y="3553"/>
                  </a:lnTo>
                  <a:lnTo>
                    <a:pt x="1704" y="3557"/>
                  </a:lnTo>
                  <a:lnTo>
                    <a:pt x="1714" y="3560"/>
                  </a:lnTo>
                  <a:lnTo>
                    <a:pt x="1726" y="3563"/>
                  </a:lnTo>
                  <a:lnTo>
                    <a:pt x="1738" y="3565"/>
                  </a:lnTo>
                  <a:lnTo>
                    <a:pt x="1762" y="3567"/>
                  </a:lnTo>
                  <a:lnTo>
                    <a:pt x="1786" y="3567"/>
                  </a:lnTo>
                  <a:lnTo>
                    <a:pt x="1791" y="3567"/>
                  </a:lnTo>
                  <a:lnTo>
                    <a:pt x="1796" y="3566"/>
                  </a:lnTo>
                  <a:lnTo>
                    <a:pt x="1801" y="3565"/>
                  </a:lnTo>
                  <a:lnTo>
                    <a:pt x="1806" y="3563"/>
                  </a:lnTo>
                  <a:lnTo>
                    <a:pt x="1814" y="3557"/>
                  </a:lnTo>
                  <a:lnTo>
                    <a:pt x="1820" y="3550"/>
                  </a:lnTo>
                  <a:lnTo>
                    <a:pt x="1827" y="3541"/>
                  </a:lnTo>
                  <a:lnTo>
                    <a:pt x="1832" y="3532"/>
                  </a:lnTo>
                  <a:lnTo>
                    <a:pt x="1838" y="3522"/>
                  </a:lnTo>
                  <a:lnTo>
                    <a:pt x="1842" y="3511"/>
                  </a:lnTo>
                  <a:lnTo>
                    <a:pt x="1846" y="3501"/>
                  </a:lnTo>
                  <a:lnTo>
                    <a:pt x="1852" y="3491"/>
                  </a:lnTo>
                  <a:lnTo>
                    <a:pt x="1857" y="3482"/>
                  </a:lnTo>
                  <a:lnTo>
                    <a:pt x="1863" y="3473"/>
                  </a:lnTo>
                  <a:lnTo>
                    <a:pt x="1870" y="3466"/>
                  </a:lnTo>
                  <a:lnTo>
                    <a:pt x="1877" y="3460"/>
                  </a:lnTo>
                  <a:lnTo>
                    <a:pt x="1882" y="3458"/>
                  </a:lnTo>
                  <a:lnTo>
                    <a:pt x="1887" y="3457"/>
                  </a:lnTo>
                  <a:lnTo>
                    <a:pt x="1893" y="3456"/>
                  </a:lnTo>
                  <a:lnTo>
                    <a:pt x="1898" y="3456"/>
                  </a:lnTo>
                  <a:lnTo>
                    <a:pt x="1901" y="3456"/>
                  </a:lnTo>
                  <a:lnTo>
                    <a:pt x="1904" y="3458"/>
                  </a:lnTo>
                  <a:lnTo>
                    <a:pt x="1907" y="3460"/>
                  </a:lnTo>
                  <a:lnTo>
                    <a:pt x="1909" y="3464"/>
                  </a:lnTo>
                  <a:lnTo>
                    <a:pt x="1912" y="3470"/>
                  </a:lnTo>
                  <a:lnTo>
                    <a:pt x="1917" y="3475"/>
                  </a:lnTo>
                  <a:lnTo>
                    <a:pt x="1923" y="3479"/>
                  </a:lnTo>
                  <a:lnTo>
                    <a:pt x="1929" y="3481"/>
                  </a:lnTo>
                  <a:lnTo>
                    <a:pt x="1935" y="3482"/>
                  </a:lnTo>
                  <a:lnTo>
                    <a:pt x="1940" y="3483"/>
                  </a:lnTo>
                  <a:lnTo>
                    <a:pt x="1952" y="3484"/>
                  </a:lnTo>
                  <a:lnTo>
                    <a:pt x="1965" y="3483"/>
                  </a:lnTo>
                  <a:lnTo>
                    <a:pt x="1976" y="3483"/>
                  </a:lnTo>
                  <a:lnTo>
                    <a:pt x="1984" y="3482"/>
                  </a:lnTo>
                  <a:lnTo>
                    <a:pt x="1994" y="3480"/>
                  </a:lnTo>
                  <a:lnTo>
                    <a:pt x="2003" y="3478"/>
                  </a:lnTo>
                  <a:lnTo>
                    <a:pt x="2019" y="3471"/>
                  </a:lnTo>
                  <a:lnTo>
                    <a:pt x="2034" y="3464"/>
                  </a:lnTo>
                  <a:lnTo>
                    <a:pt x="2049" y="3457"/>
                  </a:lnTo>
                  <a:lnTo>
                    <a:pt x="2065" y="3451"/>
                  </a:lnTo>
                  <a:lnTo>
                    <a:pt x="2074" y="3448"/>
                  </a:lnTo>
                  <a:lnTo>
                    <a:pt x="2084" y="3446"/>
                  </a:lnTo>
                  <a:lnTo>
                    <a:pt x="2093" y="3445"/>
                  </a:lnTo>
                  <a:lnTo>
                    <a:pt x="2103" y="3444"/>
                  </a:lnTo>
                  <a:lnTo>
                    <a:pt x="2124" y="3444"/>
                  </a:lnTo>
                  <a:lnTo>
                    <a:pt x="2142" y="3444"/>
                  </a:lnTo>
                  <a:lnTo>
                    <a:pt x="2159" y="3444"/>
                  </a:lnTo>
                  <a:lnTo>
                    <a:pt x="2180" y="3444"/>
                  </a:lnTo>
                  <a:lnTo>
                    <a:pt x="2195" y="3445"/>
                  </a:lnTo>
                  <a:lnTo>
                    <a:pt x="2210" y="3446"/>
                  </a:lnTo>
                  <a:lnTo>
                    <a:pt x="2223" y="3448"/>
                  </a:lnTo>
                  <a:lnTo>
                    <a:pt x="2237" y="3452"/>
                  </a:lnTo>
                  <a:lnTo>
                    <a:pt x="2250" y="3454"/>
                  </a:lnTo>
                  <a:lnTo>
                    <a:pt x="2263" y="3456"/>
                  </a:lnTo>
                  <a:lnTo>
                    <a:pt x="2278" y="3458"/>
                  </a:lnTo>
                  <a:lnTo>
                    <a:pt x="2293" y="3458"/>
                  </a:lnTo>
                  <a:lnTo>
                    <a:pt x="2293" y="3458"/>
                  </a:lnTo>
                  <a:lnTo>
                    <a:pt x="2314" y="3446"/>
                  </a:lnTo>
                  <a:lnTo>
                    <a:pt x="2333" y="3437"/>
                  </a:lnTo>
                  <a:lnTo>
                    <a:pt x="2352" y="3427"/>
                  </a:lnTo>
                  <a:lnTo>
                    <a:pt x="2370" y="3419"/>
                  </a:lnTo>
                  <a:lnTo>
                    <a:pt x="2388" y="3412"/>
                  </a:lnTo>
                  <a:lnTo>
                    <a:pt x="2408" y="3405"/>
                  </a:lnTo>
                  <a:lnTo>
                    <a:pt x="2429" y="3400"/>
                  </a:lnTo>
                  <a:lnTo>
                    <a:pt x="2453" y="3393"/>
                  </a:lnTo>
                  <a:lnTo>
                    <a:pt x="2492" y="3385"/>
                  </a:lnTo>
                  <a:lnTo>
                    <a:pt x="2528" y="3375"/>
                  </a:lnTo>
                  <a:lnTo>
                    <a:pt x="2562" y="3367"/>
                  </a:lnTo>
                  <a:lnTo>
                    <a:pt x="2595" y="3360"/>
                  </a:lnTo>
                  <a:lnTo>
                    <a:pt x="2628" y="3354"/>
                  </a:lnTo>
                  <a:lnTo>
                    <a:pt x="2663" y="3350"/>
                  </a:lnTo>
                  <a:lnTo>
                    <a:pt x="2699" y="3347"/>
                  </a:lnTo>
                  <a:lnTo>
                    <a:pt x="2739" y="3346"/>
                  </a:lnTo>
                  <a:lnTo>
                    <a:pt x="2776" y="3346"/>
                  </a:lnTo>
                  <a:lnTo>
                    <a:pt x="2810" y="3347"/>
                  </a:lnTo>
                  <a:lnTo>
                    <a:pt x="2840" y="3347"/>
                  </a:lnTo>
                  <a:lnTo>
                    <a:pt x="2870" y="3348"/>
                  </a:lnTo>
                  <a:lnTo>
                    <a:pt x="2900" y="3348"/>
                  </a:lnTo>
                  <a:lnTo>
                    <a:pt x="2932" y="3349"/>
                  </a:lnTo>
                  <a:lnTo>
                    <a:pt x="2965" y="3349"/>
                  </a:lnTo>
                  <a:lnTo>
                    <a:pt x="3002" y="3349"/>
                  </a:lnTo>
                  <a:lnTo>
                    <a:pt x="3016" y="3348"/>
                  </a:lnTo>
                  <a:lnTo>
                    <a:pt x="3030" y="3347"/>
                  </a:lnTo>
                  <a:lnTo>
                    <a:pt x="3042" y="3345"/>
                  </a:lnTo>
                  <a:lnTo>
                    <a:pt x="3054" y="3341"/>
                  </a:lnTo>
                  <a:lnTo>
                    <a:pt x="3079" y="3335"/>
                  </a:lnTo>
                  <a:lnTo>
                    <a:pt x="3106" y="3326"/>
                  </a:lnTo>
                  <a:lnTo>
                    <a:pt x="3138" y="3320"/>
                  </a:lnTo>
                  <a:lnTo>
                    <a:pt x="3167" y="3316"/>
                  </a:lnTo>
                  <a:lnTo>
                    <a:pt x="3180" y="3311"/>
                  </a:lnTo>
                  <a:lnTo>
                    <a:pt x="3193" y="3306"/>
                  </a:lnTo>
                  <a:lnTo>
                    <a:pt x="3199" y="3303"/>
                  </a:lnTo>
                  <a:lnTo>
                    <a:pt x="3206" y="3298"/>
                  </a:lnTo>
                  <a:lnTo>
                    <a:pt x="3212" y="3293"/>
                  </a:lnTo>
                  <a:lnTo>
                    <a:pt x="3218" y="3287"/>
                  </a:lnTo>
                  <a:lnTo>
                    <a:pt x="3224" y="3280"/>
                  </a:lnTo>
                  <a:lnTo>
                    <a:pt x="3229" y="3273"/>
                  </a:lnTo>
                  <a:lnTo>
                    <a:pt x="3233" y="3266"/>
                  </a:lnTo>
                  <a:lnTo>
                    <a:pt x="3237" y="3258"/>
                  </a:lnTo>
                  <a:lnTo>
                    <a:pt x="3243" y="3244"/>
                  </a:lnTo>
                  <a:lnTo>
                    <a:pt x="3246" y="3228"/>
                  </a:lnTo>
                  <a:lnTo>
                    <a:pt x="3249" y="3213"/>
                  </a:lnTo>
                  <a:lnTo>
                    <a:pt x="3253" y="3197"/>
                  </a:lnTo>
                  <a:lnTo>
                    <a:pt x="3258" y="3181"/>
                  </a:lnTo>
                  <a:lnTo>
                    <a:pt x="3265" y="3164"/>
                  </a:lnTo>
                  <a:lnTo>
                    <a:pt x="3279" y="3136"/>
                  </a:lnTo>
                  <a:lnTo>
                    <a:pt x="3291" y="3111"/>
                  </a:lnTo>
                  <a:lnTo>
                    <a:pt x="3302" y="3087"/>
                  </a:lnTo>
                  <a:lnTo>
                    <a:pt x="3313" y="3057"/>
                  </a:lnTo>
                  <a:lnTo>
                    <a:pt x="3323" y="3028"/>
                  </a:lnTo>
                  <a:lnTo>
                    <a:pt x="3332" y="3002"/>
                  </a:lnTo>
                  <a:lnTo>
                    <a:pt x="3338" y="2989"/>
                  </a:lnTo>
                  <a:lnTo>
                    <a:pt x="3345" y="2979"/>
                  </a:lnTo>
                  <a:lnTo>
                    <a:pt x="3350" y="2973"/>
                  </a:lnTo>
                  <a:lnTo>
                    <a:pt x="3354" y="2969"/>
                  </a:lnTo>
                  <a:lnTo>
                    <a:pt x="3360" y="2963"/>
                  </a:lnTo>
                  <a:lnTo>
                    <a:pt x="3367" y="2959"/>
                  </a:lnTo>
                  <a:lnTo>
                    <a:pt x="3382" y="2951"/>
                  </a:lnTo>
                  <a:lnTo>
                    <a:pt x="3397" y="2944"/>
                  </a:lnTo>
                  <a:lnTo>
                    <a:pt x="3412" y="2941"/>
                  </a:lnTo>
                  <a:lnTo>
                    <a:pt x="3426" y="2938"/>
                  </a:lnTo>
                  <a:lnTo>
                    <a:pt x="3441" y="2934"/>
                  </a:lnTo>
                  <a:lnTo>
                    <a:pt x="3458" y="2932"/>
                  </a:lnTo>
                  <a:lnTo>
                    <a:pt x="3474" y="2929"/>
                  </a:lnTo>
                  <a:lnTo>
                    <a:pt x="3491" y="2924"/>
                  </a:lnTo>
                  <a:lnTo>
                    <a:pt x="3491" y="2924"/>
                  </a:lnTo>
                  <a:lnTo>
                    <a:pt x="3494" y="2909"/>
                  </a:lnTo>
                  <a:lnTo>
                    <a:pt x="3499" y="2895"/>
                  </a:lnTo>
                  <a:lnTo>
                    <a:pt x="3504" y="2881"/>
                  </a:lnTo>
                  <a:lnTo>
                    <a:pt x="3511" y="2867"/>
                  </a:lnTo>
                  <a:lnTo>
                    <a:pt x="3516" y="2852"/>
                  </a:lnTo>
                  <a:lnTo>
                    <a:pt x="3520" y="2838"/>
                  </a:lnTo>
                  <a:lnTo>
                    <a:pt x="3523" y="2824"/>
                  </a:lnTo>
                  <a:lnTo>
                    <a:pt x="3525" y="2810"/>
                  </a:lnTo>
                  <a:lnTo>
                    <a:pt x="3525" y="2795"/>
                  </a:lnTo>
                  <a:lnTo>
                    <a:pt x="3525" y="2782"/>
                  </a:lnTo>
                  <a:lnTo>
                    <a:pt x="3525" y="2768"/>
                  </a:lnTo>
                  <a:lnTo>
                    <a:pt x="3525" y="2753"/>
                  </a:lnTo>
                  <a:lnTo>
                    <a:pt x="3526" y="2743"/>
                  </a:lnTo>
                  <a:lnTo>
                    <a:pt x="3527" y="2735"/>
                  </a:lnTo>
                  <a:lnTo>
                    <a:pt x="3529" y="2726"/>
                  </a:lnTo>
                  <a:lnTo>
                    <a:pt x="3533" y="2718"/>
                  </a:lnTo>
                  <a:lnTo>
                    <a:pt x="3536" y="2712"/>
                  </a:lnTo>
                  <a:lnTo>
                    <a:pt x="3542" y="2705"/>
                  </a:lnTo>
                  <a:lnTo>
                    <a:pt x="3547" y="2699"/>
                  </a:lnTo>
                  <a:lnTo>
                    <a:pt x="3553" y="2692"/>
                  </a:lnTo>
                  <a:lnTo>
                    <a:pt x="3581" y="2671"/>
                  </a:lnTo>
                  <a:lnTo>
                    <a:pt x="3612" y="2647"/>
                  </a:lnTo>
                  <a:lnTo>
                    <a:pt x="3630" y="2630"/>
                  </a:lnTo>
                  <a:lnTo>
                    <a:pt x="3648" y="2615"/>
                  </a:lnTo>
                  <a:lnTo>
                    <a:pt x="3656" y="2607"/>
                  </a:lnTo>
                  <a:lnTo>
                    <a:pt x="3665" y="2601"/>
                  </a:lnTo>
                  <a:lnTo>
                    <a:pt x="3676" y="2594"/>
                  </a:lnTo>
                  <a:lnTo>
                    <a:pt x="3688" y="2589"/>
                  </a:lnTo>
                  <a:lnTo>
                    <a:pt x="3704" y="2582"/>
                  </a:lnTo>
                  <a:lnTo>
                    <a:pt x="3719" y="2577"/>
                  </a:lnTo>
                  <a:lnTo>
                    <a:pt x="3733" y="2573"/>
                  </a:lnTo>
                  <a:lnTo>
                    <a:pt x="3747" y="2568"/>
                  </a:lnTo>
                  <a:lnTo>
                    <a:pt x="3760" y="2565"/>
                  </a:lnTo>
                  <a:lnTo>
                    <a:pt x="3774" y="2560"/>
                  </a:lnTo>
                  <a:lnTo>
                    <a:pt x="3788" y="2552"/>
                  </a:lnTo>
                  <a:lnTo>
                    <a:pt x="3802" y="2543"/>
                  </a:lnTo>
                  <a:lnTo>
                    <a:pt x="3809" y="2539"/>
                  </a:lnTo>
                  <a:lnTo>
                    <a:pt x="3815" y="2534"/>
                  </a:lnTo>
                  <a:lnTo>
                    <a:pt x="3819" y="2528"/>
                  </a:lnTo>
                  <a:lnTo>
                    <a:pt x="3824" y="2523"/>
                  </a:lnTo>
                  <a:lnTo>
                    <a:pt x="3831" y="2511"/>
                  </a:lnTo>
                  <a:lnTo>
                    <a:pt x="3838" y="2499"/>
                  </a:lnTo>
                  <a:lnTo>
                    <a:pt x="3843" y="2486"/>
                  </a:lnTo>
                  <a:lnTo>
                    <a:pt x="3850" y="2473"/>
                  </a:lnTo>
                  <a:lnTo>
                    <a:pt x="3857" y="2461"/>
                  </a:lnTo>
                  <a:lnTo>
                    <a:pt x="3867" y="2448"/>
                  </a:lnTo>
                  <a:lnTo>
                    <a:pt x="3879" y="2432"/>
                  </a:lnTo>
                  <a:lnTo>
                    <a:pt x="3889" y="2417"/>
                  </a:lnTo>
                  <a:lnTo>
                    <a:pt x="3897" y="2402"/>
                  </a:lnTo>
                  <a:lnTo>
                    <a:pt x="3903" y="2386"/>
                  </a:lnTo>
                  <a:lnTo>
                    <a:pt x="3908" y="2369"/>
                  </a:lnTo>
                  <a:lnTo>
                    <a:pt x="3912" y="2352"/>
                  </a:lnTo>
                  <a:lnTo>
                    <a:pt x="3917" y="2334"/>
                  </a:lnTo>
                  <a:lnTo>
                    <a:pt x="3920" y="2313"/>
                  </a:lnTo>
                  <a:lnTo>
                    <a:pt x="3927" y="2286"/>
                  </a:lnTo>
                  <a:lnTo>
                    <a:pt x="3936" y="2263"/>
                  </a:lnTo>
                  <a:lnTo>
                    <a:pt x="3939" y="2251"/>
                  </a:lnTo>
                  <a:lnTo>
                    <a:pt x="3943" y="2238"/>
                  </a:lnTo>
                  <a:lnTo>
                    <a:pt x="3945" y="2225"/>
                  </a:lnTo>
                  <a:lnTo>
                    <a:pt x="3946" y="2210"/>
                  </a:lnTo>
                  <a:lnTo>
                    <a:pt x="3945" y="2197"/>
                  </a:lnTo>
                  <a:lnTo>
                    <a:pt x="3943" y="2186"/>
                  </a:lnTo>
                  <a:lnTo>
                    <a:pt x="3940" y="2175"/>
                  </a:lnTo>
                  <a:lnTo>
                    <a:pt x="3937" y="2162"/>
                  </a:lnTo>
                  <a:lnTo>
                    <a:pt x="3951" y="2151"/>
                  </a:lnTo>
                  <a:lnTo>
                    <a:pt x="3965" y="2139"/>
                  </a:lnTo>
                  <a:lnTo>
                    <a:pt x="3981" y="2133"/>
                  </a:lnTo>
                  <a:lnTo>
                    <a:pt x="3997" y="2128"/>
                  </a:lnTo>
                  <a:lnTo>
                    <a:pt x="4003" y="2123"/>
                  </a:lnTo>
                  <a:lnTo>
                    <a:pt x="4008" y="2119"/>
                  </a:lnTo>
                  <a:lnTo>
                    <a:pt x="4010" y="2116"/>
                  </a:lnTo>
                  <a:lnTo>
                    <a:pt x="4012" y="2112"/>
                  </a:lnTo>
                  <a:lnTo>
                    <a:pt x="4013" y="2109"/>
                  </a:lnTo>
                  <a:lnTo>
                    <a:pt x="4013" y="2105"/>
                  </a:lnTo>
                  <a:lnTo>
                    <a:pt x="4013" y="2098"/>
                  </a:lnTo>
                  <a:lnTo>
                    <a:pt x="4012" y="2092"/>
                  </a:lnTo>
                  <a:lnTo>
                    <a:pt x="4010" y="2087"/>
                  </a:lnTo>
                  <a:lnTo>
                    <a:pt x="4007" y="2081"/>
                  </a:lnTo>
                  <a:lnTo>
                    <a:pt x="4002" y="2070"/>
                  </a:lnTo>
                  <a:lnTo>
                    <a:pt x="3995" y="2061"/>
                  </a:lnTo>
                  <a:lnTo>
                    <a:pt x="3990" y="2051"/>
                  </a:lnTo>
                  <a:lnTo>
                    <a:pt x="3985" y="2040"/>
                  </a:lnTo>
                  <a:lnTo>
                    <a:pt x="3983" y="2035"/>
                  </a:lnTo>
                  <a:lnTo>
                    <a:pt x="3980" y="2029"/>
                  </a:lnTo>
                  <a:lnTo>
                    <a:pt x="3979" y="2023"/>
                  </a:lnTo>
                  <a:lnTo>
                    <a:pt x="3979" y="2016"/>
                  </a:lnTo>
                  <a:lnTo>
                    <a:pt x="3979" y="2013"/>
                  </a:lnTo>
                  <a:lnTo>
                    <a:pt x="3980" y="2010"/>
                  </a:lnTo>
                  <a:lnTo>
                    <a:pt x="3981" y="2007"/>
                  </a:lnTo>
                  <a:lnTo>
                    <a:pt x="3984" y="2004"/>
                  </a:lnTo>
                  <a:lnTo>
                    <a:pt x="3988" y="1999"/>
                  </a:lnTo>
                  <a:lnTo>
                    <a:pt x="3993" y="1996"/>
                  </a:lnTo>
                  <a:lnTo>
                    <a:pt x="3999" y="1991"/>
                  </a:lnTo>
                  <a:lnTo>
                    <a:pt x="4005" y="1987"/>
                  </a:lnTo>
                  <a:lnTo>
                    <a:pt x="4011" y="1983"/>
                  </a:lnTo>
                  <a:lnTo>
                    <a:pt x="4015" y="1977"/>
                  </a:lnTo>
                  <a:lnTo>
                    <a:pt x="4026" y="1963"/>
                  </a:lnTo>
                  <a:lnTo>
                    <a:pt x="4034" y="1950"/>
                  </a:lnTo>
                  <a:lnTo>
                    <a:pt x="4039" y="1944"/>
                  </a:lnTo>
                  <a:lnTo>
                    <a:pt x="4042" y="1937"/>
                  </a:lnTo>
                  <a:lnTo>
                    <a:pt x="4046" y="1930"/>
                  </a:lnTo>
                  <a:lnTo>
                    <a:pt x="4049" y="1921"/>
                  </a:lnTo>
                  <a:lnTo>
                    <a:pt x="4059" y="1892"/>
                  </a:lnTo>
                  <a:lnTo>
                    <a:pt x="4070" y="1866"/>
                  </a:lnTo>
                  <a:lnTo>
                    <a:pt x="4075" y="1854"/>
                  </a:lnTo>
                  <a:lnTo>
                    <a:pt x="4082" y="1841"/>
                  </a:lnTo>
                  <a:lnTo>
                    <a:pt x="4091" y="1828"/>
                  </a:lnTo>
                  <a:lnTo>
                    <a:pt x="4099" y="1814"/>
                  </a:lnTo>
                  <a:lnTo>
                    <a:pt x="4107" y="1807"/>
                  </a:lnTo>
                  <a:lnTo>
                    <a:pt x="4114" y="1800"/>
                  </a:lnTo>
                  <a:lnTo>
                    <a:pt x="4122" y="1796"/>
                  </a:lnTo>
                  <a:lnTo>
                    <a:pt x="4132" y="1793"/>
                  </a:lnTo>
                  <a:lnTo>
                    <a:pt x="4151" y="1788"/>
                  </a:lnTo>
                  <a:lnTo>
                    <a:pt x="4173" y="1784"/>
                  </a:lnTo>
                  <a:lnTo>
                    <a:pt x="4203" y="1777"/>
                  </a:lnTo>
                  <a:lnTo>
                    <a:pt x="4223" y="1770"/>
                  </a:lnTo>
                  <a:lnTo>
                    <a:pt x="4244" y="1766"/>
                  </a:lnTo>
                  <a:lnTo>
                    <a:pt x="4274" y="1760"/>
                  </a:lnTo>
                  <a:lnTo>
                    <a:pt x="4274" y="1760"/>
                  </a:lnTo>
                  <a:lnTo>
                    <a:pt x="4271" y="1755"/>
                  </a:lnTo>
                  <a:lnTo>
                    <a:pt x="4269" y="1748"/>
                  </a:lnTo>
                  <a:lnTo>
                    <a:pt x="4270" y="1738"/>
                  </a:lnTo>
                  <a:lnTo>
                    <a:pt x="4271" y="1727"/>
                  </a:lnTo>
                  <a:lnTo>
                    <a:pt x="4274" y="1716"/>
                  </a:lnTo>
                  <a:lnTo>
                    <a:pt x="4277" y="1706"/>
                  </a:lnTo>
                  <a:lnTo>
                    <a:pt x="4287" y="1689"/>
                  </a:lnTo>
                  <a:lnTo>
                    <a:pt x="4297" y="1672"/>
                  </a:lnTo>
                  <a:lnTo>
                    <a:pt x="4308" y="1655"/>
                  </a:lnTo>
                  <a:lnTo>
                    <a:pt x="4316" y="1636"/>
                  </a:lnTo>
                  <a:lnTo>
                    <a:pt x="4320" y="1628"/>
                  </a:lnTo>
                  <a:lnTo>
                    <a:pt x="4323" y="1617"/>
                  </a:lnTo>
                  <a:lnTo>
                    <a:pt x="4325" y="1606"/>
                  </a:lnTo>
                  <a:lnTo>
                    <a:pt x="4325" y="1595"/>
                  </a:lnTo>
                  <a:lnTo>
                    <a:pt x="4324" y="1581"/>
                  </a:lnTo>
                  <a:lnTo>
                    <a:pt x="4321" y="1569"/>
                  </a:lnTo>
                  <a:lnTo>
                    <a:pt x="4318" y="1556"/>
                  </a:lnTo>
                  <a:lnTo>
                    <a:pt x="4316" y="1543"/>
                  </a:lnTo>
                  <a:lnTo>
                    <a:pt x="4317" y="1536"/>
                  </a:lnTo>
                  <a:lnTo>
                    <a:pt x="4318" y="1529"/>
                  </a:lnTo>
                  <a:lnTo>
                    <a:pt x="4320" y="1523"/>
                  </a:lnTo>
                  <a:lnTo>
                    <a:pt x="4323" y="1517"/>
                  </a:lnTo>
                  <a:lnTo>
                    <a:pt x="4328" y="1507"/>
                  </a:lnTo>
                  <a:lnTo>
                    <a:pt x="4336" y="1496"/>
                  </a:lnTo>
                  <a:lnTo>
                    <a:pt x="4343" y="1486"/>
                  </a:lnTo>
                  <a:lnTo>
                    <a:pt x="4351" y="1476"/>
                  </a:lnTo>
                  <a:lnTo>
                    <a:pt x="4358" y="1464"/>
                  </a:lnTo>
                  <a:lnTo>
                    <a:pt x="4364" y="1451"/>
                  </a:lnTo>
                  <a:lnTo>
                    <a:pt x="4374" y="1423"/>
                  </a:lnTo>
                  <a:lnTo>
                    <a:pt x="4380" y="1397"/>
                  </a:lnTo>
                  <a:lnTo>
                    <a:pt x="4385" y="1373"/>
                  </a:lnTo>
                  <a:lnTo>
                    <a:pt x="4391" y="1349"/>
                  </a:lnTo>
                  <a:lnTo>
                    <a:pt x="4395" y="1325"/>
                  </a:lnTo>
                  <a:lnTo>
                    <a:pt x="4402" y="1300"/>
                  </a:lnTo>
                  <a:lnTo>
                    <a:pt x="4409" y="1274"/>
                  </a:lnTo>
                  <a:lnTo>
                    <a:pt x="4420" y="1247"/>
                  </a:lnTo>
                  <a:lnTo>
                    <a:pt x="4433" y="1220"/>
                  </a:lnTo>
                  <a:lnTo>
                    <a:pt x="4447" y="1197"/>
                  </a:lnTo>
                  <a:lnTo>
                    <a:pt x="4460" y="1174"/>
                  </a:lnTo>
                  <a:lnTo>
                    <a:pt x="4472" y="1152"/>
                  </a:lnTo>
                  <a:lnTo>
                    <a:pt x="4477" y="1142"/>
                  </a:lnTo>
                  <a:lnTo>
                    <a:pt x="4483" y="1131"/>
                  </a:lnTo>
                  <a:lnTo>
                    <a:pt x="4487" y="1120"/>
                  </a:lnTo>
                  <a:lnTo>
                    <a:pt x="4491" y="1108"/>
                  </a:lnTo>
                  <a:lnTo>
                    <a:pt x="4494" y="1095"/>
                  </a:lnTo>
                  <a:lnTo>
                    <a:pt x="4497" y="1082"/>
                  </a:lnTo>
                  <a:lnTo>
                    <a:pt x="4499" y="1068"/>
                  </a:lnTo>
                  <a:lnTo>
                    <a:pt x="4499" y="1054"/>
                  </a:lnTo>
                  <a:lnTo>
                    <a:pt x="4498" y="1040"/>
                  </a:lnTo>
                  <a:lnTo>
                    <a:pt x="4496" y="1027"/>
                  </a:lnTo>
                  <a:lnTo>
                    <a:pt x="4492" y="1015"/>
                  </a:lnTo>
                  <a:lnTo>
                    <a:pt x="4488" y="1004"/>
                  </a:lnTo>
                  <a:lnTo>
                    <a:pt x="4483" y="994"/>
                  </a:lnTo>
                  <a:lnTo>
                    <a:pt x="4476" y="984"/>
                  </a:lnTo>
                  <a:lnTo>
                    <a:pt x="4470" y="974"/>
                  </a:lnTo>
                  <a:lnTo>
                    <a:pt x="4462" y="965"/>
                  </a:lnTo>
                  <a:lnTo>
                    <a:pt x="4445" y="948"/>
                  </a:lnTo>
                  <a:lnTo>
                    <a:pt x="4425" y="930"/>
                  </a:lnTo>
                  <a:lnTo>
                    <a:pt x="4406" y="911"/>
                  </a:lnTo>
                  <a:lnTo>
                    <a:pt x="4386" y="891"/>
                  </a:lnTo>
                  <a:lnTo>
                    <a:pt x="4368" y="868"/>
                  </a:lnTo>
                  <a:lnTo>
                    <a:pt x="4351" y="848"/>
                  </a:lnTo>
                  <a:lnTo>
                    <a:pt x="4342" y="838"/>
                  </a:lnTo>
                  <a:lnTo>
                    <a:pt x="4331" y="830"/>
                  </a:lnTo>
                  <a:lnTo>
                    <a:pt x="4326" y="828"/>
                  </a:lnTo>
                  <a:lnTo>
                    <a:pt x="4320" y="825"/>
                  </a:lnTo>
                  <a:lnTo>
                    <a:pt x="4313" y="823"/>
                  </a:lnTo>
                  <a:lnTo>
                    <a:pt x="4305" y="821"/>
                  </a:lnTo>
                  <a:lnTo>
                    <a:pt x="4290" y="820"/>
                  </a:lnTo>
                  <a:lnTo>
                    <a:pt x="4275" y="819"/>
                  </a:lnTo>
                  <a:lnTo>
                    <a:pt x="4261" y="819"/>
                  </a:lnTo>
                  <a:lnTo>
                    <a:pt x="4248" y="820"/>
                  </a:lnTo>
                  <a:lnTo>
                    <a:pt x="4235" y="820"/>
                  </a:lnTo>
                  <a:lnTo>
                    <a:pt x="4221" y="819"/>
                  </a:lnTo>
                  <a:lnTo>
                    <a:pt x="4215" y="818"/>
                  </a:lnTo>
                  <a:lnTo>
                    <a:pt x="4207" y="815"/>
                  </a:lnTo>
                  <a:lnTo>
                    <a:pt x="4201" y="813"/>
                  </a:lnTo>
                  <a:lnTo>
                    <a:pt x="4193" y="810"/>
                  </a:lnTo>
                  <a:lnTo>
                    <a:pt x="4173" y="799"/>
                  </a:lnTo>
                  <a:lnTo>
                    <a:pt x="4154" y="789"/>
                  </a:lnTo>
                  <a:lnTo>
                    <a:pt x="4146" y="785"/>
                  </a:lnTo>
                  <a:lnTo>
                    <a:pt x="4136" y="782"/>
                  </a:lnTo>
                  <a:lnTo>
                    <a:pt x="4125" y="780"/>
                  </a:lnTo>
                  <a:lnTo>
                    <a:pt x="4113" y="779"/>
                  </a:lnTo>
                  <a:lnTo>
                    <a:pt x="4101" y="780"/>
                  </a:lnTo>
                  <a:lnTo>
                    <a:pt x="4089" y="783"/>
                  </a:lnTo>
                  <a:lnTo>
                    <a:pt x="4080" y="787"/>
                  </a:lnTo>
                  <a:lnTo>
                    <a:pt x="4069" y="792"/>
                  </a:lnTo>
                  <a:lnTo>
                    <a:pt x="4059" y="796"/>
                  </a:lnTo>
                  <a:lnTo>
                    <a:pt x="4049" y="800"/>
                  </a:lnTo>
                  <a:lnTo>
                    <a:pt x="4038" y="803"/>
                  </a:lnTo>
                  <a:lnTo>
                    <a:pt x="4025" y="805"/>
                  </a:lnTo>
                  <a:lnTo>
                    <a:pt x="4020" y="803"/>
                  </a:lnTo>
                  <a:lnTo>
                    <a:pt x="4016" y="801"/>
                  </a:lnTo>
                  <a:lnTo>
                    <a:pt x="4013" y="797"/>
                  </a:lnTo>
                  <a:lnTo>
                    <a:pt x="4011" y="792"/>
                  </a:lnTo>
                  <a:lnTo>
                    <a:pt x="4007" y="780"/>
                  </a:lnTo>
                  <a:lnTo>
                    <a:pt x="4005" y="768"/>
                  </a:lnTo>
                  <a:lnTo>
                    <a:pt x="4003" y="759"/>
                  </a:lnTo>
                  <a:lnTo>
                    <a:pt x="4000" y="751"/>
                  </a:lnTo>
                  <a:lnTo>
                    <a:pt x="3997" y="744"/>
                  </a:lnTo>
                  <a:lnTo>
                    <a:pt x="3993" y="737"/>
                  </a:lnTo>
                  <a:lnTo>
                    <a:pt x="3985" y="724"/>
                  </a:lnTo>
                  <a:lnTo>
                    <a:pt x="3975" y="710"/>
                  </a:lnTo>
                  <a:lnTo>
                    <a:pt x="3954" y="677"/>
                  </a:lnTo>
                  <a:lnTo>
                    <a:pt x="3937" y="649"/>
                  </a:lnTo>
                  <a:lnTo>
                    <a:pt x="3927" y="636"/>
                  </a:lnTo>
                  <a:lnTo>
                    <a:pt x="3918" y="622"/>
                  </a:lnTo>
                  <a:lnTo>
                    <a:pt x="3907" y="608"/>
                  </a:lnTo>
                  <a:lnTo>
                    <a:pt x="3893" y="594"/>
                  </a:lnTo>
                  <a:lnTo>
                    <a:pt x="3885" y="587"/>
                  </a:lnTo>
                  <a:lnTo>
                    <a:pt x="3878" y="581"/>
                  </a:lnTo>
                  <a:lnTo>
                    <a:pt x="3869" y="577"/>
                  </a:lnTo>
                  <a:lnTo>
                    <a:pt x="3862" y="572"/>
                  </a:lnTo>
                  <a:lnTo>
                    <a:pt x="3844" y="567"/>
                  </a:lnTo>
                  <a:lnTo>
                    <a:pt x="3827" y="564"/>
                  </a:lnTo>
                  <a:lnTo>
                    <a:pt x="3809" y="560"/>
                  </a:lnTo>
                  <a:lnTo>
                    <a:pt x="3790" y="557"/>
                  </a:lnTo>
                  <a:lnTo>
                    <a:pt x="3781" y="556"/>
                  </a:lnTo>
                  <a:lnTo>
                    <a:pt x="3771" y="553"/>
                  </a:lnTo>
                  <a:lnTo>
                    <a:pt x="3760" y="551"/>
                  </a:lnTo>
                  <a:lnTo>
                    <a:pt x="3750" y="546"/>
                  </a:lnTo>
                  <a:lnTo>
                    <a:pt x="3729" y="538"/>
                  </a:lnTo>
                  <a:lnTo>
                    <a:pt x="3709" y="530"/>
                  </a:lnTo>
                  <a:lnTo>
                    <a:pt x="3691" y="523"/>
                  </a:lnTo>
                  <a:lnTo>
                    <a:pt x="3669" y="513"/>
                  </a:lnTo>
                  <a:lnTo>
                    <a:pt x="3653" y="504"/>
                  </a:lnTo>
                  <a:lnTo>
                    <a:pt x="3640" y="496"/>
                  </a:lnTo>
                  <a:lnTo>
                    <a:pt x="3626" y="487"/>
                  </a:lnTo>
                  <a:lnTo>
                    <a:pt x="3610" y="479"/>
                  </a:lnTo>
                  <a:lnTo>
                    <a:pt x="3598" y="475"/>
                  </a:lnTo>
                  <a:lnTo>
                    <a:pt x="3585" y="471"/>
                  </a:lnTo>
                  <a:lnTo>
                    <a:pt x="3580" y="469"/>
                  </a:lnTo>
                  <a:lnTo>
                    <a:pt x="3574" y="465"/>
                  </a:lnTo>
                  <a:lnTo>
                    <a:pt x="3570" y="462"/>
                  </a:lnTo>
                  <a:lnTo>
                    <a:pt x="3566" y="457"/>
                  </a:lnTo>
                  <a:lnTo>
                    <a:pt x="3559" y="448"/>
                  </a:lnTo>
                  <a:lnTo>
                    <a:pt x="3555" y="438"/>
                  </a:lnTo>
                  <a:lnTo>
                    <a:pt x="3552" y="430"/>
                  </a:lnTo>
                  <a:lnTo>
                    <a:pt x="3547" y="421"/>
                  </a:lnTo>
                  <a:lnTo>
                    <a:pt x="3544" y="413"/>
                  </a:lnTo>
                  <a:lnTo>
                    <a:pt x="3539" y="404"/>
                  </a:lnTo>
                  <a:lnTo>
                    <a:pt x="3533" y="395"/>
                  </a:lnTo>
                  <a:lnTo>
                    <a:pt x="3527" y="387"/>
                  </a:lnTo>
                  <a:lnTo>
                    <a:pt x="3504" y="366"/>
                  </a:lnTo>
                  <a:lnTo>
                    <a:pt x="3482" y="348"/>
                  </a:lnTo>
                  <a:lnTo>
                    <a:pt x="3461" y="333"/>
                  </a:lnTo>
                  <a:lnTo>
                    <a:pt x="3438" y="319"/>
                  </a:lnTo>
                  <a:lnTo>
                    <a:pt x="3415" y="306"/>
                  </a:lnTo>
                  <a:lnTo>
                    <a:pt x="3392" y="294"/>
                  </a:lnTo>
                  <a:lnTo>
                    <a:pt x="3367" y="282"/>
                  </a:lnTo>
                  <a:lnTo>
                    <a:pt x="3339" y="269"/>
                  </a:lnTo>
                  <a:lnTo>
                    <a:pt x="3327" y="262"/>
                  </a:lnTo>
                  <a:lnTo>
                    <a:pt x="3317" y="256"/>
                  </a:lnTo>
                  <a:lnTo>
                    <a:pt x="3309" y="247"/>
                  </a:lnTo>
                  <a:lnTo>
                    <a:pt x="3301" y="240"/>
                  </a:lnTo>
                  <a:lnTo>
                    <a:pt x="3292" y="232"/>
                  </a:lnTo>
                  <a:lnTo>
                    <a:pt x="3283" y="227"/>
                  </a:lnTo>
                  <a:lnTo>
                    <a:pt x="3277" y="225"/>
                  </a:lnTo>
                  <a:lnTo>
                    <a:pt x="3272" y="222"/>
                  </a:lnTo>
                  <a:lnTo>
                    <a:pt x="3266" y="221"/>
                  </a:lnTo>
                  <a:lnTo>
                    <a:pt x="3260" y="221"/>
                  </a:lnTo>
                  <a:lnTo>
                    <a:pt x="3251" y="221"/>
                  </a:lnTo>
                  <a:lnTo>
                    <a:pt x="3244" y="224"/>
                  </a:lnTo>
                  <a:lnTo>
                    <a:pt x="3236" y="225"/>
                  </a:lnTo>
                  <a:lnTo>
                    <a:pt x="3230" y="227"/>
                  </a:lnTo>
                  <a:lnTo>
                    <a:pt x="3217" y="233"/>
                  </a:lnTo>
                  <a:lnTo>
                    <a:pt x="3204" y="240"/>
                  </a:lnTo>
                  <a:lnTo>
                    <a:pt x="3192" y="246"/>
                  </a:lnTo>
                  <a:lnTo>
                    <a:pt x="3178" y="253"/>
                  </a:lnTo>
                  <a:lnTo>
                    <a:pt x="3171" y="255"/>
                  </a:lnTo>
                  <a:lnTo>
                    <a:pt x="3164" y="256"/>
                  </a:lnTo>
                  <a:lnTo>
                    <a:pt x="3156" y="257"/>
                  </a:lnTo>
                  <a:lnTo>
                    <a:pt x="3148" y="258"/>
                  </a:lnTo>
                  <a:lnTo>
                    <a:pt x="3142" y="257"/>
                  </a:lnTo>
                  <a:lnTo>
                    <a:pt x="3137" y="257"/>
                  </a:lnTo>
                  <a:lnTo>
                    <a:pt x="3131" y="255"/>
                  </a:lnTo>
                  <a:lnTo>
                    <a:pt x="3126" y="253"/>
                  </a:lnTo>
                  <a:lnTo>
                    <a:pt x="3117" y="247"/>
                  </a:lnTo>
                  <a:lnTo>
                    <a:pt x="3110" y="240"/>
                  </a:lnTo>
                  <a:lnTo>
                    <a:pt x="3102" y="232"/>
                  </a:lnTo>
                  <a:lnTo>
                    <a:pt x="3094" y="225"/>
                  </a:lnTo>
                  <a:lnTo>
                    <a:pt x="3085" y="217"/>
                  </a:lnTo>
                  <a:lnTo>
                    <a:pt x="3075" y="211"/>
                  </a:lnTo>
                  <a:lnTo>
                    <a:pt x="3055" y="202"/>
                  </a:lnTo>
                  <a:lnTo>
                    <a:pt x="3034" y="193"/>
                  </a:lnTo>
                  <a:lnTo>
                    <a:pt x="3027" y="189"/>
                  </a:lnTo>
                  <a:lnTo>
                    <a:pt x="3019" y="182"/>
                  </a:lnTo>
                  <a:lnTo>
                    <a:pt x="3017" y="179"/>
                  </a:lnTo>
                  <a:lnTo>
                    <a:pt x="3015" y="175"/>
                  </a:lnTo>
                  <a:lnTo>
                    <a:pt x="3014" y="171"/>
                  </a:lnTo>
                  <a:lnTo>
                    <a:pt x="3014" y="165"/>
                  </a:lnTo>
                  <a:lnTo>
                    <a:pt x="3014" y="147"/>
                  </a:lnTo>
                  <a:lnTo>
                    <a:pt x="3016" y="130"/>
                  </a:lnTo>
                  <a:lnTo>
                    <a:pt x="3020" y="113"/>
                  </a:lnTo>
                  <a:lnTo>
                    <a:pt x="3028" y="95"/>
                  </a:lnTo>
                  <a:lnTo>
                    <a:pt x="3035" y="83"/>
                  </a:lnTo>
                  <a:lnTo>
                    <a:pt x="3043" y="72"/>
                  </a:lnTo>
                  <a:lnTo>
                    <a:pt x="3047" y="67"/>
                  </a:lnTo>
                  <a:lnTo>
                    <a:pt x="3049" y="62"/>
                  </a:lnTo>
                  <a:lnTo>
                    <a:pt x="3052" y="55"/>
                  </a:lnTo>
                  <a:lnTo>
                    <a:pt x="3053" y="47"/>
                  </a:lnTo>
                  <a:lnTo>
                    <a:pt x="3053" y="44"/>
                  </a:lnTo>
                  <a:lnTo>
                    <a:pt x="3052" y="40"/>
                  </a:lnTo>
                  <a:lnTo>
                    <a:pt x="3049" y="38"/>
                  </a:lnTo>
                  <a:lnTo>
                    <a:pt x="3047" y="35"/>
                  </a:lnTo>
                  <a:lnTo>
                    <a:pt x="3042" y="31"/>
                  </a:lnTo>
                  <a:lnTo>
                    <a:pt x="3035" y="28"/>
                  </a:lnTo>
                  <a:lnTo>
                    <a:pt x="3019" y="24"/>
                  </a:lnTo>
                  <a:lnTo>
                    <a:pt x="3002" y="19"/>
                  </a:lnTo>
                  <a:lnTo>
                    <a:pt x="2990" y="14"/>
                  </a:lnTo>
                  <a:lnTo>
                    <a:pt x="2980" y="8"/>
                  </a:lnTo>
                  <a:lnTo>
                    <a:pt x="2975" y="4"/>
                  </a:lnTo>
                  <a:lnTo>
                    <a:pt x="2969" y="2"/>
                  </a:lnTo>
                  <a:lnTo>
                    <a:pt x="2963" y="1"/>
                  </a:lnTo>
                  <a:lnTo>
                    <a:pt x="2956" y="0"/>
                  </a:lnTo>
                  <a:lnTo>
                    <a:pt x="2939" y="0"/>
                  </a:lnTo>
                  <a:lnTo>
                    <a:pt x="2924" y="0"/>
                  </a:lnTo>
                  <a:lnTo>
                    <a:pt x="2908" y="0"/>
                  </a:lnTo>
                  <a:lnTo>
                    <a:pt x="2891" y="0"/>
                  </a:lnTo>
                  <a:lnTo>
                    <a:pt x="2882" y="1"/>
                  </a:lnTo>
                  <a:lnTo>
                    <a:pt x="2874" y="2"/>
                  </a:lnTo>
                  <a:lnTo>
                    <a:pt x="2868" y="4"/>
                  </a:lnTo>
                  <a:lnTo>
                    <a:pt x="2860" y="8"/>
                  </a:lnTo>
                  <a:lnTo>
                    <a:pt x="2854" y="10"/>
                  </a:lnTo>
                  <a:lnTo>
                    <a:pt x="2846" y="12"/>
                  </a:lnTo>
                  <a:lnTo>
                    <a:pt x="2839" y="14"/>
                  </a:lnTo>
                  <a:lnTo>
                    <a:pt x="2830" y="14"/>
                  </a:lnTo>
                  <a:lnTo>
                    <a:pt x="2816" y="14"/>
                  </a:lnTo>
                  <a:lnTo>
                    <a:pt x="2803" y="14"/>
                  </a:lnTo>
                  <a:lnTo>
                    <a:pt x="2790" y="14"/>
                  </a:lnTo>
                  <a:lnTo>
                    <a:pt x="2776" y="14"/>
                  </a:lnTo>
                  <a:lnTo>
                    <a:pt x="2766" y="15"/>
                  </a:lnTo>
                  <a:lnTo>
                    <a:pt x="2759" y="17"/>
                  </a:lnTo>
                  <a:lnTo>
                    <a:pt x="2752" y="20"/>
                  </a:lnTo>
                  <a:lnTo>
                    <a:pt x="2746" y="25"/>
                  </a:lnTo>
                  <a:lnTo>
                    <a:pt x="2733" y="36"/>
                  </a:lnTo>
                  <a:lnTo>
                    <a:pt x="2719" y="47"/>
                  </a:lnTo>
                  <a:lnTo>
                    <a:pt x="2698" y="63"/>
                  </a:lnTo>
                  <a:lnTo>
                    <a:pt x="2681" y="78"/>
                  </a:lnTo>
                  <a:lnTo>
                    <a:pt x="2663" y="93"/>
                  </a:lnTo>
                  <a:lnTo>
                    <a:pt x="2643" y="109"/>
                  </a:lnTo>
                  <a:lnTo>
                    <a:pt x="2625" y="124"/>
                  </a:lnTo>
                  <a:lnTo>
                    <a:pt x="2607" y="137"/>
                  </a:lnTo>
                  <a:lnTo>
                    <a:pt x="2588" y="147"/>
                  </a:lnTo>
                  <a:lnTo>
                    <a:pt x="2571" y="157"/>
                  </a:lnTo>
                  <a:lnTo>
                    <a:pt x="2532" y="172"/>
                  </a:lnTo>
                  <a:lnTo>
                    <a:pt x="2489" y="188"/>
                  </a:lnTo>
                  <a:lnTo>
                    <a:pt x="2472" y="194"/>
                  </a:lnTo>
                  <a:lnTo>
                    <a:pt x="2455" y="202"/>
                  </a:lnTo>
                  <a:lnTo>
                    <a:pt x="2440" y="211"/>
                  </a:lnTo>
                  <a:lnTo>
                    <a:pt x="2426" y="218"/>
                  </a:lnTo>
                  <a:lnTo>
                    <a:pt x="2398" y="234"/>
                  </a:lnTo>
                  <a:lnTo>
                    <a:pt x="2372" y="251"/>
                  </a:lnTo>
                  <a:lnTo>
                    <a:pt x="2345" y="266"/>
                  </a:lnTo>
                  <a:lnTo>
                    <a:pt x="2317" y="281"/>
                  </a:lnTo>
                  <a:lnTo>
                    <a:pt x="2302" y="287"/>
                  </a:lnTo>
                  <a:lnTo>
                    <a:pt x="2286" y="293"/>
                  </a:lnTo>
                  <a:lnTo>
                    <a:pt x="2270" y="298"/>
                  </a:lnTo>
                  <a:lnTo>
                    <a:pt x="2251" y="302"/>
                  </a:lnTo>
                  <a:lnTo>
                    <a:pt x="2243" y="306"/>
                  </a:lnTo>
                  <a:lnTo>
                    <a:pt x="2234" y="310"/>
                  </a:lnTo>
                  <a:lnTo>
                    <a:pt x="2227" y="314"/>
                  </a:lnTo>
                  <a:lnTo>
                    <a:pt x="2221" y="319"/>
                  </a:lnTo>
                  <a:lnTo>
                    <a:pt x="2213" y="323"/>
                  </a:lnTo>
                  <a:lnTo>
                    <a:pt x="2207" y="327"/>
                  </a:lnTo>
                  <a:lnTo>
                    <a:pt x="2198" y="329"/>
                  </a:lnTo>
                  <a:lnTo>
                    <a:pt x="2190" y="330"/>
                  </a:lnTo>
                  <a:lnTo>
                    <a:pt x="2179" y="330"/>
                  </a:lnTo>
                  <a:lnTo>
                    <a:pt x="2169" y="328"/>
                  </a:lnTo>
                  <a:lnTo>
                    <a:pt x="2160" y="325"/>
                  </a:lnTo>
                  <a:lnTo>
                    <a:pt x="2152" y="320"/>
                  </a:lnTo>
                  <a:lnTo>
                    <a:pt x="2145" y="314"/>
                  </a:lnTo>
                  <a:lnTo>
                    <a:pt x="2139" y="308"/>
                  </a:lnTo>
                  <a:lnTo>
                    <a:pt x="2132" y="300"/>
                  </a:lnTo>
                  <a:lnTo>
                    <a:pt x="2128" y="292"/>
                  </a:lnTo>
                  <a:lnTo>
                    <a:pt x="2118" y="273"/>
                  </a:lnTo>
                  <a:lnTo>
                    <a:pt x="2111" y="254"/>
                  </a:lnTo>
                  <a:lnTo>
                    <a:pt x="2104" y="232"/>
                  </a:lnTo>
                  <a:lnTo>
                    <a:pt x="2097" y="211"/>
                  </a:lnTo>
                  <a:lnTo>
                    <a:pt x="2097" y="211"/>
                  </a:lnTo>
                  <a:lnTo>
                    <a:pt x="2075" y="209"/>
                  </a:lnTo>
                  <a:lnTo>
                    <a:pt x="2056" y="207"/>
                  </a:lnTo>
                  <a:lnTo>
                    <a:pt x="2037" y="204"/>
                  </a:lnTo>
                  <a:lnTo>
                    <a:pt x="2019" y="201"/>
                  </a:lnTo>
                  <a:lnTo>
                    <a:pt x="2002" y="197"/>
                  </a:lnTo>
                  <a:lnTo>
                    <a:pt x="1982" y="193"/>
                  </a:lnTo>
                  <a:lnTo>
                    <a:pt x="1963" y="191"/>
                  </a:lnTo>
                  <a:lnTo>
                    <a:pt x="1941" y="191"/>
                  </a:lnTo>
                  <a:lnTo>
                    <a:pt x="1931" y="191"/>
                  </a:lnTo>
                  <a:lnTo>
                    <a:pt x="1921" y="192"/>
                  </a:lnTo>
                  <a:lnTo>
                    <a:pt x="1912" y="194"/>
                  </a:lnTo>
                  <a:lnTo>
                    <a:pt x="1903" y="198"/>
                  </a:lnTo>
                  <a:lnTo>
                    <a:pt x="1895" y="201"/>
                  </a:lnTo>
                  <a:lnTo>
                    <a:pt x="1887" y="205"/>
                  </a:lnTo>
                  <a:lnTo>
                    <a:pt x="1880" y="209"/>
                  </a:lnTo>
                  <a:lnTo>
                    <a:pt x="1872" y="215"/>
                  </a:lnTo>
                  <a:lnTo>
                    <a:pt x="1866" y="221"/>
                  </a:lnTo>
                  <a:lnTo>
                    <a:pt x="1859" y="228"/>
                  </a:lnTo>
                  <a:lnTo>
                    <a:pt x="1853" y="235"/>
                  </a:lnTo>
                  <a:lnTo>
                    <a:pt x="1847" y="243"/>
                  </a:lnTo>
                  <a:lnTo>
                    <a:pt x="1835" y="259"/>
                  </a:lnTo>
                  <a:lnTo>
                    <a:pt x="1825" y="278"/>
                  </a:lnTo>
                  <a:lnTo>
                    <a:pt x="1805" y="310"/>
                  </a:lnTo>
                  <a:lnTo>
                    <a:pt x="1786" y="339"/>
                  </a:lnTo>
                  <a:lnTo>
                    <a:pt x="1777" y="353"/>
                  </a:lnTo>
                  <a:lnTo>
                    <a:pt x="1768" y="368"/>
                  </a:lnTo>
                  <a:lnTo>
                    <a:pt x="1761" y="384"/>
                  </a:lnTo>
                  <a:lnTo>
                    <a:pt x="1755" y="404"/>
                  </a:lnTo>
                  <a:lnTo>
                    <a:pt x="1747" y="415"/>
                  </a:lnTo>
                  <a:lnTo>
                    <a:pt x="1738" y="427"/>
                  </a:lnTo>
                  <a:lnTo>
                    <a:pt x="1732" y="449"/>
                  </a:lnTo>
                  <a:lnTo>
                    <a:pt x="1726" y="470"/>
                  </a:lnTo>
                  <a:lnTo>
                    <a:pt x="1722" y="490"/>
                  </a:lnTo>
                  <a:lnTo>
                    <a:pt x="1719" y="509"/>
                  </a:lnTo>
                  <a:lnTo>
                    <a:pt x="1714" y="528"/>
                  </a:lnTo>
                  <a:lnTo>
                    <a:pt x="1709" y="548"/>
                  </a:lnTo>
                  <a:lnTo>
                    <a:pt x="1702" y="567"/>
                  </a:lnTo>
                  <a:lnTo>
                    <a:pt x="1693" y="589"/>
                  </a:lnTo>
                  <a:lnTo>
                    <a:pt x="1686" y="602"/>
                  </a:lnTo>
                  <a:lnTo>
                    <a:pt x="1679" y="611"/>
                  </a:lnTo>
                  <a:lnTo>
                    <a:pt x="1670" y="622"/>
                  </a:lnTo>
                  <a:lnTo>
                    <a:pt x="1663" y="634"/>
                  </a:lnTo>
                  <a:lnTo>
                    <a:pt x="1656" y="646"/>
                  </a:lnTo>
                  <a:lnTo>
                    <a:pt x="1651" y="657"/>
                  </a:lnTo>
                  <a:lnTo>
                    <a:pt x="1647" y="662"/>
                  </a:lnTo>
                  <a:lnTo>
                    <a:pt x="1644" y="666"/>
                  </a:lnTo>
                  <a:lnTo>
                    <a:pt x="1639" y="670"/>
                  </a:lnTo>
                  <a:lnTo>
                    <a:pt x="1633" y="672"/>
                  </a:lnTo>
                  <a:lnTo>
                    <a:pt x="1633" y="672"/>
                  </a:lnTo>
                  <a:close/>
                </a:path>
              </a:pathLst>
            </a:custGeom>
            <a:solidFill>
              <a:srgbClr val="73B84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54">
              <a:extLst>
                <a:ext uri="{FF2B5EF4-FFF2-40B4-BE49-F238E27FC236}">
                  <a16:creationId xmlns:a16="http://schemas.microsoft.com/office/drawing/2014/main" id="{408603D1-B9A6-40EF-8EEC-8533D82A4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2638" y="3508376"/>
              <a:ext cx="1784350" cy="1416050"/>
            </a:xfrm>
            <a:custGeom>
              <a:avLst/>
              <a:gdLst>
                <a:gd name="T0" fmla="*/ 1564 w 4499"/>
                <a:gd name="T1" fmla="*/ 857 h 3567"/>
                <a:gd name="T2" fmla="*/ 1587 w 4499"/>
                <a:gd name="T3" fmla="*/ 1022 h 3567"/>
                <a:gd name="T4" fmla="*/ 1494 w 4499"/>
                <a:gd name="T5" fmla="*/ 1237 h 3567"/>
                <a:gd name="T6" fmla="*/ 1503 w 4499"/>
                <a:gd name="T7" fmla="*/ 1420 h 3567"/>
                <a:gd name="T8" fmla="*/ 1359 w 4499"/>
                <a:gd name="T9" fmla="*/ 1624 h 3567"/>
                <a:gd name="T10" fmla="*/ 1173 w 4499"/>
                <a:gd name="T11" fmla="*/ 1651 h 3567"/>
                <a:gd name="T12" fmla="*/ 872 w 4499"/>
                <a:gd name="T13" fmla="*/ 1643 h 3567"/>
                <a:gd name="T14" fmla="*/ 751 w 4499"/>
                <a:gd name="T15" fmla="*/ 1645 h 3567"/>
                <a:gd name="T16" fmla="*/ 630 w 4499"/>
                <a:gd name="T17" fmla="*/ 1667 h 3567"/>
                <a:gd name="T18" fmla="*/ 399 w 4499"/>
                <a:gd name="T19" fmla="*/ 1739 h 3567"/>
                <a:gd name="T20" fmla="*/ 213 w 4499"/>
                <a:gd name="T21" fmla="*/ 1838 h 3567"/>
                <a:gd name="T22" fmla="*/ 113 w 4499"/>
                <a:gd name="T23" fmla="*/ 1921 h 3567"/>
                <a:gd name="T24" fmla="*/ 1 w 4499"/>
                <a:gd name="T25" fmla="*/ 2123 h 3567"/>
                <a:gd name="T26" fmla="*/ 94 w 4499"/>
                <a:gd name="T27" fmla="*/ 2170 h 3567"/>
                <a:gd name="T28" fmla="*/ 443 w 4499"/>
                <a:gd name="T29" fmla="*/ 2214 h 3567"/>
                <a:gd name="T30" fmla="*/ 622 w 4499"/>
                <a:gd name="T31" fmla="*/ 2279 h 3567"/>
                <a:gd name="T32" fmla="*/ 635 w 4499"/>
                <a:gd name="T33" fmla="*/ 2415 h 3567"/>
                <a:gd name="T34" fmla="*/ 723 w 4499"/>
                <a:gd name="T35" fmla="*/ 2388 h 3567"/>
                <a:gd name="T36" fmla="*/ 923 w 4499"/>
                <a:gd name="T37" fmla="*/ 2380 h 3567"/>
                <a:gd name="T38" fmla="*/ 1148 w 4499"/>
                <a:gd name="T39" fmla="*/ 2369 h 3567"/>
                <a:gd name="T40" fmla="*/ 1277 w 4499"/>
                <a:gd name="T41" fmla="*/ 2352 h 3567"/>
                <a:gd name="T42" fmla="*/ 1425 w 4499"/>
                <a:gd name="T43" fmla="*/ 2403 h 3567"/>
                <a:gd name="T44" fmla="*/ 1450 w 4499"/>
                <a:gd name="T45" fmla="*/ 2573 h 3567"/>
                <a:gd name="T46" fmla="*/ 1472 w 4499"/>
                <a:gd name="T47" fmla="*/ 2879 h 3567"/>
                <a:gd name="T48" fmla="*/ 1629 w 4499"/>
                <a:gd name="T49" fmla="*/ 2930 h 3567"/>
                <a:gd name="T50" fmla="*/ 1630 w 4499"/>
                <a:gd name="T51" fmla="*/ 3368 h 3567"/>
                <a:gd name="T52" fmla="*/ 1683 w 4499"/>
                <a:gd name="T53" fmla="*/ 3549 h 3567"/>
                <a:gd name="T54" fmla="*/ 1842 w 4499"/>
                <a:gd name="T55" fmla="*/ 3511 h 3567"/>
                <a:gd name="T56" fmla="*/ 1923 w 4499"/>
                <a:gd name="T57" fmla="*/ 3479 h 3567"/>
                <a:gd name="T58" fmla="*/ 2103 w 4499"/>
                <a:gd name="T59" fmla="*/ 3444 h 3567"/>
                <a:gd name="T60" fmla="*/ 2370 w 4499"/>
                <a:gd name="T61" fmla="*/ 3419 h 3567"/>
                <a:gd name="T62" fmla="*/ 2900 w 4499"/>
                <a:gd name="T63" fmla="*/ 3348 h 3567"/>
                <a:gd name="T64" fmla="*/ 3218 w 4499"/>
                <a:gd name="T65" fmla="*/ 3287 h 3567"/>
                <a:gd name="T66" fmla="*/ 3338 w 4499"/>
                <a:gd name="T67" fmla="*/ 2989 h 3567"/>
                <a:gd name="T68" fmla="*/ 3504 w 4499"/>
                <a:gd name="T69" fmla="*/ 2881 h 3567"/>
                <a:gd name="T70" fmla="*/ 3553 w 4499"/>
                <a:gd name="T71" fmla="*/ 2692 h 3567"/>
                <a:gd name="T72" fmla="*/ 3809 w 4499"/>
                <a:gd name="T73" fmla="*/ 2539 h 3567"/>
                <a:gd name="T74" fmla="*/ 3920 w 4499"/>
                <a:gd name="T75" fmla="*/ 2313 h 3567"/>
                <a:gd name="T76" fmla="*/ 4010 w 4499"/>
                <a:gd name="T77" fmla="*/ 2116 h 3567"/>
                <a:gd name="T78" fmla="*/ 3980 w 4499"/>
                <a:gd name="T79" fmla="*/ 2010 h 3567"/>
                <a:gd name="T80" fmla="*/ 4075 w 4499"/>
                <a:gd name="T81" fmla="*/ 1854 h 3567"/>
                <a:gd name="T82" fmla="*/ 4270 w 4499"/>
                <a:gd name="T83" fmla="*/ 1738 h 3567"/>
                <a:gd name="T84" fmla="*/ 4318 w 4499"/>
                <a:gd name="T85" fmla="*/ 1529 h 3567"/>
                <a:gd name="T86" fmla="*/ 4433 w 4499"/>
                <a:gd name="T87" fmla="*/ 1220 h 3567"/>
                <a:gd name="T88" fmla="*/ 4476 w 4499"/>
                <a:gd name="T89" fmla="*/ 984 h 3567"/>
                <a:gd name="T90" fmla="*/ 4261 w 4499"/>
                <a:gd name="T91" fmla="*/ 819 h 3567"/>
                <a:gd name="T92" fmla="*/ 4069 w 4499"/>
                <a:gd name="T93" fmla="*/ 792 h 3567"/>
                <a:gd name="T94" fmla="*/ 3954 w 4499"/>
                <a:gd name="T95" fmla="*/ 677 h 3567"/>
                <a:gd name="T96" fmla="*/ 3750 w 4499"/>
                <a:gd name="T97" fmla="*/ 546 h 3567"/>
                <a:gd name="T98" fmla="*/ 3552 w 4499"/>
                <a:gd name="T99" fmla="*/ 430 h 3567"/>
                <a:gd name="T100" fmla="*/ 3301 w 4499"/>
                <a:gd name="T101" fmla="*/ 240 h 3567"/>
                <a:gd name="T102" fmla="*/ 3156 w 4499"/>
                <a:gd name="T103" fmla="*/ 257 h 3567"/>
                <a:gd name="T104" fmla="*/ 3015 w 4499"/>
                <a:gd name="T105" fmla="*/ 175 h 3567"/>
                <a:gd name="T106" fmla="*/ 3042 w 4499"/>
                <a:gd name="T107" fmla="*/ 31 h 3567"/>
                <a:gd name="T108" fmla="*/ 2860 w 4499"/>
                <a:gd name="T109" fmla="*/ 8 h 3567"/>
                <a:gd name="T110" fmla="*/ 2663 w 4499"/>
                <a:gd name="T111" fmla="*/ 93 h 3567"/>
                <a:gd name="T112" fmla="*/ 2286 w 4499"/>
                <a:gd name="T113" fmla="*/ 293 h 3567"/>
                <a:gd name="T114" fmla="*/ 2132 w 4499"/>
                <a:gd name="T115" fmla="*/ 300 h 3567"/>
                <a:gd name="T116" fmla="*/ 1912 w 4499"/>
                <a:gd name="T117" fmla="*/ 194 h 3567"/>
                <a:gd name="T118" fmla="*/ 1755 w 4499"/>
                <a:gd name="T119" fmla="*/ 404 h 3567"/>
                <a:gd name="T120" fmla="*/ 1647 w 4499"/>
                <a:gd name="T121" fmla="*/ 662 h 3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99" h="3567">
                  <a:moveTo>
                    <a:pt x="1633" y="672"/>
                  </a:moveTo>
                  <a:lnTo>
                    <a:pt x="1631" y="684"/>
                  </a:lnTo>
                  <a:lnTo>
                    <a:pt x="1628" y="694"/>
                  </a:lnTo>
                  <a:lnTo>
                    <a:pt x="1625" y="704"/>
                  </a:lnTo>
                  <a:lnTo>
                    <a:pt x="1619" y="714"/>
                  </a:lnTo>
                  <a:lnTo>
                    <a:pt x="1607" y="732"/>
                  </a:lnTo>
                  <a:lnTo>
                    <a:pt x="1593" y="749"/>
                  </a:lnTo>
                  <a:lnTo>
                    <a:pt x="1580" y="767"/>
                  </a:lnTo>
                  <a:lnTo>
                    <a:pt x="1570" y="784"/>
                  </a:lnTo>
                  <a:lnTo>
                    <a:pt x="1565" y="794"/>
                  </a:lnTo>
                  <a:lnTo>
                    <a:pt x="1562" y="805"/>
                  </a:lnTo>
                  <a:lnTo>
                    <a:pt x="1560" y="815"/>
                  </a:lnTo>
                  <a:lnTo>
                    <a:pt x="1559" y="827"/>
                  </a:lnTo>
                  <a:lnTo>
                    <a:pt x="1559" y="835"/>
                  </a:lnTo>
                  <a:lnTo>
                    <a:pt x="1560" y="842"/>
                  </a:lnTo>
                  <a:lnTo>
                    <a:pt x="1562" y="850"/>
                  </a:lnTo>
                  <a:lnTo>
                    <a:pt x="1564" y="857"/>
                  </a:lnTo>
                  <a:lnTo>
                    <a:pt x="1571" y="870"/>
                  </a:lnTo>
                  <a:lnTo>
                    <a:pt x="1577" y="882"/>
                  </a:lnTo>
                  <a:lnTo>
                    <a:pt x="1584" y="895"/>
                  </a:lnTo>
                  <a:lnTo>
                    <a:pt x="1589" y="908"/>
                  </a:lnTo>
                  <a:lnTo>
                    <a:pt x="1591" y="915"/>
                  </a:lnTo>
                  <a:lnTo>
                    <a:pt x="1593" y="922"/>
                  </a:lnTo>
                  <a:lnTo>
                    <a:pt x="1594" y="930"/>
                  </a:lnTo>
                  <a:lnTo>
                    <a:pt x="1596" y="938"/>
                  </a:lnTo>
                  <a:lnTo>
                    <a:pt x="1596" y="954"/>
                  </a:lnTo>
                  <a:lnTo>
                    <a:pt x="1596" y="967"/>
                  </a:lnTo>
                  <a:lnTo>
                    <a:pt x="1596" y="981"/>
                  </a:lnTo>
                  <a:lnTo>
                    <a:pt x="1596" y="996"/>
                  </a:lnTo>
                  <a:lnTo>
                    <a:pt x="1594" y="1001"/>
                  </a:lnTo>
                  <a:lnTo>
                    <a:pt x="1594" y="1005"/>
                  </a:lnTo>
                  <a:lnTo>
                    <a:pt x="1592" y="1010"/>
                  </a:lnTo>
                  <a:lnTo>
                    <a:pt x="1591" y="1014"/>
                  </a:lnTo>
                  <a:lnTo>
                    <a:pt x="1587" y="1022"/>
                  </a:lnTo>
                  <a:lnTo>
                    <a:pt x="1582" y="1028"/>
                  </a:lnTo>
                  <a:lnTo>
                    <a:pt x="1575" y="1036"/>
                  </a:lnTo>
                  <a:lnTo>
                    <a:pt x="1570" y="1042"/>
                  </a:lnTo>
                  <a:lnTo>
                    <a:pt x="1563" y="1051"/>
                  </a:lnTo>
                  <a:lnTo>
                    <a:pt x="1559" y="1059"/>
                  </a:lnTo>
                  <a:lnTo>
                    <a:pt x="1547" y="1086"/>
                  </a:lnTo>
                  <a:lnTo>
                    <a:pt x="1536" y="1111"/>
                  </a:lnTo>
                  <a:lnTo>
                    <a:pt x="1525" y="1135"/>
                  </a:lnTo>
                  <a:lnTo>
                    <a:pt x="1513" y="1163"/>
                  </a:lnTo>
                  <a:lnTo>
                    <a:pt x="1507" y="1177"/>
                  </a:lnTo>
                  <a:lnTo>
                    <a:pt x="1499" y="1190"/>
                  </a:lnTo>
                  <a:lnTo>
                    <a:pt x="1496" y="1197"/>
                  </a:lnTo>
                  <a:lnTo>
                    <a:pt x="1494" y="1203"/>
                  </a:lnTo>
                  <a:lnTo>
                    <a:pt x="1492" y="1211"/>
                  </a:lnTo>
                  <a:lnTo>
                    <a:pt x="1492" y="1219"/>
                  </a:lnTo>
                  <a:lnTo>
                    <a:pt x="1492" y="1229"/>
                  </a:lnTo>
                  <a:lnTo>
                    <a:pt x="1494" y="1237"/>
                  </a:lnTo>
                  <a:lnTo>
                    <a:pt x="1498" y="1244"/>
                  </a:lnTo>
                  <a:lnTo>
                    <a:pt x="1503" y="1251"/>
                  </a:lnTo>
                  <a:lnTo>
                    <a:pt x="1513" y="1262"/>
                  </a:lnTo>
                  <a:lnTo>
                    <a:pt x="1525" y="1278"/>
                  </a:lnTo>
                  <a:lnTo>
                    <a:pt x="1532" y="1292"/>
                  </a:lnTo>
                  <a:lnTo>
                    <a:pt x="1540" y="1304"/>
                  </a:lnTo>
                  <a:lnTo>
                    <a:pt x="1545" y="1309"/>
                  </a:lnTo>
                  <a:lnTo>
                    <a:pt x="1547" y="1315"/>
                  </a:lnTo>
                  <a:lnTo>
                    <a:pt x="1549" y="1322"/>
                  </a:lnTo>
                  <a:lnTo>
                    <a:pt x="1550" y="1329"/>
                  </a:lnTo>
                  <a:lnTo>
                    <a:pt x="1549" y="1341"/>
                  </a:lnTo>
                  <a:lnTo>
                    <a:pt x="1547" y="1352"/>
                  </a:lnTo>
                  <a:lnTo>
                    <a:pt x="1544" y="1362"/>
                  </a:lnTo>
                  <a:lnTo>
                    <a:pt x="1539" y="1372"/>
                  </a:lnTo>
                  <a:lnTo>
                    <a:pt x="1529" y="1389"/>
                  </a:lnTo>
                  <a:lnTo>
                    <a:pt x="1516" y="1404"/>
                  </a:lnTo>
                  <a:lnTo>
                    <a:pt x="1503" y="1420"/>
                  </a:lnTo>
                  <a:lnTo>
                    <a:pt x="1491" y="1437"/>
                  </a:lnTo>
                  <a:lnTo>
                    <a:pt x="1486" y="1447"/>
                  </a:lnTo>
                  <a:lnTo>
                    <a:pt x="1483" y="1457"/>
                  </a:lnTo>
                  <a:lnTo>
                    <a:pt x="1481" y="1468"/>
                  </a:lnTo>
                  <a:lnTo>
                    <a:pt x="1480" y="1480"/>
                  </a:lnTo>
                  <a:lnTo>
                    <a:pt x="1480" y="1508"/>
                  </a:lnTo>
                  <a:lnTo>
                    <a:pt x="1480" y="1532"/>
                  </a:lnTo>
                  <a:lnTo>
                    <a:pt x="1480" y="1557"/>
                  </a:lnTo>
                  <a:lnTo>
                    <a:pt x="1480" y="1586"/>
                  </a:lnTo>
                  <a:lnTo>
                    <a:pt x="1468" y="1586"/>
                  </a:lnTo>
                  <a:lnTo>
                    <a:pt x="1456" y="1588"/>
                  </a:lnTo>
                  <a:lnTo>
                    <a:pt x="1445" y="1589"/>
                  </a:lnTo>
                  <a:lnTo>
                    <a:pt x="1435" y="1591"/>
                  </a:lnTo>
                  <a:lnTo>
                    <a:pt x="1414" y="1597"/>
                  </a:lnTo>
                  <a:lnTo>
                    <a:pt x="1396" y="1605"/>
                  </a:lnTo>
                  <a:lnTo>
                    <a:pt x="1377" y="1613"/>
                  </a:lnTo>
                  <a:lnTo>
                    <a:pt x="1359" y="1624"/>
                  </a:lnTo>
                  <a:lnTo>
                    <a:pt x="1339" y="1636"/>
                  </a:lnTo>
                  <a:lnTo>
                    <a:pt x="1318" y="1648"/>
                  </a:lnTo>
                  <a:lnTo>
                    <a:pt x="1302" y="1658"/>
                  </a:lnTo>
                  <a:lnTo>
                    <a:pt x="1287" y="1669"/>
                  </a:lnTo>
                  <a:lnTo>
                    <a:pt x="1279" y="1672"/>
                  </a:lnTo>
                  <a:lnTo>
                    <a:pt x="1272" y="1676"/>
                  </a:lnTo>
                  <a:lnTo>
                    <a:pt x="1263" y="1678"/>
                  </a:lnTo>
                  <a:lnTo>
                    <a:pt x="1253" y="1678"/>
                  </a:lnTo>
                  <a:lnTo>
                    <a:pt x="1246" y="1678"/>
                  </a:lnTo>
                  <a:lnTo>
                    <a:pt x="1239" y="1676"/>
                  </a:lnTo>
                  <a:lnTo>
                    <a:pt x="1234" y="1673"/>
                  </a:lnTo>
                  <a:lnTo>
                    <a:pt x="1227" y="1669"/>
                  </a:lnTo>
                  <a:lnTo>
                    <a:pt x="1222" y="1665"/>
                  </a:lnTo>
                  <a:lnTo>
                    <a:pt x="1216" y="1661"/>
                  </a:lnTo>
                  <a:lnTo>
                    <a:pt x="1210" y="1658"/>
                  </a:lnTo>
                  <a:lnTo>
                    <a:pt x="1202" y="1657"/>
                  </a:lnTo>
                  <a:lnTo>
                    <a:pt x="1173" y="1651"/>
                  </a:lnTo>
                  <a:lnTo>
                    <a:pt x="1147" y="1649"/>
                  </a:lnTo>
                  <a:lnTo>
                    <a:pt x="1120" y="1648"/>
                  </a:lnTo>
                  <a:lnTo>
                    <a:pt x="1091" y="1648"/>
                  </a:lnTo>
                  <a:lnTo>
                    <a:pt x="1068" y="1649"/>
                  </a:lnTo>
                  <a:lnTo>
                    <a:pt x="1048" y="1652"/>
                  </a:lnTo>
                  <a:lnTo>
                    <a:pt x="1029" y="1655"/>
                  </a:lnTo>
                  <a:lnTo>
                    <a:pt x="1006" y="1657"/>
                  </a:lnTo>
                  <a:lnTo>
                    <a:pt x="987" y="1657"/>
                  </a:lnTo>
                  <a:lnTo>
                    <a:pt x="971" y="1657"/>
                  </a:lnTo>
                  <a:lnTo>
                    <a:pt x="955" y="1657"/>
                  </a:lnTo>
                  <a:lnTo>
                    <a:pt x="937" y="1657"/>
                  </a:lnTo>
                  <a:lnTo>
                    <a:pt x="919" y="1656"/>
                  </a:lnTo>
                  <a:lnTo>
                    <a:pt x="903" y="1653"/>
                  </a:lnTo>
                  <a:lnTo>
                    <a:pt x="896" y="1652"/>
                  </a:lnTo>
                  <a:lnTo>
                    <a:pt x="888" y="1649"/>
                  </a:lnTo>
                  <a:lnTo>
                    <a:pt x="881" y="1646"/>
                  </a:lnTo>
                  <a:lnTo>
                    <a:pt x="872" y="1643"/>
                  </a:lnTo>
                  <a:lnTo>
                    <a:pt x="865" y="1637"/>
                  </a:lnTo>
                  <a:lnTo>
                    <a:pt x="859" y="1632"/>
                  </a:lnTo>
                  <a:lnTo>
                    <a:pt x="854" y="1625"/>
                  </a:lnTo>
                  <a:lnTo>
                    <a:pt x="849" y="1620"/>
                  </a:lnTo>
                  <a:lnTo>
                    <a:pt x="844" y="1615"/>
                  </a:lnTo>
                  <a:lnTo>
                    <a:pt x="837" y="1610"/>
                  </a:lnTo>
                  <a:lnTo>
                    <a:pt x="834" y="1608"/>
                  </a:lnTo>
                  <a:lnTo>
                    <a:pt x="831" y="1607"/>
                  </a:lnTo>
                  <a:lnTo>
                    <a:pt x="828" y="1606"/>
                  </a:lnTo>
                  <a:lnTo>
                    <a:pt x="823" y="1606"/>
                  </a:lnTo>
                  <a:lnTo>
                    <a:pt x="815" y="1607"/>
                  </a:lnTo>
                  <a:lnTo>
                    <a:pt x="807" y="1609"/>
                  </a:lnTo>
                  <a:lnTo>
                    <a:pt x="801" y="1612"/>
                  </a:lnTo>
                  <a:lnTo>
                    <a:pt x="794" y="1617"/>
                  </a:lnTo>
                  <a:lnTo>
                    <a:pt x="782" y="1628"/>
                  </a:lnTo>
                  <a:lnTo>
                    <a:pt x="768" y="1636"/>
                  </a:lnTo>
                  <a:lnTo>
                    <a:pt x="751" y="1645"/>
                  </a:lnTo>
                  <a:lnTo>
                    <a:pt x="735" y="1652"/>
                  </a:lnTo>
                  <a:lnTo>
                    <a:pt x="719" y="1659"/>
                  </a:lnTo>
                  <a:lnTo>
                    <a:pt x="701" y="1667"/>
                  </a:lnTo>
                  <a:lnTo>
                    <a:pt x="693" y="1673"/>
                  </a:lnTo>
                  <a:lnTo>
                    <a:pt x="686" y="1679"/>
                  </a:lnTo>
                  <a:lnTo>
                    <a:pt x="681" y="1686"/>
                  </a:lnTo>
                  <a:lnTo>
                    <a:pt x="675" y="1692"/>
                  </a:lnTo>
                  <a:lnTo>
                    <a:pt x="670" y="1700"/>
                  </a:lnTo>
                  <a:lnTo>
                    <a:pt x="665" y="1706"/>
                  </a:lnTo>
                  <a:lnTo>
                    <a:pt x="658" y="1713"/>
                  </a:lnTo>
                  <a:lnTo>
                    <a:pt x="651" y="1718"/>
                  </a:lnTo>
                  <a:lnTo>
                    <a:pt x="649" y="1709"/>
                  </a:lnTo>
                  <a:lnTo>
                    <a:pt x="647" y="1699"/>
                  </a:lnTo>
                  <a:lnTo>
                    <a:pt x="644" y="1689"/>
                  </a:lnTo>
                  <a:lnTo>
                    <a:pt x="641" y="1680"/>
                  </a:lnTo>
                  <a:lnTo>
                    <a:pt x="636" y="1673"/>
                  </a:lnTo>
                  <a:lnTo>
                    <a:pt x="630" y="1667"/>
                  </a:lnTo>
                  <a:lnTo>
                    <a:pt x="627" y="1665"/>
                  </a:lnTo>
                  <a:lnTo>
                    <a:pt x="624" y="1663"/>
                  </a:lnTo>
                  <a:lnTo>
                    <a:pt x="619" y="1662"/>
                  </a:lnTo>
                  <a:lnTo>
                    <a:pt x="614" y="1662"/>
                  </a:lnTo>
                  <a:lnTo>
                    <a:pt x="608" y="1663"/>
                  </a:lnTo>
                  <a:lnTo>
                    <a:pt x="603" y="1664"/>
                  </a:lnTo>
                  <a:lnTo>
                    <a:pt x="599" y="1667"/>
                  </a:lnTo>
                  <a:lnTo>
                    <a:pt x="594" y="1671"/>
                  </a:lnTo>
                  <a:lnTo>
                    <a:pt x="590" y="1675"/>
                  </a:lnTo>
                  <a:lnTo>
                    <a:pt x="586" y="1678"/>
                  </a:lnTo>
                  <a:lnTo>
                    <a:pt x="580" y="1682"/>
                  </a:lnTo>
                  <a:lnTo>
                    <a:pt x="575" y="1685"/>
                  </a:lnTo>
                  <a:lnTo>
                    <a:pt x="537" y="1698"/>
                  </a:lnTo>
                  <a:lnTo>
                    <a:pt x="503" y="1710"/>
                  </a:lnTo>
                  <a:lnTo>
                    <a:pt x="469" y="1723"/>
                  </a:lnTo>
                  <a:lnTo>
                    <a:pt x="432" y="1738"/>
                  </a:lnTo>
                  <a:lnTo>
                    <a:pt x="399" y="1739"/>
                  </a:lnTo>
                  <a:lnTo>
                    <a:pt x="370" y="1740"/>
                  </a:lnTo>
                  <a:lnTo>
                    <a:pt x="342" y="1744"/>
                  </a:lnTo>
                  <a:lnTo>
                    <a:pt x="309" y="1748"/>
                  </a:lnTo>
                  <a:lnTo>
                    <a:pt x="296" y="1751"/>
                  </a:lnTo>
                  <a:lnTo>
                    <a:pt x="285" y="1753"/>
                  </a:lnTo>
                  <a:lnTo>
                    <a:pt x="275" y="1756"/>
                  </a:lnTo>
                  <a:lnTo>
                    <a:pt x="264" y="1760"/>
                  </a:lnTo>
                  <a:lnTo>
                    <a:pt x="260" y="1763"/>
                  </a:lnTo>
                  <a:lnTo>
                    <a:pt x="255" y="1766"/>
                  </a:lnTo>
                  <a:lnTo>
                    <a:pt x="253" y="1770"/>
                  </a:lnTo>
                  <a:lnTo>
                    <a:pt x="250" y="1774"/>
                  </a:lnTo>
                  <a:lnTo>
                    <a:pt x="247" y="1784"/>
                  </a:lnTo>
                  <a:lnTo>
                    <a:pt x="241" y="1794"/>
                  </a:lnTo>
                  <a:lnTo>
                    <a:pt x="235" y="1806"/>
                  </a:lnTo>
                  <a:lnTo>
                    <a:pt x="228" y="1817"/>
                  </a:lnTo>
                  <a:lnTo>
                    <a:pt x="221" y="1827"/>
                  </a:lnTo>
                  <a:lnTo>
                    <a:pt x="213" y="1838"/>
                  </a:lnTo>
                  <a:lnTo>
                    <a:pt x="209" y="1848"/>
                  </a:lnTo>
                  <a:lnTo>
                    <a:pt x="204" y="1855"/>
                  </a:lnTo>
                  <a:lnTo>
                    <a:pt x="200" y="1863"/>
                  </a:lnTo>
                  <a:lnTo>
                    <a:pt x="196" y="1869"/>
                  </a:lnTo>
                  <a:lnTo>
                    <a:pt x="190" y="1875"/>
                  </a:lnTo>
                  <a:lnTo>
                    <a:pt x="184" y="1881"/>
                  </a:lnTo>
                  <a:lnTo>
                    <a:pt x="176" y="1887"/>
                  </a:lnTo>
                  <a:lnTo>
                    <a:pt x="169" y="1892"/>
                  </a:lnTo>
                  <a:lnTo>
                    <a:pt x="159" y="1899"/>
                  </a:lnTo>
                  <a:lnTo>
                    <a:pt x="153" y="1907"/>
                  </a:lnTo>
                  <a:lnTo>
                    <a:pt x="148" y="1912"/>
                  </a:lnTo>
                  <a:lnTo>
                    <a:pt x="145" y="1915"/>
                  </a:lnTo>
                  <a:lnTo>
                    <a:pt x="141" y="1918"/>
                  </a:lnTo>
                  <a:lnTo>
                    <a:pt x="135" y="1920"/>
                  </a:lnTo>
                  <a:lnTo>
                    <a:pt x="126" y="1921"/>
                  </a:lnTo>
                  <a:lnTo>
                    <a:pt x="117" y="1921"/>
                  </a:lnTo>
                  <a:lnTo>
                    <a:pt x="113" y="1921"/>
                  </a:lnTo>
                  <a:lnTo>
                    <a:pt x="109" y="1921"/>
                  </a:lnTo>
                  <a:lnTo>
                    <a:pt x="105" y="1923"/>
                  </a:lnTo>
                  <a:lnTo>
                    <a:pt x="101" y="1926"/>
                  </a:lnTo>
                  <a:lnTo>
                    <a:pt x="92" y="1934"/>
                  </a:lnTo>
                  <a:lnTo>
                    <a:pt x="83" y="1944"/>
                  </a:lnTo>
                  <a:lnTo>
                    <a:pt x="78" y="1954"/>
                  </a:lnTo>
                  <a:lnTo>
                    <a:pt x="73" y="1964"/>
                  </a:lnTo>
                  <a:lnTo>
                    <a:pt x="65" y="1986"/>
                  </a:lnTo>
                  <a:lnTo>
                    <a:pt x="60" y="2012"/>
                  </a:lnTo>
                  <a:lnTo>
                    <a:pt x="60" y="2012"/>
                  </a:lnTo>
                  <a:lnTo>
                    <a:pt x="45" y="2026"/>
                  </a:lnTo>
                  <a:lnTo>
                    <a:pt x="33" y="2040"/>
                  </a:lnTo>
                  <a:lnTo>
                    <a:pt x="22" y="2055"/>
                  </a:lnTo>
                  <a:lnTo>
                    <a:pt x="14" y="2071"/>
                  </a:lnTo>
                  <a:lnTo>
                    <a:pt x="8" y="2088"/>
                  </a:lnTo>
                  <a:lnTo>
                    <a:pt x="4" y="2105"/>
                  </a:lnTo>
                  <a:lnTo>
                    <a:pt x="1" y="2123"/>
                  </a:lnTo>
                  <a:lnTo>
                    <a:pt x="0" y="2144"/>
                  </a:lnTo>
                  <a:lnTo>
                    <a:pt x="1" y="2156"/>
                  </a:lnTo>
                  <a:lnTo>
                    <a:pt x="4" y="2165"/>
                  </a:lnTo>
                  <a:lnTo>
                    <a:pt x="6" y="2175"/>
                  </a:lnTo>
                  <a:lnTo>
                    <a:pt x="9" y="2185"/>
                  </a:lnTo>
                  <a:lnTo>
                    <a:pt x="11" y="2193"/>
                  </a:lnTo>
                  <a:lnTo>
                    <a:pt x="13" y="2203"/>
                  </a:lnTo>
                  <a:lnTo>
                    <a:pt x="14" y="2214"/>
                  </a:lnTo>
                  <a:lnTo>
                    <a:pt x="13" y="2225"/>
                  </a:lnTo>
                  <a:lnTo>
                    <a:pt x="13" y="2225"/>
                  </a:lnTo>
                  <a:lnTo>
                    <a:pt x="22" y="2213"/>
                  </a:lnTo>
                  <a:lnTo>
                    <a:pt x="32" y="2201"/>
                  </a:lnTo>
                  <a:lnTo>
                    <a:pt x="42" y="2191"/>
                  </a:lnTo>
                  <a:lnTo>
                    <a:pt x="54" y="2184"/>
                  </a:lnTo>
                  <a:lnTo>
                    <a:pt x="66" y="2177"/>
                  </a:lnTo>
                  <a:lnTo>
                    <a:pt x="80" y="2173"/>
                  </a:lnTo>
                  <a:lnTo>
                    <a:pt x="94" y="2170"/>
                  </a:lnTo>
                  <a:lnTo>
                    <a:pt x="109" y="2170"/>
                  </a:lnTo>
                  <a:lnTo>
                    <a:pt x="118" y="2170"/>
                  </a:lnTo>
                  <a:lnTo>
                    <a:pt x="126" y="2171"/>
                  </a:lnTo>
                  <a:lnTo>
                    <a:pt x="132" y="2174"/>
                  </a:lnTo>
                  <a:lnTo>
                    <a:pt x="139" y="2176"/>
                  </a:lnTo>
                  <a:lnTo>
                    <a:pt x="152" y="2184"/>
                  </a:lnTo>
                  <a:lnTo>
                    <a:pt x="166" y="2191"/>
                  </a:lnTo>
                  <a:lnTo>
                    <a:pt x="183" y="2198"/>
                  </a:lnTo>
                  <a:lnTo>
                    <a:pt x="198" y="2203"/>
                  </a:lnTo>
                  <a:lnTo>
                    <a:pt x="214" y="2206"/>
                  </a:lnTo>
                  <a:lnTo>
                    <a:pt x="228" y="2210"/>
                  </a:lnTo>
                  <a:lnTo>
                    <a:pt x="260" y="2214"/>
                  </a:lnTo>
                  <a:lnTo>
                    <a:pt x="295" y="2219"/>
                  </a:lnTo>
                  <a:lnTo>
                    <a:pt x="334" y="2218"/>
                  </a:lnTo>
                  <a:lnTo>
                    <a:pt x="369" y="2216"/>
                  </a:lnTo>
                  <a:lnTo>
                    <a:pt x="403" y="2215"/>
                  </a:lnTo>
                  <a:lnTo>
                    <a:pt x="443" y="2214"/>
                  </a:lnTo>
                  <a:lnTo>
                    <a:pt x="470" y="2214"/>
                  </a:lnTo>
                  <a:lnTo>
                    <a:pt x="494" y="2214"/>
                  </a:lnTo>
                  <a:lnTo>
                    <a:pt x="506" y="2214"/>
                  </a:lnTo>
                  <a:lnTo>
                    <a:pt x="518" y="2215"/>
                  </a:lnTo>
                  <a:lnTo>
                    <a:pt x="531" y="2217"/>
                  </a:lnTo>
                  <a:lnTo>
                    <a:pt x="544" y="2219"/>
                  </a:lnTo>
                  <a:lnTo>
                    <a:pt x="555" y="2223"/>
                  </a:lnTo>
                  <a:lnTo>
                    <a:pt x="566" y="2225"/>
                  </a:lnTo>
                  <a:lnTo>
                    <a:pt x="577" y="2228"/>
                  </a:lnTo>
                  <a:lnTo>
                    <a:pt x="589" y="2231"/>
                  </a:lnTo>
                  <a:lnTo>
                    <a:pt x="596" y="2236"/>
                  </a:lnTo>
                  <a:lnTo>
                    <a:pt x="603" y="2241"/>
                  </a:lnTo>
                  <a:lnTo>
                    <a:pt x="608" y="2247"/>
                  </a:lnTo>
                  <a:lnTo>
                    <a:pt x="614" y="2254"/>
                  </a:lnTo>
                  <a:lnTo>
                    <a:pt x="617" y="2261"/>
                  </a:lnTo>
                  <a:lnTo>
                    <a:pt x="620" y="2270"/>
                  </a:lnTo>
                  <a:lnTo>
                    <a:pt x="622" y="2279"/>
                  </a:lnTo>
                  <a:lnTo>
                    <a:pt x="622" y="2286"/>
                  </a:lnTo>
                  <a:lnTo>
                    <a:pt x="622" y="2298"/>
                  </a:lnTo>
                  <a:lnTo>
                    <a:pt x="620" y="2309"/>
                  </a:lnTo>
                  <a:lnTo>
                    <a:pt x="618" y="2319"/>
                  </a:lnTo>
                  <a:lnTo>
                    <a:pt x="616" y="2327"/>
                  </a:lnTo>
                  <a:lnTo>
                    <a:pt x="613" y="2337"/>
                  </a:lnTo>
                  <a:lnTo>
                    <a:pt x="611" y="2347"/>
                  </a:lnTo>
                  <a:lnTo>
                    <a:pt x="609" y="2357"/>
                  </a:lnTo>
                  <a:lnTo>
                    <a:pt x="608" y="2368"/>
                  </a:lnTo>
                  <a:lnTo>
                    <a:pt x="609" y="2373"/>
                  </a:lnTo>
                  <a:lnTo>
                    <a:pt x="611" y="2376"/>
                  </a:lnTo>
                  <a:lnTo>
                    <a:pt x="613" y="2380"/>
                  </a:lnTo>
                  <a:lnTo>
                    <a:pt x="615" y="2382"/>
                  </a:lnTo>
                  <a:lnTo>
                    <a:pt x="620" y="2389"/>
                  </a:lnTo>
                  <a:lnTo>
                    <a:pt x="626" y="2396"/>
                  </a:lnTo>
                  <a:lnTo>
                    <a:pt x="630" y="2405"/>
                  </a:lnTo>
                  <a:lnTo>
                    <a:pt x="635" y="2415"/>
                  </a:lnTo>
                  <a:lnTo>
                    <a:pt x="638" y="2418"/>
                  </a:lnTo>
                  <a:lnTo>
                    <a:pt x="642" y="2421"/>
                  </a:lnTo>
                  <a:lnTo>
                    <a:pt x="645" y="2423"/>
                  </a:lnTo>
                  <a:lnTo>
                    <a:pt x="651" y="2425"/>
                  </a:lnTo>
                  <a:lnTo>
                    <a:pt x="656" y="2423"/>
                  </a:lnTo>
                  <a:lnTo>
                    <a:pt x="661" y="2422"/>
                  </a:lnTo>
                  <a:lnTo>
                    <a:pt x="666" y="2421"/>
                  </a:lnTo>
                  <a:lnTo>
                    <a:pt x="670" y="2418"/>
                  </a:lnTo>
                  <a:lnTo>
                    <a:pt x="678" y="2413"/>
                  </a:lnTo>
                  <a:lnTo>
                    <a:pt x="684" y="2406"/>
                  </a:lnTo>
                  <a:lnTo>
                    <a:pt x="692" y="2400"/>
                  </a:lnTo>
                  <a:lnTo>
                    <a:pt x="699" y="2393"/>
                  </a:lnTo>
                  <a:lnTo>
                    <a:pt x="703" y="2391"/>
                  </a:lnTo>
                  <a:lnTo>
                    <a:pt x="708" y="2389"/>
                  </a:lnTo>
                  <a:lnTo>
                    <a:pt x="712" y="2388"/>
                  </a:lnTo>
                  <a:lnTo>
                    <a:pt x="717" y="2388"/>
                  </a:lnTo>
                  <a:lnTo>
                    <a:pt x="723" y="2388"/>
                  </a:lnTo>
                  <a:lnTo>
                    <a:pt x="728" y="2389"/>
                  </a:lnTo>
                  <a:lnTo>
                    <a:pt x="733" y="2391"/>
                  </a:lnTo>
                  <a:lnTo>
                    <a:pt x="737" y="2393"/>
                  </a:lnTo>
                  <a:lnTo>
                    <a:pt x="744" y="2399"/>
                  </a:lnTo>
                  <a:lnTo>
                    <a:pt x="750" y="2406"/>
                  </a:lnTo>
                  <a:lnTo>
                    <a:pt x="755" y="2415"/>
                  </a:lnTo>
                  <a:lnTo>
                    <a:pt x="761" y="2423"/>
                  </a:lnTo>
                  <a:lnTo>
                    <a:pt x="764" y="2434"/>
                  </a:lnTo>
                  <a:lnTo>
                    <a:pt x="768" y="2444"/>
                  </a:lnTo>
                  <a:lnTo>
                    <a:pt x="801" y="2426"/>
                  </a:lnTo>
                  <a:lnTo>
                    <a:pt x="832" y="2409"/>
                  </a:lnTo>
                  <a:lnTo>
                    <a:pt x="847" y="2403"/>
                  </a:lnTo>
                  <a:lnTo>
                    <a:pt x="862" y="2398"/>
                  </a:lnTo>
                  <a:lnTo>
                    <a:pt x="877" y="2392"/>
                  </a:lnTo>
                  <a:lnTo>
                    <a:pt x="892" y="2387"/>
                  </a:lnTo>
                  <a:lnTo>
                    <a:pt x="908" y="2384"/>
                  </a:lnTo>
                  <a:lnTo>
                    <a:pt x="923" y="2380"/>
                  </a:lnTo>
                  <a:lnTo>
                    <a:pt x="938" y="2377"/>
                  </a:lnTo>
                  <a:lnTo>
                    <a:pt x="955" y="2375"/>
                  </a:lnTo>
                  <a:lnTo>
                    <a:pt x="989" y="2372"/>
                  </a:lnTo>
                  <a:lnTo>
                    <a:pt x="1026" y="2371"/>
                  </a:lnTo>
                  <a:lnTo>
                    <a:pt x="1038" y="2372"/>
                  </a:lnTo>
                  <a:lnTo>
                    <a:pt x="1049" y="2373"/>
                  </a:lnTo>
                  <a:lnTo>
                    <a:pt x="1060" y="2375"/>
                  </a:lnTo>
                  <a:lnTo>
                    <a:pt x="1070" y="2377"/>
                  </a:lnTo>
                  <a:lnTo>
                    <a:pt x="1079" y="2378"/>
                  </a:lnTo>
                  <a:lnTo>
                    <a:pt x="1090" y="2380"/>
                  </a:lnTo>
                  <a:lnTo>
                    <a:pt x="1101" y="2381"/>
                  </a:lnTo>
                  <a:lnTo>
                    <a:pt x="1113" y="2382"/>
                  </a:lnTo>
                  <a:lnTo>
                    <a:pt x="1120" y="2381"/>
                  </a:lnTo>
                  <a:lnTo>
                    <a:pt x="1126" y="2380"/>
                  </a:lnTo>
                  <a:lnTo>
                    <a:pt x="1132" y="2378"/>
                  </a:lnTo>
                  <a:lnTo>
                    <a:pt x="1138" y="2376"/>
                  </a:lnTo>
                  <a:lnTo>
                    <a:pt x="1148" y="2369"/>
                  </a:lnTo>
                  <a:lnTo>
                    <a:pt x="1158" y="2363"/>
                  </a:lnTo>
                  <a:lnTo>
                    <a:pt x="1168" y="2355"/>
                  </a:lnTo>
                  <a:lnTo>
                    <a:pt x="1178" y="2349"/>
                  </a:lnTo>
                  <a:lnTo>
                    <a:pt x="1184" y="2347"/>
                  </a:lnTo>
                  <a:lnTo>
                    <a:pt x="1189" y="2345"/>
                  </a:lnTo>
                  <a:lnTo>
                    <a:pt x="1196" y="2344"/>
                  </a:lnTo>
                  <a:lnTo>
                    <a:pt x="1202" y="2342"/>
                  </a:lnTo>
                  <a:lnTo>
                    <a:pt x="1210" y="2344"/>
                  </a:lnTo>
                  <a:lnTo>
                    <a:pt x="1216" y="2345"/>
                  </a:lnTo>
                  <a:lnTo>
                    <a:pt x="1223" y="2347"/>
                  </a:lnTo>
                  <a:lnTo>
                    <a:pt x="1228" y="2349"/>
                  </a:lnTo>
                  <a:lnTo>
                    <a:pt x="1235" y="2350"/>
                  </a:lnTo>
                  <a:lnTo>
                    <a:pt x="1241" y="2352"/>
                  </a:lnTo>
                  <a:lnTo>
                    <a:pt x="1248" y="2353"/>
                  </a:lnTo>
                  <a:lnTo>
                    <a:pt x="1254" y="2354"/>
                  </a:lnTo>
                  <a:lnTo>
                    <a:pt x="1266" y="2353"/>
                  </a:lnTo>
                  <a:lnTo>
                    <a:pt x="1277" y="2352"/>
                  </a:lnTo>
                  <a:lnTo>
                    <a:pt x="1288" y="2350"/>
                  </a:lnTo>
                  <a:lnTo>
                    <a:pt x="1297" y="2349"/>
                  </a:lnTo>
                  <a:lnTo>
                    <a:pt x="1307" y="2347"/>
                  </a:lnTo>
                  <a:lnTo>
                    <a:pt x="1317" y="2345"/>
                  </a:lnTo>
                  <a:lnTo>
                    <a:pt x="1328" y="2344"/>
                  </a:lnTo>
                  <a:lnTo>
                    <a:pt x="1340" y="2342"/>
                  </a:lnTo>
                  <a:lnTo>
                    <a:pt x="1350" y="2344"/>
                  </a:lnTo>
                  <a:lnTo>
                    <a:pt x="1361" y="2346"/>
                  </a:lnTo>
                  <a:lnTo>
                    <a:pt x="1370" y="2348"/>
                  </a:lnTo>
                  <a:lnTo>
                    <a:pt x="1380" y="2352"/>
                  </a:lnTo>
                  <a:lnTo>
                    <a:pt x="1388" y="2358"/>
                  </a:lnTo>
                  <a:lnTo>
                    <a:pt x="1396" y="2363"/>
                  </a:lnTo>
                  <a:lnTo>
                    <a:pt x="1402" y="2369"/>
                  </a:lnTo>
                  <a:lnTo>
                    <a:pt x="1410" y="2377"/>
                  </a:lnTo>
                  <a:lnTo>
                    <a:pt x="1415" y="2385"/>
                  </a:lnTo>
                  <a:lnTo>
                    <a:pt x="1421" y="2394"/>
                  </a:lnTo>
                  <a:lnTo>
                    <a:pt x="1425" y="2403"/>
                  </a:lnTo>
                  <a:lnTo>
                    <a:pt x="1428" y="2413"/>
                  </a:lnTo>
                  <a:lnTo>
                    <a:pt x="1431" y="2422"/>
                  </a:lnTo>
                  <a:lnTo>
                    <a:pt x="1434" y="2433"/>
                  </a:lnTo>
                  <a:lnTo>
                    <a:pt x="1435" y="2444"/>
                  </a:lnTo>
                  <a:lnTo>
                    <a:pt x="1436" y="2455"/>
                  </a:lnTo>
                  <a:lnTo>
                    <a:pt x="1436" y="2473"/>
                  </a:lnTo>
                  <a:lnTo>
                    <a:pt x="1436" y="2490"/>
                  </a:lnTo>
                  <a:lnTo>
                    <a:pt x="1436" y="2507"/>
                  </a:lnTo>
                  <a:lnTo>
                    <a:pt x="1436" y="2526"/>
                  </a:lnTo>
                  <a:lnTo>
                    <a:pt x="1436" y="2533"/>
                  </a:lnTo>
                  <a:lnTo>
                    <a:pt x="1438" y="2538"/>
                  </a:lnTo>
                  <a:lnTo>
                    <a:pt x="1440" y="2544"/>
                  </a:lnTo>
                  <a:lnTo>
                    <a:pt x="1442" y="2549"/>
                  </a:lnTo>
                  <a:lnTo>
                    <a:pt x="1445" y="2554"/>
                  </a:lnTo>
                  <a:lnTo>
                    <a:pt x="1448" y="2560"/>
                  </a:lnTo>
                  <a:lnTo>
                    <a:pt x="1449" y="2566"/>
                  </a:lnTo>
                  <a:lnTo>
                    <a:pt x="1450" y="2573"/>
                  </a:lnTo>
                  <a:lnTo>
                    <a:pt x="1449" y="2593"/>
                  </a:lnTo>
                  <a:lnTo>
                    <a:pt x="1445" y="2611"/>
                  </a:lnTo>
                  <a:lnTo>
                    <a:pt x="1442" y="2629"/>
                  </a:lnTo>
                  <a:lnTo>
                    <a:pt x="1438" y="2646"/>
                  </a:lnTo>
                  <a:lnTo>
                    <a:pt x="1434" y="2662"/>
                  </a:lnTo>
                  <a:lnTo>
                    <a:pt x="1430" y="2679"/>
                  </a:lnTo>
                  <a:lnTo>
                    <a:pt x="1428" y="2698"/>
                  </a:lnTo>
                  <a:lnTo>
                    <a:pt x="1427" y="2718"/>
                  </a:lnTo>
                  <a:lnTo>
                    <a:pt x="1427" y="2735"/>
                  </a:lnTo>
                  <a:lnTo>
                    <a:pt x="1429" y="2751"/>
                  </a:lnTo>
                  <a:lnTo>
                    <a:pt x="1431" y="2765"/>
                  </a:lnTo>
                  <a:lnTo>
                    <a:pt x="1435" y="2779"/>
                  </a:lnTo>
                  <a:lnTo>
                    <a:pt x="1441" y="2808"/>
                  </a:lnTo>
                  <a:lnTo>
                    <a:pt x="1450" y="2839"/>
                  </a:lnTo>
                  <a:lnTo>
                    <a:pt x="1456" y="2853"/>
                  </a:lnTo>
                  <a:lnTo>
                    <a:pt x="1464" y="2867"/>
                  </a:lnTo>
                  <a:lnTo>
                    <a:pt x="1472" y="2879"/>
                  </a:lnTo>
                  <a:lnTo>
                    <a:pt x="1481" y="2891"/>
                  </a:lnTo>
                  <a:lnTo>
                    <a:pt x="1485" y="2895"/>
                  </a:lnTo>
                  <a:lnTo>
                    <a:pt x="1491" y="2901"/>
                  </a:lnTo>
                  <a:lnTo>
                    <a:pt x="1496" y="2904"/>
                  </a:lnTo>
                  <a:lnTo>
                    <a:pt x="1503" y="2908"/>
                  </a:lnTo>
                  <a:lnTo>
                    <a:pt x="1509" y="2912"/>
                  </a:lnTo>
                  <a:lnTo>
                    <a:pt x="1516" y="2914"/>
                  </a:lnTo>
                  <a:lnTo>
                    <a:pt x="1523" y="2916"/>
                  </a:lnTo>
                  <a:lnTo>
                    <a:pt x="1531" y="2917"/>
                  </a:lnTo>
                  <a:lnTo>
                    <a:pt x="1562" y="2919"/>
                  </a:lnTo>
                  <a:lnTo>
                    <a:pt x="1590" y="2918"/>
                  </a:lnTo>
                  <a:lnTo>
                    <a:pt x="1598" y="2919"/>
                  </a:lnTo>
                  <a:lnTo>
                    <a:pt x="1604" y="2920"/>
                  </a:lnTo>
                  <a:lnTo>
                    <a:pt x="1611" y="2921"/>
                  </a:lnTo>
                  <a:lnTo>
                    <a:pt x="1617" y="2924"/>
                  </a:lnTo>
                  <a:lnTo>
                    <a:pt x="1623" y="2926"/>
                  </a:lnTo>
                  <a:lnTo>
                    <a:pt x="1629" y="2930"/>
                  </a:lnTo>
                  <a:lnTo>
                    <a:pt x="1634" y="2934"/>
                  </a:lnTo>
                  <a:lnTo>
                    <a:pt x="1640" y="2940"/>
                  </a:lnTo>
                  <a:lnTo>
                    <a:pt x="1648" y="2951"/>
                  </a:lnTo>
                  <a:lnTo>
                    <a:pt x="1655" y="2962"/>
                  </a:lnTo>
                  <a:lnTo>
                    <a:pt x="1659" y="2973"/>
                  </a:lnTo>
                  <a:lnTo>
                    <a:pt x="1661" y="2985"/>
                  </a:lnTo>
                  <a:lnTo>
                    <a:pt x="1665" y="3010"/>
                  </a:lnTo>
                  <a:lnTo>
                    <a:pt x="1668" y="3038"/>
                  </a:lnTo>
                  <a:lnTo>
                    <a:pt x="1559" y="3312"/>
                  </a:lnTo>
                  <a:lnTo>
                    <a:pt x="1564" y="3321"/>
                  </a:lnTo>
                  <a:lnTo>
                    <a:pt x="1570" y="3327"/>
                  </a:lnTo>
                  <a:lnTo>
                    <a:pt x="1576" y="3333"/>
                  </a:lnTo>
                  <a:lnTo>
                    <a:pt x="1583" y="3337"/>
                  </a:lnTo>
                  <a:lnTo>
                    <a:pt x="1599" y="3345"/>
                  </a:lnTo>
                  <a:lnTo>
                    <a:pt x="1615" y="3354"/>
                  </a:lnTo>
                  <a:lnTo>
                    <a:pt x="1623" y="3361"/>
                  </a:lnTo>
                  <a:lnTo>
                    <a:pt x="1630" y="3368"/>
                  </a:lnTo>
                  <a:lnTo>
                    <a:pt x="1634" y="3376"/>
                  </a:lnTo>
                  <a:lnTo>
                    <a:pt x="1639" y="3385"/>
                  </a:lnTo>
                  <a:lnTo>
                    <a:pt x="1642" y="3393"/>
                  </a:lnTo>
                  <a:lnTo>
                    <a:pt x="1644" y="3403"/>
                  </a:lnTo>
                  <a:lnTo>
                    <a:pt x="1645" y="3413"/>
                  </a:lnTo>
                  <a:lnTo>
                    <a:pt x="1645" y="3424"/>
                  </a:lnTo>
                  <a:lnTo>
                    <a:pt x="1645" y="3442"/>
                  </a:lnTo>
                  <a:lnTo>
                    <a:pt x="1645" y="3458"/>
                  </a:lnTo>
                  <a:lnTo>
                    <a:pt x="1645" y="3474"/>
                  </a:lnTo>
                  <a:lnTo>
                    <a:pt x="1645" y="3493"/>
                  </a:lnTo>
                  <a:lnTo>
                    <a:pt x="1646" y="3503"/>
                  </a:lnTo>
                  <a:lnTo>
                    <a:pt x="1650" y="3513"/>
                  </a:lnTo>
                  <a:lnTo>
                    <a:pt x="1653" y="3523"/>
                  </a:lnTo>
                  <a:lnTo>
                    <a:pt x="1659" y="3530"/>
                  </a:lnTo>
                  <a:lnTo>
                    <a:pt x="1666" y="3537"/>
                  </a:lnTo>
                  <a:lnTo>
                    <a:pt x="1673" y="3543"/>
                  </a:lnTo>
                  <a:lnTo>
                    <a:pt x="1683" y="3549"/>
                  </a:lnTo>
                  <a:lnTo>
                    <a:pt x="1693" y="3553"/>
                  </a:lnTo>
                  <a:lnTo>
                    <a:pt x="1704" y="3557"/>
                  </a:lnTo>
                  <a:lnTo>
                    <a:pt x="1714" y="3560"/>
                  </a:lnTo>
                  <a:lnTo>
                    <a:pt x="1726" y="3563"/>
                  </a:lnTo>
                  <a:lnTo>
                    <a:pt x="1738" y="3565"/>
                  </a:lnTo>
                  <a:lnTo>
                    <a:pt x="1762" y="3567"/>
                  </a:lnTo>
                  <a:lnTo>
                    <a:pt x="1786" y="3567"/>
                  </a:lnTo>
                  <a:lnTo>
                    <a:pt x="1791" y="3567"/>
                  </a:lnTo>
                  <a:lnTo>
                    <a:pt x="1796" y="3566"/>
                  </a:lnTo>
                  <a:lnTo>
                    <a:pt x="1801" y="3565"/>
                  </a:lnTo>
                  <a:lnTo>
                    <a:pt x="1806" y="3563"/>
                  </a:lnTo>
                  <a:lnTo>
                    <a:pt x="1814" y="3557"/>
                  </a:lnTo>
                  <a:lnTo>
                    <a:pt x="1820" y="3550"/>
                  </a:lnTo>
                  <a:lnTo>
                    <a:pt x="1827" y="3541"/>
                  </a:lnTo>
                  <a:lnTo>
                    <a:pt x="1832" y="3532"/>
                  </a:lnTo>
                  <a:lnTo>
                    <a:pt x="1838" y="3522"/>
                  </a:lnTo>
                  <a:lnTo>
                    <a:pt x="1842" y="3511"/>
                  </a:lnTo>
                  <a:lnTo>
                    <a:pt x="1846" y="3501"/>
                  </a:lnTo>
                  <a:lnTo>
                    <a:pt x="1852" y="3491"/>
                  </a:lnTo>
                  <a:lnTo>
                    <a:pt x="1857" y="3482"/>
                  </a:lnTo>
                  <a:lnTo>
                    <a:pt x="1863" y="3473"/>
                  </a:lnTo>
                  <a:lnTo>
                    <a:pt x="1870" y="3466"/>
                  </a:lnTo>
                  <a:lnTo>
                    <a:pt x="1877" y="3460"/>
                  </a:lnTo>
                  <a:lnTo>
                    <a:pt x="1882" y="3458"/>
                  </a:lnTo>
                  <a:lnTo>
                    <a:pt x="1887" y="3457"/>
                  </a:lnTo>
                  <a:lnTo>
                    <a:pt x="1893" y="3456"/>
                  </a:lnTo>
                  <a:lnTo>
                    <a:pt x="1898" y="3456"/>
                  </a:lnTo>
                  <a:lnTo>
                    <a:pt x="1901" y="3456"/>
                  </a:lnTo>
                  <a:lnTo>
                    <a:pt x="1904" y="3458"/>
                  </a:lnTo>
                  <a:lnTo>
                    <a:pt x="1907" y="3460"/>
                  </a:lnTo>
                  <a:lnTo>
                    <a:pt x="1909" y="3464"/>
                  </a:lnTo>
                  <a:lnTo>
                    <a:pt x="1912" y="3470"/>
                  </a:lnTo>
                  <a:lnTo>
                    <a:pt x="1917" y="3475"/>
                  </a:lnTo>
                  <a:lnTo>
                    <a:pt x="1923" y="3479"/>
                  </a:lnTo>
                  <a:lnTo>
                    <a:pt x="1929" y="3481"/>
                  </a:lnTo>
                  <a:lnTo>
                    <a:pt x="1935" y="3482"/>
                  </a:lnTo>
                  <a:lnTo>
                    <a:pt x="1940" y="3483"/>
                  </a:lnTo>
                  <a:lnTo>
                    <a:pt x="1952" y="3484"/>
                  </a:lnTo>
                  <a:lnTo>
                    <a:pt x="1965" y="3483"/>
                  </a:lnTo>
                  <a:lnTo>
                    <a:pt x="1976" y="3483"/>
                  </a:lnTo>
                  <a:lnTo>
                    <a:pt x="1984" y="3482"/>
                  </a:lnTo>
                  <a:lnTo>
                    <a:pt x="1994" y="3480"/>
                  </a:lnTo>
                  <a:lnTo>
                    <a:pt x="2003" y="3478"/>
                  </a:lnTo>
                  <a:lnTo>
                    <a:pt x="2019" y="3471"/>
                  </a:lnTo>
                  <a:lnTo>
                    <a:pt x="2034" y="3464"/>
                  </a:lnTo>
                  <a:lnTo>
                    <a:pt x="2049" y="3457"/>
                  </a:lnTo>
                  <a:lnTo>
                    <a:pt x="2065" y="3451"/>
                  </a:lnTo>
                  <a:lnTo>
                    <a:pt x="2074" y="3448"/>
                  </a:lnTo>
                  <a:lnTo>
                    <a:pt x="2084" y="3446"/>
                  </a:lnTo>
                  <a:lnTo>
                    <a:pt x="2093" y="3445"/>
                  </a:lnTo>
                  <a:lnTo>
                    <a:pt x="2103" y="3444"/>
                  </a:lnTo>
                  <a:lnTo>
                    <a:pt x="2124" y="3444"/>
                  </a:lnTo>
                  <a:lnTo>
                    <a:pt x="2142" y="3444"/>
                  </a:lnTo>
                  <a:lnTo>
                    <a:pt x="2159" y="3444"/>
                  </a:lnTo>
                  <a:lnTo>
                    <a:pt x="2180" y="3444"/>
                  </a:lnTo>
                  <a:lnTo>
                    <a:pt x="2195" y="3445"/>
                  </a:lnTo>
                  <a:lnTo>
                    <a:pt x="2210" y="3446"/>
                  </a:lnTo>
                  <a:lnTo>
                    <a:pt x="2223" y="3448"/>
                  </a:lnTo>
                  <a:lnTo>
                    <a:pt x="2237" y="3452"/>
                  </a:lnTo>
                  <a:lnTo>
                    <a:pt x="2250" y="3454"/>
                  </a:lnTo>
                  <a:lnTo>
                    <a:pt x="2263" y="3456"/>
                  </a:lnTo>
                  <a:lnTo>
                    <a:pt x="2278" y="3458"/>
                  </a:lnTo>
                  <a:lnTo>
                    <a:pt x="2293" y="3458"/>
                  </a:lnTo>
                  <a:lnTo>
                    <a:pt x="2293" y="3458"/>
                  </a:lnTo>
                  <a:lnTo>
                    <a:pt x="2314" y="3446"/>
                  </a:lnTo>
                  <a:lnTo>
                    <a:pt x="2333" y="3437"/>
                  </a:lnTo>
                  <a:lnTo>
                    <a:pt x="2352" y="3427"/>
                  </a:lnTo>
                  <a:lnTo>
                    <a:pt x="2370" y="3419"/>
                  </a:lnTo>
                  <a:lnTo>
                    <a:pt x="2388" y="3412"/>
                  </a:lnTo>
                  <a:lnTo>
                    <a:pt x="2408" y="3405"/>
                  </a:lnTo>
                  <a:lnTo>
                    <a:pt x="2429" y="3400"/>
                  </a:lnTo>
                  <a:lnTo>
                    <a:pt x="2453" y="3393"/>
                  </a:lnTo>
                  <a:lnTo>
                    <a:pt x="2492" y="3385"/>
                  </a:lnTo>
                  <a:lnTo>
                    <a:pt x="2528" y="3375"/>
                  </a:lnTo>
                  <a:lnTo>
                    <a:pt x="2562" y="3367"/>
                  </a:lnTo>
                  <a:lnTo>
                    <a:pt x="2595" y="3360"/>
                  </a:lnTo>
                  <a:lnTo>
                    <a:pt x="2628" y="3354"/>
                  </a:lnTo>
                  <a:lnTo>
                    <a:pt x="2663" y="3350"/>
                  </a:lnTo>
                  <a:lnTo>
                    <a:pt x="2699" y="3347"/>
                  </a:lnTo>
                  <a:lnTo>
                    <a:pt x="2739" y="3346"/>
                  </a:lnTo>
                  <a:lnTo>
                    <a:pt x="2776" y="3346"/>
                  </a:lnTo>
                  <a:lnTo>
                    <a:pt x="2810" y="3347"/>
                  </a:lnTo>
                  <a:lnTo>
                    <a:pt x="2840" y="3347"/>
                  </a:lnTo>
                  <a:lnTo>
                    <a:pt x="2870" y="3348"/>
                  </a:lnTo>
                  <a:lnTo>
                    <a:pt x="2900" y="3348"/>
                  </a:lnTo>
                  <a:lnTo>
                    <a:pt x="2932" y="3349"/>
                  </a:lnTo>
                  <a:lnTo>
                    <a:pt x="2965" y="3349"/>
                  </a:lnTo>
                  <a:lnTo>
                    <a:pt x="3002" y="3349"/>
                  </a:lnTo>
                  <a:lnTo>
                    <a:pt x="3016" y="3348"/>
                  </a:lnTo>
                  <a:lnTo>
                    <a:pt x="3030" y="3347"/>
                  </a:lnTo>
                  <a:lnTo>
                    <a:pt x="3042" y="3345"/>
                  </a:lnTo>
                  <a:lnTo>
                    <a:pt x="3054" y="3341"/>
                  </a:lnTo>
                  <a:lnTo>
                    <a:pt x="3079" y="3335"/>
                  </a:lnTo>
                  <a:lnTo>
                    <a:pt x="3106" y="3326"/>
                  </a:lnTo>
                  <a:lnTo>
                    <a:pt x="3138" y="3320"/>
                  </a:lnTo>
                  <a:lnTo>
                    <a:pt x="3167" y="3316"/>
                  </a:lnTo>
                  <a:lnTo>
                    <a:pt x="3180" y="3311"/>
                  </a:lnTo>
                  <a:lnTo>
                    <a:pt x="3193" y="3306"/>
                  </a:lnTo>
                  <a:lnTo>
                    <a:pt x="3199" y="3303"/>
                  </a:lnTo>
                  <a:lnTo>
                    <a:pt x="3206" y="3298"/>
                  </a:lnTo>
                  <a:lnTo>
                    <a:pt x="3212" y="3293"/>
                  </a:lnTo>
                  <a:lnTo>
                    <a:pt x="3218" y="3287"/>
                  </a:lnTo>
                  <a:lnTo>
                    <a:pt x="3224" y="3280"/>
                  </a:lnTo>
                  <a:lnTo>
                    <a:pt x="3229" y="3273"/>
                  </a:lnTo>
                  <a:lnTo>
                    <a:pt x="3233" y="3266"/>
                  </a:lnTo>
                  <a:lnTo>
                    <a:pt x="3237" y="3258"/>
                  </a:lnTo>
                  <a:lnTo>
                    <a:pt x="3243" y="3244"/>
                  </a:lnTo>
                  <a:lnTo>
                    <a:pt x="3246" y="3228"/>
                  </a:lnTo>
                  <a:lnTo>
                    <a:pt x="3249" y="3213"/>
                  </a:lnTo>
                  <a:lnTo>
                    <a:pt x="3253" y="3197"/>
                  </a:lnTo>
                  <a:lnTo>
                    <a:pt x="3258" y="3181"/>
                  </a:lnTo>
                  <a:lnTo>
                    <a:pt x="3265" y="3164"/>
                  </a:lnTo>
                  <a:lnTo>
                    <a:pt x="3279" y="3136"/>
                  </a:lnTo>
                  <a:lnTo>
                    <a:pt x="3291" y="3111"/>
                  </a:lnTo>
                  <a:lnTo>
                    <a:pt x="3302" y="3087"/>
                  </a:lnTo>
                  <a:lnTo>
                    <a:pt x="3313" y="3057"/>
                  </a:lnTo>
                  <a:lnTo>
                    <a:pt x="3323" y="3028"/>
                  </a:lnTo>
                  <a:lnTo>
                    <a:pt x="3332" y="3002"/>
                  </a:lnTo>
                  <a:lnTo>
                    <a:pt x="3338" y="2989"/>
                  </a:lnTo>
                  <a:lnTo>
                    <a:pt x="3345" y="2979"/>
                  </a:lnTo>
                  <a:lnTo>
                    <a:pt x="3350" y="2973"/>
                  </a:lnTo>
                  <a:lnTo>
                    <a:pt x="3354" y="2969"/>
                  </a:lnTo>
                  <a:lnTo>
                    <a:pt x="3360" y="2963"/>
                  </a:lnTo>
                  <a:lnTo>
                    <a:pt x="3367" y="2959"/>
                  </a:lnTo>
                  <a:lnTo>
                    <a:pt x="3382" y="2951"/>
                  </a:lnTo>
                  <a:lnTo>
                    <a:pt x="3397" y="2944"/>
                  </a:lnTo>
                  <a:lnTo>
                    <a:pt x="3412" y="2941"/>
                  </a:lnTo>
                  <a:lnTo>
                    <a:pt x="3426" y="2938"/>
                  </a:lnTo>
                  <a:lnTo>
                    <a:pt x="3441" y="2934"/>
                  </a:lnTo>
                  <a:lnTo>
                    <a:pt x="3458" y="2932"/>
                  </a:lnTo>
                  <a:lnTo>
                    <a:pt x="3474" y="2929"/>
                  </a:lnTo>
                  <a:lnTo>
                    <a:pt x="3491" y="2924"/>
                  </a:lnTo>
                  <a:lnTo>
                    <a:pt x="3491" y="2924"/>
                  </a:lnTo>
                  <a:lnTo>
                    <a:pt x="3494" y="2909"/>
                  </a:lnTo>
                  <a:lnTo>
                    <a:pt x="3499" y="2895"/>
                  </a:lnTo>
                  <a:lnTo>
                    <a:pt x="3504" y="2881"/>
                  </a:lnTo>
                  <a:lnTo>
                    <a:pt x="3511" y="2867"/>
                  </a:lnTo>
                  <a:lnTo>
                    <a:pt x="3516" y="2852"/>
                  </a:lnTo>
                  <a:lnTo>
                    <a:pt x="3520" y="2838"/>
                  </a:lnTo>
                  <a:lnTo>
                    <a:pt x="3523" y="2824"/>
                  </a:lnTo>
                  <a:lnTo>
                    <a:pt x="3525" y="2810"/>
                  </a:lnTo>
                  <a:lnTo>
                    <a:pt x="3525" y="2795"/>
                  </a:lnTo>
                  <a:lnTo>
                    <a:pt x="3525" y="2782"/>
                  </a:lnTo>
                  <a:lnTo>
                    <a:pt x="3525" y="2768"/>
                  </a:lnTo>
                  <a:lnTo>
                    <a:pt x="3525" y="2753"/>
                  </a:lnTo>
                  <a:lnTo>
                    <a:pt x="3526" y="2743"/>
                  </a:lnTo>
                  <a:lnTo>
                    <a:pt x="3527" y="2735"/>
                  </a:lnTo>
                  <a:lnTo>
                    <a:pt x="3529" y="2726"/>
                  </a:lnTo>
                  <a:lnTo>
                    <a:pt x="3533" y="2718"/>
                  </a:lnTo>
                  <a:lnTo>
                    <a:pt x="3536" y="2712"/>
                  </a:lnTo>
                  <a:lnTo>
                    <a:pt x="3542" y="2705"/>
                  </a:lnTo>
                  <a:lnTo>
                    <a:pt x="3547" y="2699"/>
                  </a:lnTo>
                  <a:lnTo>
                    <a:pt x="3553" y="2692"/>
                  </a:lnTo>
                  <a:lnTo>
                    <a:pt x="3581" y="2671"/>
                  </a:lnTo>
                  <a:lnTo>
                    <a:pt x="3612" y="2647"/>
                  </a:lnTo>
                  <a:lnTo>
                    <a:pt x="3630" y="2630"/>
                  </a:lnTo>
                  <a:lnTo>
                    <a:pt x="3648" y="2615"/>
                  </a:lnTo>
                  <a:lnTo>
                    <a:pt x="3656" y="2607"/>
                  </a:lnTo>
                  <a:lnTo>
                    <a:pt x="3665" y="2601"/>
                  </a:lnTo>
                  <a:lnTo>
                    <a:pt x="3676" y="2594"/>
                  </a:lnTo>
                  <a:lnTo>
                    <a:pt x="3688" y="2589"/>
                  </a:lnTo>
                  <a:lnTo>
                    <a:pt x="3704" y="2582"/>
                  </a:lnTo>
                  <a:lnTo>
                    <a:pt x="3719" y="2577"/>
                  </a:lnTo>
                  <a:lnTo>
                    <a:pt x="3733" y="2573"/>
                  </a:lnTo>
                  <a:lnTo>
                    <a:pt x="3747" y="2568"/>
                  </a:lnTo>
                  <a:lnTo>
                    <a:pt x="3760" y="2565"/>
                  </a:lnTo>
                  <a:lnTo>
                    <a:pt x="3774" y="2560"/>
                  </a:lnTo>
                  <a:lnTo>
                    <a:pt x="3788" y="2552"/>
                  </a:lnTo>
                  <a:lnTo>
                    <a:pt x="3802" y="2543"/>
                  </a:lnTo>
                  <a:lnTo>
                    <a:pt x="3809" y="2539"/>
                  </a:lnTo>
                  <a:lnTo>
                    <a:pt x="3815" y="2534"/>
                  </a:lnTo>
                  <a:lnTo>
                    <a:pt x="3819" y="2528"/>
                  </a:lnTo>
                  <a:lnTo>
                    <a:pt x="3824" y="2523"/>
                  </a:lnTo>
                  <a:lnTo>
                    <a:pt x="3831" y="2511"/>
                  </a:lnTo>
                  <a:lnTo>
                    <a:pt x="3838" y="2499"/>
                  </a:lnTo>
                  <a:lnTo>
                    <a:pt x="3843" y="2486"/>
                  </a:lnTo>
                  <a:lnTo>
                    <a:pt x="3850" y="2473"/>
                  </a:lnTo>
                  <a:lnTo>
                    <a:pt x="3857" y="2461"/>
                  </a:lnTo>
                  <a:lnTo>
                    <a:pt x="3867" y="2448"/>
                  </a:lnTo>
                  <a:lnTo>
                    <a:pt x="3879" y="2432"/>
                  </a:lnTo>
                  <a:lnTo>
                    <a:pt x="3889" y="2417"/>
                  </a:lnTo>
                  <a:lnTo>
                    <a:pt x="3897" y="2402"/>
                  </a:lnTo>
                  <a:lnTo>
                    <a:pt x="3903" y="2386"/>
                  </a:lnTo>
                  <a:lnTo>
                    <a:pt x="3908" y="2369"/>
                  </a:lnTo>
                  <a:lnTo>
                    <a:pt x="3912" y="2352"/>
                  </a:lnTo>
                  <a:lnTo>
                    <a:pt x="3917" y="2334"/>
                  </a:lnTo>
                  <a:lnTo>
                    <a:pt x="3920" y="2313"/>
                  </a:lnTo>
                  <a:lnTo>
                    <a:pt x="3927" y="2286"/>
                  </a:lnTo>
                  <a:lnTo>
                    <a:pt x="3936" y="2263"/>
                  </a:lnTo>
                  <a:lnTo>
                    <a:pt x="3939" y="2251"/>
                  </a:lnTo>
                  <a:lnTo>
                    <a:pt x="3943" y="2238"/>
                  </a:lnTo>
                  <a:lnTo>
                    <a:pt x="3945" y="2225"/>
                  </a:lnTo>
                  <a:lnTo>
                    <a:pt x="3946" y="2210"/>
                  </a:lnTo>
                  <a:lnTo>
                    <a:pt x="3945" y="2197"/>
                  </a:lnTo>
                  <a:lnTo>
                    <a:pt x="3943" y="2186"/>
                  </a:lnTo>
                  <a:lnTo>
                    <a:pt x="3940" y="2175"/>
                  </a:lnTo>
                  <a:lnTo>
                    <a:pt x="3937" y="2162"/>
                  </a:lnTo>
                  <a:lnTo>
                    <a:pt x="3951" y="2151"/>
                  </a:lnTo>
                  <a:lnTo>
                    <a:pt x="3965" y="2139"/>
                  </a:lnTo>
                  <a:lnTo>
                    <a:pt x="3981" y="2133"/>
                  </a:lnTo>
                  <a:lnTo>
                    <a:pt x="3997" y="2128"/>
                  </a:lnTo>
                  <a:lnTo>
                    <a:pt x="4003" y="2123"/>
                  </a:lnTo>
                  <a:lnTo>
                    <a:pt x="4008" y="2119"/>
                  </a:lnTo>
                  <a:lnTo>
                    <a:pt x="4010" y="2116"/>
                  </a:lnTo>
                  <a:lnTo>
                    <a:pt x="4012" y="2112"/>
                  </a:lnTo>
                  <a:lnTo>
                    <a:pt x="4013" y="2109"/>
                  </a:lnTo>
                  <a:lnTo>
                    <a:pt x="4013" y="2105"/>
                  </a:lnTo>
                  <a:lnTo>
                    <a:pt x="4013" y="2098"/>
                  </a:lnTo>
                  <a:lnTo>
                    <a:pt x="4012" y="2092"/>
                  </a:lnTo>
                  <a:lnTo>
                    <a:pt x="4010" y="2087"/>
                  </a:lnTo>
                  <a:lnTo>
                    <a:pt x="4007" y="2081"/>
                  </a:lnTo>
                  <a:lnTo>
                    <a:pt x="4002" y="2070"/>
                  </a:lnTo>
                  <a:lnTo>
                    <a:pt x="3995" y="2061"/>
                  </a:lnTo>
                  <a:lnTo>
                    <a:pt x="3990" y="2051"/>
                  </a:lnTo>
                  <a:lnTo>
                    <a:pt x="3985" y="2040"/>
                  </a:lnTo>
                  <a:lnTo>
                    <a:pt x="3983" y="2035"/>
                  </a:lnTo>
                  <a:lnTo>
                    <a:pt x="3980" y="2029"/>
                  </a:lnTo>
                  <a:lnTo>
                    <a:pt x="3979" y="2023"/>
                  </a:lnTo>
                  <a:lnTo>
                    <a:pt x="3979" y="2016"/>
                  </a:lnTo>
                  <a:lnTo>
                    <a:pt x="3979" y="2013"/>
                  </a:lnTo>
                  <a:lnTo>
                    <a:pt x="3980" y="2010"/>
                  </a:lnTo>
                  <a:lnTo>
                    <a:pt x="3981" y="2007"/>
                  </a:lnTo>
                  <a:lnTo>
                    <a:pt x="3984" y="2004"/>
                  </a:lnTo>
                  <a:lnTo>
                    <a:pt x="3988" y="1999"/>
                  </a:lnTo>
                  <a:lnTo>
                    <a:pt x="3993" y="1996"/>
                  </a:lnTo>
                  <a:lnTo>
                    <a:pt x="3999" y="1991"/>
                  </a:lnTo>
                  <a:lnTo>
                    <a:pt x="4005" y="1987"/>
                  </a:lnTo>
                  <a:lnTo>
                    <a:pt x="4011" y="1983"/>
                  </a:lnTo>
                  <a:lnTo>
                    <a:pt x="4015" y="1977"/>
                  </a:lnTo>
                  <a:lnTo>
                    <a:pt x="4026" y="1963"/>
                  </a:lnTo>
                  <a:lnTo>
                    <a:pt x="4034" y="1950"/>
                  </a:lnTo>
                  <a:lnTo>
                    <a:pt x="4039" y="1944"/>
                  </a:lnTo>
                  <a:lnTo>
                    <a:pt x="4042" y="1937"/>
                  </a:lnTo>
                  <a:lnTo>
                    <a:pt x="4046" y="1930"/>
                  </a:lnTo>
                  <a:lnTo>
                    <a:pt x="4049" y="1921"/>
                  </a:lnTo>
                  <a:lnTo>
                    <a:pt x="4059" y="1892"/>
                  </a:lnTo>
                  <a:lnTo>
                    <a:pt x="4070" y="1866"/>
                  </a:lnTo>
                  <a:lnTo>
                    <a:pt x="4075" y="1854"/>
                  </a:lnTo>
                  <a:lnTo>
                    <a:pt x="4082" y="1841"/>
                  </a:lnTo>
                  <a:lnTo>
                    <a:pt x="4091" y="1828"/>
                  </a:lnTo>
                  <a:lnTo>
                    <a:pt x="4099" y="1814"/>
                  </a:lnTo>
                  <a:lnTo>
                    <a:pt x="4107" y="1807"/>
                  </a:lnTo>
                  <a:lnTo>
                    <a:pt x="4114" y="1800"/>
                  </a:lnTo>
                  <a:lnTo>
                    <a:pt x="4122" y="1796"/>
                  </a:lnTo>
                  <a:lnTo>
                    <a:pt x="4132" y="1793"/>
                  </a:lnTo>
                  <a:lnTo>
                    <a:pt x="4151" y="1788"/>
                  </a:lnTo>
                  <a:lnTo>
                    <a:pt x="4173" y="1784"/>
                  </a:lnTo>
                  <a:lnTo>
                    <a:pt x="4203" y="1777"/>
                  </a:lnTo>
                  <a:lnTo>
                    <a:pt x="4223" y="1770"/>
                  </a:lnTo>
                  <a:lnTo>
                    <a:pt x="4244" y="1766"/>
                  </a:lnTo>
                  <a:lnTo>
                    <a:pt x="4274" y="1760"/>
                  </a:lnTo>
                  <a:lnTo>
                    <a:pt x="4274" y="1760"/>
                  </a:lnTo>
                  <a:lnTo>
                    <a:pt x="4271" y="1755"/>
                  </a:lnTo>
                  <a:lnTo>
                    <a:pt x="4269" y="1748"/>
                  </a:lnTo>
                  <a:lnTo>
                    <a:pt x="4270" y="1738"/>
                  </a:lnTo>
                  <a:lnTo>
                    <a:pt x="4271" y="1727"/>
                  </a:lnTo>
                  <a:lnTo>
                    <a:pt x="4274" y="1716"/>
                  </a:lnTo>
                  <a:lnTo>
                    <a:pt x="4277" y="1706"/>
                  </a:lnTo>
                  <a:lnTo>
                    <a:pt x="4287" y="1689"/>
                  </a:lnTo>
                  <a:lnTo>
                    <a:pt x="4297" y="1672"/>
                  </a:lnTo>
                  <a:lnTo>
                    <a:pt x="4308" y="1655"/>
                  </a:lnTo>
                  <a:lnTo>
                    <a:pt x="4316" y="1636"/>
                  </a:lnTo>
                  <a:lnTo>
                    <a:pt x="4320" y="1628"/>
                  </a:lnTo>
                  <a:lnTo>
                    <a:pt x="4323" y="1617"/>
                  </a:lnTo>
                  <a:lnTo>
                    <a:pt x="4325" y="1606"/>
                  </a:lnTo>
                  <a:lnTo>
                    <a:pt x="4325" y="1595"/>
                  </a:lnTo>
                  <a:lnTo>
                    <a:pt x="4324" y="1581"/>
                  </a:lnTo>
                  <a:lnTo>
                    <a:pt x="4321" y="1569"/>
                  </a:lnTo>
                  <a:lnTo>
                    <a:pt x="4318" y="1556"/>
                  </a:lnTo>
                  <a:lnTo>
                    <a:pt x="4316" y="1543"/>
                  </a:lnTo>
                  <a:lnTo>
                    <a:pt x="4317" y="1536"/>
                  </a:lnTo>
                  <a:lnTo>
                    <a:pt x="4318" y="1529"/>
                  </a:lnTo>
                  <a:lnTo>
                    <a:pt x="4320" y="1523"/>
                  </a:lnTo>
                  <a:lnTo>
                    <a:pt x="4323" y="1517"/>
                  </a:lnTo>
                  <a:lnTo>
                    <a:pt x="4328" y="1507"/>
                  </a:lnTo>
                  <a:lnTo>
                    <a:pt x="4336" y="1496"/>
                  </a:lnTo>
                  <a:lnTo>
                    <a:pt x="4343" y="1486"/>
                  </a:lnTo>
                  <a:lnTo>
                    <a:pt x="4351" y="1476"/>
                  </a:lnTo>
                  <a:lnTo>
                    <a:pt x="4358" y="1464"/>
                  </a:lnTo>
                  <a:lnTo>
                    <a:pt x="4364" y="1451"/>
                  </a:lnTo>
                  <a:lnTo>
                    <a:pt x="4374" y="1423"/>
                  </a:lnTo>
                  <a:lnTo>
                    <a:pt x="4380" y="1397"/>
                  </a:lnTo>
                  <a:lnTo>
                    <a:pt x="4385" y="1373"/>
                  </a:lnTo>
                  <a:lnTo>
                    <a:pt x="4391" y="1349"/>
                  </a:lnTo>
                  <a:lnTo>
                    <a:pt x="4395" y="1325"/>
                  </a:lnTo>
                  <a:lnTo>
                    <a:pt x="4402" y="1300"/>
                  </a:lnTo>
                  <a:lnTo>
                    <a:pt x="4409" y="1274"/>
                  </a:lnTo>
                  <a:lnTo>
                    <a:pt x="4420" y="1247"/>
                  </a:lnTo>
                  <a:lnTo>
                    <a:pt x="4433" y="1220"/>
                  </a:lnTo>
                  <a:lnTo>
                    <a:pt x="4447" y="1197"/>
                  </a:lnTo>
                  <a:lnTo>
                    <a:pt x="4460" y="1174"/>
                  </a:lnTo>
                  <a:lnTo>
                    <a:pt x="4472" y="1152"/>
                  </a:lnTo>
                  <a:lnTo>
                    <a:pt x="4477" y="1142"/>
                  </a:lnTo>
                  <a:lnTo>
                    <a:pt x="4483" y="1131"/>
                  </a:lnTo>
                  <a:lnTo>
                    <a:pt x="4487" y="1120"/>
                  </a:lnTo>
                  <a:lnTo>
                    <a:pt x="4491" y="1108"/>
                  </a:lnTo>
                  <a:lnTo>
                    <a:pt x="4494" y="1095"/>
                  </a:lnTo>
                  <a:lnTo>
                    <a:pt x="4497" y="1082"/>
                  </a:lnTo>
                  <a:lnTo>
                    <a:pt x="4499" y="1068"/>
                  </a:lnTo>
                  <a:lnTo>
                    <a:pt x="4499" y="1054"/>
                  </a:lnTo>
                  <a:lnTo>
                    <a:pt x="4498" y="1040"/>
                  </a:lnTo>
                  <a:lnTo>
                    <a:pt x="4496" y="1027"/>
                  </a:lnTo>
                  <a:lnTo>
                    <a:pt x="4492" y="1015"/>
                  </a:lnTo>
                  <a:lnTo>
                    <a:pt x="4488" y="1004"/>
                  </a:lnTo>
                  <a:lnTo>
                    <a:pt x="4483" y="994"/>
                  </a:lnTo>
                  <a:lnTo>
                    <a:pt x="4476" y="984"/>
                  </a:lnTo>
                  <a:lnTo>
                    <a:pt x="4470" y="974"/>
                  </a:lnTo>
                  <a:lnTo>
                    <a:pt x="4462" y="965"/>
                  </a:lnTo>
                  <a:lnTo>
                    <a:pt x="4445" y="948"/>
                  </a:lnTo>
                  <a:lnTo>
                    <a:pt x="4425" y="930"/>
                  </a:lnTo>
                  <a:lnTo>
                    <a:pt x="4406" y="911"/>
                  </a:lnTo>
                  <a:lnTo>
                    <a:pt x="4386" y="891"/>
                  </a:lnTo>
                  <a:lnTo>
                    <a:pt x="4368" y="868"/>
                  </a:lnTo>
                  <a:lnTo>
                    <a:pt x="4351" y="848"/>
                  </a:lnTo>
                  <a:lnTo>
                    <a:pt x="4342" y="838"/>
                  </a:lnTo>
                  <a:lnTo>
                    <a:pt x="4331" y="830"/>
                  </a:lnTo>
                  <a:lnTo>
                    <a:pt x="4326" y="828"/>
                  </a:lnTo>
                  <a:lnTo>
                    <a:pt x="4320" y="825"/>
                  </a:lnTo>
                  <a:lnTo>
                    <a:pt x="4313" y="823"/>
                  </a:lnTo>
                  <a:lnTo>
                    <a:pt x="4305" y="821"/>
                  </a:lnTo>
                  <a:lnTo>
                    <a:pt x="4290" y="820"/>
                  </a:lnTo>
                  <a:lnTo>
                    <a:pt x="4275" y="819"/>
                  </a:lnTo>
                  <a:lnTo>
                    <a:pt x="4261" y="819"/>
                  </a:lnTo>
                  <a:lnTo>
                    <a:pt x="4248" y="820"/>
                  </a:lnTo>
                  <a:lnTo>
                    <a:pt x="4235" y="820"/>
                  </a:lnTo>
                  <a:lnTo>
                    <a:pt x="4221" y="819"/>
                  </a:lnTo>
                  <a:lnTo>
                    <a:pt x="4215" y="818"/>
                  </a:lnTo>
                  <a:lnTo>
                    <a:pt x="4207" y="815"/>
                  </a:lnTo>
                  <a:lnTo>
                    <a:pt x="4201" y="813"/>
                  </a:lnTo>
                  <a:lnTo>
                    <a:pt x="4193" y="810"/>
                  </a:lnTo>
                  <a:lnTo>
                    <a:pt x="4173" y="799"/>
                  </a:lnTo>
                  <a:lnTo>
                    <a:pt x="4154" y="789"/>
                  </a:lnTo>
                  <a:lnTo>
                    <a:pt x="4146" y="785"/>
                  </a:lnTo>
                  <a:lnTo>
                    <a:pt x="4136" y="782"/>
                  </a:lnTo>
                  <a:lnTo>
                    <a:pt x="4125" y="780"/>
                  </a:lnTo>
                  <a:lnTo>
                    <a:pt x="4113" y="779"/>
                  </a:lnTo>
                  <a:lnTo>
                    <a:pt x="4101" y="780"/>
                  </a:lnTo>
                  <a:lnTo>
                    <a:pt x="4089" y="783"/>
                  </a:lnTo>
                  <a:lnTo>
                    <a:pt x="4080" y="787"/>
                  </a:lnTo>
                  <a:lnTo>
                    <a:pt x="4069" y="792"/>
                  </a:lnTo>
                  <a:lnTo>
                    <a:pt x="4059" y="796"/>
                  </a:lnTo>
                  <a:lnTo>
                    <a:pt x="4049" y="800"/>
                  </a:lnTo>
                  <a:lnTo>
                    <a:pt x="4038" y="803"/>
                  </a:lnTo>
                  <a:lnTo>
                    <a:pt x="4025" y="805"/>
                  </a:lnTo>
                  <a:lnTo>
                    <a:pt x="4020" y="803"/>
                  </a:lnTo>
                  <a:lnTo>
                    <a:pt x="4016" y="801"/>
                  </a:lnTo>
                  <a:lnTo>
                    <a:pt x="4013" y="797"/>
                  </a:lnTo>
                  <a:lnTo>
                    <a:pt x="4011" y="792"/>
                  </a:lnTo>
                  <a:lnTo>
                    <a:pt x="4007" y="780"/>
                  </a:lnTo>
                  <a:lnTo>
                    <a:pt x="4005" y="768"/>
                  </a:lnTo>
                  <a:lnTo>
                    <a:pt x="4003" y="759"/>
                  </a:lnTo>
                  <a:lnTo>
                    <a:pt x="4000" y="751"/>
                  </a:lnTo>
                  <a:lnTo>
                    <a:pt x="3997" y="744"/>
                  </a:lnTo>
                  <a:lnTo>
                    <a:pt x="3993" y="737"/>
                  </a:lnTo>
                  <a:lnTo>
                    <a:pt x="3985" y="724"/>
                  </a:lnTo>
                  <a:lnTo>
                    <a:pt x="3975" y="710"/>
                  </a:lnTo>
                  <a:lnTo>
                    <a:pt x="3954" y="677"/>
                  </a:lnTo>
                  <a:lnTo>
                    <a:pt x="3937" y="649"/>
                  </a:lnTo>
                  <a:lnTo>
                    <a:pt x="3927" y="636"/>
                  </a:lnTo>
                  <a:lnTo>
                    <a:pt x="3918" y="622"/>
                  </a:lnTo>
                  <a:lnTo>
                    <a:pt x="3907" y="608"/>
                  </a:lnTo>
                  <a:lnTo>
                    <a:pt x="3893" y="594"/>
                  </a:lnTo>
                  <a:lnTo>
                    <a:pt x="3885" y="587"/>
                  </a:lnTo>
                  <a:lnTo>
                    <a:pt x="3878" y="581"/>
                  </a:lnTo>
                  <a:lnTo>
                    <a:pt x="3869" y="577"/>
                  </a:lnTo>
                  <a:lnTo>
                    <a:pt x="3862" y="572"/>
                  </a:lnTo>
                  <a:lnTo>
                    <a:pt x="3844" y="567"/>
                  </a:lnTo>
                  <a:lnTo>
                    <a:pt x="3827" y="564"/>
                  </a:lnTo>
                  <a:lnTo>
                    <a:pt x="3809" y="560"/>
                  </a:lnTo>
                  <a:lnTo>
                    <a:pt x="3790" y="557"/>
                  </a:lnTo>
                  <a:lnTo>
                    <a:pt x="3781" y="556"/>
                  </a:lnTo>
                  <a:lnTo>
                    <a:pt x="3771" y="553"/>
                  </a:lnTo>
                  <a:lnTo>
                    <a:pt x="3760" y="551"/>
                  </a:lnTo>
                  <a:lnTo>
                    <a:pt x="3750" y="546"/>
                  </a:lnTo>
                  <a:lnTo>
                    <a:pt x="3729" y="538"/>
                  </a:lnTo>
                  <a:lnTo>
                    <a:pt x="3709" y="530"/>
                  </a:lnTo>
                  <a:lnTo>
                    <a:pt x="3691" y="523"/>
                  </a:lnTo>
                  <a:lnTo>
                    <a:pt x="3669" y="513"/>
                  </a:lnTo>
                  <a:lnTo>
                    <a:pt x="3653" y="504"/>
                  </a:lnTo>
                  <a:lnTo>
                    <a:pt x="3640" y="496"/>
                  </a:lnTo>
                  <a:lnTo>
                    <a:pt x="3626" y="487"/>
                  </a:lnTo>
                  <a:lnTo>
                    <a:pt x="3610" y="479"/>
                  </a:lnTo>
                  <a:lnTo>
                    <a:pt x="3598" y="475"/>
                  </a:lnTo>
                  <a:lnTo>
                    <a:pt x="3585" y="471"/>
                  </a:lnTo>
                  <a:lnTo>
                    <a:pt x="3580" y="469"/>
                  </a:lnTo>
                  <a:lnTo>
                    <a:pt x="3574" y="465"/>
                  </a:lnTo>
                  <a:lnTo>
                    <a:pt x="3570" y="462"/>
                  </a:lnTo>
                  <a:lnTo>
                    <a:pt x="3566" y="457"/>
                  </a:lnTo>
                  <a:lnTo>
                    <a:pt x="3559" y="448"/>
                  </a:lnTo>
                  <a:lnTo>
                    <a:pt x="3555" y="438"/>
                  </a:lnTo>
                  <a:lnTo>
                    <a:pt x="3552" y="430"/>
                  </a:lnTo>
                  <a:lnTo>
                    <a:pt x="3547" y="421"/>
                  </a:lnTo>
                  <a:lnTo>
                    <a:pt x="3544" y="413"/>
                  </a:lnTo>
                  <a:lnTo>
                    <a:pt x="3539" y="404"/>
                  </a:lnTo>
                  <a:lnTo>
                    <a:pt x="3533" y="395"/>
                  </a:lnTo>
                  <a:lnTo>
                    <a:pt x="3527" y="387"/>
                  </a:lnTo>
                  <a:lnTo>
                    <a:pt x="3504" y="366"/>
                  </a:lnTo>
                  <a:lnTo>
                    <a:pt x="3482" y="348"/>
                  </a:lnTo>
                  <a:lnTo>
                    <a:pt x="3461" y="333"/>
                  </a:lnTo>
                  <a:lnTo>
                    <a:pt x="3438" y="319"/>
                  </a:lnTo>
                  <a:lnTo>
                    <a:pt x="3415" y="306"/>
                  </a:lnTo>
                  <a:lnTo>
                    <a:pt x="3392" y="294"/>
                  </a:lnTo>
                  <a:lnTo>
                    <a:pt x="3367" y="282"/>
                  </a:lnTo>
                  <a:lnTo>
                    <a:pt x="3339" y="269"/>
                  </a:lnTo>
                  <a:lnTo>
                    <a:pt x="3327" y="262"/>
                  </a:lnTo>
                  <a:lnTo>
                    <a:pt x="3317" y="256"/>
                  </a:lnTo>
                  <a:lnTo>
                    <a:pt x="3309" y="247"/>
                  </a:lnTo>
                  <a:lnTo>
                    <a:pt x="3301" y="240"/>
                  </a:lnTo>
                  <a:lnTo>
                    <a:pt x="3292" y="232"/>
                  </a:lnTo>
                  <a:lnTo>
                    <a:pt x="3283" y="227"/>
                  </a:lnTo>
                  <a:lnTo>
                    <a:pt x="3277" y="225"/>
                  </a:lnTo>
                  <a:lnTo>
                    <a:pt x="3272" y="222"/>
                  </a:lnTo>
                  <a:lnTo>
                    <a:pt x="3266" y="221"/>
                  </a:lnTo>
                  <a:lnTo>
                    <a:pt x="3260" y="221"/>
                  </a:lnTo>
                  <a:lnTo>
                    <a:pt x="3251" y="221"/>
                  </a:lnTo>
                  <a:lnTo>
                    <a:pt x="3244" y="224"/>
                  </a:lnTo>
                  <a:lnTo>
                    <a:pt x="3236" y="225"/>
                  </a:lnTo>
                  <a:lnTo>
                    <a:pt x="3230" y="227"/>
                  </a:lnTo>
                  <a:lnTo>
                    <a:pt x="3217" y="233"/>
                  </a:lnTo>
                  <a:lnTo>
                    <a:pt x="3204" y="240"/>
                  </a:lnTo>
                  <a:lnTo>
                    <a:pt x="3192" y="246"/>
                  </a:lnTo>
                  <a:lnTo>
                    <a:pt x="3178" y="253"/>
                  </a:lnTo>
                  <a:lnTo>
                    <a:pt x="3171" y="255"/>
                  </a:lnTo>
                  <a:lnTo>
                    <a:pt x="3164" y="256"/>
                  </a:lnTo>
                  <a:lnTo>
                    <a:pt x="3156" y="257"/>
                  </a:lnTo>
                  <a:lnTo>
                    <a:pt x="3148" y="258"/>
                  </a:lnTo>
                  <a:lnTo>
                    <a:pt x="3142" y="257"/>
                  </a:lnTo>
                  <a:lnTo>
                    <a:pt x="3137" y="257"/>
                  </a:lnTo>
                  <a:lnTo>
                    <a:pt x="3131" y="255"/>
                  </a:lnTo>
                  <a:lnTo>
                    <a:pt x="3126" y="253"/>
                  </a:lnTo>
                  <a:lnTo>
                    <a:pt x="3117" y="247"/>
                  </a:lnTo>
                  <a:lnTo>
                    <a:pt x="3110" y="240"/>
                  </a:lnTo>
                  <a:lnTo>
                    <a:pt x="3102" y="232"/>
                  </a:lnTo>
                  <a:lnTo>
                    <a:pt x="3094" y="225"/>
                  </a:lnTo>
                  <a:lnTo>
                    <a:pt x="3085" y="217"/>
                  </a:lnTo>
                  <a:lnTo>
                    <a:pt x="3075" y="211"/>
                  </a:lnTo>
                  <a:lnTo>
                    <a:pt x="3055" y="202"/>
                  </a:lnTo>
                  <a:lnTo>
                    <a:pt x="3034" y="193"/>
                  </a:lnTo>
                  <a:lnTo>
                    <a:pt x="3027" y="189"/>
                  </a:lnTo>
                  <a:lnTo>
                    <a:pt x="3019" y="182"/>
                  </a:lnTo>
                  <a:lnTo>
                    <a:pt x="3017" y="179"/>
                  </a:lnTo>
                  <a:lnTo>
                    <a:pt x="3015" y="175"/>
                  </a:lnTo>
                  <a:lnTo>
                    <a:pt x="3014" y="171"/>
                  </a:lnTo>
                  <a:lnTo>
                    <a:pt x="3014" y="165"/>
                  </a:lnTo>
                  <a:lnTo>
                    <a:pt x="3014" y="147"/>
                  </a:lnTo>
                  <a:lnTo>
                    <a:pt x="3016" y="130"/>
                  </a:lnTo>
                  <a:lnTo>
                    <a:pt x="3020" y="113"/>
                  </a:lnTo>
                  <a:lnTo>
                    <a:pt x="3028" y="95"/>
                  </a:lnTo>
                  <a:lnTo>
                    <a:pt x="3035" y="83"/>
                  </a:lnTo>
                  <a:lnTo>
                    <a:pt x="3043" y="72"/>
                  </a:lnTo>
                  <a:lnTo>
                    <a:pt x="3047" y="67"/>
                  </a:lnTo>
                  <a:lnTo>
                    <a:pt x="3049" y="62"/>
                  </a:lnTo>
                  <a:lnTo>
                    <a:pt x="3052" y="55"/>
                  </a:lnTo>
                  <a:lnTo>
                    <a:pt x="3053" y="47"/>
                  </a:lnTo>
                  <a:lnTo>
                    <a:pt x="3053" y="44"/>
                  </a:lnTo>
                  <a:lnTo>
                    <a:pt x="3052" y="40"/>
                  </a:lnTo>
                  <a:lnTo>
                    <a:pt x="3049" y="38"/>
                  </a:lnTo>
                  <a:lnTo>
                    <a:pt x="3047" y="35"/>
                  </a:lnTo>
                  <a:lnTo>
                    <a:pt x="3042" y="31"/>
                  </a:lnTo>
                  <a:lnTo>
                    <a:pt x="3035" y="28"/>
                  </a:lnTo>
                  <a:lnTo>
                    <a:pt x="3019" y="24"/>
                  </a:lnTo>
                  <a:lnTo>
                    <a:pt x="3002" y="19"/>
                  </a:lnTo>
                  <a:lnTo>
                    <a:pt x="2990" y="14"/>
                  </a:lnTo>
                  <a:lnTo>
                    <a:pt x="2980" y="8"/>
                  </a:lnTo>
                  <a:lnTo>
                    <a:pt x="2975" y="4"/>
                  </a:lnTo>
                  <a:lnTo>
                    <a:pt x="2969" y="2"/>
                  </a:lnTo>
                  <a:lnTo>
                    <a:pt x="2963" y="1"/>
                  </a:lnTo>
                  <a:lnTo>
                    <a:pt x="2956" y="0"/>
                  </a:lnTo>
                  <a:lnTo>
                    <a:pt x="2939" y="0"/>
                  </a:lnTo>
                  <a:lnTo>
                    <a:pt x="2924" y="0"/>
                  </a:lnTo>
                  <a:lnTo>
                    <a:pt x="2908" y="0"/>
                  </a:lnTo>
                  <a:lnTo>
                    <a:pt x="2891" y="0"/>
                  </a:lnTo>
                  <a:lnTo>
                    <a:pt x="2882" y="1"/>
                  </a:lnTo>
                  <a:lnTo>
                    <a:pt x="2874" y="2"/>
                  </a:lnTo>
                  <a:lnTo>
                    <a:pt x="2868" y="4"/>
                  </a:lnTo>
                  <a:lnTo>
                    <a:pt x="2860" y="8"/>
                  </a:lnTo>
                  <a:lnTo>
                    <a:pt x="2854" y="10"/>
                  </a:lnTo>
                  <a:lnTo>
                    <a:pt x="2846" y="12"/>
                  </a:lnTo>
                  <a:lnTo>
                    <a:pt x="2839" y="14"/>
                  </a:lnTo>
                  <a:lnTo>
                    <a:pt x="2830" y="14"/>
                  </a:lnTo>
                  <a:lnTo>
                    <a:pt x="2816" y="14"/>
                  </a:lnTo>
                  <a:lnTo>
                    <a:pt x="2803" y="14"/>
                  </a:lnTo>
                  <a:lnTo>
                    <a:pt x="2790" y="14"/>
                  </a:lnTo>
                  <a:lnTo>
                    <a:pt x="2776" y="14"/>
                  </a:lnTo>
                  <a:lnTo>
                    <a:pt x="2766" y="15"/>
                  </a:lnTo>
                  <a:lnTo>
                    <a:pt x="2759" y="17"/>
                  </a:lnTo>
                  <a:lnTo>
                    <a:pt x="2752" y="20"/>
                  </a:lnTo>
                  <a:lnTo>
                    <a:pt x="2746" y="25"/>
                  </a:lnTo>
                  <a:lnTo>
                    <a:pt x="2733" y="36"/>
                  </a:lnTo>
                  <a:lnTo>
                    <a:pt x="2719" y="47"/>
                  </a:lnTo>
                  <a:lnTo>
                    <a:pt x="2698" y="63"/>
                  </a:lnTo>
                  <a:lnTo>
                    <a:pt x="2681" y="78"/>
                  </a:lnTo>
                  <a:lnTo>
                    <a:pt x="2663" y="93"/>
                  </a:lnTo>
                  <a:lnTo>
                    <a:pt x="2643" y="109"/>
                  </a:lnTo>
                  <a:lnTo>
                    <a:pt x="2625" y="124"/>
                  </a:lnTo>
                  <a:lnTo>
                    <a:pt x="2607" y="137"/>
                  </a:lnTo>
                  <a:lnTo>
                    <a:pt x="2588" y="147"/>
                  </a:lnTo>
                  <a:lnTo>
                    <a:pt x="2571" y="157"/>
                  </a:lnTo>
                  <a:lnTo>
                    <a:pt x="2532" y="172"/>
                  </a:lnTo>
                  <a:lnTo>
                    <a:pt x="2489" y="188"/>
                  </a:lnTo>
                  <a:lnTo>
                    <a:pt x="2472" y="194"/>
                  </a:lnTo>
                  <a:lnTo>
                    <a:pt x="2455" y="202"/>
                  </a:lnTo>
                  <a:lnTo>
                    <a:pt x="2440" y="211"/>
                  </a:lnTo>
                  <a:lnTo>
                    <a:pt x="2426" y="218"/>
                  </a:lnTo>
                  <a:lnTo>
                    <a:pt x="2398" y="234"/>
                  </a:lnTo>
                  <a:lnTo>
                    <a:pt x="2372" y="251"/>
                  </a:lnTo>
                  <a:lnTo>
                    <a:pt x="2345" y="266"/>
                  </a:lnTo>
                  <a:lnTo>
                    <a:pt x="2317" y="281"/>
                  </a:lnTo>
                  <a:lnTo>
                    <a:pt x="2302" y="287"/>
                  </a:lnTo>
                  <a:lnTo>
                    <a:pt x="2286" y="293"/>
                  </a:lnTo>
                  <a:lnTo>
                    <a:pt x="2270" y="298"/>
                  </a:lnTo>
                  <a:lnTo>
                    <a:pt x="2251" y="302"/>
                  </a:lnTo>
                  <a:lnTo>
                    <a:pt x="2243" y="306"/>
                  </a:lnTo>
                  <a:lnTo>
                    <a:pt x="2234" y="310"/>
                  </a:lnTo>
                  <a:lnTo>
                    <a:pt x="2227" y="314"/>
                  </a:lnTo>
                  <a:lnTo>
                    <a:pt x="2221" y="319"/>
                  </a:lnTo>
                  <a:lnTo>
                    <a:pt x="2213" y="323"/>
                  </a:lnTo>
                  <a:lnTo>
                    <a:pt x="2207" y="327"/>
                  </a:lnTo>
                  <a:lnTo>
                    <a:pt x="2198" y="329"/>
                  </a:lnTo>
                  <a:lnTo>
                    <a:pt x="2190" y="330"/>
                  </a:lnTo>
                  <a:lnTo>
                    <a:pt x="2179" y="330"/>
                  </a:lnTo>
                  <a:lnTo>
                    <a:pt x="2169" y="328"/>
                  </a:lnTo>
                  <a:lnTo>
                    <a:pt x="2160" y="325"/>
                  </a:lnTo>
                  <a:lnTo>
                    <a:pt x="2152" y="320"/>
                  </a:lnTo>
                  <a:lnTo>
                    <a:pt x="2145" y="314"/>
                  </a:lnTo>
                  <a:lnTo>
                    <a:pt x="2139" y="308"/>
                  </a:lnTo>
                  <a:lnTo>
                    <a:pt x="2132" y="300"/>
                  </a:lnTo>
                  <a:lnTo>
                    <a:pt x="2128" y="292"/>
                  </a:lnTo>
                  <a:lnTo>
                    <a:pt x="2118" y="273"/>
                  </a:lnTo>
                  <a:lnTo>
                    <a:pt x="2111" y="254"/>
                  </a:lnTo>
                  <a:lnTo>
                    <a:pt x="2104" y="232"/>
                  </a:lnTo>
                  <a:lnTo>
                    <a:pt x="2097" y="211"/>
                  </a:lnTo>
                  <a:lnTo>
                    <a:pt x="2097" y="211"/>
                  </a:lnTo>
                  <a:lnTo>
                    <a:pt x="2075" y="209"/>
                  </a:lnTo>
                  <a:lnTo>
                    <a:pt x="2056" y="207"/>
                  </a:lnTo>
                  <a:lnTo>
                    <a:pt x="2037" y="204"/>
                  </a:lnTo>
                  <a:lnTo>
                    <a:pt x="2019" y="201"/>
                  </a:lnTo>
                  <a:lnTo>
                    <a:pt x="2002" y="197"/>
                  </a:lnTo>
                  <a:lnTo>
                    <a:pt x="1982" y="193"/>
                  </a:lnTo>
                  <a:lnTo>
                    <a:pt x="1963" y="191"/>
                  </a:lnTo>
                  <a:lnTo>
                    <a:pt x="1941" y="191"/>
                  </a:lnTo>
                  <a:lnTo>
                    <a:pt x="1931" y="191"/>
                  </a:lnTo>
                  <a:lnTo>
                    <a:pt x="1921" y="192"/>
                  </a:lnTo>
                  <a:lnTo>
                    <a:pt x="1912" y="194"/>
                  </a:lnTo>
                  <a:lnTo>
                    <a:pt x="1903" y="198"/>
                  </a:lnTo>
                  <a:lnTo>
                    <a:pt x="1895" y="201"/>
                  </a:lnTo>
                  <a:lnTo>
                    <a:pt x="1887" y="205"/>
                  </a:lnTo>
                  <a:lnTo>
                    <a:pt x="1880" y="209"/>
                  </a:lnTo>
                  <a:lnTo>
                    <a:pt x="1872" y="215"/>
                  </a:lnTo>
                  <a:lnTo>
                    <a:pt x="1866" y="221"/>
                  </a:lnTo>
                  <a:lnTo>
                    <a:pt x="1859" y="228"/>
                  </a:lnTo>
                  <a:lnTo>
                    <a:pt x="1853" y="235"/>
                  </a:lnTo>
                  <a:lnTo>
                    <a:pt x="1847" y="243"/>
                  </a:lnTo>
                  <a:lnTo>
                    <a:pt x="1835" y="259"/>
                  </a:lnTo>
                  <a:lnTo>
                    <a:pt x="1825" y="278"/>
                  </a:lnTo>
                  <a:lnTo>
                    <a:pt x="1805" y="310"/>
                  </a:lnTo>
                  <a:lnTo>
                    <a:pt x="1786" y="339"/>
                  </a:lnTo>
                  <a:lnTo>
                    <a:pt x="1777" y="353"/>
                  </a:lnTo>
                  <a:lnTo>
                    <a:pt x="1768" y="368"/>
                  </a:lnTo>
                  <a:lnTo>
                    <a:pt x="1761" y="384"/>
                  </a:lnTo>
                  <a:lnTo>
                    <a:pt x="1755" y="404"/>
                  </a:lnTo>
                  <a:lnTo>
                    <a:pt x="1747" y="415"/>
                  </a:lnTo>
                  <a:lnTo>
                    <a:pt x="1738" y="427"/>
                  </a:lnTo>
                  <a:lnTo>
                    <a:pt x="1732" y="449"/>
                  </a:lnTo>
                  <a:lnTo>
                    <a:pt x="1726" y="470"/>
                  </a:lnTo>
                  <a:lnTo>
                    <a:pt x="1722" y="490"/>
                  </a:lnTo>
                  <a:lnTo>
                    <a:pt x="1719" y="509"/>
                  </a:lnTo>
                  <a:lnTo>
                    <a:pt x="1714" y="528"/>
                  </a:lnTo>
                  <a:lnTo>
                    <a:pt x="1709" y="548"/>
                  </a:lnTo>
                  <a:lnTo>
                    <a:pt x="1702" y="567"/>
                  </a:lnTo>
                  <a:lnTo>
                    <a:pt x="1693" y="589"/>
                  </a:lnTo>
                  <a:lnTo>
                    <a:pt x="1686" y="602"/>
                  </a:lnTo>
                  <a:lnTo>
                    <a:pt x="1679" y="611"/>
                  </a:lnTo>
                  <a:lnTo>
                    <a:pt x="1670" y="622"/>
                  </a:lnTo>
                  <a:lnTo>
                    <a:pt x="1663" y="634"/>
                  </a:lnTo>
                  <a:lnTo>
                    <a:pt x="1656" y="646"/>
                  </a:lnTo>
                  <a:lnTo>
                    <a:pt x="1651" y="657"/>
                  </a:lnTo>
                  <a:lnTo>
                    <a:pt x="1647" y="662"/>
                  </a:lnTo>
                  <a:lnTo>
                    <a:pt x="1644" y="666"/>
                  </a:lnTo>
                  <a:lnTo>
                    <a:pt x="1639" y="670"/>
                  </a:lnTo>
                  <a:lnTo>
                    <a:pt x="1633" y="672"/>
                  </a:lnTo>
                  <a:lnTo>
                    <a:pt x="1633" y="67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55">
              <a:extLst>
                <a:ext uri="{FF2B5EF4-FFF2-40B4-BE49-F238E27FC236}">
                  <a16:creationId xmlns:a16="http://schemas.microsoft.com/office/drawing/2014/main" id="{2489475E-6D19-40F7-AFA4-BCEB16562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7000" y="4806951"/>
              <a:ext cx="969963" cy="701675"/>
            </a:xfrm>
            <a:custGeom>
              <a:avLst/>
              <a:gdLst>
                <a:gd name="T0" fmla="*/ 437 w 2442"/>
                <a:gd name="T1" fmla="*/ 127 h 1769"/>
                <a:gd name="T2" fmla="*/ 394 w 2442"/>
                <a:gd name="T3" fmla="*/ 212 h 1769"/>
                <a:gd name="T4" fmla="*/ 355 w 2442"/>
                <a:gd name="T5" fmla="*/ 330 h 1769"/>
                <a:gd name="T6" fmla="*/ 248 w 2442"/>
                <a:gd name="T7" fmla="*/ 425 h 1769"/>
                <a:gd name="T8" fmla="*/ 164 w 2442"/>
                <a:gd name="T9" fmla="*/ 535 h 1769"/>
                <a:gd name="T10" fmla="*/ 115 w 2442"/>
                <a:gd name="T11" fmla="*/ 642 h 1769"/>
                <a:gd name="T12" fmla="*/ 18 w 2442"/>
                <a:gd name="T13" fmla="*/ 1163 h 1769"/>
                <a:gd name="T14" fmla="*/ 3 w 2442"/>
                <a:gd name="T15" fmla="*/ 1238 h 1769"/>
                <a:gd name="T16" fmla="*/ 154 w 2442"/>
                <a:gd name="T17" fmla="*/ 1217 h 1769"/>
                <a:gd name="T18" fmla="*/ 214 w 2442"/>
                <a:gd name="T19" fmla="*/ 1252 h 1769"/>
                <a:gd name="T20" fmla="*/ 251 w 2442"/>
                <a:gd name="T21" fmla="*/ 1336 h 1769"/>
                <a:gd name="T22" fmla="*/ 297 w 2442"/>
                <a:gd name="T23" fmla="*/ 1437 h 1769"/>
                <a:gd name="T24" fmla="*/ 289 w 2442"/>
                <a:gd name="T25" fmla="*/ 1539 h 1769"/>
                <a:gd name="T26" fmla="*/ 402 w 2442"/>
                <a:gd name="T27" fmla="*/ 1534 h 1769"/>
                <a:gd name="T28" fmla="*/ 467 w 2442"/>
                <a:gd name="T29" fmla="*/ 1522 h 1769"/>
                <a:gd name="T30" fmla="*/ 563 w 2442"/>
                <a:gd name="T31" fmla="*/ 1579 h 1769"/>
                <a:gd name="T32" fmla="*/ 703 w 2442"/>
                <a:gd name="T33" fmla="*/ 1590 h 1769"/>
                <a:gd name="T34" fmla="*/ 884 w 2442"/>
                <a:gd name="T35" fmla="*/ 1652 h 1769"/>
                <a:gd name="T36" fmla="*/ 1065 w 2442"/>
                <a:gd name="T37" fmla="*/ 1735 h 1769"/>
                <a:gd name="T38" fmla="*/ 1137 w 2442"/>
                <a:gd name="T39" fmla="*/ 1766 h 1769"/>
                <a:gd name="T40" fmla="*/ 1188 w 2442"/>
                <a:gd name="T41" fmla="*/ 1701 h 1769"/>
                <a:gd name="T42" fmla="*/ 1206 w 2442"/>
                <a:gd name="T43" fmla="*/ 1627 h 1769"/>
                <a:gd name="T44" fmla="*/ 1297 w 2442"/>
                <a:gd name="T45" fmla="*/ 1582 h 1769"/>
                <a:gd name="T46" fmla="*/ 1411 w 2442"/>
                <a:gd name="T47" fmla="*/ 1495 h 1769"/>
                <a:gd name="T48" fmla="*/ 1675 w 2442"/>
                <a:gd name="T49" fmla="*/ 1532 h 1769"/>
                <a:gd name="T50" fmla="*/ 1917 w 2442"/>
                <a:gd name="T51" fmla="*/ 1589 h 1769"/>
                <a:gd name="T52" fmla="*/ 2023 w 2442"/>
                <a:gd name="T53" fmla="*/ 1576 h 1769"/>
                <a:gd name="T54" fmla="*/ 2179 w 2442"/>
                <a:gd name="T55" fmla="*/ 1587 h 1769"/>
                <a:gd name="T56" fmla="*/ 2205 w 2442"/>
                <a:gd name="T57" fmla="*/ 1505 h 1769"/>
                <a:gd name="T58" fmla="*/ 2256 w 2442"/>
                <a:gd name="T59" fmla="*/ 1431 h 1769"/>
                <a:gd name="T60" fmla="*/ 2250 w 2442"/>
                <a:gd name="T61" fmla="*/ 1382 h 1769"/>
                <a:gd name="T62" fmla="*/ 2225 w 2442"/>
                <a:gd name="T63" fmla="*/ 1328 h 1769"/>
                <a:gd name="T64" fmla="*/ 2308 w 2442"/>
                <a:gd name="T65" fmla="*/ 1288 h 1769"/>
                <a:gd name="T66" fmla="*/ 2382 w 2442"/>
                <a:gd name="T67" fmla="*/ 1306 h 1769"/>
                <a:gd name="T68" fmla="*/ 2406 w 2442"/>
                <a:gd name="T69" fmla="*/ 1199 h 1769"/>
                <a:gd name="T70" fmla="*/ 2299 w 2442"/>
                <a:gd name="T71" fmla="*/ 1163 h 1769"/>
                <a:gd name="T72" fmla="*/ 2288 w 2442"/>
                <a:gd name="T73" fmla="*/ 1064 h 1769"/>
                <a:gd name="T74" fmla="*/ 2270 w 2442"/>
                <a:gd name="T75" fmla="*/ 993 h 1769"/>
                <a:gd name="T76" fmla="*/ 2113 w 2442"/>
                <a:gd name="T77" fmla="*/ 933 h 1769"/>
                <a:gd name="T78" fmla="*/ 2005 w 2442"/>
                <a:gd name="T79" fmla="*/ 948 h 1769"/>
                <a:gd name="T80" fmla="*/ 2002 w 2442"/>
                <a:gd name="T81" fmla="*/ 750 h 1769"/>
                <a:gd name="T82" fmla="*/ 1956 w 2442"/>
                <a:gd name="T83" fmla="*/ 635 h 1769"/>
                <a:gd name="T84" fmla="*/ 1975 w 2442"/>
                <a:gd name="T85" fmla="*/ 567 h 1769"/>
                <a:gd name="T86" fmla="*/ 1969 w 2442"/>
                <a:gd name="T87" fmla="*/ 467 h 1769"/>
                <a:gd name="T88" fmla="*/ 1943 w 2442"/>
                <a:gd name="T89" fmla="*/ 338 h 1769"/>
                <a:gd name="T90" fmla="*/ 1872 w 2442"/>
                <a:gd name="T91" fmla="*/ 269 h 1769"/>
                <a:gd name="T92" fmla="*/ 1796 w 2442"/>
                <a:gd name="T93" fmla="*/ 192 h 1769"/>
                <a:gd name="T94" fmla="*/ 1703 w 2442"/>
                <a:gd name="T95" fmla="*/ 195 h 1769"/>
                <a:gd name="T96" fmla="*/ 1598 w 2442"/>
                <a:gd name="T97" fmla="*/ 181 h 1769"/>
                <a:gd name="T98" fmla="*/ 1518 w 2442"/>
                <a:gd name="T99" fmla="*/ 199 h 1769"/>
                <a:gd name="T100" fmla="*/ 1455 w 2442"/>
                <a:gd name="T101" fmla="*/ 141 h 1769"/>
                <a:gd name="T102" fmla="*/ 1400 w 2442"/>
                <a:gd name="T103" fmla="*/ 113 h 1769"/>
                <a:gd name="T104" fmla="*/ 1322 w 2442"/>
                <a:gd name="T105" fmla="*/ 119 h 1769"/>
                <a:gd name="T106" fmla="*/ 1222 w 2442"/>
                <a:gd name="T107" fmla="*/ 44 h 1769"/>
                <a:gd name="T108" fmla="*/ 1128 w 2442"/>
                <a:gd name="T109" fmla="*/ 20 h 1769"/>
                <a:gd name="T110" fmla="*/ 1031 w 2442"/>
                <a:gd name="T111" fmla="*/ 1 h 1769"/>
                <a:gd name="T112" fmla="*/ 936 w 2442"/>
                <a:gd name="T113" fmla="*/ 7 h 1769"/>
                <a:gd name="T114" fmla="*/ 887 w 2442"/>
                <a:gd name="T115" fmla="*/ 39 h 1769"/>
                <a:gd name="T116" fmla="*/ 802 w 2442"/>
                <a:gd name="T117" fmla="*/ 23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42" h="1769">
                  <a:moveTo>
                    <a:pt x="606" y="9"/>
                  </a:moveTo>
                  <a:lnTo>
                    <a:pt x="585" y="28"/>
                  </a:lnTo>
                  <a:lnTo>
                    <a:pt x="565" y="46"/>
                  </a:lnTo>
                  <a:lnTo>
                    <a:pt x="545" y="60"/>
                  </a:lnTo>
                  <a:lnTo>
                    <a:pt x="526" y="73"/>
                  </a:lnTo>
                  <a:lnTo>
                    <a:pt x="505" y="86"/>
                  </a:lnTo>
                  <a:lnTo>
                    <a:pt x="484" y="98"/>
                  </a:lnTo>
                  <a:lnTo>
                    <a:pt x="461" y="111"/>
                  </a:lnTo>
                  <a:lnTo>
                    <a:pt x="437" y="127"/>
                  </a:lnTo>
                  <a:lnTo>
                    <a:pt x="431" y="131"/>
                  </a:lnTo>
                  <a:lnTo>
                    <a:pt x="425" y="135"/>
                  </a:lnTo>
                  <a:lnTo>
                    <a:pt x="420" y="141"/>
                  </a:lnTo>
                  <a:lnTo>
                    <a:pt x="416" y="146"/>
                  </a:lnTo>
                  <a:lnTo>
                    <a:pt x="408" y="157"/>
                  </a:lnTo>
                  <a:lnTo>
                    <a:pt x="403" y="170"/>
                  </a:lnTo>
                  <a:lnTo>
                    <a:pt x="399" y="183"/>
                  </a:lnTo>
                  <a:lnTo>
                    <a:pt x="396" y="197"/>
                  </a:lnTo>
                  <a:lnTo>
                    <a:pt x="394" y="212"/>
                  </a:lnTo>
                  <a:lnTo>
                    <a:pt x="393" y="227"/>
                  </a:lnTo>
                  <a:lnTo>
                    <a:pt x="391" y="240"/>
                  </a:lnTo>
                  <a:lnTo>
                    <a:pt x="389" y="251"/>
                  </a:lnTo>
                  <a:lnTo>
                    <a:pt x="385" y="260"/>
                  </a:lnTo>
                  <a:lnTo>
                    <a:pt x="382" y="270"/>
                  </a:lnTo>
                  <a:lnTo>
                    <a:pt x="373" y="290"/>
                  </a:lnTo>
                  <a:lnTo>
                    <a:pt x="365" y="311"/>
                  </a:lnTo>
                  <a:lnTo>
                    <a:pt x="359" y="321"/>
                  </a:lnTo>
                  <a:lnTo>
                    <a:pt x="355" y="330"/>
                  </a:lnTo>
                  <a:lnTo>
                    <a:pt x="349" y="337"/>
                  </a:lnTo>
                  <a:lnTo>
                    <a:pt x="343" y="345"/>
                  </a:lnTo>
                  <a:lnTo>
                    <a:pt x="330" y="357"/>
                  </a:lnTo>
                  <a:lnTo>
                    <a:pt x="316" y="367"/>
                  </a:lnTo>
                  <a:lnTo>
                    <a:pt x="301" y="378"/>
                  </a:lnTo>
                  <a:lnTo>
                    <a:pt x="286" y="389"/>
                  </a:lnTo>
                  <a:lnTo>
                    <a:pt x="270" y="401"/>
                  </a:lnTo>
                  <a:lnTo>
                    <a:pt x="255" y="415"/>
                  </a:lnTo>
                  <a:lnTo>
                    <a:pt x="248" y="425"/>
                  </a:lnTo>
                  <a:lnTo>
                    <a:pt x="242" y="433"/>
                  </a:lnTo>
                  <a:lnTo>
                    <a:pt x="237" y="442"/>
                  </a:lnTo>
                  <a:lnTo>
                    <a:pt x="233" y="452"/>
                  </a:lnTo>
                  <a:lnTo>
                    <a:pt x="230" y="460"/>
                  </a:lnTo>
                  <a:lnTo>
                    <a:pt x="226" y="470"/>
                  </a:lnTo>
                  <a:lnTo>
                    <a:pt x="220" y="479"/>
                  </a:lnTo>
                  <a:lnTo>
                    <a:pt x="213" y="488"/>
                  </a:lnTo>
                  <a:lnTo>
                    <a:pt x="188" y="513"/>
                  </a:lnTo>
                  <a:lnTo>
                    <a:pt x="164" y="535"/>
                  </a:lnTo>
                  <a:lnTo>
                    <a:pt x="153" y="546"/>
                  </a:lnTo>
                  <a:lnTo>
                    <a:pt x="143" y="557"/>
                  </a:lnTo>
                  <a:lnTo>
                    <a:pt x="139" y="565"/>
                  </a:lnTo>
                  <a:lnTo>
                    <a:pt x="136" y="573"/>
                  </a:lnTo>
                  <a:lnTo>
                    <a:pt x="132" y="580"/>
                  </a:lnTo>
                  <a:lnTo>
                    <a:pt x="129" y="589"/>
                  </a:lnTo>
                  <a:lnTo>
                    <a:pt x="123" y="608"/>
                  </a:lnTo>
                  <a:lnTo>
                    <a:pt x="119" y="626"/>
                  </a:lnTo>
                  <a:lnTo>
                    <a:pt x="115" y="642"/>
                  </a:lnTo>
                  <a:lnTo>
                    <a:pt x="110" y="662"/>
                  </a:lnTo>
                  <a:lnTo>
                    <a:pt x="110" y="662"/>
                  </a:lnTo>
                  <a:lnTo>
                    <a:pt x="24" y="1144"/>
                  </a:lnTo>
                  <a:lnTo>
                    <a:pt x="25" y="1145"/>
                  </a:lnTo>
                  <a:lnTo>
                    <a:pt x="25" y="1147"/>
                  </a:lnTo>
                  <a:lnTo>
                    <a:pt x="25" y="1151"/>
                  </a:lnTo>
                  <a:lnTo>
                    <a:pt x="22" y="1156"/>
                  </a:lnTo>
                  <a:lnTo>
                    <a:pt x="20" y="1159"/>
                  </a:lnTo>
                  <a:lnTo>
                    <a:pt x="18" y="1163"/>
                  </a:lnTo>
                  <a:lnTo>
                    <a:pt x="13" y="1177"/>
                  </a:lnTo>
                  <a:lnTo>
                    <a:pt x="7" y="1190"/>
                  </a:lnTo>
                  <a:lnTo>
                    <a:pt x="4" y="1197"/>
                  </a:lnTo>
                  <a:lnTo>
                    <a:pt x="2" y="1202"/>
                  </a:lnTo>
                  <a:lnTo>
                    <a:pt x="0" y="1208"/>
                  </a:lnTo>
                  <a:lnTo>
                    <a:pt x="0" y="1214"/>
                  </a:lnTo>
                  <a:lnTo>
                    <a:pt x="2" y="1226"/>
                  </a:lnTo>
                  <a:lnTo>
                    <a:pt x="3" y="1238"/>
                  </a:lnTo>
                  <a:lnTo>
                    <a:pt x="3" y="1238"/>
                  </a:lnTo>
                  <a:lnTo>
                    <a:pt x="19" y="1240"/>
                  </a:lnTo>
                  <a:lnTo>
                    <a:pt x="35" y="1241"/>
                  </a:lnTo>
                  <a:lnTo>
                    <a:pt x="52" y="1243"/>
                  </a:lnTo>
                  <a:lnTo>
                    <a:pt x="67" y="1244"/>
                  </a:lnTo>
                  <a:lnTo>
                    <a:pt x="94" y="1235"/>
                  </a:lnTo>
                  <a:lnTo>
                    <a:pt x="116" y="1226"/>
                  </a:lnTo>
                  <a:lnTo>
                    <a:pt x="128" y="1223"/>
                  </a:lnTo>
                  <a:lnTo>
                    <a:pt x="140" y="1220"/>
                  </a:lnTo>
                  <a:lnTo>
                    <a:pt x="154" y="1217"/>
                  </a:lnTo>
                  <a:lnTo>
                    <a:pt x="168" y="1216"/>
                  </a:lnTo>
                  <a:lnTo>
                    <a:pt x="177" y="1217"/>
                  </a:lnTo>
                  <a:lnTo>
                    <a:pt x="184" y="1221"/>
                  </a:lnTo>
                  <a:lnTo>
                    <a:pt x="191" y="1229"/>
                  </a:lnTo>
                  <a:lnTo>
                    <a:pt x="196" y="1239"/>
                  </a:lnTo>
                  <a:lnTo>
                    <a:pt x="200" y="1243"/>
                  </a:lnTo>
                  <a:lnTo>
                    <a:pt x="204" y="1247"/>
                  </a:lnTo>
                  <a:lnTo>
                    <a:pt x="208" y="1250"/>
                  </a:lnTo>
                  <a:lnTo>
                    <a:pt x="214" y="1252"/>
                  </a:lnTo>
                  <a:lnTo>
                    <a:pt x="218" y="1254"/>
                  </a:lnTo>
                  <a:lnTo>
                    <a:pt x="223" y="1256"/>
                  </a:lnTo>
                  <a:lnTo>
                    <a:pt x="227" y="1259"/>
                  </a:lnTo>
                  <a:lnTo>
                    <a:pt x="230" y="1265"/>
                  </a:lnTo>
                  <a:lnTo>
                    <a:pt x="235" y="1279"/>
                  </a:lnTo>
                  <a:lnTo>
                    <a:pt x="237" y="1292"/>
                  </a:lnTo>
                  <a:lnTo>
                    <a:pt x="240" y="1306"/>
                  </a:lnTo>
                  <a:lnTo>
                    <a:pt x="244" y="1320"/>
                  </a:lnTo>
                  <a:lnTo>
                    <a:pt x="251" y="1336"/>
                  </a:lnTo>
                  <a:lnTo>
                    <a:pt x="259" y="1351"/>
                  </a:lnTo>
                  <a:lnTo>
                    <a:pt x="268" y="1364"/>
                  </a:lnTo>
                  <a:lnTo>
                    <a:pt x="276" y="1377"/>
                  </a:lnTo>
                  <a:lnTo>
                    <a:pt x="285" y="1390"/>
                  </a:lnTo>
                  <a:lnTo>
                    <a:pt x="291" y="1404"/>
                  </a:lnTo>
                  <a:lnTo>
                    <a:pt x="294" y="1412"/>
                  </a:lnTo>
                  <a:lnTo>
                    <a:pt x="296" y="1419"/>
                  </a:lnTo>
                  <a:lnTo>
                    <a:pt x="297" y="1428"/>
                  </a:lnTo>
                  <a:lnTo>
                    <a:pt x="297" y="1437"/>
                  </a:lnTo>
                  <a:lnTo>
                    <a:pt x="297" y="1452"/>
                  </a:lnTo>
                  <a:lnTo>
                    <a:pt x="295" y="1465"/>
                  </a:lnTo>
                  <a:lnTo>
                    <a:pt x="291" y="1478"/>
                  </a:lnTo>
                  <a:lnTo>
                    <a:pt x="287" y="1490"/>
                  </a:lnTo>
                  <a:lnTo>
                    <a:pt x="278" y="1512"/>
                  </a:lnTo>
                  <a:lnTo>
                    <a:pt x="270" y="1535"/>
                  </a:lnTo>
                  <a:lnTo>
                    <a:pt x="270" y="1535"/>
                  </a:lnTo>
                  <a:lnTo>
                    <a:pt x="280" y="1537"/>
                  </a:lnTo>
                  <a:lnTo>
                    <a:pt x="289" y="1539"/>
                  </a:lnTo>
                  <a:lnTo>
                    <a:pt x="299" y="1541"/>
                  </a:lnTo>
                  <a:lnTo>
                    <a:pt x="309" y="1541"/>
                  </a:lnTo>
                  <a:lnTo>
                    <a:pt x="326" y="1541"/>
                  </a:lnTo>
                  <a:lnTo>
                    <a:pt x="340" y="1541"/>
                  </a:lnTo>
                  <a:lnTo>
                    <a:pt x="355" y="1541"/>
                  </a:lnTo>
                  <a:lnTo>
                    <a:pt x="372" y="1541"/>
                  </a:lnTo>
                  <a:lnTo>
                    <a:pt x="383" y="1540"/>
                  </a:lnTo>
                  <a:lnTo>
                    <a:pt x="393" y="1538"/>
                  </a:lnTo>
                  <a:lnTo>
                    <a:pt x="402" y="1534"/>
                  </a:lnTo>
                  <a:lnTo>
                    <a:pt x="409" y="1529"/>
                  </a:lnTo>
                  <a:lnTo>
                    <a:pt x="418" y="1524"/>
                  </a:lnTo>
                  <a:lnTo>
                    <a:pt x="426" y="1521"/>
                  </a:lnTo>
                  <a:lnTo>
                    <a:pt x="436" y="1518"/>
                  </a:lnTo>
                  <a:lnTo>
                    <a:pt x="447" y="1517"/>
                  </a:lnTo>
                  <a:lnTo>
                    <a:pt x="453" y="1517"/>
                  </a:lnTo>
                  <a:lnTo>
                    <a:pt x="459" y="1518"/>
                  </a:lnTo>
                  <a:lnTo>
                    <a:pt x="463" y="1520"/>
                  </a:lnTo>
                  <a:lnTo>
                    <a:pt x="467" y="1522"/>
                  </a:lnTo>
                  <a:lnTo>
                    <a:pt x="476" y="1527"/>
                  </a:lnTo>
                  <a:lnTo>
                    <a:pt x="484" y="1534"/>
                  </a:lnTo>
                  <a:lnTo>
                    <a:pt x="491" y="1540"/>
                  </a:lnTo>
                  <a:lnTo>
                    <a:pt x="500" y="1548"/>
                  </a:lnTo>
                  <a:lnTo>
                    <a:pt x="509" y="1555"/>
                  </a:lnTo>
                  <a:lnTo>
                    <a:pt x="518" y="1562"/>
                  </a:lnTo>
                  <a:lnTo>
                    <a:pt x="533" y="1568"/>
                  </a:lnTo>
                  <a:lnTo>
                    <a:pt x="548" y="1575"/>
                  </a:lnTo>
                  <a:lnTo>
                    <a:pt x="563" y="1579"/>
                  </a:lnTo>
                  <a:lnTo>
                    <a:pt x="575" y="1583"/>
                  </a:lnTo>
                  <a:lnTo>
                    <a:pt x="590" y="1586"/>
                  </a:lnTo>
                  <a:lnTo>
                    <a:pt x="605" y="1588"/>
                  </a:lnTo>
                  <a:lnTo>
                    <a:pt x="620" y="1589"/>
                  </a:lnTo>
                  <a:lnTo>
                    <a:pt x="637" y="1590"/>
                  </a:lnTo>
                  <a:lnTo>
                    <a:pt x="654" y="1590"/>
                  </a:lnTo>
                  <a:lnTo>
                    <a:pt x="669" y="1590"/>
                  </a:lnTo>
                  <a:lnTo>
                    <a:pt x="686" y="1590"/>
                  </a:lnTo>
                  <a:lnTo>
                    <a:pt x="703" y="1590"/>
                  </a:lnTo>
                  <a:lnTo>
                    <a:pt x="717" y="1590"/>
                  </a:lnTo>
                  <a:lnTo>
                    <a:pt x="731" y="1593"/>
                  </a:lnTo>
                  <a:lnTo>
                    <a:pt x="743" y="1596"/>
                  </a:lnTo>
                  <a:lnTo>
                    <a:pt x="755" y="1602"/>
                  </a:lnTo>
                  <a:lnTo>
                    <a:pt x="777" y="1613"/>
                  </a:lnTo>
                  <a:lnTo>
                    <a:pt x="804" y="1623"/>
                  </a:lnTo>
                  <a:lnTo>
                    <a:pt x="834" y="1632"/>
                  </a:lnTo>
                  <a:lnTo>
                    <a:pt x="861" y="1642"/>
                  </a:lnTo>
                  <a:lnTo>
                    <a:pt x="884" y="1652"/>
                  </a:lnTo>
                  <a:lnTo>
                    <a:pt x="908" y="1661"/>
                  </a:lnTo>
                  <a:lnTo>
                    <a:pt x="932" y="1672"/>
                  </a:lnTo>
                  <a:lnTo>
                    <a:pt x="956" y="1683"/>
                  </a:lnTo>
                  <a:lnTo>
                    <a:pt x="982" y="1695"/>
                  </a:lnTo>
                  <a:lnTo>
                    <a:pt x="1009" y="1708"/>
                  </a:lnTo>
                  <a:lnTo>
                    <a:pt x="1025" y="1714"/>
                  </a:lnTo>
                  <a:lnTo>
                    <a:pt x="1038" y="1720"/>
                  </a:lnTo>
                  <a:lnTo>
                    <a:pt x="1051" y="1727"/>
                  </a:lnTo>
                  <a:lnTo>
                    <a:pt x="1065" y="1735"/>
                  </a:lnTo>
                  <a:lnTo>
                    <a:pt x="1078" y="1745"/>
                  </a:lnTo>
                  <a:lnTo>
                    <a:pt x="1090" y="1756"/>
                  </a:lnTo>
                  <a:lnTo>
                    <a:pt x="1095" y="1762"/>
                  </a:lnTo>
                  <a:lnTo>
                    <a:pt x="1101" y="1765"/>
                  </a:lnTo>
                  <a:lnTo>
                    <a:pt x="1109" y="1768"/>
                  </a:lnTo>
                  <a:lnTo>
                    <a:pt x="1117" y="1769"/>
                  </a:lnTo>
                  <a:lnTo>
                    <a:pt x="1124" y="1768"/>
                  </a:lnTo>
                  <a:lnTo>
                    <a:pt x="1131" y="1767"/>
                  </a:lnTo>
                  <a:lnTo>
                    <a:pt x="1137" y="1766"/>
                  </a:lnTo>
                  <a:lnTo>
                    <a:pt x="1143" y="1764"/>
                  </a:lnTo>
                  <a:lnTo>
                    <a:pt x="1148" y="1761"/>
                  </a:lnTo>
                  <a:lnTo>
                    <a:pt x="1153" y="1757"/>
                  </a:lnTo>
                  <a:lnTo>
                    <a:pt x="1158" y="1753"/>
                  </a:lnTo>
                  <a:lnTo>
                    <a:pt x="1163" y="1749"/>
                  </a:lnTo>
                  <a:lnTo>
                    <a:pt x="1171" y="1739"/>
                  </a:lnTo>
                  <a:lnTo>
                    <a:pt x="1178" y="1727"/>
                  </a:lnTo>
                  <a:lnTo>
                    <a:pt x="1184" y="1715"/>
                  </a:lnTo>
                  <a:lnTo>
                    <a:pt x="1188" y="1701"/>
                  </a:lnTo>
                  <a:lnTo>
                    <a:pt x="1191" y="1691"/>
                  </a:lnTo>
                  <a:lnTo>
                    <a:pt x="1192" y="1683"/>
                  </a:lnTo>
                  <a:lnTo>
                    <a:pt x="1192" y="1674"/>
                  </a:lnTo>
                  <a:lnTo>
                    <a:pt x="1193" y="1664"/>
                  </a:lnTo>
                  <a:lnTo>
                    <a:pt x="1193" y="1657"/>
                  </a:lnTo>
                  <a:lnTo>
                    <a:pt x="1195" y="1648"/>
                  </a:lnTo>
                  <a:lnTo>
                    <a:pt x="1198" y="1640"/>
                  </a:lnTo>
                  <a:lnTo>
                    <a:pt x="1202" y="1631"/>
                  </a:lnTo>
                  <a:lnTo>
                    <a:pt x="1206" y="1627"/>
                  </a:lnTo>
                  <a:lnTo>
                    <a:pt x="1212" y="1623"/>
                  </a:lnTo>
                  <a:lnTo>
                    <a:pt x="1217" y="1620"/>
                  </a:lnTo>
                  <a:lnTo>
                    <a:pt x="1222" y="1618"/>
                  </a:lnTo>
                  <a:lnTo>
                    <a:pt x="1234" y="1615"/>
                  </a:lnTo>
                  <a:lnTo>
                    <a:pt x="1247" y="1612"/>
                  </a:lnTo>
                  <a:lnTo>
                    <a:pt x="1261" y="1606"/>
                  </a:lnTo>
                  <a:lnTo>
                    <a:pt x="1274" y="1600"/>
                  </a:lnTo>
                  <a:lnTo>
                    <a:pt x="1286" y="1591"/>
                  </a:lnTo>
                  <a:lnTo>
                    <a:pt x="1297" y="1582"/>
                  </a:lnTo>
                  <a:lnTo>
                    <a:pt x="1316" y="1563"/>
                  </a:lnTo>
                  <a:lnTo>
                    <a:pt x="1336" y="1544"/>
                  </a:lnTo>
                  <a:lnTo>
                    <a:pt x="1344" y="1534"/>
                  </a:lnTo>
                  <a:lnTo>
                    <a:pt x="1354" y="1524"/>
                  </a:lnTo>
                  <a:lnTo>
                    <a:pt x="1364" y="1517"/>
                  </a:lnTo>
                  <a:lnTo>
                    <a:pt x="1375" y="1509"/>
                  </a:lnTo>
                  <a:lnTo>
                    <a:pt x="1386" y="1502"/>
                  </a:lnTo>
                  <a:lnTo>
                    <a:pt x="1398" y="1498"/>
                  </a:lnTo>
                  <a:lnTo>
                    <a:pt x="1411" y="1495"/>
                  </a:lnTo>
                  <a:lnTo>
                    <a:pt x="1427" y="1494"/>
                  </a:lnTo>
                  <a:lnTo>
                    <a:pt x="1451" y="1495"/>
                  </a:lnTo>
                  <a:lnTo>
                    <a:pt x="1474" y="1495"/>
                  </a:lnTo>
                  <a:lnTo>
                    <a:pt x="1496" y="1497"/>
                  </a:lnTo>
                  <a:lnTo>
                    <a:pt x="1517" y="1499"/>
                  </a:lnTo>
                  <a:lnTo>
                    <a:pt x="1557" y="1505"/>
                  </a:lnTo>
                  <a:lnTo>
                    <a:pt x="1596" y="1511"/>
                  </a:lnTo>
                  <a:lnTo>
                    <a:pt x="1635" y="1521"/>
                  </a:lnTo>
                  <a:lnTo>
                    <a:pt x="1675" y="1532"/>
                  </a:lnTo>
                  <a:lnTo>
                    <a:pt x="1717" y="1542"/>
                  </a:lnTo>
                  <a:lnTo>
                    <a:pt x="1762" y="1555"/>
                  </a:lnTo>
                  <a:lnTo>
                    <a:pt x="1801" y="1567"/>
                  </a:lnTo>
                  <a:lnTo>
                    <a:pt x="1835" y="1578"/>
                  </a:lnTo>
                  <a:lnTo>
                    <a:pt x="1852" y="1582"/>
                  </a:lnTo>
                  <a:lnTo>
                    <a:pt x="1869" y="1587"/>
                  </a:lnTo>
                  <a:lnTo>
                    <a:pt x="1888" y="1589"/>
                  </a:lnTo>
                  <a:lnTo>
                    <a:pt x="1908" y="1590"/>
                  </a:lnTo>
                  <a:lnTo>
                    <a:pt x="1917" y="1589"/>
                  </a:lnTo>
                  <a:lnTo>
                    <a:pt x="1926" y="1587"/>
                  </a:lnTo>
                  <a:lnTo>
                    <a:pt x="1932" y="1585"/>
                  </a:lnTo>
                  <a:lnTo>
                    <a:pt x="1940" y="1581"/>
                  </a:lnTo>
                  <a:lnTo>
                    <a:pt x="1946" y="1578"/>
                  </a:lnTo>
                  <a:lnTo>
                    <a:pt x="1954" y="1575"/>
                  </a:lnTo>
                  <a:lnTo>
                    <a:pt x="1961" y="1574"/>
                  </a:lnTo>
                  <a:lnTo>
                    <a:pt x="1970" y="1573"/>
                  </a:lnTo>
                  <a:lnTo>
                    <a:pt x="1998" y="1574"/>
                  </a:lnTo>
                  <a:lnTo>
                    <a:pt x="2023" y="1576"/>
                  </a:lnTo>
                  <a:lnTo>
                    <a:pt x="2045" y="1579"/>
                  </a:lnTo>
                  <a:lnTo>
                    <a:pt x="2067" y="1583"/>
                  </a:lnTo>
                  <a:lnTo>
                    <a:pt x="2089" y="1588"/>
                  </a:lnTo>
                  <a:lnTo>
                    <a:pt x="2111" y="1592"/>
                  </a:lnTo>
                  <a:lnTo>
                    <a:pt x="2135" y="1596"/>
                  </a:lnTo>
                  <a:lnTo>
                    <a:pt x="2163" y="1600"/>
                  </a:lnTo>
                  <a:lnTo>
                    <a:pt x="2163" y="1600"/>
                  </a:lnTo>
                  <a:lnTo>
                    <a:pt x="2172" y="1594"/>
                  </a:lnTo>
                  <a:lnTo>
                    <a:pt x="2179" y="1587"/>
                  </a:lnTo>
                  <a:lnTo>
                    <a:pt x="2183" y="1583"/>
                  </a:lnTo>
                  <a:lnTo>
                    <a:pt x="2187" y="1579"/>
                  </a:lnTo>
                  <a:lnTo>
                    <a:pt x="2189" y="1575"/>
                  </a:lnTo>
                  <a:lnTo>
                    <a:pt x="2191" y="1569"/>
                  </a:lnTo>
                  <a:lnTo>
                    <a:pt x="2197" y="1556"/>
                  </a:lnTo>
                  <a:lnTo>
                    <a:pt x="2200" y="1542"/>
                  </a:lnTo>
                  <a:lnTo>
                    <a:pt x="2202" y="1529"/>
                  </a:lnTo>
                  <a:lnTo>
                    <a:pt x="2203" y="1518"/>
                  </a:lnTo>
                  <a:lnTo>
                    <a:pt x="2205" y="1505"/>
                  </a:lnTo>
                  <a:lnTo>
                    <a:pt x="2207" y="1492"/>
                  </a:lnTo>
                  <a:lnTo>
                    <a:pt x="2211" y="1480"/>
                  </a:lnTo>
                  <a:lnTo>
                    <a:pt x="2217" y="1466"/>
                  </a:lnTo>
                  <a:lnTo>
                    <a:pt x="2223" y="1458"/>
                  </a:lnTo>
                  <a:lnTo>
                    <a:pt x="2229" y="1453"/>
                  </a:lnTo>
                  <a:lnTo>
                    <a:pt x="2237" y="1447"/>
                  </a:lnTo>
                  <a:lnTo>
                    <a:pt x="2244" y="1442"/>
                  </a:lnTo>
                  <a:lnTo>
                    <a:pt x="2251" y="1438"/>
                  </a:lnTo>
                  <a:lnTo>
                    <a:pt x="2256" y="1431"/>
                  </a:lnTo>
                  <a:lnTo>
                    <a:pt x="2258" y="1428"/>
                  </a:lnTo>
                  <a:lnTo>
                    <a:pt x="2260" y="1425"/>
                  </a:lnTo>
                  <a:lnTo>
                    <a:pt x="2261" y="1420"/>
                  </a:lnTo>
                  <a:lnTo>
                    <a:pt x="2261" y="1416"/>
                  </a:lnTo>
                  <a:lnTo>
                    <a:pt x="2261" y="1407"/>
                  </a:lnTo>
                  <a:lnTo>
                    <a:pt x="2259" y="1400"/>
                  </a:lnTo>
                  <a:lnTo>
                    <a:pt x="2257" y="1393"/>
                  </a:lnTo>
                  <a:lnTo>
                    <a:pt x="2254" y="1387"/>
                  </a:lnTo>
                  <a:lnTo>
                    <a:pt x="2250" y="1382"/>
                  </a:lnTo>
                  <a:lnTo>
                    <a:pt x="2244" y="1377"/>
                  </a:lnTo>
                  <a:lnTo>
                    <a:pt x="2239" y="1372"/>
                  </a:lnTo>
                  <a:lnTo>
                    <a:pt x="2232" y="1367"/>
                  </a:lnTo>
                  <a:lnTo>
                    <a:pt x="2219" y="1360"/>
                  </a:lnTo>
                  <a:lnTo>
                    <a:pt x="2205" y="1351"/>
                  </a:lnTo>
                  <a:lnTo>
                    <a:pt x="2191" y="1343"/>
                  </a:lnTo>
                  <a:lnTo>
                    <a:pt x="2178" y="1332"/>
                  </a:lnTo>
                  <a:lnTo>
                    <a:pt x="2203" y="1330"/>
                  </a:lnTo>
                  <a:lnTo>
                    <a:pt x="2225" y="1328"/>
                  </a:lnTo>
                  <a:lnTo>
                    <a:pt x="2246" y="1324"/>
                  </a:lnTo>
                  <a:lnTo>
                    <a:pt x="2270" y="1318"/>
                  </a:lnTo>
                  <a:lnTo>
                    <a:pt x="2277" y="1315"/>
                  </a:lnTo>
                  <a:lnTo>
                    <a:pt x="2283" y="1310"/>
                  </a:lnTo>
                  <a:lnTo>
                    <a:pt x="2287" y="1306"/>
                  </a:lnTo>
                  <a:lnTo>
                    <a:pt x="2292" y="1301"/>
                  </a:lnTo>
                  <a:lnTo>
                    <a:pt x="2297" y="1295"/>
                  </a:lnTo>
                  <a:lnTo>
                    <a:pt x="2303" y="1291"/>
                  </a:lnTo>
                  <a:lnTo>
                    <a:pt x="2308" y="1288"/>
                  </a:lnTo>
                  <a:lnTo>
                    <a:pt x="2315" y="1286"/>
                  </a:lnTo>
                  <a:lnTo>
                    <a:pt x="2325" y="1288"/>
                  </a:lnTo>
                  <a:lnTo>
                    <a:pt x="2334" y="1290"/>
                  </a:lnTo>
                  <a:lnTo>
                    <a:pt x="2341" y="1293"/>
                  </a:lnTo>
                  <a:lnTo>
                    <a:pt x="2349" y="1296"/>
                  </a:lnTo>
                  <a:lnTo>
                    <a:pt x="2357" y="1301"/>
                  </a:lnTo>
                  <a:lnTo>
                    <a:pt x="2364" y="1304"/>
                  </a:lnTo>
                  <a:lnTo>
                    <a:pt x="2373" y="1306"/>
                  </a:lnTo>
                  <a:lnTo>
                    <a:pt x="2382" y="1306"/>
                  </a:lnTo>
                  <a:lnTo>
                    <a:pt x="2398" y="1306"/>
                  </a:lnTo>
                  <a:lnTo>
                    <a:pt x="2414" y="1304"/>
                  </a:lnTo>
                  <a:lnTo>
                    <a:pt x="2429" y="1299"/>
                  </a:lnTo>
                  <a:lnTo>
                    <a:pt x="2442" y="1294"/>
                  </a:lnTo>
                  <a:lnTo>
                    <a:pt x="2442" y="1294"/>
                  </a:lnTo>
                  <a:lnTo>
                    <a:pt x="2428" y="1261"/>
                  </a:lnTo>
                  <a:lnTo>
                    <a:pt x="2416" y="1230"/>
                  </a:lnTo>
                  <a:lnTo>
                    <a:pt x="2411" y="1215"/>
                  </a:lnTo>
                  <a:lnTo>
                    <a:pt x="2406" y="1199"/>
                  </a:lnTo>
                  <a:lnTo>
                    <a:pt x="2402" y="1182"/>
                  </a:lnTo>
                  <a:lnTo>
                    <a:pt x="2400" y="1163"/>
                  </a:lnTo>
                  <a:lnTo>
                    <a:pt x="2384" y="1161"/>
                  </a:lnTo>
                  <a:lnTo>
                    <a:pt x="2369" y="1160"/>
                  </a:lnTo>
                  <a:lnTo>
                    <a:pt x="2355" y="1158"/>
                  </a:lnTo>
                  <a:lnTo>
                    <a:pt x="2339" y="1158"/>
                  </a:lnTo>
                  <a:lnTo>
                    <a:pt x="2325" y="1161"/>
                  </a:lnTo>
                  <a:lnTo>
                    <a:pt x="2311" y="1163"/>
                  </a:lnTo>
                  <a:lnTo>
                    <a:pt x="2299" y="1163"/>
                  </a:lnTo>
                  <a:lnTo>
                    <a:pt x="2288" y="1163"/>
                  </a:lnTo>
                  <a:lnTo>
                    <a:pt x="2277" y="1163"/>
                  </a:lnTo>
                  <a:lnTo>
                    <a:pt x="2265" y="1163"/>
                  </a:lnTo>
                  <a:lnTo>
                    <a:pt x="2267" y="1144"/>
                  </a:lnTo>
                  <a:lnTo>
                    <a:pt x="2271" y="1127"/>
                  </a:lnTo>
                  <a:lnTo>
                    <a:pt x="2276" y="1112"/>
                  </a:lnTo>
                  <a:lnTo>
                    <a:pt x="2281" y="1095"/>
                  </a:lnTo>
                  <a:lnTo>
                    <a:pt x="2285" y="1080"/>
                  </a:lnTo>
                  <a:lnTo>
                    <a:pt x="2288" y="1064"/>
                  </a:lnTo>
                  <a:lnTo>
                    <a:pt x="2292" y="1047"/>
                  </a:lnTo>
                  <a:lnTo>
                    <a:pt x="2293" y="1027"/>
                  </a:lnTo>
                  <a:lnTo>
                    <a:pt x="2292" y="1021"/>
                  </a:lnTo>
                  <a:lnTo>
                    <a:pt x="2291" y="1014"/>
                  </a:lnTo>
                  <a:lnTo>
                    <a:pt x="2288" y="1009"/>
                  </a:lnTo>
                  <a:lnTo>
                    <a:pt x="2284" y="1005"/>
                  </a:lnTo>
                  <a:lnTo>
                    <a:pt x="2281" y="1000"/>
                  </a:lnTo>
                  <a:lnTo>
                    <a:pt x="2276" y="996"/>
                  </a:lnTo>
                  <a:lnTo>
                    <a:pt x="2270" y="993"/>
                  </a:lnTo>
                  <a:lnTo>
                    <a:pt x="2264" y="991"/>
                  </a:lnTo>
                  <a:lnTo>
                    <a:pt x="2237" y="981"/>
                  </a:lnTo>
                  <a:lnTo>
                    <a:pt x="2209" y="970"/>
                  </a:lnTo>
                  <a:lnTo>
                    <a:pt x="2185" y="957"/>
                  </a:lnTo>
                  <a:lnTo>
                    <a:pt x="2162" y="945"/>
                  </a:lnTo>
                  <a:lnTo>
                    <a:pt x="2151" y="941"/>
                  </a:lnTo>
                  <a:lnTo>
                    <a:pt x="2140" y="937"/>
                  </a:lnTo>
                  <a:lnTo>
                    <a:pt x="2128" y="934"/>
                  </a:lnTo>
                  <a:lnTo>
                    <a:pt x="2113" y="933"/>
                  </a:lnTo>
                  <a:lnTo>
                    <a:pt x="2099" y="934"/>
                  </a:lnTo>
                  <a:lnTo>
                    <a:pt x="2086" y="937"/>
                  </a:lnTo>
                  <a:lnTo>
                    <a:pt x="2075" y="939"/>
                  </a:lnTo>
                  <a:lnTo>
                    <a:pt x="2063" y="942"/>
                  </a:lnTo>
                  <a:lnTo>
                    <a:pt x="2051" y="945"/>
                  </a:lnTo>
                  <a:lnTo>
                    <a:pt x="2039" y="947"/>
                  </a:lnTo>
                  <a:lnTo>
                    <a:pt x="2027" y="950"/>
                  </a:lnTo>
                  <a:lnTo>
                    <a:pt x="2012" y="951"/>
                  </a:lnTo>
                  <a:lnTo>
                    <a:pt x="2005" y="948"/>
                  </a:lnTo>
                  <a:lnTo>
                    <a:pt x="1998" y="945"/>
                  </a:lnTo>
                  <a:lnTo>
                    <a:pt x="2001" y="919"/>
                  </a:lnTo>
                  <a:lnTo>
                    <a:pt x="2003" y="898"/>
                  </a:lnTo>
                  <a:lnTo>
                    <a:pt x="2005" y="875"/>
                  </a:lnTo>
                  <a:lnTo>
                    <a:pt x="2007" y="850"/>
                  </a:lnTo>
                  <a:lnTo>
                    <a:pt x="2007" y="813"/>
                  </a:lnTo>
                  <a:lnTo>
                    <a:pt x="2005" y="781"/>
                  </a:lnTo>
                  <a:lnTo>
                    <a:pt x="2004" y="766"/>
                  </a:lnTo>
                  <a:lnTo>
                    <a:pt x="2002" y="750"/>
                  </a:lnTo>
                  <a:lnTo>
                    <a:pt x="1998" y="734"/>
                  </a:lnTo>
                  <a:lnTo>
                    <a:pt x="1993" y="715"/>
                  </a:lnTo>
                  <a:lnTo>
                    <a:pt x="1987" y="701"/>
                  </a:lnTo>
                  <a:lnTo>
                    <a:pt x="1981" y="688"/>
                  </a:lnTo>
                  <a:lnTo>
                    <a:pt x="1974" y="676"/>
                  </a:lnTo>
                  <a:lnTo>
                    <a:pt x="1968" y="665"/>
                  </a:lnTo>
                  <a:lnTo>
                    <a:pt x="1962" y="654"/>
                  </a:lnTo>
                  <a:lnTo>
                    <a:pt x="1958" y="642"/>
                  </a:lnTo>
                  <a:lnTo>
                    <a:pt x="1956" y="635"/>
                  </a:lnTo>
                  <a:lnTo>
                    <a:pt x="1955" y="629"/>
                  </a:lnTo>
                  <a:lnTo>
                    <a:pt x="1954" y="622"/>
                  </a:lnTo>
                  <a:lnTo>
                    <a:pt x="1954" y="615"/>
                  </a:lnTo>
                  <a:lnTo>
                    <a:pt x="1955" y="605"/>
                  </a:lnTo>
                  <a:lnTo>
                    <a:pt x="1957" y="596"/>
                  </a:lnTo>
                  <a:lnTo>
                    <a:pt x="1960" y="589"/>
                  </a:lnTo>
                  <a:lnTo>
                    <a:pt x="1966" y="581"/>
                  </a:lnTo>
                  <a:lnTo>
                    <a:pt x="1970" y="575"/>
                  </a:lnTo>
                  <a:lnTo>
                    <a:pt x="1975" y="567"/>
                  </a:lnTo>
                  <a:lnTo>
                    <a:pt x="1980" y="559"/>
                  </a:lnTo>
                  <a:lnTo>
                    <a:pt x="1983" y="550"/>
                  </a:lnTo>
                  <a:lnTo>
                    <a:pt x="1980" y="536"/>
                  </a:lnTo>
                  <a:lnTo>
                    <a:pt x="1976" y="522"/>
                  </a:lnTo>
                  <a:lnTo>
                    <a:pt x="1974" y="511"/>
                  </a:lnTo>
                  <a:lnTo>
                    <a:pt x="1974" y="501"/>
                  </a:lnTo>
                  <a:lnTo>
                    <a:pt x="1973" y="492"/>
                  </a:lnTo>
                  <a:lnTo>
                    <a:pt x="1972" y="481"/>
                  </a:lnTo>
                  <a:lnTo>
                    <a:pt x="1969" y="467"/>
                  </a:lnTo>
                  <a:lnTo>
                    <a:pt x="1967" y="455"/>
                  </a:lnTo>
                  <a:lnTo>
                    <a:pt x="1964" y="442"/>
                  </a:lnTo>
                  <a:lnTo>
                    <a:pt x="1962" y="428"/>
                  </a:lnTo>
                  <a:lnTo>
                    <a:pt x="1959" y="412"/>
                  </a:lnTo>
                  <a:lnTo>
                    <a:pt x="1956" y="399"/>
                  </a:lnTo>
                  <a:lnTo>
                    <a:pt x="1953" y="385"/>
                  </a:lnTo>
                  <a:lnTo>
                    <a:pt x="1949" y="370"/>
                  </a:lnTo>
                  <a:lnTo>
                    <a:pt x="1947" y="353"/>
                  </a:lnTo>
                  <a:lnTo>
                    <a:pt x="1943" y="338"/>
                  </a:lnTo>
                  <a:lnTo>
                    <a:pt x="1939" y="327"/>
                  </a:lnTo>
                  <a:lnTo>
                    <a:pt x="1934" y="319"/>
                  </a:lnTo>
                  <a:lnTo>
                    <a:pt x="1929" y="309"/>
                  </a:lnTo>
                  <a:lnTo>
                    <a:pt x="1924" y="299"/>
                  </a:lnTo>
                  <a:lnTo>
                    <a:pt x="1914" y="291"/>
                  </a:lnTo>
                  <a:lnTo>
                    <a:pt x="1903" y="284"/>
                  </a:lnTo>
                  <a:lnTo>
                    <a:pt x="1893" y="279"/>
                  </a:lnTo>
                  <a:lnTo>
                    <a:pt x="1882" y="275"/>
                  </a:lnTo>
                  <a:lnTo>
                    <a:pt x="1872" y="269"/>
                  </a:lnTo>
                  <a:lnTo>
                    <a:pt x="1861" y="264"/>
                  </a:lnTo>
                  <a:lnTo>
                    <a:pt x="1850" y="257"/>
                  </a:lnTo>
                  <a:lnTo>
                    <a:pt x="1839" y="250"/>
                  </a:lnTo>
                  <a:lnTo>
                    <a:pt x="1829" y="241"/>
                  </a:lnTo>
                  <a:lnTo>
                    <a:pt x="1822" y="230"/>
                  </a:lnTo>
                  <a:lnTo>
                    <a:pt x="1815" y="219"/>
                  </a:lnTo>
                  <a:lnTo>
                    <a:pt x="1810" y="210"/>
                  </a:lnTo>
                  <a:lnTo>
                    <a:pt x="1804" y="200"/>
                  </a:lnTo>
                  <a:lnTo>
                    <a:pt x="1796" y="192"/>
                  </a:lnTo>
                  <a:lnTo>
                    <a:pt x="1791" y="189"/>
                  </a:lnTo>
                  <a:lnTo>
                    <a:pt x="1786" y="187"/>
                  </a:lnTo>
                  <a:lnTo>
                    <a:pt x="1781" y="186"/>
                  </a:lnTo>
                  <a:lnTo>
                    <a:pt x="1774" y="186"/>
                  </a:lnTo>
                  <a:lnTo>
                    <a:pt x="1758" y="186"/>
                  </a:lnTo>
                  <a:lnTo>
                    <a:pt x="1744" y="188"/>
                  </a:lnTo>
                  <a:lnTo>
                    <a:pt x="1730" y="190"/>
                  </a:lnTo>
                  <a:lnTo>
                    <a:pt x="1717" y="192"/>
                  </a:lnTo>
                  <a:lnTo>
                    <a:pt x="1703" y="195"/>
                  </a:lnTo>
                  <a:lnTo>
                    <a:pt x="1690" y="197"/>
                  </a:lnTo>
                  <a:lnTo>
                    <a:pt x="1675" y="199"/>
                  </a:lnTo>
                  <a:lnTo>
                    <a:pt x="1659" y="200"/>
                  </a:lnTo>
                  <a:lnTo>
                    <a:pt x="1647" y="199"/>
                  </a:lnTo>
                  <a:lnTo>
                    <a:pt x="1637" y="196"/>
                  </a:lnTo>
                  <a:lnTo>
                    <a:pt x="1626" y="192"/>
                  </a:lnTo>
                  <a:lnTo>
                    <a:pt x="1618" y="188"/>
                  </a:lnTo>
                  <a:lnTo>
                    <a:pt x="1608" y="184"/>
                  </a:lnTo>
                  <a:lnTo>
                    <a:pt x="1598" y="181"/>
                  </a:lnTo>
                  <a:lnTo>
                    <a:pt x="1588" y="178"/>
                  </a:lnTo>
                  <a:lnTo>
                    <a:pt x="1576" y="177"/>
                  </a:lnTo>
                  <a:lnTo>
                    <a:pt x="1566" y="178"/>
                  </a:lnTo>
                  <a:lnTo>
                    <a:pt x="1557" y="181"/>
                  </a:lnTo>
                  <a:lnTo>
                    <a:pt x="1550" y="184"/>
                  </a:lnTo>
                  <a:lnTo>
                    <a:pt x="1542" y="188"/>
                  </a:lnTo>
                  <a:lnTo>
                    <a:pt x="1535" y="192"/>
                  </a:lnTo>
                  <a:lnTo>
                    <a:pt x="1527" y="196"/>
                  </a:lnTo>
                  <a:lnTo>
                    <a:pt x="1518" y="199"/>
                  </a:lnTo>
                  <a:lnTo>
                    <a:pt x="1510" y="200"/>
                  </a:lnTo>
                  <a:lnTo>
                    <a:pt x="1503" y="199"/>
                  </a:lnTo>
                  <a:lnTo>
                    <a:pt x="1499" y="198"/>
                  </a:lnTo>
                  <a:lnTo>
                    <a:pt x="1494" y="197"/>
                  </a:lnTo>
                  <a:lnTo>
                    <a:pt x="1489" y="195"/>
                  </a:lnTo>
                  <a:lnTo>
                    <a:pt x="1482" y="188"/>
                  </a:lnTo>
                  <a:lnTo>
                    <a:pt x="1475" y="181"/>
                  </a:lnTo>
                  <a:lnTo>
                    <a:pt x="1464" y="161"/>
                  </a:lnTo>
                  <a:lnTo>
                    <a:pt x="1455" y="141"/>
                  </a:lnTo>
                  <a:lnTo>
                    <a:pt x="1450" y="130"/>
                  </a:lnTo>
                  <a:lnTo>
                    <a:pt x="1445" y="119"/>
                  </a:lnTo>
                  <a:lnTo>
                    <a:pt x="1443" y="114"/>
                  </a:lnTo>
                  <a:lnTo>
                    <a:pt x="1440" y="110"/>
                  </a:lnTo>
                  <a:lnTo>
                    <a:pt x="1435" y="108"/>
                  </a:lnTo>
                  <a:lnTo>
                    <a:pt x="1430" y="107"/>
                  </a:lnTo>
                  <a:lnTo>
                    <a:pt x="1419" y="108"/>
                  </a:lnTo>
                  <a:lnTo>
                    <a:pt x="1408" y="109"/>
                  </a:lnTo>
                  <a:lnTo>
                    <a:pt x="1400" y="113"/>
                  </a:lnTo>
                  <a:lnTo>
                    <a:pt x="1390" y="116"/>
                  </a:lnTo>
                  <a:lnTo>
                    <a:pt x="1381" y="119"/>
                  </a:lnTo>
                  <a:lnTo>
                    <a:pt x="1371" y="121"/>
                  </a:lnTo>
                  <a:lnTo>
                    <a:pt x="1362" y="123"/>
                  </a:lnTo>
                  <a:lnTo>
                    <a:pt x="1351" y="123"/>
                  </a:lnTo>
                  <a:lnTo>
                    <a:pt x="1343" y="123"/>
                  </a:lnTo>
                  <a:lnTo>
                    <a:pt x="1336" y="122"/>
                  </a:lnTo>
                  <a:lnTo>
                    <a:pt x="1328" y="121"/>
                  </a:lnTo>
                  <a:lnTo>
                    <a:pt x="1322" y="119"/>
                  </a:lnTo>
                  <a:lnTo>
                    <a:pt x="1309" y="115"/>
                  </a:lnTo>
                  <a:lnTo>
                    <a:pt x="1297" y="107"/>
                  </a:lnTo>
                  <a:lnTo>
                    <a:pt x="1285" y="100"/>
                  </a:lnTo>
                  <a:lnTo>
                    <a:pt x="1274" y="91"/>
                  </a:lnTo>
                  <a:lnTo>
                    <a:pt x="1265" y="81"/>
                  </a:lnTo>
                  <a:lnTo>
                    <a:pt x="1254" y="71"/>
                  </a:lnTo>
                  <a:lnTo>
                    <a:pt x="1244" y="63"/>
                  </a:lnTo>
                  <a:lnTo>
                    <a:pt x="1233" y="53"/>
                  </a:lnTo>
                  <a:lnTo>
                    <a:pt x="1222" y="44"/>
                  </a:lnTo>
                  <a:lnTo>
                    <a:pt x="1212" y="36"/>
                  </a:lnTo>
                  <a:lnTo>
                    <a:pt x="1199" y="29"/>
                  </a:lnTo>
                  <a:lnTo>
                    <a:pt x="1186" y="25"/>
                  </a:lnTo>
                  <a:lnTo>
                    <a:pt x="1179" y="23"/>
                  </a:lnTo>
                  <a:lnTo>
                    <a:pt x="1172" y="22"/>
                  </a:lnTo>
                  <a:lnTo>
                    <a:pt x="1165" y="21"/>
                  </a:lnTo>
                  <a:lnTo>
                    <a:pt x="1157" y="20"/>
                  </a:lnTo>
                  <a:lnTo>
                    <a:pt x="1141" y="20"/>
                  </a:lnTo>
                  <a:lnTo>
                    <a:pt x="1128" y="20"/>
                  </a:lnTo>
                  <a:lnTo>
                    <a:pt x="1114" y="20"/>
                  </a:lnTo>
                  <a:lnTo>
                    <a:pt x="1099" y="20"/>
                  </a:lnTo>
                  <a:lnTo>
                    <a:pt x="1089" y="20"/>
                  </a:lnTo>
                  <a:lnTo>
                    <a:pt x="1078" y="17"/>
                  </a:lnTo>
                  <a:lnTo>
                    <a:pt x="1068" y="14"/>
                  </a:lnTo>
                  <a:lnTo>
                    <a:pt x="1059" y="10"/>
                  </a:lnTo>
                  <a:lnTo>
                    <a:pt x="1051" y="7"/>
                  </a:lnTo>
                  <a:lnTo>
                    <a:pt x="1041" y="3"/>
                  </a:lnTo>
                  <a:lnTo>
                    <a:pt x="1031" y="1"/>
                  </a:lnTo>
                  <a:lnTo>
                    <a:pt x="1019" y="0"/>
                  </a:lnTo>
                  <a:lnTo>
                    <a:pt x="1002" y="0"/>
                  </a:lnTo>
                  <a:lnTo>
                    <a:pt x="987" y="0"/>
                  </a:lnTo>
                  <a:lnTo>
                    <a:pt x="971" y="0"/>
                  </a:lnTo>
                  <a:lnTo>
                    <a:pt x="953" y="0"/>
                  </a:lnTo>
                  <a:lnTo>
                    <a:pt x="949" y="1"/>
                  </a:lnTo>
                  <a:lnTo>
                    <a:pt x="945" y="2"/>
                  </a:lnTo>
                  <a:lnTo>
                    <a:pt x="941" y="5"/>
                  </a:lnTo>
                  <a:lnTo>
                    <a:pt x="936" y="7"/>
                  </a:lnTo>
                  <a:lnTo>
                    <a:pt x="930" y="13"/>
                  </a:lnTo>
                  <a:lnTo>
                    <a:pt x="924" y="20"/>
                  </a:lnTo>
                  <a:lnTo>
                    <a:pt x="918" y="27"/>
                  </a:lnTo>
                  <a:lnTo>
                    <a:pt x="911" y="34"/>
                  </a:lnTo>
                  <a:lnTo>
                    <a:pt x="907" y="36"/>
                  </a:lnTo>
                  <a:lnTo>
                    <a:pt x="904" y="38"/>
                  </a:lnTo>
                  <a:lnTo>
                    <a:pt x="899" y="39"/>
                  </a:lnTo>
                  <a:lnTo>
                    <a:pt x="894" y="40"/>
                  </a:lnTo>
                  <a:lnTo>
                    <a:pt x="887" y="39"/>
                  </a:lnTo>
                  <a:lnTo>
                    <a:pt x="880" y="37"/>
                  </a:lnTo>
                  <a:lnTo>
                    <a:pt x="875" y="35"/>
                  </a:lnTo>
                  <a:lnTo>
                    <a:pt x="868" y="32"/>
                  </a:lnTo>
                  <a:lnTo>
                    <a:pt x="863" y="28"/>
                  </a:lnTo>
                  <a:lnTo>
                    <a:pt x="857" y="25"/>
                  </a:lnTo>
                  <a:lnTo>
                    <a:pt x="850" y="24"/>
                  </a:lnTo>
                  <a:lnTo>
                    <a:pt x="843" y="23"/>
                  </a:lnTo>
                  <a:lnTo>
                    <a:pt x="822" y="23"/>
                  </a:lnTo>
                  <a:lnTo>
                    <a:pt x="802" y="23"/>
                  </a:lnTo>
                  <a:lnTo>
                    <a:pt x="784" y="23"/>
                  </a:lnTo>
                  <a:lnTo>
                    <a:pt x="762" y="23"/>
                  </a:lnTo>
                  <a:lnTo>
                    <a:pt x="606" y="9"/>
                  </a:lnTo>
                  <a:lnTo>
                    <a:pt x="606" y="9"/>
                  </a:lnTo>
                  <a:close/>
                </a:path>
              </a:pathLst>
            </a:custGeom>
            <a:solidFill>
              <a:srgbClr val="73B84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56">
              <a:extLst>
                <a:ext uri="{FF2B5EF4-FFF2-40B4-BE49-F238E27FC236}">
                  <a16:creationId xmlns:a16="http://schemas.microsoft.com/office/drawing/2014/main" id="{58B1D086-17BD-469C-B8FD-01AF2E56B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7000" y="4806951"/>
              <a:ext cx="969963" cy="701675"/>
            </a:xfrm>
            <a:custGeom>
              <a:avLst/>
              <a:gdLst>
                <a:gd name="T0" fmla="*/ 437 w 2442"/>
                <a:gd name="T1" fmla="*/ 127 h 1769"/>
                <a:gd name="T2" fmla="*/ 394 w 2442"/>
                <a:gd name="T3" fmla="*/ 212 h 1769"/>
                <a:gd name="T4" fmla="*/ 355 w 2442"/>
                <a:gd name="T5" fmla="*/ 330 h 1769"/>
                <a:gd name="T6" fmla="*/ 248 w 2442"/>
                <a:gd name="T7" fmla="*/ 425 h 1769"/>
                <a:gd name="T8" fmla="*/ 164 w 2442"/>
                <a:gd name="T9" fmla="*/ 535 h 1769"/>
                <a:gd name="T10" fmla="*/ 115 w 2442"/>
                <a:gd name="T11" fmla="*/ 642 h 1769"/>
                <a:gd name="T12" fmla="*/ 18 w 2442"/>
                <a:gd name="T13" fmla="*/ 1163 h 1769"/>
                <a:gd name="T14" fmla="*/ 3 w 2442"/>
                <a:gd name="T15" fmla="*/ 1238 h 1769"/>
                <a:gd name="T16" fmla="*/ 154 w 2442"/>
                <a:gd name="T17" fmla="*/ 1217 h 1769"/>
                <a:gd name="T18" fmla="*/ 214 w 2442"/>
                <a:gd name="T19" fmla="*/ 1252 h 1769"/>
                <a:gd name="T20" fmla="*/ 251 w 2442"/>
                <a:gd name="T21" fmla="*/ 1336 h 1769"/>
                <a:gd name="T22" fmla="*/ 297 w 2442"/>
                <a:gd name="T23" fmla="*/ 1437 h 1769"/>
                <a:gd name="T24" fmla="*/ 289 w 2442"/>
                <a:gd name="T25" fmla="*/ 1539 h 1769"/>
                <a:gd name="T26" fmla="*/ 402 w 2442"/>
                <a:gd name="T27" fmla="*/ 1534 h 1769"/>
                <a:gd name="T28" fmla="*/ 467 w 2442"/>
                <a:gd name="T29" fmla="*/ 1522 h 1769"/>
                <a:gd name="T30" fmla="*/ 563 w 2442"/>
                <a:gd name="T31" fmla="*/ 1579 h 1769"/>
                <a:gd name="T32" fmla="*/ 703 w 2442"/>
                <a:gd name="T33" fmla="*/ 1590 h 1769"/>
                <a:gd name="T34" fmla="*/ 884 w 2442"/>
                <a:gd name="T35" fmla="*/ 1652 h 1769"/>
                <a:gd name="T36" fmla="*/ 1065 w 2442"/>
                <a:gd name="T37" fmla="*/ 1735 h 1769"/>
                <a:gd name="T38" fmla="*/ 1137 w 2442"/>
                <a:gd name="T39" fmla="*/ 1766 h 1769"/>
                <a:gd name="T40" fmla="*/ 1188 w 2442"/>
                <a:gd name="T41" fmla="*/ 1701 h 1769"/>
                <a:gd name="T42" fmla="*/ 1206 w 2442"/>
                <a:gd name="T43" fmla="*/ 1627 h 1769"/>
                <a:gd name="T44" fmla="*/ 1297 w 2442"/>
                <a:gd name="T45" fmla="*/ 1582 h 1769"/>
                <a:gd name="T46" fmla="*/ 1411 w 2442"/>
                <a:gd name="T47" fmla="*/ 1495 h 1769"/>
                <a:gd name="T48" fmla="*/ 1675 w 2442"/>
                <a:gd name="T49" fmla="*/ 1532 h 1769"/>
                <a:gd name="T50" fmla="*/ 1917 w 2442"/>
                <a:gd name="T51" fmla="*/ 1589 h 1769"/>
                <a:gd name="T52" fmla="*/ 2023 w 2442"/>
                <a:gd name="T53" fmla="*/ 1576 h 1769"/>
                <a:gd name="T54" fmla="*/ 2179 w 2442"/>
                <a:gd name="T55" fmla="*/ 1587 h 1769"/>
                <a:gd name="T56" fmla="*/ 2205 w 2442"/>
                <a:gd name="T57" fmla="*/ 1505 h 1769"/>
                <a:gd name="T58" fmla="*/ 2256 w 2442"/>
                <a:gd name="T59" fmla="*/ 1431 h 1769"/>
                <a:gd name="T60" fmla="*/ 2250 w 2442"/>
                <a:gd name="T61" fmla="*/ 1382 h 1769"/>
                <a:gd name="T62" fmla="*/ 2225 w 2442"/>
                <a:gd name="T63" fmla="*/ 1328 h 1769"/>
                <a:gd name="T64" fmla="*/ 2308 w 2442"/>
                <a:gd name="T65" fmla="*/ 1288 h 1769"/>
                <a:gd name="T66" fmla="*/ 2382 w 2442"/>
                <a:gd name="T67" fmla="*/ 1306 h 1769"/>
                <a:gd name="T68" fmla="*/ 2406 w 2442"/>
                <a:gd name="T69" fmla="*/ 1199 h 1769"/>
                <a:gd name="T70" fmla="*/ 2299 w 2442"/>
                <a:gd name="T71" fmla="*/ 1163 h 1769"/>
                <a:gd name="T72" fmla="*/ 2288 w 2442"/>
                <a:gd name="T73" fmla="*/ 1064 h 1769"/>
                <a:gd name="T74" fmla="*/ 2270 w 2442"/>
                <a:gd name="T75" fmla="*/ 993 h 1769"/>
                <a:gd name="T76" fmla="*/ 2113 w 2442"/>
                <a:gd name="T77" fmla="*/ 933 h 1769"/>
                <a:gd name="T78" fmla="*/ 2005 w 2442"/>
                <a:gd name="T79" fmla="*/ 948 h 1769"/>
                <a:gd name="T80" fmla="*/ 2002 w 2442"/>
                <a:gd name="T81" fmla="*/ 750 h 1769"/>
                <a:gd name="T82" fmla="*/ 1956 w 2442"/>
                <a:gd name="T83" fmla="*/ 635 h 1769"/>
                <a:gd name="T84" fmla="*/ 1975 w 2442"/>
                <a:gd name="T85" fmla="*/ 567 h 1769"/>
                <a:gd name="T86" fmla="*/ 1969 w 2442"/>
                <a:gd name="T87" fmla="*/ 467 h 1769"/>
                <a:gd name="T88" fmla="*/ 1943 w 2442"/>
                <a:gd name="T89" fmla="*/ 338 h 1769"/>
                <a:gd name="T90" fmla="*/ 1872 w 2442"/>
                <a:gd name="T91" fmla="*/ 269 h 1769"/>
                <a:gd name="T92" fmla="*/ 1796 w 2442"/>
                <a:gd name="T93" fmla="*/ 192 h 1769"/>
                <a:gd name="T94" fmla="*/ 1703 w 2442"/>
                <a:gd name="T95" fmla="*/ 195 h 1769"/>
                <a:gd name="T96" fmla="*/ 1598 w 2442"/>
                <a:gd name="T97" fmla="*/ 181 h 1769"/>
                <a:gd name="T98" fmla="*/ 1518 w 2442"/>
                <a:gd name="T99" fmla="*/ 199 h 1769"/>
                <a:gd name="T100" fmla="*/ 1455 w 2442"/>
                <a:gd name="T101" fmla="*/ 141 h 1769"/>
                <a:gd name="T102" fmla="*/ 1400 w 2442"/>
                <a:gd name="T103" fmla="*/ 113 h 1769"/>
                <a:gd name="T104" fmla="*/ 1322 w 2442"/>
                <a:gd name="T105" fmla="*/ 119 h 1769"/>
                <a:gd name="T106" fmla="*/ 1222 w 2442"/>
                <a:gd name="T107" fmla="*/ 44 h 1769"/>
                <a:gd name="T108" fmla="*/ 1128 w 2442"/>
                <a:gd name="T109" fmla="*/ 20 h 1769"/>
                <a:gd name="T110" fmla="*/ 1031 w 2442"/>
                <a:gd name="T111" fmla="*/ 1 h 1769"/>
                <a:gd name="T112" fmla="*/ 936 w 2442"/>
                <a:gd name="T113" fmla="*/ 7 h 1769"/>
                <a:gd name="T114" fmla="*/ 887 w 2442"/>
                <a:gd name="T115" fmla="*/ 39 h 1769"/>
                <a:gd name="T116" fmla="*/ 802 w 2442"/>
                <a:gd name="T117" fmla="*/ 23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42" h="1769">
                  <a:moveTo>
                    <a:pt x="606" y="9"/>
                  </a:moveTo>
                  <a:lnTo>
                    <a:pt x="585" y="28"/>
                  </a:lnTo>
                  <a:lnTo>
                    <a:pt x="565" y="46"/>
                  </a:lnTo>
                  <a:lnTo>
                    <a:pt x="545" y="60"/>
                  </a:lnTo>
                  <a:lnTo>
                    <a:pt x="526" y="73"/>
                  </a:lnTo>
                  <a:lnTo>
                    <a:pt x="505" y="86"/>
                  </a:lnTo>
                  <a:lnTo>
                    <a:pt x="484" y="98"/>
                  </a:lnTo>
                  <a:lnTo>
                    <a:pt x="461" y="111"/>
                  </a:lnTo>
                  <a:lnTo>
                    <a:pt x="437" y="127"/>
                  </a:lnTo>
                  <a:lnTo>
                    <a:pt x="431" y="131"/>
                  </a:lnTo>
                  <a:lnTo>
                    <a:pt x="425" y="135"/>
                  </a:lnTo>
                  <a:lnTo>
                    <a:pt x="420" y="141"/>
                  </a:lnTo>
                  <a:lnTo>
                    <a:pt x="416" y="146"/>
                  </a:lnTo>
                  <a:lnTo>
                    <a:pt x="408" y="157"/>
                  </a:lnTo>
                  <a:lnTo>
                    <a:pt x="403" y="170"/>
                  </a:lnTo>
                  <a:lnTo>
                    <a:pt x="399" y="183"/>
                  </a:lnTo>
                  <a:lnTo>
                    <a:pt x="396" y="197"/>
                  </a:lnTo>
                  <a:lnTo>
                    <a:pt x="394" y="212"/>
                  </a:lnTo>
                  <a:lnTo>
                    <a:pt x="393" y="227"/>
                  </a:lnTo>
                  <a:lnTo>
                    <a:pt x="391" y="240"/>
                  </a:lnTo>
                  <a:lnTo>
                    <a:pt x="389" y="251"/>
                  </a:lnTo>
                  <a:lnTo>
                    <a:pt x="385" y="260"/>
                  </a:lnTo>
                  <a:lnTo>
                    <a:pt x="382" y="270"/>
                  </a:lnTo>
                  <a:lnTo>
                    <a:pt x="373" y="290"/>
                  </a:lnTo>
                  <a:lnTo>
                    <a:pt x="365" y="311"/>
                  </a:lnTo>
                  <a:lnTo>
                    <a:pt x="359" y="321"/>
                  </a:lnTo>
                  <a:lnTo>
                    <a:pt x="355" y="330"/>
                  </a:lnTo>
                  <a:lnTo>
                    <a:pt x="349" y="337"/>
                  </a:lnTo>
                  <a:lnTo>
                    <a:pt x="343" y="345"/>
                  </a:lnTo>
                  <a:lnTo>
                    <a:pt x="330" y="357"/>
                  </a:lnTo>
                  <a:lnTo>
                    <a:pt x="316" y="367"/>
                  </a:lnTo>
                  <a:lnTo>
                    <a:pt x="301" y="378"/>
                  </a:lnTo>
                  <a:lnTo>
                    <a:pt x="286" y="389"/>
                  </a:lnTo>
                  <a:lnTo>
                    <a:pt x="270" y="401"/>
                  </a:lnTo>
                  <a:lnTo>
                    <a:pt x="255" y="415"/>
                  </a:lnTo>
                  <a:lnTo>
                    <a:pt x="248" y="425"/>
                  </a:lnTo>
                  <a:lnTo>
                    <a:pt x="242" y="433"/>
                  </a:lnTo>
                  <a:lnTo>
                    <a:pt x="237" y="442"/>
                  </a:lnTo>
                  <a:lnTo>
                    <a:pt x="233" y="452"/>
                  </a:lnTo>
                  <a:lnTo>
                    <a:pt x="230" y="460"/>
                  </a:lnTo>
                  <a:lnTo>
                    <a:pt x="226" y="470"/>
                  </a:lnTo>
                  <a:lnTo>
                    <a:pt x="220" y="479"/>
                  </a:lnTo>
                  <a:lnTo>
                    <a:pt x="213" y="488"/>
                  </a:lnTo>
                  <a:lnTo>
                    <a:pt x="188" y="513"/>
                  </a:lnTo>
                  <a:lnTo>
                    <a:pt x="164" y="535"/>
                  </a:lnTo>
                  <a:lnTo>
                    <a:pt x="153" y="546"/>
                  </a:lnTo>
                  <a:lnTo>
                    <a:pt x="143" y="557"/>
                  </a:lnTo>
                  <a:lnTo>
                    <a:pt x="139" y="565"/>
                  </a:lnTo>
                  <a:lnTo>
                    <a:pt x="136" y="573"/>
                  </a:lnTo>
                  <a:lnTo>
                    <a:pt x="132" y="580"/>
                  </a:lnTo>
                  <a:lnTo>
                    <a:pt x="129" y="589"/>
                  </a:lnTo>
                  <a:lnTo>
                    <a:pt x="123" y="608"/>
                  </a:lnTo>
                  <a:lnTo>
                    <a:pt x="119" y="626"/>
                  </a:lnTo>
                  <a:lnTo>
                    <a:pt x="115" y="642"/>
                  </a:lnTo>
                  <a:lnTo>
                    <a:pt x="110" y="662"/>
                  </a:lnTo>
                  <a:lnTo>
                    <a:pt x="110" y="662"/>
                  </a:lnTo>
                  <a:lnTo>
                    <a:pt x="24" y="1144"/>
                  </a:lnTo>
                  <a:lnTo>
                    <a:pt x="25" y="1145"/>
                  </a:lnTo>
                  <a:lnTo>
                    <a:pt x="25" y="1147"/>
                  </a:lnTo>
                  <a:lnTo>
                    <a:pt x="25" y="1151"/>
                  </a:lnTo>
                  <a:lnTo>
                    <a:pt x="22" y="1156"/>
                  </a:lnTo>
                  <a:lnTo>
                    <a:pt x="20" y="1159"/>
                  </a:lnTo>
                  <a:lnTo>
                    <a:pt x="18" y="1163"/>
                  </a:lnTo>
                  <a:lnTo>
                    <a:pt x="13" y="1177"/>
                  </a:lnTo>
                  <a:lnTo>
                    <a:pt x="7" y="1190"/>
                  </a:lnTo>
                  <a:lnTo>
                    <a:pt x="4" y="1197"/>
                  </a:lnTo>
                  <a:lnTo>
                    <a:pt x="2" y="1202"/>
                  </a:lnTo>
                  <a:lnTo>
                    <a:pt x="0" y="1208"/>
                  </a:lnTo>
                  <a:lnTo>
                    <a:pt x="0" y="1214"/>
                  </a:lnTo>
                  <a:lnTo>
                    <a:pt x="2" y="1226"/>
                  </a:lnTo>
                  <a:lnTo>
                    <a:pt x="3" y="1238"/>
                  </a:lnTo>
                  <a:lnTo>
                    <a:pt x="3" y="1238"/>
                  </a:lnTo>
                  <a:lnTo>
                    <a:pt x="19" y="1240"/>
                  </a:lnTo>
                  <a:lnTo>
                    <a:pt x="35" y="1241"/>
                  </a:lnTo>
                  <a:lnTo>
                    <a:pt x="52" y="1243"/>
                  </a:lnTo>
                  <a:lnTo>
                    <a:pt x="67" y="1244"/>
                  </a:lnTo>
                  <a:lnTo>
                    <a:pt x="94" y="1235"/>
                  </a:lnTo>
                  <a:lnTo>
                    <a:pt x="116" y="1226"/>
                  </a:lnTo>
                  <a:lnTo>
                    <a:pt x="128" y="1223"/>
                  </a:lnTo>
                  <a:lnTo>
                    <a:pt x="140" y="1220"/>
                  </a:lnTo>
                  <a:lnTo>
                    <a:pt x="154" y="1217"/>
                  </a:lnTo>
                  <a:lnTo>
                    <a:pt x="168" y="1216"/>
                  </a:lnTo>
                  <a:lnTo>
                    <a:pt x="177" y="1217"/>
                  </a:lnTo>
                  <a:lnTo>
                    <a:pt x="184" y="1221"/>
                  </a:lnTo>
                  <a:lnTo>
                    <a:pt x="191" y="1229"/>
                  </a:lnTo>
                  <a:lnTo>
                    <a:pt x="196" y="1239"/>
                  </a:lnTo>
                  <a:lnTo>
                    <a:pt x="200" y="1243"/>
                  </a:lnTo>
                  <a:lnTo>
                    <a:pt x="204" y="1247"/>
                  </a:lnTo>
                  <a:lnTo>
                    <a:pt x="208" y="1250"/>
                  </a:lnTo>
                  <a:lnTo>
                    <a:pt x="214" y="1252"/>
                  </a:lnTo>
                  <a:lnTo>
                    <a:pt x="218" y="1254"/>
                  </a:lnTo>
                  <a:lnTo>
                    <a:pt x="223" y="1256"/>
                  </a:lnTo>
                  <a:lnTo>
                    <a:pt x="227" y="1259"/>
                  </a:lnTo>
                  <a:lnTo>
                    <a:pt x="230" y="1265"/>
                  </a:lnTo>
                  <a:lnTo>
                    <a:pt x="235" y="1279"/>
                  </a:lnTo>
                  <a:lnTo>
                    <a:pt x="237" y="1292"/>
                  </a:lnTo>
                  <a:lnTo>
                    <a:pt x="240" y="1306"/>
                  </a:lnTo>
                  <a:lnTo>
                    <a:pt x="244" y="1320"/>
                  </a:lnTo>
                  <a:lnTo>
                    <a:pt x="251" y="1336"/>
                  </a:lnTo>
                  <a:lnTo>
                    <a:pt x="259" y="1351"/>
                  </a:lnTo>
                  <a:lnTo>
                    <a:pt x="268" y="1364"/>
                  </a:lnTo>
                  <a:lnTo>
                    <a:pt x="276" y="1377"/>
                  </a:lnTo>
                  <a:lnTo>
                    <a:pt x="285" y="1390"/>
                  </a:lnTo>
                  <a:lnTo>
                    <a:pt x="291" y="1404"/>
                  </a:lnTo>
                  <a:lnTo>
                    <a:pt x="294" y="1412"/>
                  </a:lnTo>
                  <a:lnTo>
                    <a:pt x="296" y="1419"/>
                  </a:lnTo>
                  <a:lnTo>
                    <a:pt x="297" y="1428"/>
                  </a:lnTo>
                  <a:lnTo>
                    <a:pt x="297" y="1437"/>
                  </a:lnTo>
                  <a:lnTo>
                    <a:pt x="297" y="1452"/>
                  </a:lnTo>
                  <a:lnTo>
                    <a:pt x="295" y="1465"/>
                  </a:lnTo>
                  <a:lnTo>
                    <a:pt x="291" y="1478"/>
                  </a:lnTo>
                  <a:lnTo>
                    <a:pt x="287" y="1490"/>
                  </a:lnTo>
                  <a:lnTo>
                    <a:pt x="278" y="1512"/>
                  </a:lnTo>
                  <a:lnTo>
                    <a:pt x="270" y="1535"/>
                  </a:lnTo>
                  <a:lnTo>
                    <a:pt x="270" y="1535"/>
                  </a:lnTo>
                  <a:lnTo>
                    <a:pt x="280" y="1537"/>
                  </a:lnTo>
                  <a:lnTo>
                    <a:pt x="289" y="1539"/>
                  </a:lnTo>
                  <a:lnTo>
                    <a:pt x="299" y="1541"/>
                  </a:lnTo>
                  <a:lnTo>
                    <a:pt x="309" y="1541"/>
                  </a:lnTo>
                  <a:lnTo>
                    <a:pt x="326" y="1541"/>
                  </a:lnTo>
                  <a:lnTo>
                    <a:pt x="340" y="1541"/>
                  </a:lnTo>
                  <a:lnTo>
                    <a:pt x="355" y="1541"/>
                  </a:lnTo>
                  <a:lnTo>
                    <a:pt x="372" y="1541"/>
                  </a:lnTo>
                  <a:lnTo>
                    <a:pt x="383" y="1540"/>
                  </a:lnTo>
                  <a:lnTo>
                    <a:pt x="393" y="1538"/>
                  </a:lnTo>
                  <a:lnTo>
                    <a:pt x="402" y="1534"/>
                  </a:lnTo>
                  <a:lnTo>
                    <a:pt x="409" y="1529"/>
                  </a:lnTo>
                  <a:lnTo>
                    <a:pt x="418" y="1524"/>
                  </a:lnTo>
                  <a:lnTo>
                    <a:pt x="426" y="1521"/>
                  </a:lnTo>
                  <a:lnTo>
                    <a:pt x="436" y="1518"/>
                  </a:lnTo>
                  <a:lnTo>
                    <a:pt x="447" y="1517"/>
                  </a:lnTo>
                  <a:lnTo>
                    <a:pt x="453" y="1517"/>
                  </a:lnTo>
                  <a:lnTo>
                    <a:pt x="459" y="1518"/>
                  </a:lnTo>
                  <a:lnTo>
                    <a:pt x="463" y="1520"/>
                  </a:lnTo>
                  <a:lnTo>
                    <a:pt x="467" y="1522"/>
                  </a:lnTo>
                  <a:lnTo>
                    <a:pt x="476" y="1527"/>
                  </a:lnTo>
                  <a:lnTo>
                    <a:pt x="484" y="1534"/>
                  </a:lnTo>
                  <a:lnTo>
                    <a:pt x="491" y="1540"/>
                  </a:lnTo>
                  <a:lnTo>
                    <a:pt x="500" y="1548"/>
                  </a:lnTo>
                  <a:lnTo>
                    <a:pt x="509" y="1555"/>
                  </a:lnTo>
                  <a:lnTo>
                    <a:pt x="518" y="1562"/>
                  </a:lnTo>
                  <a:lnTo>
                    <a:pt x="533" y="1568"/>
                  </a:lnTo>
                  <a:lnTo>
                    <a:pt x="548" y="1575"/>
                  </a:lnTo>
                  <a:lnTo>
                    <a:pt x="563" y="1579"/>
                  </a:lnTo>
                  <a:lnTo>
                    <a:pt x="575" y="1583"/>
                  </a:lnTo>
                  <a:lnTo>
                    <a:pt x="590" y="1586"/>
                  </a:lnTo>
                  <a:lnTo>
                    <a:pt x="605" y="1588"/>
                  </a:lnTo>
                  <a:lnTo>
                    <a:pt x="620" y="1589"/>
                  </a:lnTo>
                  <a:lnTo>
                    <a:pt x="637" y="1590"/>
                  </a:lnTo>
                  <a:lnTo>
                    <a:pt x="654" y="1590"/>
                  </a:lnTo>
                  <a:lnTo>
                    <a:pt x="669" y="1590"/>
                  </a:lnTo>
                  <a:lnTo>
                    <a:pt x="686" y="1590"/>
                  </a:lnTo>
                  <a:lnTo>
                    <a:pt x="703" y="1590"/>
                  </a:lnTo>
                  <a:lnTo>
                    <a:pt x="717" y="1590"/>
                  </a:lnTo>
                  <a:lnTo>
                    <a:pt x="731" y="1593"/>
                  </a:lnTo>
                  <a:lnTo>
                    <a:pt x="743" y="1596"/>
                  </a:lnTo>
                  <a:lnTo>
                    <a:pt x="755" y="1602"/>
                  </a:lnTo>
                  <a:lnTo>
                    <a:pt x="777" y="1613"/>
                  </a:lnTo>
                  <a:lnTo>
                    <a:pt x="804" y="1623"/>
                  </a:lnTo>
                  <a:lnTo>
                    <a:pt x="834" y="1632"/>
                  </a:lnTo>
                  <a:lnTo>
                    <a:pt x="861" y="1642"/>
                  </a:lnTo>
                  <a:lnTo>
                    <a:pt x="884" y="1652"/>
                  </a:lnTo>
                  <a:lnTo>
                    <a:pt x="908" y="1661"/>
                  </a:lnTo>
                  <a:lnTo>
                    <a:pt x="932" y="1672"/>
                  </a:lnTo>
                  <a:lnTo>
                    <a:pt x="956" y="1683"/>
                  </a:lnTo>
                  <a:lnTo>
                    <a:pt x="982" y="1695"/>
                  </a:lnTo>
                  <a:lnTo>
                    <a:pt x="1009" y="1708"/>
                  </a:lnTo>
                  <a:lnTo>
                    <a:pt x="1025" y="1714"/>
                  </a:lnTo>
                  <a:lnTo>
                    <a:pt x="1038" y="1720"/>
                  </a:lnTo>
                  <a:lnTo>
                    <a:pt x="1051" y="1727"/>
                  </a:lnTo>
                  <a:lnTo>
                    <a:pt x="1065" y="1735"/>
                  </a:lnTo>
                  <a:lnTo>
                    <a:pt x="1078" y="1745"/>
                  </a:lnTo>
                  <a:lnTo>
                    <a:pt x="1090" y="1756"/>
                  </a:lnTo>
                  <a:lnTo>
                    <a:pt x="1095" y="1762"/>
                  </a:lnTo>
                  <a:lnTo>
                    <a:pt x="1101" y="1765"/>
                  </a:lnTo>
                  <a:lnTo>
                    <a:pt x="1109" y="1768"/>
                  </a:lnTo>
                  <a:lnTo>
                    <a:pt x="1117" y="1769"/>
                  </a:lnTo>
                  <a:lnTo>
                    <a:pt x="1124" y="1768"/>
                  </a:lnTo>
                  <a:lnTo>
                    <a:pt x="1131" y="1767"/>
                  </a:lnTo>
                  <a:lnTo>
                    <a:pt x="1137" y="1766"/>
                  </a:lnTo>
                  <a:lnTo>
                    <a:pt x="1143" y="1764"/>
                  </a:lnTo>
                  <a:lnTo>
                    <a:pt x="1148" y="1761"/>
                  </a:lnTo>
                  <a:lnTo>
                    <a:pt x="1153" y="1757"/>
                  </a:lnTo>
                  <a:lnTo>
                    <a:pt x="1158" y="1753"/>
                  </a:lnTo>
                  <a:lnTo>
                    <a:pt x="1163" y="1749"/>
                  </a:lnTo>
                  <a:lnTo>
                    <a:pt x="1171" y="1739"/>
                  </a:lnTo>
                  <a:lnTo>
                    <a:pt x="1178" y="1727"/>
                  </a:lnTo>
                  <a:lnTo>
                    <a:pt x="1184" y="1715"/>
                  </a:lnTo>
                  <a:lnTo>
                    <a:pt x="1188" y="1701"/>
                  </a:lnTo>
                  <a:lnTo>
                    <a:pt x="1191" y="1691"/>
                  </a:lnTo>
                  <a:lnTo>
                    <a:pt x="1192" y="1683"/>
                  </a:lnTo>
                  <a:lnTo>
                    <a:pt x="1192" y="1674"/>
                  </a:lnTo>
                  <a:lnTo>
                    <a:pt x="1193" y="1664"/>
                  </a:lnTo>
                  <a:lnTo>
                    <a:pt x="1193" y="1657"/>
                  </a:lnTo>
                  <a:lnTo>
                    <a:pt x="1195" y="1648"/>
                  </a:lnTo>
                  <a:lnTo>
                    <a:pt x="1198" y="1640"/>
                  </a:lnTo>
                  <a:lnTo>
                    <a:pt x="1202" y="1631"/>
                  </a:lnTo>
                  <a:lnTo>
                    <a:pt x="1206" y="1627"/>
                  </a:lnTo>
                  <a:lnTo>
                    <a:pt x="1212" y="1623"/>
                  </a:lnTo>
                  <a:lnTo>
                    <a:pt x="1217" y="1620"/>
                  </a:lnTo>
                  <a:lnTo>
                    <a:pt x="1222" y="1618"/>
                  </a:lnTo>
                  <a:lnTo>
                    <a:pt x="1234" y="1615"/>
                  </a:lnTo>
                  <a:lnTo>
                    <a:pt x="1247" y="1612"/>
                  </a:lnTo>
                  <a:lnTo>
                    <a:pt x="1261" y="1606"/>
                  </a:lnTo>
                  <a:lnTo>
                    <a:pt x="1274" y="1600"/>
                  </a:lnTo>
                  <a:lnTo>
                    <a:pt x="1286" y="1591"/>
                  </a:lnTo>
                  <a:lnTo>
                    <a:pt x="1297" y="1582"/>
                  </a:lnTo>
                  <a:lnTo>
                    <a:pt x="1316" y="1563"/>
                  </a:lnTo>
                  <a:lnTo>
                    <a:pt x="1336" y="1544"/>
                  </a:lnTo>
                  <a:lnTo>
                    <a:pt x="1344" y="1534"/>
                  </a:lnTo>
                  <a:lnTo>
                    <a:pt x="1354" y="1524"/>
                  </a:lnTo>
                  <a:lnTo>
                    <a:pt x="1364" y="1517"/>
                  </a:lnTo>
                  <a:lnTo>
                    <a:pt x="1375" y="1509"/>
                  </a:lnTo>
                  <a:lnTo>
                    <a:pt x="1386" y="1502"/>
                  </a:lnTo>
                  <a:lnTo>
                    <a:pt x="1398" y="1498"/>
                  </a:lnTo>
                  <a:lnTo>
                    <a:pt x="1411" y="1495"/>
                  </a:lnTo>
                  <a:lnTo>
                    <a:pt x="1427" y="1494"/>
                  </a:lnTo>
                  <a:lnTo>
                    <a:pt x="1451" y="1495"/>
                  </a:lnTo>
                  <a:lnTo>
                    <a:pt x="1474" y="1495"/>
                  </a:lnTo>
                  <a:lnTo>
                    <a:pt x="1496" y="1497"/>
                  </a:lnTo>
                  <a:lnTo>
                    <a:pt x="1517" y="1499"/>
                  </a:lnTo>
                  <a:lnTo>
                    <a:pt x="1557" y="1505"/>
                  </a:lnTo>
                  <a:lnTo>
                    <a:pt x="1596" y="1511"/>
                  </a:lnTo>
                  <a:lnTo>
                    <a:pt x="1635" y="1521"/>
                  </a:lnTo>
                  <a:lnTo>
                    <a:pt x="1675" y="1532"/>
                  </a:lnTo>
                  <a:lnTo>
                    <a:pt x="1717" y="1542"/>
                  </a:lnTo>
                  <a:lnTo>
                    <a:pt x="1762" y="1555"/>
                  </a:lnTo>
                  <a:lnTo>
                    <a:pt x="1801" y="1567"/>
                  </a:lnTo>
                  <a:lnTo>
                    <a:pt x="1835" y="1578"/>
                  </a:lnTo>
                  <a:lnTo>
                    <a:pt x="1852" y="1582"/>
                  </a:lnTo>
                  <a:lnTo>
                    <a:pt x="1869" y="1587"/>
                  </a:lnTo>
                  <a:lnTo>
                    <a:pt x="1888" y="1589"/>
                  </a:lnTo>
                  <a:lnTo>
                    <a:pt x="1908" y="1590"/>
                  </a:lnTo>
                  <a:lnTo>
                    <a:pt x="1917" y="1589"/>
                  </a:lnTo>
                  <a:lnTo>
                    <a:pt x="1926" y="1587"/>
                  </a:lnTo>
                  <a:lnTo>
                    <a:pt x="1932" y="1585"/>
                  </a:lnTo>
                  <a:lnTo>
                    <a:pt x="1940" y="1581"/>
                  </a:lnTo>
                  <a:lnTo>
                    <a:pt x="1946" y="1578"/>
                  </a:lnTo>
                  <a:lnTo>
                    <a:pt x="1954" y="1575"/>
                  </a:lnTo>
                  <a:lnTo>
                    <a:pt x="1961" y="1574"/>
                  </a:lnTo>
                  <a:lnTo>
                    <a:pt x="1970" y="1573"/>
                  </a:lnTo>
                  <a:lnTo>
                    <a:pt x="1998" y="1574"/>
                  </a:lnTo>
                  <a:lnTo>
                    <a:pt x="2023" y="1576"/>
                  </a:lnTo>
                  <a:lnTo>
                    <a:pt x="2045" y="1579"/>
                  </a:lnTo>
                  <a:lnTo>
                    <a:pt x="2067" y="1583"/>
                  </a:lnTo>
                  <a:lnTo>
                    <a:pt x="2089" y="1588"/>
                  </a:lnTo>
                  <a:lnTo>
                    <a:pt x="2111" y="1592"/>
                  </a:lnTo>
                  <a:lnTo>
                    <a:pt x="2135" y="1596"/>
                  </a:lnTo>
                  <a:lnTo>
                    <a:pt x="2163" y="1600"/>
                  </a:lnTo>
                  <a:lnTo>
                    <a:pt x="2163" y="1600"/>
                  </a:lnTo>
                  <a:lnTo>
                    <a:pt x="2172" y="1594"/>
                  </a:lnTo>
                  <a:lnTo>
                    <a:pt x="2179" y="1587"/>
                  </a:lnTo>
                  <a:lnTo>
                    <a:pt x="2183" y="1583"/>
                  </a:lnTo>
                  <a:lnTo>
                    <a:pt x="2187" y="1579"/>
                  </a:lnTo>
                  <a:lnTo>
                    <a:pt x="2189" y="1575"/>
                  </a:lnTo>
                  <a:lnTo>
                    <a:pt x="2191" y="1569"/>
                  </a:lnTo>
                  <a:lnTo>
                    <a:pt x="2197" y="1556"/>
                  </a:lnTo>
                  <a:lnTo>
                    <a:pt x="2200" y="1542"/>
                  </a:lnTo>
                  <a:lnTo>
                    <a:pt x="2202" y="1529"/>
                  </a:lnTo>
                  <a:lnTo>
                    <a:pt x="2203" y="1518"/>
                  </a:lnTo>
                  <a:lnTo>
                    <a:pt x="2205" y="1505"/>
                  </a:lnTo>
                  <a:lnTo>
                    <a:pt x="2207" y="1492"/>
                  </a:lnTo>
                  <a:lnTo>
                    <a:pt x="2211" y="1480"/>
                  </a:lnTo>
                  <a:lnTo>
                    <a:pt x="2217" y="1466"/>
                  </a:lnTo>
                  <a:lnTo>
                    <a:pt x="2223" y="1458"/>
                  </a:lnTo>
                  <a:lnTo>
                    <a:pt x="2229" y="1453"/>
                  </a:lnTo>
                  <a:lnTo>
                    <a:pt x="2237" y="1447"/>
                  </a:lnTo>
                  <a:lnTo>
                    <a:pt x="2244" y="1442"/>
                  </a:lnTo>
                  <a:lnTo>
                    <a:pt x="2251" y="1438"/>
                  </a:lnTo>
                  <a:lnTo>
                    <a:pt x="2256" y="1431"/>
                  </a:lnTo>
                  <a:lnTo>
                    <a:pt x="2258" y="1428"/>
                  </a:lnTo>
                  <a:lnTo>
                    <a:pt x="2260" y="1425"/>
                  </a:lnTo>
                  <a:lnTo>
                    <a:pt x="2261" y="1420"/>
                  </a:lnTo>
                  <a:lnTo>
                    <a:pt x="2261" y="1416"/>
                  </a:lnTo>
                  <a:lnTo>
                    <a:pt x="2261" y="1407"/>
                  </a:lnTo>
                  <a:lnTo>
                    <a:pt x="2259" y="1400"/>
                  </a:lnTo>
                  <a:lnTo>
                    <a:pt x="2257" y="1393"/>
                  </a:lnTo>
                  <a:lnTo>
                    <a:pt x="2254" y="1387"/>
                  </a:lnTo>
                  <a:lnTo>
                    <a:pt x="2250" y="1382"/>
                  </a:lnTo>
                  <a:lnTo>
                    <a:pt x="2244" y="1377"/>
                  </a:lnTo>
                  <a:lnTo>
                    <a:pt x="2239" y="1372"/>
                  </a:lnTo>
                  <a:lnTo>
                    <a:pt x="2232" y="1367"/>
                  </a:lnTo>
                  <a:lnTo>
                    <a:pt x="2219" y="1360"/>
                  </a:lnTo>
                  <a:lnTo>
                    <a:pt x="2205" y="1351"/>
                  </a:lnTo>
                  <a:lnTo>
                    <a:pt x="2191" y="1343"/>
                  </a:lnTo>
                  <a:lnTo>
                    <a:pt x="2178" y="1332"/>
                  </a:lnTo>
                  <a:lnTo>
                    <a:pt x="2203" y="1330"/>
                  </a:lnTo>
                  <a:lnTo>
                    <a:pt x="2225" y="1328"/>
                  </a:lnTo>
                  <a:lnTo>
                    <a:pt x="2246" y="1324"/>
                  </a:lnTo>
                  <a:lnTo>
                    <a:pt x="2270" y="1318"/>
                  </a:lnTo>
                  <a:lnTo>
                    <a:pt x="2277" y="1315"/>
                  </a:lnTo>
                  <a:lnTo>
                    <a:pt x="2283" y="1310"/>
                  </a:lnTo>
                  <a:lnTo>
                    <a:pt x="2287" y="1306"/>
                  </a:lnTo>
                  <a:lnTo>
                    <a:pt x="2292" y="1301"/>
                  </a:lnTo>
                  <a:lnTo>
                    <a:pt x="2297" y="1295"/>
                  </a:lnTo>
                  <a:lnTo>
                    <a:pt x="2303" y="1291"/>
                  </a:lnTo>
                  <a:lnTo>
                    <a:pt x="2308" y="1288"/>
                  </a:lnTo>
                  <a:lnTo>
                    <a:pt x="2315" y="1286"/>
                  </a:lnTo>
                  <a:lnTo>
                    <a:pt x="2325" y="1288"/>
                  </a:lnTo>
                  <a:lnTo>
                    <a:pt x="2334" y="1290"/>
                  </a:lnTo>
                  <a:lnTo>
                    <a:pt x="2341" y="1293"/>
                  </a:lnTo>
                  <a:lnTo>
                    <a:pt x="2349" y="1296"/>
                  </a:lnTo>
                  <a:lnTo>
                    <a:pt x="2357" y="1301"/>
                  </a:lnTo>
                  <a:lnTo>
                    <a:pt x="2364" y="1304"/>
                  </a:lnTo>
                  <a:lnTo>
                    <a:pt x="2373" y="1306"/>
                  </a:lnTo>
                  <a:lnTo>
                    <a:pt x="2382" y="1306"/>
                  </a:lnTo>
                  <a:lnTo>
                    <a:pt x="2398" y="1306"/>
                  </a:lnTo>
                  <a:lnTo>
                    <a:pt x="2414" y="1304"/>
                  </a:lnTo>
                  <a:lnTo>
                    <a:pt x="2429" y="1299"/>
                  </a:lnTo>
                  <a:lnTo>
                    <a:pt x="2442" y="1294"/>
                  </a:lnTo>
                  <a:lnTo>
                    <a:pt x="2442" y="1294"/>
                  </a:lnTo>
                  <a:lnTo>
                    <a:pt x="2428" y="1261"/>
                  </a:lnTo>
                  <a:lnTo>
                    <a:pt x="2416" y="1230"/>
                  </a:lnTo>
                  <a:lnTo>
                    <a:pt x="2411" y="1215"/>
                  </a:lnTo>
                  <a:lnTo>
                    <a:pt x="2406" y="1199"/>
                  </a:lnTo>
                  <a:lnTo>
                    <a:pt x="2402" y="1182"/>
                  </a:lnTo>
                  <a:lnTo>
                    <a:pt x="2400" y="1163"/>
                  </a:lnTo>
                  <a:lnTo>
                    <a:pt x="2384" y="1161"/>
                  </a:lnTo>
                  <a:lnTo>
                    <a:pt x="2369" y="1160"/>
                  </a:lnTo>
                  <a:lnTo>
                    <a:pt x="2355" y="1158"/>
                  </a:lnTo>
                  <a:lnTo>
                    <a:pt x="2339" y="1158"/>
                  </a:lnTo>
                  <a:lnTo>
                    <a:pt x="2325" y="1161"/>
                  </a:lnTo>
                  <a:lnTo>
                    <a:pt x="2311" y="1163"/>
                  </a:lnTo>
                  <a:lnTo>
                    <a:pt x="2299" y="1163"/>
                  </a:lnTo>
                  <a:lnTo>
                    <a:pt x="2288" y="1163"/>
                  </a:lnTo>
                  <a:lnTo>
                    <a:pt x="2277" y="1163"/>
                  </a:lnTo>
                  <a:lnTo>
                    <a:pt x="2265" y="1163"/>
                  </a:lnTo>
                  <a:lnTo>
                    <a:pt x="2267" y="1144"/>
                  </a:lnTo>
                  <a:lnTo>
                    <a:pt x="2271" y="1127"/>
                  </a:lnTo>
                  <a:lnTo>
                    <a:pt x="2276" y="1112"/>
                  </a:lnTo>
                  <a:lnTo>
                    <a:pt x="2281" y="1095"/>
                  </a:lnTo>
                  <a:lnTo>
                    <a:pt x="2285" y="1080"/>
                  </a:lnTo>
                  <a:lnTo>
                    <a:pt x="2288" y="1064"/>
                  </a:lnTo>
                  <a:lnTo>
                    <a:pt x="2292" y="1047"/>
                  </a:lnTo>
                  <a:lnTo>
                    <a:pt x="2293" y="1027"/>
                  </a:lnTo>
                  <a:lnTo>
                    <a:pt x="2292" y="1021"/>
                  </a:lnTo>
                  <a:lnTo>
                    <a:pt x="2291" y="1014"/>
                  </a:lnTo>
                  <a:lnTo>
                    <a:pt x="2288" y="1009"/>
                  </a:lnTo>
                  <a:lnTo>
                    <a:pt x="2284" y="1005"/>
                  </a:lnTo>
                  <a:lnTo>
                    <a:pt x="2281" y="1000"/>
                  </a:lnTo>
                  <a:lnTo>
                    <a:pt x="2276" y="996"/>
                  </a:lnTo>
                  <a:lnTo>
                    <a:pt x="2270" y="993"/>
                  </a:lnTo>
                  <a:lnTo>
                    <a:pt x="2264" y="991"/>
                  </a:lnTo>
                  <a:lnTo>
                    <a:pt x="2237" y="981"/>
                  </a:lnTo>
                  <a:lnTo>
                    <a:pt x="2209" y="970"/>
                  </a:lnTo>
                  <a:lnTo>
                    <a:pt x="2185" y="957"/>
                  </a:lnTo>
                  <a:lnTo>
                    <a:pt x="2162" y="945"/>
                  </a:lnTo>
                  <a:lnTo>
                    <a:pt x="2151" y="941"/>
                  </a:lnTo>
                  <a:lnTo>
                    <a:pt x="2140" y="937"/>
                  </a:lnTo>
                  <a:lnTo>
                    <a:pt x="2128" y="934"/>
                  </a:lnTo>
                  <a:lnTo>
                    <a:pt x="2113" y="933"/>
                  </a:lnTo>
                  <a:lnTo>
                    <a:pt x="2099" y="934"/>
                  </a:lnTo>
                  <a:lnTo>
                    <a:pt x="2086" y="937"/>
                  </a:lnTo>
                  <a:lnTo>
                    <a:pt x="2075" y="939"/>
                  </a:lnTo>
                  <a:lnTo>
                    <a:pt x="2063" y="942"/>
                  </a:lnTo>
                  <a:lnTo>
                    <a:pt x="2051" y="945"/>
                  </a:lnTo>
                  <a:lnTo>
                    <a:pt x="2039" y="947"/>
                  </a:lnTo>
                  <a:lnTo>
                    <a:pt x="2027" y="950"/>
                  </a:lnTo>
                  <a:lnTo>
                    <a:pt x="2012" y="951"/>
                  </a:lnTo>
                  <a:lnTo>
                    <a:pt x="2005" y="948"/>
                  </a:lnTo>
                  <a:lnTo>
                    <a:pt x="1998" y="945"/>
                  </a:lnTo>
                  <a:lnTo>
                    <a:pt x="2001" y="919"/>
                  </a:lnTo>
                  <a:lnTo>
                    <a:pt x="2003" y="898"/>
                  </a:lnTo>
                  <a:lnTo>
                    <a:pt x="2005" y="875"/>
                  </a:lnTo>
                  <a:lnTo>
                    <a:pt x="2007" y="850"/>
                  </a:lnTo>
                  <a:lnTo>
                    <a:pt x="2007" y="813"/>
                  </a:lnTo>
                  <a:lnTo>
                    <a:pt x="2005" y="781"/>
                  </a:lnTo>
                  <a:lnTo>
                    <a:pt x="2004" y="766"/>
                  </a:lnTo>
                  <a:lnTo>
                    <a:pt x="2002" y="750"/>
                  </a:lnTo>
                  <a:lnTo>
                    <a:pt x="1998" y="734"/>
                  </a:lnTo>
                  <a:lnTo>
                    <a:pt x="1993" y="715"/>
                  </a:lnTo>
                  <a:lnTo>
                    <a:pt x="1987" y="701"/>
                  </a:lnTo>
                  <a:lnTo>
                    <a:pt x="1981" y="688"/>
                  </a:lnTo>
                  <a:lnTo>
                    <a:pt x="1974" y="676"/>
                  </a:lnTo>
                  <a:lnTo>
                    <a:pt x="1968" y="665"/>
                  </a:lnTo>
                  <a:lnTo>
                    <a:pt x="1962" y="654"/>
                  </a:lnTo>
                  <a:lnTo>
                    <a:pt x="1958" y="642"/>
                  </a:lnTo>
                  <a:lnTo>
                    <a:pt x="1956" y="635"/>
                  </a:lnTo>
                  <a:lnTo>
                    <a:pt x="1955" y="629"/>
                  </a:lnTo>
                  <a:lnTo>
                    <a:pt x="1954" y="622"/>
                  </a:lnTo>
                  <a:lnTo>
                    <a:pt x="1954" y="615"/>
                  </a:lnTo>
                  <a:lnTo>
                    <a:pt x="1955" y="605"/>
                  </a:lnTo>
                  <a:lnTo>
                    <a:pt x="1957" y="596"/>
                  </a:lnTo>
                  <a:lnTo>
                    <a:pt x="1960" y="589"/>
                  </a:lnTo>
                  <a:lnTo>
                    <a:pt x="1966" y="581"/>
                  </a:lnTo>
                  <a:lnTo>
                    <a:pt x="1970" y="575"/>
                  </a:lnTo>
                  <a:lnTo>
                    <a:pt x="1975" y="567"/>
                  </a:lnTo>
                  <a:lnTo>
                    <a:pt x="1980" y="559"/>
                  </a:lnTo>
                  <a:lnTo>
                    <a:pt x="1983" y="550"/>
                  </a:lnTo>
                  <a:lnTo>
                    <a:pt x="1980" y="536"/>
                  </a:lnTo>
                  <a:lnTo>
                    <a:pt x="1976" y="522"/>
                  </a:lnTo>
                  <a:lnTo>
                    <a:pt x="1974" y="511"/>
                  </a:lnTo>
                  <a:lnTo>
                    <a:pt x="1974" y="501"/>
                  </a:lnTo>
                  <a:lnTo>
                    <a:pt x="1973" y="492"/>
                  </a:lnTo>
                  <a:lnTo>
                    <a:pt x="1972" y="481"/>
                  </a:lnTo>
                  <a:lnTo>
                    <a:pt x="1969" y="467"/>
                  </a:lnTo>
                  <a:lnTo>
                    <a:pt x="1967" y="455"/>
                  </a:lnTo>
                  <a:lnTo>
                    <a:pt x="1964" y="442"/>
                  </a:lnTo>
                  <a:lnTo>
                    <a:pt x="1962" y="428"/>
                  </a:lnTo>
                  <a:lnTo>
                    <a:pt x="1959" y="412"/>
                  </a:lnTo>
                  <a:lnTo>
                    <a:pt x="1956" y="399"/>
                  </a:lnTo>
                  <a:lnTo>
                    <a:pt x="1953" y="385"/>
                  </a:lnTo>
                  <a:lnTo>
                    <a:pt x="1949" y="370"/>
                  </a:lnTo>
                  <a:lnTo>
                    <a:pt x="1947" y="353"/>
                  </a:lnTo>
                  <a:lnTo>
                    <a:pt x="1943" y="338"/>
                  </a:lnTo>
                  <a:lnTo>
                    <a:pt x="1939" y="327"/>
                  </a:lnTo>
                  <a:lnTo>
                    <a:pt x="1934" y="319"/>
                  </a:lnTo>
                  <a:lnTo>
                    <a:pt x="1929" y="309"/>
                  </a:lnTo>
                  <a:lnTo>
                    <a:pt x="1924" y="299"/>
                  </a:lnTo>
                  <a:lnTo>
                    <a:pt x="1914" y="291"/>
                  </a:lnTo>
                  <a:lnTo>
                    <a:pt x="1903" y="284"/>
                  </a:lnTo>
                  <a:lnTo>
                    <a:pt x="1893" y="279"/>
                  </a:lnTo>
                  <a:lnTo>
                    <a:pt x="1882" y="275"/>
                  </a:lnTo>
                  <a:lnTo>
                    <a:pt x="1872" y="269"/>
                  </a:lnTo>
                  <a:lnTo>
                    <a:pt x="1861" y="264"/>
                  </a:lnTo>
                  <a:lnTo>
                    <a:pt x="1850" y="257"/>
                  </a:lnTo>
                  <a:lnTo>
                    <a:pt x="1839" y="250"/>
                  </a:lnTo>
                  <a:lnTo>
                    <a:pt x="1829" y="241"/>
                  </a:lnTo>
                  <a:lnTo>
                    <a:pt x="1822" y="230"/>
                  </a:lnTo>
                  <a:lnTo>
                    <a:pt x="1815" y="219"/>
                  </a:lnTo>
                  <a:lnTo>
                    <a:pt x="1810" y="210"/>
                  </a:lnTo>
                  <a:lnTo>
                    <a:pt x="1804" y="200"/>
                  </a:lnTo>
                  <a:lnTo>
                    <a:pt x="1796" y="192"/>
                  </a:lnTo>
                  <a:lnTo>
                    <a:pt x="1791" y="189"/>
                  </a:lnTo>
                  <a:lnTo>
                    <a:pt x="1786" y="187"/>
                  </a:lnTo>
                  <a:lnTo>
                    <a:pt x="1781" y="186"/>
                  </a:lnTo>
                  <a:lnTo>
                    <a:pt x="1774" y="186"/>
                  </a:lnTo>
                  <a:lnTo>
                    <a:pt x="1758" y="186"/>
                  </a:lnTo>
                  <a:lnTo>
                    <a:pt x="1744" y="188"/>
                  </a:lnTo>
                  <a:lnTo>
                    <a:pt x="1730" y="190"/>
                  </a:lnTo>
                  <a:lnTo>
                    <a:pt x="1717" y="192"/>
                  </a:lnTo>
                  <a:lnTo>
                    <a:pt x="1703" y="195"/>
                  </a:lnTo>
                  <a:lnTo>
                    <a:pt x="1690" y="197"/>
                  </a:lnTo>
                  <a:lnTo>
                    <a:pt x="1675" y="199"/>
                  </a:lnTo>
                  <a:lnTo>
                    <a:pt x="1659" y="200"/>
                  </a:lnTo>
                  <a:lnTo>
                    <a:pt x="1647" y="199"/>
                  </a:lnTo>
                  <a:lnTo>
                    <a:pt x="1637" y="196"/>
                  </a:lnTo>
                  <a:lnTo>
                    <a:pt x="1626" y="192"/>
                  </a:lnTo>
                  <a:lnTo>
                    <a:pt x="1618" y="188"/>
                  </a:lnTo>
                  <a:lnTo>
                    <a:pt x="1608" y="184"/>
                  </a:lnTo>
                  <a:lnTo>
                    <a:pt x="1598" y="181"/>
                  </a:lnTo>
                  <a:lnTo>
                    <a:pt x="1588" y="178"/>
                  </a:lnTo>
                  <a:lnTo>
                    <a:pt x="1576" y="177"/>
                  </a:lnTo>
                  <a:lnTo>
                    <a:pt x="1566" y="178"/>
                  </a:lnTo>
                  <a:lnTo>
                    <a:pt x="1557" y="181"/>
                  </a:lnTo>
                  <a:lnTo>
                    <a:pt x="1550" y="184"/>
                  </a:lnTo>
                  <a:lnTo>
                    <a:pt x="1542" y="188"/>
                  </a:lnTo>
                  <a:lnTo>
                    <a:pt x="1535" y="192"/>
                  </a:lnTo>
                  <a:lnTo>
                    <a:pt x="1527" y="196"/>
                  </a:lnTo>
                  <a:lnTo>
                    <a:pt x="1518" y="199"/>
                  </a:lnTo>
                  <a:lnTo>
                    <a:pt x="1510" y="200"/>
                  </a:lnTo>
                  <a:lnTo>
                    <a:pt x="1503" y="199"/>
                  </a:lnTo>
                  <a:lnTo>
                    <a:pt x="1499" y="198"/>
                  </a:lnTo>
                  <a:lnTo>
                    <a:pt x="1494" y="197"/>
                  </a:lnTo>
                  <a:lnTo>
                    <a:pt x="1489" y="195"/>
                  </a:lnTo>
                  <a:lnTo>
                    <a:pt x="1482" y="188"/>
                  </a:lnTo>
                  <a:lnTo>
                    <a:pt x="1475" y="181"/>
                  </a:lnTo>
                  <a:lnTo>
                    <a:pt x="1464" y="161"/>
                  </a:lnTo>
                  <a:lnTo>
                    <a:pt x="1455" y="141"/>
                  </a:lnTo>
                  <a:lnTo>
                    <a:pt x="1450" y="130"/>
                  </a:lnTo>
                  <a:lnTo>
                    <a:pt x="1445" y="119"/>
                  </a:lnTo>
                  <a:lnTo>
                    <a:pt x="1443" y="114"/>
                  </a:lnTo>
                  <a:lnTo>
                    <a:pt x="1440" y="110"/>
                  </a:lnTo>
                  <a:lnTo>
                    <a:pt x="1435" y="108"/>
                  </a:lnTo>
                  <a:lnTo>
                    <a:pt x="1430" y="107"/>
                  </a:lnTo>
                  <a:lnTo>
                    <a:pt x="1419" y="108"/>
                  </a:lnTo>
                  <a:lnTo>
                    <a:pt x="1408" y="109"/>
                  </a:lnTo>
                  <a:lnTo>
                    <a:pt x="1400" y="113"/>
                  </a:lnTo>
                  <a:lnTo>
                    <a:pt x="1390" y="116"/>
                  </a:lnTo>
                  <a:lnTo>
                    <a:pt x="1381" y="119"/>
                  </a:lnTo>
                  <a:lnTo>
                    <a:pt x="1371" y="121"/>
                  </a:lnTo>
                  <a:lnTo>
                    <a:pt x="1362" y="123"/>
                  </a:lnTo>
                  <a:lnTo>
                    <a:pt x="1351" y="123"/>
                  </a:lnTo>
                  <a:lnTo>
                    <a:pt x="1343" y="123"/>
                  </a:lnTo>
                  <a:lnTo>
                    <a:pt x="1336" y="122"/>
                  </a:lnTo>
                  <a:lnTo>
                    <a:pt x="1328" y="121"/>
                  </a:lnTo>
                  <a:lnTo>
                    <a:pt x="1322" y="119"/>
                  </a:lnTo>
                  <a:lnTo>
                    <a:pt x="1309" y="115"/>
                  </a:lnTo>
                  <a:lnTo>
                    <a:pt x="1297" y="107"/>
                  </a:lnTo>
                  <a:lnTo>
                    <a:pt x="1285" y="100"/>
                  </a:lnTo>
                  <a:lnTo>
                    <a:pt x="1274" y="91"/>
                  </a:lnTo>
                  <a:lnTo>
                    <a:pt x="1265" y="81"/>
                  </a:lnTo>
                  <a:lnTo>
                    <a:pt x="1254" y="71"/>
                  </a:lnTo>
                  <a:lnTo>
                    <a:pt x="1244" y="63"/>
                  </a:lnTo>
                  <a:lnTo>
                    <a:pt x="1233" y="53"/>
                  </a:lnTo>
                  <a:lnTo>
                    <a:pt x="1222" y="44"/>
                  </a:lnTo>
                  <a:lnTo>
                    <a:pt x="1212" y="36"/>
                  </a:lnTo>
                  <a:lnTo>
                    <a:pt x="1199" y="29"/>
                  </a:lnTo>
                  <a:lnTo>
                    <a:pt x="1186" y="25"/>
                  </a:lnTo>
                  <a:lnTo>
                    <a:pt x="1179" y="23"/>
                  </a:lnTo>
                  <a:lnTo>
                    <a:pt x="1172" y="22"/>
                  </a:lnTo>
                  <a:lnTo>
                    <a:pt x="1165" y="21"/>
                  </a:lnTo>
                  <a:lnTo>
                    <a:pt x="1157" y="20"/>
                  </a:lnTo>
                  <a:lnTo>
                    <a:pt x="1141" y="20"/>
                  </a:lnTo>
                  <a:lnTo>
                    <a:pt x="1128" y="20"/>
                  </a:lnTo>
                  <a:lnTo>
                    <a:pt x="1114" y="20"/>
                  </a:lnTo>
                  <a:lnTo>
                    <a:pt x="1099" y="20"/>
                  </a:lnTo>
                  <a:lnTo>
                    <a:pt x="1089" y="20"/>
                  </a:lnTo>
                  <a:lnTo>
                    <a:pt x="1078" y="17"/>
                  </a:lnTo>
                  <a:lnTo>
                    <a:pt x="1068" y="14"/>
                  </a:lnTo>
                  <a:lnTo>
                    <a:pt x="1059" y="10"/>
                  </a:lnTo>
                  <a:lnTo>
                    <a:pt x="1051" y="7"/>
                  </a:lnTo>
                  <a:lnTo>
                    <a:pt x="1041" y="3"/>
                  </a:lnTo>
                  <a:lnTo>
                    <a:pt x="1031" y="1"/>
                  </a:lnTo>
                  <a:lnTo>
                    <a:pt x="1019" y="0"/>
                  </a:lnTo>
                  <a:lnTo>
                    <a:pt x="1002" y="0"/>
                  </a:lnTo>
                  <a:lnTo>
                    <a:pt x="987" y="0"/>
                  </a:lnTo>
                  <a:lnTo>
                    <a:pt x="971" y="0"/>
                  </a:lnTo>
                  <a:lnTo>
                    <a:pt x="953" y="0"/>
                  </a:lnTo>
                  <a:lnTo>
                    <a:pt x="949" y="1"/>
                  </a:lnTo>
                  <a:lnTo>
                    <a:pt x="945" y="2"/>
                  </a:lnTo>
                  <a:lnTo>
                    <a:pt x="941" y="5"/>
                  </a:lnTo>
                  <a:lnTo>
                    <a:pt x="936" y="7"/>
                  </a:lnTo>
                  <a:lnTo>
                    <a:pt x="930" y="13"/>
                  </a:lnTo>
                  <a:lnTo>
                    <a:pt x="924" y="20"/>
                  </a:lnTo>
                  <a:lnTo>
                    <a:pt x="918" y="27"/>
                  </a:lnTo>
                  <a:lnTo>
                    <a:pt x="911" y="34"/>
                  </a:lnTo>
                  <a:lnTo>
                    <a:pt x="907" y="36"/>
                  </a:lnTo>
                  <a:lnTo>
                    <a:pt x="904" y="38"/>
                  </a:lnTo>
                  <a:lnTo>
                    <a:pt x="899" y="39"/>
                  </a:lnTo>
                  <a:lnTo>
                    <a:pt x="894" y="40"/>
                  </a:lnTo>
                  <a:lnTo>
                    <a:pt x="887" y="39"/>
                  </a:lnTo>
                  <a:lnTo>
                    <a:pt x="880" y="37"/>
                  </a:lnTo>
                  <a:lnTo>
                    <a:pt x="875" y="35"/>
                  </a:lnTo>
                  <a:lnTo>
                    <a:pt x="868" y="32"/>
                  </a:lnTo>
                  <a:lnTo>
                    <a:pt x="863" y="28"/>
                  </a:lnTo>
                  <a:lnTo>
                    <a:pt x="857" y="25"/>
                  </a:lnTo>
                  <a:lnTo>
                    <a:pt x="850" y="24"/>
                  </a:lnTo>
                  <a:lnTo>
                    <a:pt x="843" y="23"/>
                  </a:lnTo>
                  <a:lnTo>
                    <a:pt x="822" y="23"/>
                  </a:lnTo>
                  <a:lnTo>
                    <a:pt x="802" y="23"/>
                  </a:lnTo>
                  <a:lnTo>
                    <a:pt x="784" y="23"/>
                  </a:lnTo>
                  <a:lnTo>
                    <a:pt x="762" y="23"/>
                  </a:lnTo>
                  <a:lnTo>
                    <a:pt x="606" y="9"/>
                  </a:lnTo>
                  <a:lnTo>
                    <a:pt x="606" y="9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57">
              <a:extLst>
                <a:ext uri="{FF2B5EF4-FFF2-40B4-BE49-F238E27FC236}">
                  <a16:creationId xmlns:a16="http://schemas.microsoft.com/office/drawing/2014/main" id="{C48F9EF6-844E-470D-A9FA-958FEFF2F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5700" y="4370388"/>
              <a:ext cx="1346200" cy="950913"/>
            </a:xfrm>
            <a:custGeom>
              <a:avLst/>
              <a:gdLst>
                <a:gd name="T0" fmla="*/ 871 w 3393"/>
                <a:gd name="T1" fmla="*/ 162 h 2394"/>
                <a:gd name="T2" fmla="*/ 737 w 3393"/>
                <a:gd name="T3" fmla="*/ 226 h 2394"/>
                <a:gd name="T4" fmla="*/ 635 w 3393"/>
                <a:gd name="T5" fmla="*/ 432 h 2394"/>
                <a:gd name="T6" fmla="*/ 532 w 3393"/>
                <a:gd name="T7" fmla="*/ 567 h 2394"/>
                <a:gd name="T8" fmla="*/ 411 w 3393"/>
                <a:gd name="T9" fmla="*/ 795 h 2394"/>
                <a:gd name="T10" fmla="*/ 290 w 3393"/>
                <a:gd name="T11" fmla="*/ 955 h 2394"/>
                <a:gd name="T12" fmla="*/ 86 w 3393"/>
                <a:gd name="T13" fmla="*/ 1020 h 2394"/>
                <a:gd name="T14" fmla="*/ 244 w 3393"/>
                <a:gd name="T15" fmla="*/ 1124 h 2394"/>
                <a:gd name="T16" fmla="*/ 318 w 3393"/>
                <a:gd name="T17" fmla="*/ 1120 h 2394"/>
                <a:gd name="T18" fmla="*/ 445 w 3393"/>
                <a:gd name="T19" fmla="*/ 1107 h 2394"/>
                <a:gd name="T20" fmla="*/ 580 w 3393"/>
                <a:gd name="T21" fmla="*/ 1125 h 2394"/>
                <a:gd name="T22" fmla="*/ 722 w 3393"/>
                <a:gd name="T23" fmla="*/ 1221 h 2394"/>
                <a:gd name="T24" fmla="*/ 834 w 3393"/>
                <a:gd name="T25" fmla="*/ 1210 h 2394"/>
                <a:gd name="T26" fmla="*/ 912 w 3393"/>
                <a:gd name="T27" fmla="*/ 1299 h 2394"/>
                <a:gd name="T28" fmla="*/ 1031 w 3393"/>
                <a:gd name="T29" fmla="*/ 1296 h 2394"/>
                <a:gd name="T30" fmla="*/ 1185 w 3393"/>
                <a:gd name="T31" fmla="*/ 1289 h 2394"/>
                <a:gd name="T32" fmla="*/ 1297 w 3393"/>
                <a:gd name="T33" fmla="*/ 1384 h 2394"/>
                <a:gd name="T34" fmla="*/ 1358 w 3393"/>
                <a:gd name="T35" fmla="*/ 1542 h 2394"/>
                <a:gd name="T36" fmla="*/ 1360 w 3393"/>
                <a:gd name="T37" fmla="*/ 1681 h 2394"/>
                <a:gd name="T38" fmla="*/ 1381 w 3393"/>
                <a:gd name="T39" fmla="*/ 1801 h 2394"/>
                <a:gd name="T40" fmla="*/ 1406 w 3393"/>
                <a:gd name="T41" fmla="*/ 2051 h 2394"/>
                <a:gd name="T42" fmla="*/ 1579 w 3393"/>
                <a:gd name="T43" fmla="*/ 2057 h 2394"/>
                <a:gd name="T44" fmla="*/ 1682 w 3393"/>
                <a:gd name="T45" fmla="*/ 2164 h 2394"/>
                <a:gd name="T46" fmla="*/ 1749 w 3393"/>
                <a:gd name="T47" fmla="*/ 2258 h 2394"/>
                <a:gd name="T48" fmla="*/ 1853 w 3393"/>
                <a:gd name="T49" fmla="*/ 2382 h 2394"/>
                <a:gd name="T50" fmla="*/ 1867 w 3393"/>
                <a:gd name="T51" fmla="*/ 2297 h 2394"/>
                <a:gd name="T52" fmla="*/ 2086 w 3393"/>
                <a:gd name="T53" fmla="*/ 2147 h 2394"/>
                <a:gd name="T54" fmla="*/ 2393 w 3393"/>
                <a:gd name="T55" fmla="*/ 1943 h 2394"/>
                <a:gd name="T56" fmla="*/ 2520 w 3393"/>
                <a:gd name="T57" fmla="*/ 1883 h 2394"/>
                <a:gd name="T58" fmla="*/ 2676 w 3393"/>
                <a:gd name="T59" fmla="*/ 1817 h 2394"/>
                <a:gd name="T60" fmla="*/ 2815 w 3393"/>
                <a:gd name="T61" fmla="*/ 1824 h 2394"/>
                <a:gd name="T62" fmla="*/ 2932 w 3393"/>
                <a:gd name="T63" fmla="*/ 1808 h 2394"/>
                <a:gd name="T64" fmla="*/ 3048 w 3393"/>
                <a:gd name="T65" fmla="*/ 1723 h 2394"/>
                <a:gd name="T66" fmla="*/ 3150 w 3393"/>
                <a:gd name="T67" fmla="*/ 1689 h 2394"/>
                <a:gd name="T68" fmla="*/ 3213 w 3393"/>
                <a:gd name="T69" fmla="*/ 1540 h 2394"/>
                <a:gd name="T70" fmla="*/ 3393 w 3393"/>
                <a:gd name="T71" fmla="*/ 1478 h 2394"/>
                <a:gd name="T72" fmla="*/ 3339 w 3393"/>
                <a:gd name="T73" fmla="*/ 1411 h 2394"/>
                <a:gd name="T74" fmla="*/ 3203 w 3393"/>
                <a:gd name="T75" fmla="*/ 1391 h 2394"/>
                <a:gd name="T76" fmla="*/ 3188 w 3393"/>
                <a:gd name="T77" fmla="*/ 1284 h 2394"/>
                <a:gd name="T78" fmla="*/ 3003 w 3393"/>
                <a:gd name="T79" fmla="*/ 1281 h 2394"/>
                <a:gd name="T80" fmla="*/ 2861 w 3393"/>
                <a:gd name="T81" fmla="*/ 1309 h 2394"/>
                <a:gd name="T82" fmla="*/ 2801 w 3393"/>
                <a:gd name="T83" fmla="*/ 1303 h 2394"/>
                <a:gd name="T84" fmla="*/ 2729 w 3393"/>
                <a:gd name="T85" fmla="*/ 1397 h 2394"/>
                <a:gd name="T86" fmla="*/ 2588 w 3393"/>
                <a:gd name="T87" fmla="*/ 1343 h 2394"/>
                <a:gd name="T88" fmla="*/ 2561 w 3393"/>
                <a:gd name="T89" fmla="*/ 1191 h 2394"/>
                <a:gd name="T90" fmla="*/ 2586 w 3393"/>
                <a:gd name="T91" fmla="*/ 781 h 2394"/>
                <a:gd name="T92" fmla="*/ 2454 w 3393"/>
                <a:gd name="T93" fmla="*/ 744 h 2394"/>
                <a:gd name="T94" fmla="*/ 2369 w 3393"/>
                <a:gd name="T95" fmla="*/ 595 h 2394"/>
                <a:gd name="T96" fmla="*/ 2386 w 3393"/>
                <a:gd name="T97" fmla="*/ 390 h 2394"/>
                <a:gd name="T98" fmla="*/ 2369 w 3393"/>
                <a:gd name="T99" fmla="*/ 252 h 2394"/>
                <a:gd name="T100" fmla="*/ 2278 w 3393"/>
                <a:gd name="T101" fmla="*/ 172 h 2394"/>
                <a:gd name="T102" fmla="*/ 2161 w 3393"/>
                <a:gd name="T103" fmla="*/ 177 h 2394"/>
                <a:gd name="T104" fmla="*/ 2064 w 3393"/>
                <a:gd name="T105" fmla="*/ 210 h 2394"/>
                <a:gd name="T106" fmla="*/ 1876 w 3393"/>
                <a:gd name="T107" fmla="*/ 207 h 2394"/>
                <a:gd name="T108" fmla="*/ 1688 w 3393"/>
                <a:gd name="T109" fmla="*/ 236 h 2394"/>
                <a:gd name="T110" fmla="*/ 1616 w 3393"/>
                <a:gd name="T111" fmla="*/ 243 h 2394"/>
                <a:gd name="T112" fmla="*/ 1553 w 3393"/>
                <a:gd name="T113" fmla="*/ 212 h 2394"/>
                <a:gd name="T114" fmla="*/ 1560 w 3393"/>
                <a:gd name="T115" fmla="*/ 109 h 2394"/>
                <a:gd name="T116" fmla="*/ 1456 w 3393"/>
                <a:gd name="T117" fmla="*/ 45 h 2394"/>
                <a:gd name="T118" fmla="*/ 1121 w 3393"/>
                <a:gd name="T119" fmla="*/ 28 h 2394"/>
                <a:gd name="T120" fmla="*/ 970 w 3393"/>
                <a:gd name="T121" fmla="*/ 31 h 2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93" h="2394">
                  <a:moveTo>
                    <a:pt x="951" y="55"/>
                  </a:moveTo>
                  <a:lnTo>
                    <a:pt x="947" y="63"/>
                  </a:lnTo>
                  <a:lnTo>
                    <a:pt x="944" y="70"/>
                  </a:lnTo>
                  <a:lnTo>
                    <a:pt x="939" y="76"/>
                  </a:lnTo>
                  <a:lnTo>
                    <a:pt x="934" y="82"/>
                  </a:lnTo>
                  <a:lnTo>
                    <a:pt x="924" y="93"/>
                  </a:lnTo>
                  <a:lnTo>
                    <a:pt x="913" y="106"/>
                  </a:lnTo>
                  <a:lnTo>
                    <a:pt x="903" y="122"/>
                  </a:lnTo>
                  <a:lnTo>
                    <a:pt x="894" y="136"/>
                  </a:lnTo>
                  <a:lnTo>
                    <a:pt x="890" y="143"/>
                  </a:lnTo>
                  <a:lnTo>
                    <a:pt x="884" y="150"/>
                  </a:lnTo>
                  <a:lnTo>
                    <a:pt x="879" y="155"/>
                  </a:lnTo>
                  <a:lnTo>
                    <a:pt x="871" y="162"/>
                  </a:lnTo>
                  <a:lnTo>
                    <a:pt x="863" y="167"/>
                  </a:lnTo>
                  <a:lnTo>
                    <a:pt x="854" y="171"/>
                  </a:lnTo>
                  <a:lnTo>
                    <a:pt x="846" y="175"/>
                  </a:lnTo>
                  <a:lnTo>
                    <a:pt x="838" y="179"/>
                  </a:lnTo>
                  <a:lnTo>
                    <a:pt x="825" y="187"/>
                  </a:lnTo>
                  <a:lnTo>
                    <a:pt x="815" y="194"/>
                  </a:lnTo>
                  <a:lnTo>
                    <a:pt x="805" y="203"/>
                  </a:lnTo>
                  <a:lnTo>
                    <a:pt x="792" y="209"/>
                  </a:lnTo>
                  <a:lnTo>
                    <a:pt x="782" y="214"/>
                  </a:lnTo>
                  <a:lnTo>
                    <a:pt x="770" y="215"/>
                  </a:lnTo>
                  <a:lnTo>
                    <a:pt x="759" y="217"/>
                  </a:lnTo>
                  <a:lnTo>
                    <a:pt x="748" y="221"/>
                  </a:lnTo>
                  <a:lnTo>
                    <a:pt x="737" y="226"/>
                  </a:lnTo>
                  <a:lnTo>
                    <a:pt x="730" y="233"/>
                  </a:lnTo>
                  <a:lnTo>
                    <a:pt x="723" y="241"/>
                  </a:lnTo>
                  <a:lnTo>
                    <a:pt x="717" y="249"/>
                  </a:lnTo>
                  <a:lnTo>
                    <a:pt x="708" y="269"/>
                  </a:lnTo>
                  <a:lnTo>
                    <a:pt x="700" y="290"/>
                  </a:lnTo>
                  <a:lnTo>
                    <a:pt x="690" y="317"/>
                  </a:lnTo>
                  <a:lnTo>
                    <a:pt x="682" y="341"/>
                  </a:lnTo>
                  <a:lnTo>
                    <a:pt x="673" y="365"/>
                  </a:lnTo>
                  <a:lnTo>
                    <a:pt x="661" y="392"/>
                  </a:lnTo>
                  <a:lnTo>
                    <a:pt x="652" y="403"/>
                  </a:lnTo>
                  <a:lnTo>
                    <a:pt x="645" y="414"/>
                  </a:lnTo>
                  <a:lnTo>
                    <a:pt x="639" y="423"/>
                  </a:lnTo>
                  <a:lnTo>
                    <a:pt x="635" y="432"/>
                  </a:lnTo>
                  <a:lnTo>
                    <a:pt x="629" y="439"/>
                  </a:lnTo>
                  <a:lnTo>
                    <a:pt x="622" y="448"/>
                  </a:lnTo>
                  <a:lnTo>
                    <a:pt x="601" y="463"/>
                  </a:lnTo>
                  <a:lnTo>
                    <a:pt x="583" y="477"/>
                  </a:lnTo>
                  <a:lnTo>
                    <a:pt x="574" y="485"/>
                  </a:lnTo>
                  <a:lnTo>
                    <a:pt x="567" y="492"/>
                  </a:lnTo>
                  <a:lnTo>
                    <a:pt x="559" y="501"/>
                  </a:lnTo>
                  <a:lnTo>
                    <a:pt x="552" y="512"/>
                  </a:lnTo>
                  <a:lnTo>
                    <a:pt x="546" y="521"/>
                  </a:lnTo>
                  <a:lnTo>
                    <a:pt x="542" y="531"/>
                  </a:lnTo>
                  <a:lnTo>
                    <a:pt x="539" y="540"/>
                  </a:lnTo>
                  <a:lnTo>
                    <a:pt x="535" y="549"/>
                  </a:lnTo>
                  <a:lnTo>
                    <a:pt x="532" y="567"/>
                  </a:lnTo>
                  <a:lnTo>
                    <a:pt x="529" y="585"/>
                  </a:lnTo>
                  <a:lnTo>
                    <a:pt x="527" y="622"/>
                  </a:lnTo>
                  <a:lnTo>
                    <a:pt x="524" y="663"/>
                  </a:lnTo>
                  <a:lnTo>
                    <a:pt x="520" y="679"/>
                  </a:lnTo>
                  <a:lnTo>
                    <a:pt x="515" y="694"/>
                  </a:lnTo>
                  <a:lnTo>
                    <a:pt x="508" y="707"/>
                  </a:lnTo>
                  <a:lnTo>
                    <a:pt x="500" y="719"/>
                  </a:lnTo>
                  <a:lnTo>
                    <a:pt x="490" y="730"/>
                  </a:lnTo>
                  <a:lnTo>
                    <a:pt x="480" y="739"/>
                  </a:lnTo>
                  <a:lnTo>
                    <a:pt x="470" y="748"/>
                  </a:lnTo>
                  <a:lnTo>
                    <a:pt x="458" y="758"/>
                  </a:lnTo>
                  <a:lnTo>
                    <a:pt x="435" y="775"/>
                  </a:lnTo>
                  <a:lnTo>
                    <a:pt x="411" y="795"/>
                  </a:lnTo>
                  <a:lnTo>
                    <a:pt x="400" y="805"/>
                  </a:lnTo>
                  <a:lnTo>
                    <a:pt x="390" y="817"/>
                  </a:lnTo>
                  <a:lnTo>
                    <a:pt x="381" y="831"/>
                  </a:lnTo>
                  <a:lnTo>
                    <a:pt x="372" y="845"/>
                  </a:lnTo>
                  <a:lnTo>
                    <a:pt x="362" y="867"/>
                  </a:lnTo>
                  <a:lnTo>
                    <a:pt x="351" y="886"/>
                  </a:lnTo>
                  <a:lnTo>
                    <a:pt x="340" y="905"/>
                  </a:lnTo>
                  <a:lnTo>
                    <a:pt x="328" y="921"/>
                  </a:lnTo>
                  <a:lnTo>
                    <a:pt x="322" y="928"/>
                  </a:lnTo>
                  <a:lnTo>
                    <a:pt x="315" y="936"/>
                  </a:lnTo>
                  <a:lnTo>
                    <a:pt x="308" y="943"/>
                  </a:lnTo>
                  <a:lnTo>
                    <a:pt x="299" y="949"/>
                  </a:lnTo>
                  <a:lnTo>
                    <a:pt x="290" y="955"/>
                  </a:lnTo>
                  <a:lnTo>
                    <a:pt x="282" y="961"/>
                  </a:lnTo>
                  <a:lnTo>
                    <a:pt x="271" y="966"/>
                  </a:lnTo>
                  <a:lnTo>
                    <a:pt x="260" y="972"/>
                  </a:lnTo>
                  <a:lnTo>
                    <a:pt x="243" y="978"/>
                  </a:lnTo>
                  <a:lnTo>
                    <a:pt x="225" y="982"/>
                  </a:lnTo>
                  <a:lnTo>
                    <a:pt x="209" y="985"/>
                  </a:lnTo>
                  <a:lnTo>
                    <a:pt x="193" y="986"/>
                  </a:lnTo>
                  <a:lnTo>
                    <a:pt x="177" y="988"/>
                  </a:lnTo>
                  <a:lnTo>
                    <a:pt x="161" y="990"/>
                  </a:lnTo>
                  <a:lnTo>
                    <a:pt x="143" y="993"/>
                  </a:lnTo>
                  <a:lnTo>
                    <a:pt x="125" y="1000"/>
                  </a:lnTo>
                  <a:lnTo>
                    <a:pt x="104" y="1009"/>
                  </a:lnTo>
                  <a:lnTo>
                    <a:pt x="86" y="1020"/>
                  </a:lnTo>
                  <a:lnTo>
                    <a:pt x="70" y="1031"/>
                  </a:lnTo>
                  <a:lnTo>
                    <a:pt x="55" y="1044"/>
                  </a:lnTo>
                  <a:lnTo>
                    <a:pt x="40" y="1058"/>
                  </a:lnTo>
                  <a:lnTo>
                    <a:pt x="27" y="1073"/>
                  </a:lnTo>
                  <a:lnTo>
                    <a:pt x="13" y="1090"/>
                  </a:lnTo>
                  <a:lnTo>
                    <a:pt x="0" y="1109"/>
                  </a:lnTo>
                  <a:lnTo>
                    <a:pt x="0" y="1109"/>
                  </a:lnTo>
                  <a:lnTo>
                    <a:pt x="156" y="1123"/>
                  </a:lnTo>
                  <a:lnTo>
                    <a:pt x="178" y="1123"/>
                  </a:lnTo>
                  <a:lnTo>
                    <a:pt x="196" y="1123"/>
                  </a:lnTo>
                  <a:lnTo>
                    <a:pt x="216" y="1123"/>
                  </a:lnTo>
                  <a:lnTo>
                    <a:pt x="237" y="1123"/>
                  </a:lnTo>
                  <a:lnTo>
                    <a:pt x="244" y="1124"/>
                  </a:lnTo>
                  <a:lnTo>
                    <a:pt x="251" y="1125"/>
                  </a:lnTo>
                  <a:lnTo>
                    <a:pt x="257" y="1128"/>
                  </a:lnTo>
                  <a:lnTo>
                    <a:pt x="262" y="1132"/>
                  </a:lnTo>
                  <a:lnTo>
                    <a:pt x="269" y="1135"/>
                  </a:lnTo>
                  <a:lnTo>
                    <a:pt x="274" y="1137"/>
                  </a:lnTo>
                  <a:lnTo>
                    <a:pt x="281" y="1139"/>
                  </a:lnTo>
                  <a:lnTo>
                    <a:pt x="288" y="1140"/>
                  </a:lnTo>
                  <a:lnTo>
                    <a:pt x="293" y="1139"/>
                  </a:lnTo>
                  <a:lnTo>
                    <a:pt x="298" y="1138"/>
                  </a:lnTo>
                  <a:lnTo>
                    <a:pt x="301" y="1136"/>
                  </a:lnTo>
                  <a:lnTo>
                    <a:pt x="305" y="1134"/>
                  </a:lnTo>
                  <a:lnTo>
                    <a:pt x="312" y="1127"/>
                  </a:lnTo>
                  <a:lnTo>
                    <a:pt x="318" y="1120"/>
                  </a:lnTo>
                  <a:lnTo>
                    <a:pt x="324" y="1113"/>
                  </a:lnTo>
                  <a:lnTo>
                    <a:pt x="330" y="1107"/>
                  </a:lnTo>
                  <a:lnTo>
                    <a:pt x="335" y="1105"/>
                  </a:lnTo>
                  <a:lnTo>
                    <a:pt x="339" y="1102"/>
                  </a:lnTo>
                  <a:lnTo>
                    <a:pt x="343" y="1101"/>
                  </a:lnTo>
                  <a:lnTo>
                    <a:pt x="347" y="1100"/>
                  </a:lnTo>
                  <a:lnTo>
                    <a:pt x="365" y="1100"/>
                  </a:lnTo>
                  <a:lnTo>
                    <a:pt x="381" y="1100"/>
                  </a:lnTo>
                  <a:lnTo>
                    <a:pt x="396" y="1100"/>
                  </a:lnTo>
                  <a:lnTo>
                    <a:pt x="413" y="1100"/>
                  </a:lnTo>
                  <a:lnTo>
                    <a:pt x="425" y="1101"/>
                  </a:lnTo>
                  <a:lnTo>
                    <a:pt x="435" y="1103"/>
                  </a:lnTo>
                  <a:lnTo>
                    <a:pt x="445" y="1107"/>
                  </a:lnTo>
                  <a:lnTo>
                    <a:pt x="453" y="1110"/>
                  </a:lnTo>
                  <a:lnTo>
                    <a:pt x="462" y="1114"/>
                  </a:lnTo>
                  <a:lnTo>
                    <a:pt x="472" y="1117"/>
                  </a:lnTo>
                  <a:lnTo>
                    <a:pt x="483" y="1120"/>
                  </a:lnTo>
                  <a:lnTo>
                    <a:pt x="493" y="1120"/>
                  </a:lnTo>
                  <a:lnTo>
                    <a:pt x="508" y="1120"/>
                  </a:lnTo>
                  <a:lnTo>
                    <a:pt x="522" y="1120"/>
                  </a:lnTo>
                  <a:lnTo>
                    <a:pt x="535" y="1120"/>
                  </a:lnTo>
                  <a:lnTo>
                    <a:pt x="551" y="1120"/>
                  </a:lnTo>
                  <a:lnTo>
                    <a:pt x="559" y="1121"/>
                  </a:lnTo>
                  <a:lnTo>
                    <a:pt x="566" y="1122"/>
                  </a:lnTo>
                  <a:lnTo>
                    <a:pt x="573" y="1123"/>
                  </a:lnTo>
                  <a:lnTo>
                    <a:pt x="580" y="1125"/>
                  </a:lnTo>
                  <a:lnTo>
                    <a:pt x="593" y="1129"/>
                  </a:lnTo>
                  <a:lnTo>
                    <a:pt x="606" y="1136"/>
                  </a:lnTo>
                  <a:lnTo>
                    <a:pt x="616" y="1144"/>
                  </a:lnTo>
                  <a:lnTo>
                    <a:pt x="627" y="1153"/>
                  </a:lnTo>
                  <a:lnTo>
                    <a:pt x="638" y="1163"/>
                  </a:lnTo>
                  <a:lnTo>
                    <a:pt x="648" y="1171"/>
                  </a:lnTo>
                  <a:lnTo>
                    <a:pt x="659" y="1181"/>
                  </a:lnTo>
                  <a:lnTo>
                    <a:pt x="668" y="1191"/>
                  </a:lnTo>
                  <a:lnTo>
                    <a:pt x="679" y="1200"/>
                  </a:lnTo>
                  <a:lnTo>
                    <a:pt x="691" y="1207"/>
                  </a:lnTo>
                  <a:lnTo>
                    <a:pt x="703" y="1215"/>
                  </a:lnTo>
                  <a:lnTo>
                    <a:pt x="716" y="1219"/>
                  </a:lnTo>
                  <a:lnTo>
                    <a:pt x="722" y="1221"/>
                  </a:lnTo>
                  <a:lnTo>
                    <a:pt x="730" y="1222"/>
                  </a:lnTo>
                  <a:lnTo>
                    <a:pt x="737" y="1223"/>
                  </a:lnTo>
                  <a:lnTo>
                    <a:pt x="745" y="1223"/>
                  </a:lnTo>
                  <a:lnTo>
                    <a:pt x="756" y="1223"/>
                  </a:lnTo>
                  <a:lnTo>
                    <a:pt x="765" y="1221"/>
                  </a:lnTo>
                  <a:lnTo>
                    <a:pt x="775" y="1219"/>
                  </a:lnTo>
                  <a:lnTo>
                    <a:pt x="784" y="1216"/>
                  </a:lnTo>
                  <a:lnTo>
                    <a:pt x="794" y="1213"/>
                  </a:lnTo>
                  <a:lnTo>
                    <a:pt x="802" y="1209"/>
                  </a:lnTo>
                  <a:lnTo>
                    <a:pt x="813" y="1208"/>
                  </a:lnTo>
                  <a:lnTo>
                    <a:pt x="824" y="1207"/>
                  </a:lnTo>
                  <a:lnTo>
                    <a:pt x="829" y="1208"/>
                  </a:lnTo>
                  <a:lnTo>
                    <a:pt x="834" y="1210"/>
                  </a:lnTo>
                  <a:lnTo>
                    <a:pt x="837" y="1214"/>
                  </a:lnTo>
                  <a:lnTo>
                    <a:pt x="839" y="1219"/>
                  </a:lnTo>
                  <a:lnTo>
                    <a:pt x="844" y="1230"/>
                  </a:lnTo>
                  <a:lnTo>
                    <a:pt x="849" y="1241"/>
                  </a:lnTo>
                  <a:lnTo>
                    <a:pt x="858" y="1261"/>
                  </a:lnTo>
                  <a:lnTo>
                    <a:pt x="869" y="1281"/>
                  </a:lnTo>
                  <a:lnTo>
                    <a:pt x="876" y="1288"/>
                  </a:lnTo>
                  <a:lnTo>
                    <a:pt x="883" y="1295"/>
                  </a:lnTo>
                  <a:lnTo>
                    <a:pt x="888" y="1297"/>
                  </a:lnTo>
                  <a:lnTo>
                    <a:pt x="893" y="1298"/>
                  </a:lnTo>
                  <a:lnTo>
                    <a:pt x="897" y="1299"/>
                  </a:lnTo>
                  <a:lnTo>
                    <a:pt x="904" y="1300"/>
                  </a:lnTo>
                  <a:lnTo>
                    <a:pt x="912" y="1299"/>
                  </a:lnTo>
                  <a:lnTo>
                    <a:pt x="921" y="1296"/>
                  </a:lnTo>
                  <a:lnTo>
                    <a:pt x="929" y="1292"/>
                  </a:lnTo>
                  <a:lnTo>
                    <a:pt x="936" y="1288"/>
                  </a:lnTo>
                  <a:lnTo>
                    <a:pt x="944" y="1284"/>
                  </a:lnTo>
                  <a:lnTo>
                    <a:pt x="951" y="1281"/>
                  </a:lnTo>
                  <a:lnTo>
                    <a:pt x="960" y="1278"/>
                  </a:lnTo>
                  <a:lnTo>
                    <a:pt x="970" y="1277"/>
                  </a:lnTo>
                  <a:lnTo>
                    <a:pt x="982" y="1278"/>
                  </a:lnTo>
                  <a:lnTo>
                    <a:pt x="992" y="1281"/>
                  </a:lnTo>
                  <a:lnTo>
                    <a:pt x="1002" y="1284"/>
                  </a:lnTo>
                  <a:lnTo>
                    <a:pt x="1012" y="1288"/>
                  </a:lnTo>
                  <a:lnTo>
                    <a:pt x="1020" y="1292"/>
                  </a:lnTo>
                  <a:lnTo>
                    <a:pt x="1031" y="1296"/>
                  </a:lnTo>
                  <a:lnTo>
                    <a:pt x="1041" y="1299"/>
                  </a:lnTo>
                  <a:lnTo>
                    <a:pt x="1053" y="1300"/>
                  </a:lnTo>
                  <a:lnTo>
                    <a:pt x="1069" y="1299"/>
                  </a:lnTo>
                  <a:lnTo>
                    <a:pt x="1084" y="1297"/>
                  </a:lnTo>
                  <a:lnTo>
                    <a:pt x="1097" y="1295"/>
                  </a:lnTo>
                  <a:lnTo>
                    <a:pt x="1111" y="1292"/>
                  </a:lnTo>
                  <a:lnTo>
                    <a:pt x="1124" y="1290"/>
                  </a:lnTo>
                  <a:lnTo>
                    <a:pt x="1138" y="1288"/>
                  </a:lnTo>
                  <a:lnTo>
                    <a:pt x="1152" y="1286"/>
                  </a:lnTo>
                  <a:lnTo>
                    <a:pt x="1168" y="1286"/>
                  </a:lnTo>
                  <a:lnTo>
                    <a:pt x="1175" y="1286"/>
                  </a:lnTo>
                  <a:lnTo>
                    <a:pt x="1180" y="1287"/>
                  </a:lnTo>
                  <a:lnTo>
                    <a:pt x="1185" y="1289"/>
                  </a:lnTo>
                  <a:lnTo>
                    <a:pt x="1190" y="1292"/>
                  </a:lnTo>
                  <a:lnTo>
                    <a:pt x="1198" y="1300"/>
                  </a:lnTo>
                  <a:lnTo>
                    <a:pt x="1204" y="1310"/>
                  </a:lnTo>
                  <a:lnTo>
                    <a:pt x="1209" y="1319"/>
                  </a:lnTo>
                  <a:lnTo>
                    <a:pt x="1216" y="1330"/>
                  </a:lnTo>
                  <a:lnTo>
                    <a:pt x="1223" y="1341"/>
                  </a:lnTo>
                  <a:lnTo>
                    <a:pt x="1233" y="1350"/>
                  </a:lnTo>
                  <a:lnTo>
                    <a:pt x="1244" y="1357"/>
                  </a:lnTo>
                  <a:lnTo>
                    <a:pt x="1255" y="1364"/>
                  </a:lnTo>
                  <a:lnTo>
                    <a:pt x="1266" y="1369"/>
                  </a:lnTo>
                  <a:lnTo>
                    <a:pt x="1276" y="1375"/>
                  </a:lnTo>
                  <a:lnTo>
                    <a:pt x="1287" y="1379"/>
                  </a:lnTo>
                  <a:lnTo>
                    <a:pt x="1297" y="1384"/>
                  </a:lnTo>
                  <a:lnTo>
                    <a:pt x="1308" y="1391"/>
                  </a:lnTo>
                  <a:lnTo>
                    <a:pt x="1318" y="1399"/>
                  </a:lnTo>
                  <a:lnTo>
                    <a:pt x="1323" y="1409"/>
                  </a:lnTo>
                  <a:lnTo>
                    <a:pt x="1328" y="1419"/>
                  </a:lnTo>
                  <a:lnTo>
                    <a:pt x="1333" y="1427"/>
                  </a:lnTo>
                  <a:lnTo>
                    <a:pt x="1337" y="1438"/>
                  </a:lnTo>
                  <a:lnTo>
                    <a:pt x="1341" y="1453"/>
                  </a:lnTo>
                  <a:lnTo>
                    <a:pt x="1343" y="1470"/>
                  </a:lnTo>
                  <a:lnTo>
                    <a:pt x="1347" y="1485"/>
                  </a:lnTo>
                  <a:lnTo>
                    <a:pt x="1350" y="1499"/>
                  </a:lnTo>
                  <a:lnTo>
                    <a:pt x="1353" y="1512"/>
                  </a:lnTo>
                  <a:lnTo>
                    <a:pt x="1356" y="1528"/>
                  </a:lnTo>
                  <a:lnTo>
                    <a:pt x="1358" y="1542"/>
                  </a:lnTo>
                  <a:lnTo>
                    <a:pt x="1361" y="1555"/>
                  </a:lnTo>
                  <a:lnTo>
                    <a:pt x="1363" y="1567"/>
                  </a:lnTo>
                  <a:lnTo>
                    <a:pt x="1366" y="1581"/>
                  </a:lnTo>
                  <a:lnTo>
                    <a:pt x="1367" y="1592"/>
                  </a:lnTo>
                  <a:lnTo>
                    <a:pt x="1368" y="1601"/>
                  </a:lnTo>
                  <a:lnTo>
                    <a:pt x="1368" y="1611"/>
                  </a:lnTo>
                  <a:lnTo>
                    <a:pt x="1370" y="1622"/>
                  </a:lnTo>
                  <a:lnTo>
                    <a:pt x="1374" y="1636"/>
                  </a:lnTo>
                  <a:lnTo>
                    <a:pt x="1377" y="1650"/>
                  </a:lnTo>
                  <a:lnTo>
                    <a:pt x="1374" y="1659"/>
                  </a:lnTo>
                  <a:lnTo>
                    <a:pt x="1369" y="1667"/>
                  </a:lnTo>
                  <a:lnTo>
                    <a:pt x="1364" y="1675"/>
                  </a:lnTo>
                  <a:lnTo>
                    <a:pt x="1360" y="1681"/>
                  </a:lnTo>
                  <a:lnTo>
                    <a:pt x="1354" y="1689"/>
                  </a:lnTo>
                  <a:lnTo>
                    <a:pt x="1351" y="1696"/>
                  </a:lnTo>
                  <a:lnTo>
                    <a:pt x="1349" y="1705"/>
                  </a:lnTo>
                  <a:lnTo>
                    <a:pt x="1348" y="1715"/>
                  </a:lnTo>
                  <a:lnTo>
                    <a:pt x="1348" y="1722"/>
                  </a:lnTo>
                  <a:lnTo>
                    <a:pt x="1349" y="1729"/>
                  </a:lnTo>
                  <a:lnTo>
                    <a:pt x="1350" y="1735"/>
                  </a:lnTo>
                  <a:lnTo>
                    <a:pt x="1352" y="1742"/>
                  </a:lnTo>
                  <a:lnTo>
                    <a:pt x="1356" y="1754"/>
                  </a:lnTo>
                  <a:lnTo>
                    <a:pt x="1362" y="1765"/>
                  </a:lnTo>
                  <a:lnTo>
                    <a:pt x="1368" y="1776"/>
                  </a:lnTo>
                  <a:lnTo>
                    <a:pt x="1375" y="1788"/>
                  </a:lnTo>
                  <a:lnTo>
                    <a:pt x="1381" y="1801"/>
                  </a:lnTo>
                  <a:lnTo>
                    <a:pt x="1387" y="1815"/>
                  </a:lnTo>
                  <a:lnTo>
                    <a:pt x="1392" y="1834"/>
                  </a:lnTo>
                  <a:lnTo>
                    <a:pt x="1396" y="1850"/>
                  </a:lnTo>
                  <a:lnTo>
                    <a:pt x="1398" y="1866"/>
                  </a:lnTo>
                  <a:lnTo>
                    <a:pt x="1399" y="1881"/>
                  </a:lnTo>
                  <a:lnTo>
                    <a:pt x="1401" y="1913"/>
                  </a:lnTo>
                  <a:lnTo>
                    <a:pt x="1401" y="1950"/>
                  </a:lnTo>
                  <a:lnTo>
                    <a:pt x="1399" y="1975"/>
                  </a:lnTo>
                  <a:lnTo>
                    <a:pt x="1397" y="1998"/>
                  </a:lnTo>
                  <a:lnTo>
                    <a:pt x="1395" y="2019"/>
                  </a:lnTo>
                  <a:lnTo>
                    <a:pt x="1392" y="2045"/>
                  </a:lnTo>
                  <a:lnTo>
                    <a:pt x="1399" y="2048"/>
                  </a:lnTo>
                  <a:lnTo>
                    <a:pt x="1406" y="2051"/>
                  </a:lnTo>
                  <a:lnTo>
                    <a:pt x="1421" y="2050"/>
                  </a:lnTo>
                  <a:lnTo>
                    <a:pt x="1433" y="2047"/>
                  </a:lnTo>
                  <a:lnTo>
                    <a:pt x="1445" y="2045"/>
                  </a:lnTo>
                  <a:lnTo>
                    <a:pt x="1457" y="2042"/>
                  </a:lnTo>
                  <a:lnTo>
                    <a:pt x="1469" y="2039"/>
                  </a:lnTo>
                  <a:lnTo>
                    <a:pt x="1480" y="2037"/>
                  </a:lnTo>
                  <a:lnTo>
                    <a:pt x="1493" y="2034"/>
                  </a:lnTo>
                  <a:lnTo>
                    <a:pt x="1507" y="2033"/>
                  </a:lnTo>
                  <a:lnTo>
                    <a:pt x="1522" y="2034"/>
                  </a:lnTo>
                  <a:lnTo>
                    <a:pt x="1534" y="2037"/>
                  </a:lnTo>
                  <a:lnTo>
                    <a:pt x="1545" y="2041"/>
                  </a:lnTo>
                  <a:lnTo>
                    <a:pt x="1556" y="2045"/>
                  </a:lnTo>
                  <a:lnTo>
                    <a:pt x="1579" y="2057"/>
                  </a:lnTo>
                  <a:lnTo>
                    <a:pt x="1603" y="2070"/>
                  </a:lnTo>
                  <a:lnTo>
                    <a:pt x="1631" y="2081"/>
                  </a:lnTo>
                  <a:lnTo>
                    <a:pt x="1658" y="2091"/>
                  </a:lnTo>
                  <a:lnTo>
                    <a:pt x="1664" y="2093"/>
                  </a:lnTo>
                  <a:lnTo>
                    <a:pt x="1670" y="2096"/>
                  </a:lnTo>
                  <a:lnTo>
                    <a:pt x="1675" y="2100"/>
                  </a:lnTo>
                  <a:lnTo>
                    <a:pt x="1678" y="2105"/>
                  </a:lnTo>
                  <a:lnTo>
                    <a:pt x="1682" y="2109"/>
                  </a:lnTo>
                  <a:lnTo>
                    <a:pt x="1685" y="2114"/>
                  </a:lnTo>
                  <a:lnTo>
                    <a:pt x="1686" y="2121"/>
                  </a:lnTo>
                  <a:lnTo>
                    <a:pt x="1687" y="2127"/>
                  </a:lnTo>
                  <a:lnTo>
                    <a:pt x="1686" y="2147"/>
                  </a:lnTo>
                  <a:lnTo>
                    <a:pt x="1682" y="2164"/>
                  </a:lnTo>
                  <a:lnTo>
                    <a:pt x="1679" y="2180"/>
                  </a:lnTo>
                  <a:lnTo>
                    <a:pt x="1675" y="2195"/>
                  </a:lnTo>
                  <a:lnTo>
                    <a:pt x="1670" y="2212"/>
                  </a:lnTo>
                  <a:lnTo>
                    <a:pt x="1665" y="2227"/>
                  </a:lnTo>
                  <a:lnTo>
                    <a:pt x="1661" y="2244"/>
                  </a:lnTo>
                  <a:lnTo>
                    <a:pt x="1659" y="2263"/>
                  </a:lnTo>
                  <a:lnTo>
                    <a:pt x="1671" y="2263"/>
                  </a:lnTo>
                  <a:lnTo>
                    <a:pt x="1682" y="2263"/>
                  </a:lnTo>
                  <a:lnTo>
                    <a:pt x="1693" y="2263"/>
                  </a:lnTo>
                  <a:lnTo>
                    <a:pt x="1705" y="2263"/>
                  </a:lnTo>
                  <a:lnTo>
                    <a:pt x="1719" y="2261"/>
                  </a:lnTo>
                  <a:lnTo>
                    <a:pt x="1733" y="2258"/>
                  </a:lnTo>
                  <a:lnTo>
                    <a:pt x="1749" y="2258"/>
                  </a:lnTo>
                  <a:lnTo>
                    <a:pt x="1763" y="2260"/>
                  </a:lnTo>
                  <a:lnTo>
                    <a:pt x="1778" y="2261"/>
                  </a:lnTo>
                  <a:lnTo>
                    <a:pt x="1794" y="2263"/>
                  </a:lnTo>
                  <a:lnTo>
                    <a:pt x="1796" y="2282"/>
                  </a:lnTo>
                  <a:lnTo>
                    <a:pt x="1800" y="2299"/>
                  </a:lnTo>
                  <a:lnTo>
                    <a:pt x="1805" y="2315"/>
                  </a:lnTo>
                  <a:lnTo>
                    <a:pt x="1810" y="2330"/>
                  </a:lnTo>
                  <a:lnTo>
                    <a:pt x="1822" y="2361"/>
                  </a:lnTo>
                  <a:lnTo>
                    <a:pt x="1836" y="2394"/>
                  </a:lnTo>
                  <a:lnTo>
                    <a:pt x="1836" y="2394"/>
                  </a:lnTo>
                  <a:lnTo>
                    <a:pt x="1842" y="2391"/>
                  </a:lnTo>
                  <a:lnTo>
                    <a:pt x="1848" y="2386"/>
                  </a:lnTo>
                  <a:lnTo>
                    <a:pt x="1853" y="2382"/>
                  </a:lnTo>
                  <a:lnTo>
                    <a:pt x="1857" y="2377"/>
                  </a:lnTo>
                  <a:lnTo>
                    <a:pt x="1862" y="2371"/>
                  </a:lnTo>
                  <a:lnTo>
                    <a:pt x="1864" y="2365"/>
                  </a:lnTo>
                  <a:lnTo>
                    <a:pt x="1865" y="2358"/>
                  </a:lnTo>
                  <a:lnTo>
                    <a:pt x="1866" y="2351"/>
                  </a:lnTo>
                  <a:lnTo>
                    <a:pt x="1866" y="2343"/>
                  </a:lnTo>
                  <a:lnTo>
                    <a:pt x="1865" y="2337"/>
                  </a:lnTo>
                  <a:lnTo>
                    <a:pt x="1864" y="2330"/>
                  </a:lnTo>
                  <a:lnTo>
                    <a:pt x="1862" y="2324"/>
                  </a:lnTo>
                  <a:lnTo>
                    <a:pt x="1857" y="2313"/>
                  </a:lnTo>
                  <a:lnTo>
                    <a:pt x="1852" y="2300"/>
                  </a:lnTo>
                  <a:lnTo>
                    <a:pt x="1861" y="2299"/>
                  </a:lnTo>
                  <a:lnTo>
                    <a:pt x="1867" y="2297"/>
                  </a:lnTo>
                  <a:lnTo>
                    <a:pt x="1875" y="2295"/>
                  </a:lnTo>
                  <a:lnTo>
                    <a:pt x="1881" y="2291"/>
                  </a:lnTo>
                  <a:lnTo>
                    <a:pt x="1892" y="2284"/>
                  </a:lnTo>
                  <a:lnTo>
                    <a:pt x="1903" y="2274"/>
                  </a:lnTo>
                  <a:lnTo>
                    <a:pt x="1913" y="2263"/>
                  </a:lnTo>
                  <a:lnTo>
                    <a:pt x="1922" y="2253"/>
                  </a:lnTo>
                  <a:lnTo>
                    <a:pt x="1934" y="2243"/>
                  </a:lnTo>
                  <a:lnTo>
                    <a:pt x="1947" y="2233"/>
                  </a:lnTo>
                  <a:lnTo>
                    <a:pt x="1978" y="2213"/>
                  </a:lnTo>
                  <a:lnTo>
                    <a:pt x="2008" y="2195"/>
                  </a:lnTo>
                  <a:lnTo>
                    <a:pt x="2033" y="2178"/>
                  </a:lnTo>
                  <a:lnTo>
                    <a:pt x="2059" y="2162"/>
                  </a:lnTo>
                  <a:lnTo>
                    <a:pt x="2086" y="2147"/>
                  </a:lnTo>
                  <a:lnTo>
                    <a:pt x="2113" y="2131"/>
                  </a:lnTo>
                  <a:lnTo>
                    <a:pt x="2143" y="2113"/>
                  </a:lnTo>
                  <a:lnTo>
                    <a:pt x="2174" y="2095"/>
                  </a:lnTo>
                  <a:lnTo>
                    <a:pt x="2193" y="2084"/>
                  </a:lnTo>
                  <a:lnTo>
                    <a:pt x="2212" y="2073"/>
                  </a:lnTo>
                  <a:lnTo>
                    <a:pt x="2228" y="2061"/>
                  </a:lnTo>
                  <a:lnTo>
                    <a:pt x="2243" y="2051"/>
                  </a:lnTo>
                  <a:lnTo>
                    <a:pt x="2273" y="2028"/>
                  </a:lnTo>
                  <a:lnTo>
                    <a:pt x="2301" y="2005"/>
                  </a:lnTo>
                  <a:lnTo>
                    <a:pt x="2329" y="1983"/>
                  </a:lnTo>
                  <a:lnTo>
                    <a:pt x="2360" y="1962"/>
                  </a:lnTo>
                  <a:lnTo>
                    <a:pt x="2376" y="1952"/>
                  </a:lnTo>
                  <a:lnTo>
                    <a:pt x="2393" y="1943"/>
                  </a:lnTo>
                  <a:lnTo>
                    <a:pt x="2412" y="1933"/>
                  </a:lnTo>
                  <a:lnTo>
                    <a:pt x="2432" y="1924"/>
                  </a:lnTo>
                  <a:lnTo>
                    <a:pt x="2444" y="1919"/>
                  </a:lnTo>
                  <a:lnTo>
                    <a:pt x="2454" y="1912"/>
                  </a:lnTo>
                  <a:lnTo>
                    <a:pt x="2462" y="1906"/>
                  </a:lnTo>
                  <a:lnTo>
                    <a:pt x="2471" y="1898"/>
                  </a:lnTo>
                  <a:lnTo>
                    <a:pt x="2478" y="1892"/>
                  </a:lnTo>
                  <a:lnTo>
                    <a:pt x="2488" y="1888"/>
                  </a:lnTo>
                  <a:lnTo>
                    <a:pt x="2494" y="1885"/>
                  </a:lnTo>
                  <a:lnTo>
                    <a:pt x="2499" y="1883"/>
                  </a:lnTo>
                  <a:lnTo>
                    <a:pt x="2504" y="1883"/>
                  </a:lnTo>
                  <a:lnTo>
                    <a:pt x="2511" y="1882"/>
                  </a:lnTo>
                  <a:lnTo>
                    <a:pt x="2520" y="1883"/>
                  </a:lnTo>
                  <a:lnTo>
                    <a:pt x="2527" y="1886"/>
                  </a:lnTo>
                  <a:lnTo>
                    <a:pt x="2536" y="1890"/>
                  </a:lnTo>
                  <a:lnTo>
                    <a:pt x="2544" y="1891"/>
                  </a:lnTo>
                  <a:lnTo>
                    <a:pt x="2553" y="1891"/>
                  </a:lnTo>
                  <a:lnTo>
                    <a:pt x="2561" y="1890"/>
                  </a:lnTo>
                  <a:lnTo>
                    <a:pt x="2568" y="1888"/>
                  </a:lnTo>
                  <a:lnTo>
                    <a:pt x="2576" y="1885"/>
                  </a:lnTo>
                  <a:lnTo>
                    <a:pt x="2589" y="1879"/>
                  </a:lnTo>
                  <a:lnTo>
                    <a:pt x="2601" y="1870"/>
                  </a:lnTo>
                  <a:lnTo>
                    <a:pt x="2624" y="1852"/>
                  </a:lnTo>
                  <a:lnTo>
                    <a:pt x="2651" y="1832"/>
                  </a:lnTo>
                  <a:lnTo>
                    <a:pt x="2664" y="1824"/>
                  </a:lnTo>
                  <a:lnTo>
                    <a:pt x="2676" y="1817"/>
                  </a:lnTo>
                  <a:lnTo>
                    <a:pt x="2689" y="1812"/>
                  </a:lnTo>
                  <a:lnTo>
                    <a:pt x="2701" y="1808"/>
                  </a:lnTo>
                  <a:lnTo>
                    <a:pt x="2714" y="1805"/>
                  </a:lnTo>
                  <a:lnTo>
                    <a:pt x="2727" y="1803"/>
                  </a:lnTo>
                  <a:lnTo>
                    <a:pt x="2741" y="1801"/>
                  </a:lnTo>
                  <a:lnTo>
                    <a:pt x="2756" y="1801"/>
                  </a:lnTo>
                  <a:lnTo>
                    <a:pt x="2764" y="1801"/>
                  </a:lnTo>
                  <a:lnTo>
                    <a:pt x="2770" y="1802"/>
                  </a:lnTo>
                  <a:lnTo>
                    <a:pt x="2777" y="1804"/>
                  </a:lnTo>
                  <a:lnTo>
                    <a:pt x="2783" y="1807"/>
                  </a:lnTo>
                  <a:lnTo>
                    <a:pt x="2794" y="1812"/>
                  </a:lnTo>
                  <a:lnTo>
                    <a:pt x="2805" y="1818"/>
                  </a:lnTo>
                  <a:lnTo>
                    <a:pt x="2815" y="1824"/>
                  </a:lnTo>
                  <a:lnTo>
                    <a:pt x="2827" y="1829"/>
                  </a:lnTo>
                  <a:lnTo>
                    <a:pt x="2834" y="1831"/>
                  </a:lnTo>
                  <a:lnTo>
                    <a:pt x="2840" y="1834"/>
                  </a:lnTo>
                  <a:lnTo>
                    <a:pt x="2847" y="1835"/>
                  </a:lnTo>
                  <a:lnTo>
                    <a:pt x="2854" y="1835"/>
                  </a:lnTo>
                  <a:lnTo>
                    <a:pt x="2873" y="1835"/>
                  </a:lnTo>
                  <a:lnTo>
                    <a:pt x="2889" y="1834"/>
                  </a:lnTo>
                  <a:lnTo>
                    <a:pt x="2898" y="1832"/>
                  </a:lnTo>
                  <a:lnTo>
                    <a:pt x="2905" y="1829"/>
                  </a:lnTo>
                  <a:lnTo>
                    <a:pt x="2913" y="1826"/>
                  </a:lnTo>
                  <a:lnTo>
                    <a:pt x="2920" y="1821"/>
                  </a:lnTo>
                  <a:lnTo>
                    <a:pt x="2927" y="1814"/>
                  </a:lnTo>
                  <a:lnTo>
                    <a:pt x="2932" y="1808"/>
                  </a:lnTo>
                  <a:lnTo>
                    <a:pt x="2936" y="1800"/>
                  </a:lnTo>
                  <a:lnTo>
                    <a:pt x="2940" y="1792"/>
                  </a:lnTo>
                  <a:lnTo>
                    <a:pt x="2944" y="1785"/>
                  </a:lnTo>
                  <a:lnTo>
                    <a:pt x="2947" y="1778"/>
                  </a:lnTo>
                  <a:lnTo>
                    <a:pt x="2953" y="1771"/>
                  </a:lnTo>
                  <a:lnTo>
                    <a:pt x="2959" y="1764"/>
                  </a:lnTo>
                  <a:lnTo>
                    <a:pt x="2971" y="1755"/>
                  </a:lnTo>
                  <a:lnTo>
                    <a:pt x="2984" y="1746"/>
                  </a:lnTo>
                  <a:lnTo>
                    <a:pt x="2996" y="1740"/>
                  </a:lnTo>
                  <a:lnTo>
                    <a:pt x="3008" y="1734"/>
                  </a:lnTo>
                  <a:lnTo>
                    <a:pt x="3020" y="1730"/>
                  </a:lnTo>
                  <a:lnTo>
                    <a:pt x="3033" y="1727"/>
                  </a:lnTo>
                  <a:lnTo>
                    <a:pt x="3048" y="1723"/>
                  </a:lnTo>
                  <a:lnTo>
                    <a:pt x="3063" y="1720"/>
                  </a:lnTo>
                  <a:lnTo>
                    <a:pt x="3076" y="1714"/>
                  </a:lnTo>
                  <a:lnTo>
                    <a:pt x="3089" y="1708"/>
                  </a:lnTo>
                  <a:lnTo>
                    <a:pt x="3103" y="1708"/>
                  </a:lnTo>
                  <a:lnTo>
                    <a:pt x="3116" y="1708"/>
                  </a:lnTo>
                  <a:lnTo>
                    <a:pt x="3129" y="1708"/>
                  </a:lnTo>
                  <a:lnTo>
                    <a:pt x="3144" y="1708"/>
                  </a:lnTo>
                  <a:lnTo>
                    <a:pt x="3148" y="1708"/>
                  </a:lnTo>
                  <a:lnTo>
                    <a:pt x="3152" y="1709"/>
                  </a:lnTo>
                  <a:lnTo>
                    <a:pt x="3152" y="1709"/>
                  </a:lnTo>
                  <a:lnTo>
                    <a:pt x="3151" y="1704"/>
                  </a:lnTo>
                  <a:lnTo>
                    <a:pt x="3149" y="1700"/>
                  </a:lnTo>
                  <a:lnTo>
                    <a:pt x="3150" y="1689"/>
                  </a:lnTo>
                  <a:lnTo>
                    <a:pt x="3151" y="1679"/>
                  </a:lnTo>
                  <a:lnTo>
                    <a:pt x="3154" y="1669"/>
                  </a:lnTo>
                  <a:lnTo>
                    <a:pt x="3156" y="1661"/>
                  </a:lnTo>
                  <a:lnTo>
                    <a:pt x="3160" y="1642"/>
                  </a:lnTo>
                  <a:lnTo>
                    <a:pt x="3163" y="1622"/>
                  </a:lnTo>
                  <a:lnTo>
                    <a:pt x="3166" y="1602"/>
                  </a:lnTo>
                  <a:lnTo>
                    <a:pt x="3170" y="1585"/>
                  </a:lnTo>
                  <a:lnTo>
                    <a:pt x="3173" y="1578"/>
                  </a:lnTo>
                  <a:lnTo>
                    <a:pt x="3176" y="1570"/>
                  </a:lnTo>
                  <a:lnTo>
                    <a:pt x="3182" y="1564"/>
                  </a:lnTo>
                  <a:lnTo>
                    <a:pt x="3189" y="1557"/>
                  </a:lnTo>
                  <a:lnTo>
                    <a:pt x="3201" y="1548"/>
                  </a:lnTo>
                  <a:lnTo>
                    <a:pt x="3213" y="1540"/>
                  </a:lnTo>
                  <a:lnTo>
                    <a:pt x="3226" y="1533"/>
                  </a:lnTo>
                  <a:lnTo>
                    <a:pt x="3238" y="1526"/>
                  </a:lnTo>
                  <a:lnTo>
                    <a:pt x="3250" y="1520"/>
                  </a:lnTo>
                  <a:lnTo>
                    <a:pt x="3260" y="1515"/>
                  </a:lnTo>
                  <a:lnTo>
                    <a:pt x="3273" y="1511"/>
                  </a:lnTo>
                  <a:lnTo>
                    <a:pt x="3285" y="1506"/>
                  </a:lnTo>
                  <a:lnTo>
                    <a:pt x="3297" y="1503"/>
                  </a:lnTo>
                  <a:lnTo>
                    <a:pt x="3310" y="1500"/>
                  </a:lnTo>
                  <a:lnTo>
                    <a:pt x="3323" y="1498"/>
                  </a:lnTo>
                  <a:lnTo>
                    <a:pt x="3336" y="1495"/>
                  </a:lnTo>
                  <a:lnTo>
                    <a:pt x="3363" y="1493"/>
                  </a:lnTo>
                  <a:lnTo>
                    <a:pt x="3393" y="1493"/>
                  </a:lnTo>
                  <a:lnTo>
                    <a:pt x="3393" y="1478"/>
                  </a:lnTo>
                  <a:lnTo>
                    <a:pt x="3393" y="1464"/>
                  </a:lnTo>
                  <a:lnTo>
                    <a:pt x="3393" y="1459"/>
                  </a:lnTo>
                  <a:lnTo>
                    <a:pt x="3391" y="1454"/>
                  </a:lnTo>
                  <a:lnTo>
                    <a:pt x="3389" y="1451"/>
                  </a:lnTo>
                  <a:lnTo>
                    <a:pt x="3386" y="1447"/>
                  </a:lnTo>
                  <a:lnTo>
                    <a:pt x="3379" y="1440"/>
                  </a:lnTo>
                  <a:lnTo>
                    <a:pt x="3372" y="1434"/>
                  </a:lnTo>
                  <a:lnTo>
                    <a:pt x="3364" y="1426"/>
                  </a:lnTo>
                  <a:lnTo>
                    <a:pt x="3358" y="1419"/>
                  </a:lnTo>
                  <a:lnTo>
                    <a:pt x="3353" y="1416"/>
                  </a:lnTo>
                  <a:lnTo>
                    <a:pt x="3349" y="1413"/>
                  </a:lnTo>
                  <a:lnTo>
                    <a:pt x="3345" y="1412"/>
                  </a:lnTo>
                  <a:lnTo>
                    <a:pt x="3339" y="1411"/>
                  </a:lnTo>
                  <a:lnTo>
                    <a:pt x="3325" y="1411"/>
                  </a:lnTo>
                  <a:lnTo>
                    <a:pt x="3312" y="1411"/>
                  </a:lnTo>
                  <a:lnTo>
                    <a:pt x="3299" y="1411"/>
                  </a:lnTo>
                  <a:lnTo>
                    <a:pt x="3285" y="1411"/>
                  </a:lnTo>
                  <a:lnTo>
                    <a:pt x="3258" y="1412"/>
                  </a:lnTo>
                  <a:lnTo>
                    <a:pt x="3231" y="1411"/>
                  </a:lnTo>
                  <a:lnTo>
                    <a:pt x="3226" y="1410"/>
                  </a:lnTo>
                  <a:lnTo>
                    <a:pt x="3220" y="1408"/>
                  </a:lnTo>
                  <a:lnTo>
                    <a:pt x="3215" y="1406"/>
                  </a:lnTo>
                  <a:lnTo>
                    <a:pt x="3211" y="1404"/>
                  </a:lnTo>
                  <a:lnTo>
                    <a:pt x="3208" y="1399"/>
                  </a:lnTo>
                  <a:lnTo>
                    <a:pt x="3205" y="1396"/>
                  </a:lnTo>
                  <a:lnTo>
                    <a:pt x="3203" y="1391"/>
                  </a:lnTo>
                  <a:lnTo>
                    <a:pt x="3203" y="1385"/>
                  </a:lnTo>
                  <a:lnTo>
                    <a:pt x="3203" y="1371"/>
                  </a:lnTo>
                  <a:lnTo>
                    <a:pt x="3204" y="1358"/>
                  </a:lnTo>
                  <a:lnTo>
                    <a:pt x="3206" y="1346"/>
                  </a:lnTo>
                  <a:lnTo>
                    <a:pt x="3210" y="1335"/>
                  </a:lnTo>
                  <a:lnTo>
                    <a:pt x="3213" y="1323"/>
                  </a:lnTo>
                  <a:lnTo>
                    <a:pt x="3218" y="1311"/>
                  </a:lnTo>
                  <a:lnTo>
                    <a:pt x="3224" y="1300"/>
                  </a:lnTo>
                  <a:lnTo>
                    <a:pt x="3231" y="1288"/>
                  </a:lnTo>
                  <a:lnTo>
                    <a:pt x="3231" y="1288"/>
                  </a:lnTo>
                  <a:lnTo>
                    <a:pt x="3216" y="1288"/>
                  </a:lnTo>
                  <a:lnTo>
                    <a:pt x="3201" y="1286"/>
                  </a:lnTo>
                  <a:lnTo>
                    <a:pt x="3188" y="1284"/>
                  </a:lnTo>
                  <a:lnTo>
                    <a:pt x="3175" y="1282"/>
                  </a:lnTo>
                  <a:lnTo>
                    <a:pt x="3161" y="1278"/>
                  </a:lnTo>
                  <a:lnTo>
                    <a:pt x="3148" y="1276"/>
                  </a:lnTo>
                  <a:lnTo>
                    <a:pt x="3133" y="1275"/>
                  </a:lnTo>
                  <a:lnTo>
                    <a:pt x="3118" y="1274"/>
                  </a:lnTo>
                  <a:lnTo>
                    <a:pt x="3097" y="1274"/>
                  </a:lnTo>
                  <a:lnTo>
                    <a:pt x="3080" y="1274"/>
                  </a:lnTo>
                  <a:lnTo>
                    <a:pt x="3062" y="1274"/>
                  </a:lnTo>
                  <a:lnTo>
                    <a:pt x="3041" y="1274"/>
                  </a:lnTo>
                  <a:lnTo>
                    <a:pt x="3031" y="1275"/>
                  </a:lnTo>
                  <a:lnTo>
                    <a:pt x="3022" y="1276"/>
                  </a:lnTo>
                  <a:lnTo>
                    <a:pt x="3012" y="1278"/>
                  </a:lnTo>
                  <a:lnTo>
                    <a:pt x="3003" y="1281"/>
                  </a:lnTo>
                  <a:lnTo>
                    <a:pt x="2987" y="1287"/>
                  </a:lnTo>
                  <a:lnTo>
                    <a:pt x="2972" y="1294"/>
                  </a:lnTo>
                  <a:lnTo>
                    <a:pt x="2957" y="1301"/>
                  </a:lnTo>
                  <a:lnTo>
                    <a:pt x="2941" y="1308"/>
                  </a:lnTo>
                  <a:lnTo>
                    <a:pt x="2932" y="1310"/>
                  </a:lnTo>
                  <a:lnTo>
                    <a:pt x="2922" y="1312"/>
                  </a:lnTo>
                  <a:lnTo>
                    <a:pt x="2914" y="1313"/>
                  </a:lnTo>
                  <a:lnTo>
                    <a:pt x="2903" y="1313"/>
                  </a:lnTo>
                  <a:lnTo>
                    <a:pt x="2890" y="1314"/>
                  </a:lnTo>
                  <a:lnTo>
                    <a:pt x="2878" y="1313"/>
                  </a:lnTo>
                  <a:lnTo>
                    <a:pt x="2873" y="1312"/>
                  </a:lnTo>
                  <a:lnTo>
                    <a:pt x="2867" y="1311"/>
                  </a:lnTo>
                  <a:lnTo>
                    <a:pt x="2861" y="1309"/>
                  </a:lnTo>
                  <a:lnTo>
                    <a:pt x="2855" y="1305"/>
                  </a:lnTo>
                  <a:lnTo>
                    <a:pt x="2850" y="1300"/>
                  </a:lnTo>
                  <a:lnTo>
                    <a:pt x="2847" y="1294"/>
                  </a:lnTo>
                  <a:lnTo>
                    <a:pt x="2845" y="1290"/>
                  </a:lnTo>
                  <a:lnTo>
                    <a:pt x="2842" y="1288"/>
                  </a:lnTo>
                  <a:lnTo>
                    <a:pt x="2839" y="1286"/>
                  </a:lnTo>
                  <a:lnTo>
                    <a:pt x="2836" y="1286"/>
                  </a:lnTo>
                  <a:lnTo>
                    <a:pt x="2831" y="1286"/>
                  </a:lnTo>
                  <a:lnTo>
                    <a:pt x="2825" y="1287"/>
                  </a:lnTo>
                  <a:lnTo>
                    <a:pt x="2820" y="1288"/>
                  </a:lnTo>
                  <a:lnTo>
                    <a:pt x="2815" y="1290"/>
                  </a:lnTo>
                  <a:lnTo>
                    <a:pt x="2808" y="1296"/>
                  </a:lnTo>
                  <a:lnTo>
                    <a:pt x="2801" y="1303"/>
                  </a:lnTo>
                  <a:lnTo>
                    <a:pt x="2795" y="1312"/>
                  </a:lnTo>
                  <a:lnTo>
                    <a:pt x="2790" y="1321"/>
                  </a:lnTo>
                  <a:lnTo>
                    <a:pt x="2784" y="1331"/>
                  </a:lnTo>
                  <a:lnTo>
                    <a:pt x="2780" y="1341"/>
                  </a:lnTo>
                  <a:lnTo>
                    <a:pt x="2776" y="1352"/>
                  </a:lnTo>
                  <a:lnTo>
                    <a:pt x="2770" y="1362"/>
                  </a:lnTo>
                  <a:lnTo>
                    <a:pt x="2765" y="1371"/>
                  </a:lnTo>
                  <a:lnTo>
                    <a:pt x="2758" y="1380"/>
                  </a:lnTo>
                  <a:lnTo>
                    <a:pt x="2752" y="1387"/>
                  </a:lnTo>
                  <a:lnTo>
                    <a:pt x="2744" y="1393"/>
                  </a:lnTo>
                  <a:lnTo>
                    <a:pt x="2739" y="1395"/>
                  </a:lnTo>
                  <a:lnTo>
                    <a:pt x="2734" y="1396"/>
                  </a:lnTo>
                  <a:lnTo>
                    <a:pt x="2729" y="1397"/>
                  </a:lnTo>
                  <a:lnTo>
                    <a:pt x="2724" y="1397"/>
                  </a:lnTo>
                  <a:lnTo>
                    <a:pt x="2700" y="1397"/>
                  </a:lnTo>
                  <a:lnTo>
                    <a:pt x="2676" y="1395"/>
                  </a:lnTo>
                  <a:lnTo>
                    <a:pt x="2664" y="1393"/>
                  </a:lnTo>
                  <a:lnTo>
                    <a:pt x="2652" y="1390"/>
                  </a:lnTo>
                  <a:lnTo>
                    <a:pt x="2642" y="1387"/>
                  </a:lnTo>
                  <a:lnTo>
                    <a:pt x="2631" y="1383"/>
                  </a:lnTo>
                  <a:lnTo>
                    <a:pt x="2621" y="1379"/>
                  </a:lnTo>
                  <a:lnTo>
                    <a:pt x="2611" y="1373"/>
                  </a:lnTo>
                  <a:lnTo>
                    <a:pt x="2604" y="1367"/>
                  </a:lnTo>
                  <a:lnTo>
                    <a:pt x="2597" y="1360"/>
                  </a:lnTo>
                  <a:lnTo>
                    <a:pt x="2591" y="1353"/>
                  </a:lnTo>
                  <a:lnTo>
                    <a:pt x="2588" y="1343"/>
                  </a:lnTo>
                  <a:lnTo>
                    <a:pt x="2584" y="1333"/>
                  </a:lnTo>
                  <a:lnTo>
                    <a:pt x="2583" y="1323"/>
                  </a:lnTo>
                  <a:lnTo>
                    <a:pt x="2583" y="1304"/>
                  </a:lnTo>
                  <a:lnTo>
                    <a:pt x="2583" y="1288"/>
                  </a:lnTo>
                  <a:lnTo>
                    <a:pt x="2583" y="1272"/>
                  </a:lnTo>
                  <a:lnTo>
                    <a:pt x="2583" y="1254"/>
                  </a:lnTo>
                  <a:lnTo>
                    <a:pt x="2583" y="1243"/>
                  </a:lnTo>
                  <a:lnTo>
                    <a:pt x="2582" y="1233"/>
                  </a:lnTo>
                  <a:lnTo>
                    <a:pt x="2580" y="1223"/>
                  </a:lnTo>
                  <a:lnTo>
                    <a:pt x="2577" y="1215"/>
                  </a:lnTo>
                  <a:lnTo>
                    <a:pt x="2572" y="1206"/>
                  </a:lnTo>
                  <a:lnTo>
                    <a:pt x="2568" y="1198"/>
                  </a:lnTo>
                  <a:lnTo>
                    <a:pt x="2561" y="1191"/>
                  </a:lnTo>
                  <a:lnTo>
                    <a:pt x="2553" y="1184"/>
                  </a:lnTo>
                  <a:lnTo>
                    <a:pt x="2537" y="1175"/>
                  </a:lnTo>
                  <a:lnTo>
                    <a:pt x="2521" y="1167"/>
                  </a:lnTo>
                  <a:lnTo>
                    <a:pt x="2514" y="1163"/>
                  </a:lnTo>
                  <a:lnTo>
                    <a:pt x="2508" y="1157"/>
                  </a:lnTo>
                  <a:lnTo>
                    <a:pt x="2502" y="1151"/>
                  </a:lnTo>
                  <a:lnTo>
                    <a:pt x="2497" y="1142"/>
                  </a:lnTo>
                  <a:lnTo>
                    <a:pt x="2606" y="868"/>
                  </a:lnTo>
                  <a:lnTo>
                    <a:pt x="2603" y="840"/>
                  </a:lnTo>
                  <a:lnTo>
                    <a:pt x="2599" y="815"/>
                  </a:lnTo>
                  <a:lnTo>
                    <a:pt x="2597" y="803"/>
                  </a:lnTo>
                  <a:lnTo>
                    <a:pt x="2593" y="792"/>
                  </a:lnTo>
                  <a:lnTo>
                    <a:pt x="2586" y="781"/>
                  </a:lnTo>
                  <a:lnTo>
                    <a:pt x="2578" y="770"/>
                  </a:lnTo>
                  <a:lnTo>
                    <a:pt x="2572" y="764"/>
                  </a:lnTo>
                  <a:lnTo>
                    <a:pt x="2567" y="760"/>
                  </a:lnTo>
                  <a:lnTo>
                    <a:pt x="2561" y="756"/>
                  </a:lnTo>
                  <a:lnTo>
                    <a:pt x="2555" y="754"/>
                  </a:lnTo>
                  <a:lnTo>
                    <a:pt x="2549" y="751"/>
                  </a:lnTo>
                  <a:lnTo>
                    <a:pt x="2542" y="750"/>
                  </a:lnTo>
                  <a:lnTo>
                    <a:pt x="2536" y="749"/>
                  </a:lnTo>
                  <a:lnTo>
                    <a:pt x="2528" y="748"/>
                  </a:lnTo>
                  <a:lnTo>
                    <a:pt x="2500" y="749"/>
                  </a:lnTo>
                  <a:lnTo>
                    <a:pt x="2469" y="747"/>
                  </a:lnTo>
                  <a:lnTo>
                    <a:pt x="2461" y="746"/>
                  </a:lnTo>
                  <a:lnTo>
                    <a:pt x="2454" y="744"/>
                  </a:lnTo>
                  <a:lnTo>
                    <a:pt x="2447" y="742"/>
                  </a:lnTo>
                  <a:lnTo>
                    <a:pt x="2441" y="738"/>
                  </a:lnTo>
                  <a:lnTo>
                    <a:pt x="2434" y="734"/>
                  </a:lnTo>
                  <a:lnTo>
                    <a:pt x="2429" y="731"/>
                  </a:lnTo>
                  <a:lnTo>
                    <a:pt x="2423" y="725"/>
                  </a:lnTo>
                  <a:lnTo>
                    <a:pt x="2419" y="721"/>
                  </a:lnTo>
                  <a:lnTo>
                    <a:pt x="2410" y="709"/>
                  </a:lnTo>
                  <a:lnTo>
                    <a:pt x="2402" y="697"/>
                  </a:lnTo>
                  <a:lnTo>
                    <a:pt x="2394" y="683"/>
                  </a:lnTo>
                  <a:lnTo>
                    <a:pt x="2388" y="669"/>
                  </a:lnTo>
                  <a:lnTo>
                    <a:pt x="2379" y="638"/>
                  </a:lnTo>
                  <a:lnTo>
                    <a:pt x="2373" y="609"/>
                  </a:lnTo>
                  <a:lnTo>
                    <a:pt x="2369" y="595"/>
                  </a:lnTo>
                  <a:lnTo>
                    <a:pt x="2367" y="581"/>
                  </a:lnTo>
                  <a:lnTo>
                    <a:pt x="2365" y="565"/>
                  </a:lnTo>
                  <a:lnTo>
                    <a:pt x="2365" y="548"/>
                  </a:lnTo>
                  <a:lnTo>
                    <a:pt x="2366" y="528"/>
                  </a:lnTo>
                  <a:lnTo>
                    <a:pt x="2368" y="509"/>
                  </a:lnTo>
                  <a:lnTo>
                    <a:pt x="2372" y="492"/>
                  </a:lnTo>
                  <a:lnTo>
                    <a:pt x="2376" y="476"/>
                  </a:lnTo>
                  <a:lnTo>
                    <a:pt x="2380" y="459"/>
                  </a:lnTo>
                  <a:lnTo>
                    <a:pt x="2383" y="441"/>
                  </a:lnTo>
                  <a:lnTo>
                    <a:pt x="2387" y="423"/>
                  </a:lnTo>
                  <a:lnTo>
                    <a:pt x="2388" y="403"/>
                  </a:lnTo>
                  <a:lnTo>
                    <a:pt x="2387" y="396"/>
                  </a:lnTo>
                  <a:lnTo>
                    <a:pt x="2386" y="390"/>
                  </a:lnTo>
                  <a:lnTo>
                    <a:pt x="2383" y="384"/>
                  </a:lnTo>
                  <a:lnTo>
                    <a:pt x="2380" y="379"/>
                  </a:lnTo>
                  <a:lnTo>
                    <a:pt x="2378" y="374"/>
                  </a:lnTo>
                  <a:lnTo>
                    <a:pt x="2376" y="368"/>
                  </a:lnTo>
                  <a:lnTo>
                    <a:pt x="2374" y="363"/>
                  </a:lnTo>
                  <a:lnTo>
                    <a:pt x="2374" y="356"/>
                  </a:lnTo>
                  <a:lnTo>
                    <a:pt x="2374" y="337"/>
                  </a:lnTo>
                  <a:lnTo>
                    <a:pt x="2374" y="320"/>
                  </a:lnTo>
                  <a:lnTo>
                    <a:pt x="2374" y="303"/>
                  </a:lnTo>
                  <a:lnTo>
                    <a:pt x="2374" y="285"/>
                  </a:lnTo>
                  <a:lnTo>
                    <a:pt x="2373" y="274"/>
                  </a:lnTo>
                  <a:lnTo>
                    <a:pt x="2372" y="263"/>
                  </a:lnTo>
                  <a:lnTo>
                    <a:pt x="2369" y="252"/>
                  </a:lnTo>
                  <a:lnTo>
                    <a:pt x="2366" y="243"/>
                  </a:lnTo>
                  <a:lnTo>
                    <a:pt x="2363" y="233"/>
                  </a:lnTo>
                  <a:lnTo>
                    <a:pt x="2359" y="224"/>
                  </a:lnTo>
                  <a:lnTo>
                    <a:pt x="2353" y="215"/>
                  </a:lnTo>
                  <a:lnTo>
                    <a:pt x="2348" y="207"/>
                  </a:lnTo>
                  <a:lnTo>
                    <a:pt x="2340" y="199"/>
                  </a:lnTo>
                  <a:lnTo>
                    <a:pt x="2334" y="193"/>
                  </a:lnTo>
                  <a:lnTo>
                    <a:pt x="2326" y="188"/>
                  </a:lnTo>
                  <a:lnTo>
                    <a:pt x="2318" y="182"/>
                  </a:lnTo>
                  <a:lnTo>
                    <a:pt x="2308" y="178"/>
                  </a:lnTo>
                  <a:lnTo>
                    <a:pt x="2299" y="176"/>
                  </a:lnTo>
                  <a:lnTo>
                    <a:pt x="2288" y="174"/>
                  </a:lnTo>
                  <a:lnTo>
                    <a:pt x="2278" y="172"/>
                  </a:lnTo>
                  <a:lnTo>
                    <a:pt x="2266" y="174"/>
                  </a:lnTo>
                  <a:lnTo>
                    <a:pt x="2255" y="175"/>
                  </a:lnTo>
                  <a:lnTo>
                    <a:pt x="2245" y="177"/>
                  </a:lnTo>
                  <a:lnTo>
                    <a:pt x="2235" y="179"/>
                  </a:lnTo>
                  <a:lnTo>
                    <a:pt x="2226" y="180"/>
                  </a:lnTo>
                  <a:lnTo>
                    <a:pt x="2215" y="182"/>
                  </a:lnTo>
                  <a:lnTo>
                    <a:pt x="2204" y="183"/>
                  </a:lnTo>
                  <a:lnTo>
                    <a:pt x="2192" y="184"/>
                  </a:lnTo>
                  <a:lnTo>
                    <a:pt x="2186" y="183"/>
                  </a:lnTo>
                  <a:lnTo>
                    <a:pt x="2179" y="182"/>
                  </a:lnTo>
                  <a:lnTo>
                    <a:pt x="2173" y="180"/>
                  </a:lnTo>
                  <a:lnTo>
                    <a:pt x="2166" y="179"/>
                  </a:lnTo>
                  <a:lnTo>
                    <a:pt x="2161" y="177"/>
                  </a:lnTo>
                  <a:lnTo>
                    <a:pt x="2154" y="175"/>
                  </a:lnTo>
                  <a:lnTo>
                    <a:pt x="2148" y="174"/>
                  </a:lnTo>
                  <a:lnTo>
                    <a:pt x="2140" y="172"/>
                  </a:lnTo>
                  <a:lnTo>
                    <a:pt x="2134" y="174"/>
                  </a:lnTo>
                  <a:lnTo>
                    <a:pt x="2127" y="175"/>
                  </a:lnTo>
                  <a:lnTo>
                    <a:pt x="2122" y="177"/>
                  </a:lnTo>
                  <a:lnTo>
                    <a:pt x="2116" y="179"/>
                  </a:lnTo>
                  <a:lnTo>
                    <a:pt x="2106" y="185"/>
                  </a:lnTo>
                  <a:lnTo>
                    <a:pt x="2096" y="193"/>
                  </a:lnTo>
                  <a:lnTo>
                    <a:pt x="2086" y="199"/>
                  </a:lnTo>
                  <a:lnTo>
                    <a:pt x="2076" y="206"/>
                  </a:lnTo>
                  <a:lnTo>
                    <a:pt x="2070" y="208"/>
                  </a:lnTo>
                  <a:lnTo>
                    <a:pt x="2064" y="210"/>
                  </a:lnTo>
                  <a:lnTo>
                    <a:pt x="2058" y="211"/>
                  </a:lnTo>
                  <a:lnTo>
                    <a:pt x="2051" y="212"/>
                  </a:lnTo>
                  <a:lnTo>
                    <a:pt x="2039" y="211"/>
                  </a:lnTo>
                  <a:lnTo>
                    <a:pt x="2028" y="210"/>
                  </a:lnTo>
                  <a:lnTo>
                    <a:pt x="2017" y="208"/>
                  </a:lnTo>
                  <a:lnTo>
                    <a:pt x="2008" y="207"/>
                  </a:lnTo>
                  <a:lnTo>
                    <a:pt x="1998" y="205"/>
                  </a:lnTo>
                  <a:lnTo>
                    <a:pt x="1987" y="203"/>
                  </a:lnTo>
                  <a:lnTo>
                    <a:pt x="1976" y="202"/>
                  </a:lnTo>
                  <a:lnTo>
                    <a:pt x="1964" y="201"/>
                  </a:lnTo>
                  <a:lnTo>
                    <a:pt x="1927" y="202"/>
                  </a:lnTo>
                  <a:lnTo>
                    <a:pt x="1893" y="205"/>
                  </a:lnTo>
                  <a:lnTo>
                    <a:pt x="1876" y="207"/>
                  </a:lnTo>
                  <a:lnTo>
                    <a:pt x="1861" y="210"/>
                  </a:lnTo>
                  <a:lnTo>
                    <a:pt x="1846" y="214"/>
                  </a:lnTo>
                  <a:lnTo>
                    <a:pt x="1830" y="217"/>
                  </a:lnTo>
                  <a:lnTo>
                    <a:pt x="1815" y="222"/>
                  </a:lnTo>
                  <a:lnTo>
                    <a:pt x="1800" y="228"/>
                  </a:lnTo>
                  <a:lnTo>
                    <a:pt x="1785" y="233"/>
                  </a:lnTo>
                  <a:lnTo>
                    <a:pt x="1770" y="239"/>
                  </a:lnTo>
                  <a:lnTo>
                    <a:pt x="1739" y="256"/>
                  </a:lnTo>
                  <a:lnTo>
                    <a:pt x="1706" y="274"/>
                  </a:lnTo>
                  <a:lnTo>
                    <a:pt x="1702" y="264"/>
                  </a:lnTo>
                  <a:lnTo>
                    <a:pt x="1699" y="253"/>
                  </a:lnTo>
                  <a:lnTo>
                    <a:pt x="1693" y="245"/>
                  </a:lnTo>
                  <a:lnTo>
                    <a:pt x="1688" y="236"/>
                  </a:lnTo>
                  <a:lnTo>
                    <a:pt x="1682" y="229"/>
                  </a:lnTo>
                  <a:lnTo>
                    <a:pt x="1675" y="223"/>
                  </a:lnTo>
                  <a:lnTo>
                    <a:pt x="1671" y="221"/>
                  </a:lnTo>
                  <a:lnTo>
                    <a:pt x="1666" y="219"/>
                  </a:lnTo>
                  <a:lnTo>
                    <a:pt x="1661" y="218"/>
                  </a:lnTo>
                  <a:lnTo>
                    <a:pt x="1655" y="218"/>
                  </a:lnTo>
                  <a:lnTo>
                    <a:pt x="1650" y="218"/>
                  </a:lnTo>
                  <a:lnTo>
                    <a:pt x="1646" y="219"/>
                  </a:lnTo>
                  <a:lnTo>
                    <a:pt x="1641" y="221"/>
                  </a:lnTo>
                  <a:lnTo>
                    <a:pt x="1637" y="223"/>
                  </a:lnTo>
                  <a:lnTo>
                    <a:pt x="1630" y="230"/>
                  </a:lnTo>
                  <a:lnTo>
                    <a:pt x="1622" y="236"/>
                  </a:lnTo>
                  <a:lnTo>
                    <a:pt x="1616" y="243"/>
                  </a:lnTo>
                  <a:lnTo>
                    <a:pt x="1608" y="248"/>
                  </a:lnTo>
                  <a:lnTo>
                    <a:pt x="1604" y="251"/>
                  </a:lnTo>
                  <a:lnTo>
                    <a:pt x="1599" y="252"/>
                  </a:lnTo>
                  <a:lnTo>
                    <a:pt x="1594" y="253"/>
                  </a:lnTo>
                  <a:lnTo>
                    <a:pt x="1589" y="255"/>
                  </a:lnTo>
                  <a:lnTo>
                    <a:pt x="1583" y="253"/>
                  </a:lnTo>
                  <a:lnTo>
                    <a:pt x="1580" y="251"/>
                  </a:lnTo>
                  <a:lnTo>
                    <a:pt x="1576" y="248"/>
                  </a:lnTo>
                  <a:lnTo>
                    <a:pt x="1573" y="245"/>
                  </a:lnTo>
                  <a:lnTo>
                    <a:pt x="1568" y="235"/>
                  </a:lnTo>
                  <a:lnTo>
                    <a:pt x="1564" y="226"/>
                  </a:lnTo>
                  <a:lnTo>
                    <a:pt x="1558" y="219"/>
                  </a:lnTo>
                  <a:lnTo>
                    <a:pt x="1553" y="212"/>
                  </a:lnTo>
                  <a:lnTo>
                    <a:pt x="1551" y="210"/>
                  </a:lnTo>
                  <a:lnTo>
                    <a:pt x="1549" y="206"/>
                  </a:lnTo>
                  <a:lnTo>
                    <a:pt x="1547" y="203"/>
                  </a:lnTo>
                  <a:lnTo>
                    <a:pt x="1546" y="198"/>
                  </a:lnTo>
                  <a:lnTo>
                    <a:pt x="1547" y="187"/>
                  </a:lnTo>
                  <a:lnTo>
                    <a:pt x="1549" y="177"/>
                  </a:lnTo>
                  <a:lnTo>
                    <a:pt x="1551" y="167"/>
                  </a:lnTo>
                  <a:lnTo>
                    <a:pt x="1554" y="157"/>
                  </a:lnTo>
                  <a:lnTo>
                    <a:pt x="1556" y="149"/>
                  </a:lnTo>
                  <a:lnTo>
                    <a:pt x="1558" y="139"/>
                  </a:lnTo>
                  <a:lnTo>
                    <a:pt x="1560" y="128"/>
                  </a:lnTo>
                  <a:lnTo>
                    <a:pt x="1560" y="116"/>
                  </a:lnTo>
                  <a:lnTo>
                    <a:pt x="1560" y="109"/>
                  </a:lnTo>
                  <a:lnTo>
                    <a:pt x="1558" y="100"/>
                  </a:lnTo>
                  <a:lnTo>
                    <a:pt x="1555" y="91"/>
                  </a:lnTo>
                  <a:lnTo>
                    <a:pt x="1552" y="84"/>
                  </a:lnTo>
                  <a:lnTo>
                    <a:pt x="1546" y="77"/>
                  </a:lnTo>
                  <a:lnTo>
                    <a:pt x="1541" y="71"/>
                  </a:lnTo>
                  <a:lnTo>
                    <a:pt x="1534" y="66"/>
                  </a:lnTo>
                  <a:lnTo>
                    <a:pt x="1527" y="61"/>
                  </a:lnTo>
                  <a:lnTo>
                    <a:pt x="1515" y="58"/>
                  </a:lnTo>
                  <a:lnTo>
                    <a:pt x="1504" y="55"/>
                  </a:lnTo>
                  <a:lnTo>
                    <a:pt x="1493" y="53"/>
                  </a:lnTo>
                  <a:lnTo>
                    <a:pt x="1482" y="49"/>
                  </a:lnTo>
                  <a:lnTo>
                    <a:pt x="1469" y="47"/>
                  </a:lnTo>
                  <a:lnTo>
                    <a:pt x="1456" y="45"/>
                  </a:lnTo>
                  <a:lnTo>
                    <a:pt x="1444" y="44"/>
                  </a:lnTo>
                  <a:lnTo>
                    <a:pt x="1432" y="44"/>
                  </a:lnTo>
                  <a:lnTo>
                    <a:pt x="1408" y="44"/>
                  </a:lnTo>
                  <a:lnTo>
                    <a:pt x="1381" y="44"/>
                  </a:lnTo>
                  <a:lnTo>
                    <a:pt x="1341" y="45"/>
                  </a:lnTo>
                  <a:lnTo>
                    <a:pt x="1307" y="46"/>
                  </a:lnTo>
                  <a:lnTo>
                    <a:pt x="1272" y="48"/>
                  </a:lnTo>
                  <a:lnTo>
                    <a:pt x="1233" y="49"/>
                  </a:lnTo>
                  <a:lnTo>
                    <a:pt x="1198" y="44"/>
                  </a:lnTo>
                  <a:lnTo>
                    <a:pt x="1166" y="40"/>
                  </a:lnTo>
                  <a:lnTo>
                    <a:pt x="1152" y="36"/>
                  </a:lnTo>
                  <a:lnTo>
                    <a:pt x="1136" y="33"/>
                  </a:lnTo>
                  <a:lnTo>
                    <a:pt x="1121" y="28"/>
                  </a:lnTo>
                  <a:lnTo>
                    <a:pt x="1104" y="21"/>
                  </a:lnTo>
                  <a:lnTo>
                    <a:pt x="1090" y="14"/>
                  </a:lnTo>
                  <a:lnTo>
                    <a:pt x="1077" y="6"/>
                  </a:lnTo>
                  <a:lnTo>
                    <a:pt x="1070" y="4"/>
                  </a:lnTo>
                  <a:lnTo>
                    <a:pt x="1064" y="1"/>
                  </a:lnTo>
                  <a:lnTo>
                    <a:pt x="1056" y="0"/>
                  </a:lnTo>
                  <a:lnTo>
                    <a:pt x="1047" y="0"/>
                  </a:lnTo>
                  <a:lnTo>
                    <a:pt x="1032" y="0"/>
                  </a:lnTo>
                  <a:lnTo>
                    <a:pt x="1018" y="3"/>
                  </a:lnTo>
                  <a:lnTo>
                    <a:pt x="1004" y="7"/>
                  </a:lnTo>
                  <a:lnTo>
                    <a:pt x="992" y="14"/>
                  </a:lnTo>
                  <a:lnTo>
                    <a:pt x="980" y="21"/>
                  </a:lnTo>
                  <a:lnTo>
                    <a:pt x="970" y="31"/>
                  </a:lnTo>
                  <a:lnTo>
                    <a:pt x="960" y="43"/>
                  </a:lnTo>
                  <a:lnTo>
                    <a:pt x="951" y="55"/>
                  </a:lnTo>
                  <a:lnTo>
                    <a:pt x="951" y="55"/>
                  </a:lnTo>
                  <a:close/>
                </a:path>
              </a:pathLst>
            </a:custGeom>
            <a:solidFill>
              <a:srgbClr val="73B84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58">
              <a:extLst>
                <a:ext uri="{FF2B5EF4-FFF2-40B4-BE49-F238E27FC236}">
                  <a16:creationId xmlns:a16="http://schemas.microsoft.com/office/drawing/2014/main" id="{DA59897A-749A-4CEC-920A-126F0F466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5700" y="4370388"/>
              <a:ext cx="1346200" cy="950913"/>
            </a:xfrm>
            <a:custGeom>
              <a:avLst/>
              <a:gdLst>
                <a:gd name="T0" fmla="*/ 871 w 3393"/>
                <a:gd name="T1" fmla="*/ 162 h 2394"/>
                <a:gd name="T2" fmla="*/ 737 w 3393"/>
                <a:gd name="T3" fmla="*/ 226 h 2394"/>
                <a:gd name="T4" fmla="*/ 635 w 3393"/>
                <a:gd name="T5" fmla="*/ 432 h 2394"/>
                <a:gd name="T6" fmla="*/ 532 w 3393"/>
                <a:gd name="T7" fmla="*/ 567 h 2394"/>
                <a:gd name="T8" fmla="*/ 411 w 3393"/>
                <a:gd name="T9" fmla="*/ 795 h 2394"/>
                <a:gd name="T10" fmla="*/ 290 w 3393"/>
                <a:gd name="T11" fmla="*/ 955 h 2394"/>
                <a:gd name="T12" fmla="*/ 86 w 3393"/>
                <a:gd name="T13" fmla="*/ 1020 h 2394"/>
                <a:gd name="T14" fmla="*/ 244 w 3393"/>
                <a:gd name="T15" fmla="*/ 1124 h 2394"/>
                <a:gd name="T16" fmla="*/ 318 w 3393"/>
                <a:gd name="T17" fmla="*/ 1120 h 2394"/>
                <a:gd name="T18" fmla="*/ 445 w 3393"/>
                <a:gd name="T19" fmla="*/ 1107 h 2394"/>
                <a:gd name="T20" fmla="*/ 580 w 3393"/>
                <a:gd name="T21" fmla="*/ 1125 h 2394"/>
                <a:gd name="T22" fmla="*/ 722 w 3393"/>
                <a:gd name="T23" fmla="*/ 1221 h 2394"/>
                <a:gd name="T24" fmla="*/ 834 w 3393"/>
                <a:gd name="T25" fmla="*/ 1210 h 2394"/>
                <a:gd name="T26" fmla="*/ 912 w 3393"/>
                <a:gd name="T27" fmla="*/ 1299 h 2394"/>
                <a:gd name="T28" fmla="*/ 1031 w 3393"/>
                <a:gd name="T29" fmla="*/ 1296 h 2394"/>
                <a:gd name="T30" fmla="*/ 1185 w 3393"/>
                <a:gd name="T31" fmla="*/ 1289 h 2394"/>
                <a:gd name="T32" fmla="*/ 1297 w 3393"/>
                <a:gd name="T33" fmla="*/ 1384 h 2394"/>
                <a:gd name="T34" fmla="*/ 1358 w 3393"/>
                <a:gd name="T35" fmla="*/ 1542 h 2394"/>
                <a:gd name="T36" fmla="*/ 1360 w 3393"/>
                <a:gd name="T37" fmla="*/ 1681 h 2394"/>
                <a:gd name="T38" fmla="*/ 1381 w 3393"/>
                <a:gd name="T39" fmla="*/ 1801 h 2394"/>
                <a:gd name="T40" fmla="*/ 1406 w 3393"/>
                <a:gd name="T41" fmla="*/ 2051 h 2394"/>
                <a:gd name="T42" fmla="*/ 1579 w 3393"/>
                <a:gd name="T43" fmla="*/ 2057 h 2394"/>
                <a:gd name="T44" fmla="*/ 1682 w 3393"/>
                <a:gd name="T45" fmla="*/ 2164 h 2394"/>
                <a:gd name="T46" fmla="*/ 1749 w 3393"/>
                <a:gd name="T47" fmla="*/ 2258 h 2394"/>
                <a:gd name="T48" fmla="*/ 1853 w 3393"/>
                <a:gd name="T49" fmla="*/ 2382 h 2394"/>
                <a:gd name="T50" fmla="*/ 1867 w 3393"/>
                <a:gd name="T51" fmla="*/ 2297 h 2394"/>
                <a:gd name="T52" fmla="*/ 2086 w 3393"/>
                <a:gd name="T53" fmla="*/ 2147 h 2394"/>
                <a:gd name="T54" fmla="*/ 2393 w 3393"/>
                <a:gd name="T55" fmla="*/ 1943 h 2394"/>
                <a:gd name="T56" fmla="*/ 2520 w 3393"/>
                <a:gd name="T57" fmla="*/ 1883 h 2394"/>
                <a:gd name="T58" fmla="*/ 2676 w 3393"/>
                <a:gd name="T59" fmla="*/ 1817 h 2394"/>
                <a:gd name="T60" fmla="*/ 2815 w 3393"/>
                <a:gd name="T61" fmla="*/ 1824 h 2394"/>
                <a:gd name="T62" fmla="*/ 2932 w 3393"/>
                <a:gd name="T63" fmla="*/ 1808 h 2394"/>
                <a:gd name="T64" fmla="*/ 3048 w 3393"/>
                <a:gd name="T65" fmla="*/ 1723 h 2394"/>
                <a:gd name="T66" fmla="*/ 3150 w 3393"/>
                <a:gd name="T67" fmla="*/ 1689 h 2394"/>
                <a:gd name="T68" fmla="*/ 3213 w 3393"/>
                <a:gd name="T69" fmla="*/ 1540 h 2394"/>
                <a:gd name="T70" fmla="*/ 3393 w 3393"/>
                <a:gd name="T71" fmla="*/ 1478 h 2394"/>
                <a:gd name="T72" fmla="*/ 3339 w 3393"/>
                <a:gd name="T73" fmla="*/ 1411 h 2394"/>
                <a:gd name="T74" fmla="*/ 3203 w 3393"/>
                <a:gd name="T75" fmla="*/ 1391 h 2394"/>
                <a:gd name="T76" fmla="*/ 3188 w 3393"/>
                <a:gd name="T77" fmla="*/ 1284 h 2394"/>
                <a:gd name="T78" fmla="*/ 3003 w 3393"/>
                <a:gd name="T79" fmla="*/ 1281 h 2394"/>
                <a:gd name="T80" fmla="*/ 2861 w 3393"/>
                <a:gd name="T81" fmla="*/ 1309 h 2394"/>
                <a:gd name="T82" fmla="*/ 2801 w 3393"/>
                <a:gd name="T83" fmla="*/ 1303 h 2394"/>
                <a:gd name="T84" fmla="*/ 2729 w 3393"/>
                <a:gd name="T85" fmla="*/ 1397 h 2394"/>
                <a:gd name="T86" fmla="*/ 2588 w 3393"/>
                <a:gd name="T87" fmla="*/ 1343 h 2394"/>
                <a:gd name="T88" fmla="*/ 2561 w 3393"/>
                <a:gd name="T89" fmla="*/ 1191 h 2394"/>
                <a:gd name="T90" fmla="*/ 2586 w 3393"/>
                <a:gd name="T91" fmla="*/ 781 h 2394"/>
                <a:gd name="T92" fmla="*/ 2454 w 3393"/>
                <a:gd name="T93" fmla="*/ 744 h 2394"/>
                <a:gd name="T94" fmla="*/ 2369 w 3393"/>
                <a:gd name="T95" fmla="*/ 595 h 2394"/>
                <a:gd name="T96" fmla="*/ 2386 w 3393"/>
                <a:gd name="T97" fmla="*/ 390 h 2394"/>
                <a:gd name="T98" fmla="*/ 2369 w 3393"/>
                <a:gd name="T99" fmla="*/ 252 h 2394"/>
                <a:gd name="T100" fmla="*/ 2278 w 3393"/>
                <a:gd name="T101" fmla="*/ 172 h 2394"/>
                <a:gd name="T102" fmla="*/ 2161 w 3393"/>
                <a:gd name="T103" fmla="*/ 177 h 2394"/>
                <a:gd name="T104" fmla="*/ 2064 w 3393"/>
                <a:gd name="T105" fmla="*/ 210 h 2394"/>
                <a:gd name="T106" fmla="*/ 1876 w 3393"/>
                <a:gd name="T107" fmla="*/ 207 h 2394"/>
                <a:gd name="T108" fmla="*/ 1688 w 3393"/>
                <a:gd name="T109" fmla="*/ 236 h 2394"/>
                <a:gd name="T110" fmla="*/ 1616 w 3393"/>
                <a:gd name="T111" fmla="*/ 243 h 2394"/>
                <a:gd name="T112" fmla="*/ 1553 w 3393"/>
                <a:gd name="T113" fmla="*/ 212 h 2394"/>
                <a:gd name="T114" fmla="*/ 1560 w 3393"/>
                <a:gd name="T115" fmla="*/ 109 h 2394"/>
                <a:gd name="T116" fmla="*/ 1456 w 3393"/>
                <a:gd name="T117" fmla="*/ 45 h 2394"/>
                <a:gd name="T118" fmla="*/ 1121 w 3393"/>
                <a:gd name="T119" fmla="*/ 28 h 2394"/>
                <a:gd name="T120" fmla="*/ 970 w 3393"/>
                <a:gd name="T121" fmla="*/ 31 h 2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93" h="2394">
                  <a:moveTo>
                    <a:pt x="951" y="55"/>
                  </a:moveTo>
                  <a:lnTo>
                    <a:pt x="947" y="63"/>
                  </a:lnTo>
                  <a:lnTo>
                    <a:pt x="944" y="70"/>
                  </a:lnTo>
                  <a:lnTo>
                    <a:pt x="939" y="76"/>
                  </a:lnTo>
                  <a:lnTo>
                    <a:pt x="934" y="82"/>
                  </a:lnTo>
                  <a:lnTo>
                    <a:pt x="924" y="93"/>
                  </a:lnTo>
                  <a:lnTo>
                    <a:pt x="913" y="106"/>
                  </a:lnTo>
                  <a:lnTo>
                    <a:pt x="903" y="122"/>
                  </a:lnTo>
                  <a:lnTo>
                    <a:pt x="894" y="136"/>
                  </a:lnTo>
                  <a:lnTo>
                    <a:pt x="890" y="143"/>
                  </a:lnTo>
                  <a:lnTo>
                    <a:pt x="884" y="150"/>
                  </a:lnTo>
                  <a:lnTo>
                    <a:pt x="879" y="155"/>
                  </a:lnTo>
                  <a:lnTo>
                    <a:pt x="871" y="162"/>
                  </a:lnTo>
                  <a:lnTo>
                    <a:pt x="863" y="167"/>
                  </a:lnTo>
                  <a:lnTo>
                    <a:pt x="854" y="171"/>
                  </a:lnTo>
                  <a:lnTo>
                    <a:pt x="846" y="175"/>
                  </a:lnTo>
                  <a:lnTo>
                    <a:pt x="838" y="179"/>
                  </a:lnTo>
                  <a:lnTo>
                    <a:pt x="825" y="187"/>
                  </a:lnTo>
                  <a:lnTo>
                    <a:pt x="815" y="194"/>
                  </a:lnTo>
                  <a:lnTo>
                    <a:pt x="805" y="203"/>
                  </a:lnTo>
                  <a:lnTo>
                    <a:pt x="792" y="209"/>
                  </a:lnTo>
                  <a:lnTo>
                    <a:pt x="782" y="214"/>
                  </a:lnTo>
                  <a:lnTo>
                    <a:pt x="770" y="215"/>
                  </a:lnTo>
                  <a:lnTo>
                    <a:pt x="759" y="217"/>
                  </a:lnTo>
                  <a:lnTo>
                    <a:pt x="748" y="221"/>
                  </a:lnTo>
                  <a:lnTo>
                    <a:pt x="737" y="226"/>
                  </a:lnTo>
                  <a:lnTo>
                    <a:pt x="730" y="233"/>
                  </a:lnTo>
                  <a:lnTo>
                    <a:pt x="723" y="241"/>
                  </a:lnTo>
                  <a:lnTo>
                    <a:pt x="717" y="249"/>
                  </a:lnTo>
                  <a:lnTo>
                    <a:pt x="708" y="269"/>
                  </a:lnTo>
                  <a:lnTo>
                    <a:pt x="700" y="290"/>
                  </a:lnTo>
                  <a:lnTo>
                    <a:pt x="690" y="317"/>
                  </a:lnTo>
                  <a:lnTo>
                    <a:pt x="682" y="341"/>
                  </a:lnTo>
                  <a:lnTo>
                    <a:pt x="673" y="365"/>
                  </a:lnTo>
                  <a:lnTo>
                    <a:pt x="661" y="392"/>
                  </a:lnTo>
                  <a:lnTo>
                    <a:pt x="652" y="403"/>
                  </a:lnTo>
                  <a:lnTo>
                    <a:pt x="645" y="414"/>
                  </a:lnTo>
                  <a:lnTo>
                    <a:pt x="639" y="423"/>
                  </a:lnTo>
                  <a:lnTo>
                    <a:pt x="635" y="432"/>
                  </a:lnTo>
                  <a:lnTo>
                    <a:pt x="629" y="439"/>
                  </a:lnTo>
                  <a:lnTo>
                    <a:pt x="622" y="448"/>
                  </a:lnTo>
                  <a:lnTo>
                    <a:pt x="601" y="463"/>
                  </a:lnTo>
                  <a:lnTo>
                    <a:pt x="583" y="477"/>
                  </a:lnTo>
                  <a:lnTo>
                    <a:pt x="574" y="485"/>
                  </a:lnTo>
                  <a:lnTo>
                    <a:pt x="567" y="492"/>
                  </a:lnTo>
                  <a:lnTo>
                    <a:pt x="559" y="501"/>
                  </a:lnTo>
                  <a:lnTo>
                    <a:pt x="552" y="512"/>
                  </a:lnTo>
                  <a:lnTo>
                    <a:pt x="546" y="521"/>
                  </a:lnTo>
                  <a:lnTo>
                    <a:pt x="542" y="531"/>
                  </a:lnTo>
                  <a:lnTo>
                    <a:pt x="539" y="540"/>
                  </a:lnTo>
                  <a:lnTo>
                    <a:pt x="535" y="549"/>
                  </a:lnTo>
                  <a:lnTo>
                    <a:pt x="532" y="567"/>
                  </a:lnTo>
                  <a:lnTo>
                    <a:pt x="529" y="585"/>
                  </a:lnTo>
                  <a:lnTo>
                    <a:pt x="527" y="622"/>
                  </a:lnTo>
                  <a:lnTo>
                    <a:pt x="524" y="663"/>
                  </a:lnTo>
                  <a:lnTo>
                    <a:pt x="520" y="679"/>
                  </a:lnTo>
                  <a:lnTo>
                    <a:pt x="515" y="694"/>
                  </a:lnTo>
                  <a:lnTo>
                    <a:pt x="508" y="707"/>
                  </a:lnTo>
                  <a:lnTo>
                    <a:pt x="500" y="719"/>
                  </a:lnTo>
                  <a:lnTo>
                    <a:pt x="490" y="730"/>
                  </a:lnTo>
                  <a:lnTo>
                    <a:pt x="480" y="739"/>
                  </a:lnTo>
                  <a:lnTo>
                    <a:pt x="470" y="748"/>
                  </a:lnTo>
                  <a:lnTo>
                    <a:pt x="458" y="758"/>
                  </a:lnTo>
                  <a:lnTo>
                    <a:pt x="435" y="775"/>
                  </a:lnTo>
                  <a:lnTo>
                    <a:pt x="411" y="795"/>
                  </a:lnTo>
                  <a:lnTo>
                    <a:pt x="400" y="805"/>
                  </a:lnTo>
                  <a:lnTo>
                    <a:pt x="390" y="817"/>
                  </a:lnTo>
                  <a:lnTo>
                    <a:pt x="381" y="831"/>
                  </a:lnTo>
                  <a:lnTo>
                    <a:pt x="372" y="845"/>
                  </a:lnTo>
                  <a:lnTo>
                    <a:pt x="362" y="867"/>
                  </a:lnTo>
                  <a:lnTo>
                    <a:pt x="351" y="886"/>
                  </a:lnTo>
                  <a:lnTo>
                    <a:pt x="340" y="905"/>
                  </a:lnTo>
                  <a:lnTo>
                    <a:pt x="328" y="921"/>
                  </a:lnTo>
                  <a:lnTo>
                    <a:pt x="322" y="928"/>
                  </a:lnTo>
                  <a:lnTo>
                    <a:pt x="315" y="936"/>
                  </a:lnTo>
                  <a:lnTo>
                    <a:pt x="308" y="943"/>
                  </a:lnTo>
                  <a:lnTo>
                    <a:pt x="299" y="949"/>
                  </a:lnTo>
                  <a:lnTo>
                    <a:pt x="290" y="955"/>
                  </a:lnTo>
                  <a:lnTo>
                    <a:pt x="282" y="961"/>
                  </a:lnTo>
                  <a:lnTo>
                    <a:pt x="271" y="966"/>
                  </a:lnTo>
                  <a:lnTo>
                    <a:pt x="260" y="972"/>
                  </a:lnTo>
                  <a:lnTo>
                    <a:pt x="243" y="978"/>
                  </a:lnTo>
                  <a:lnTo>
                    <a:pt x="225" y="982"/>
                  </a:lnTo>
                  <a:lnTo>
                    <a:pt x="209" y="985"/>
                  </a:lnTo>
                  <a:lnTo>
                    <a:pt x="193" y="986"/>
                  </a:lnTo>
                  <a:lnTo>
                    <a:pt x="177" y="988"/>
                  </a:lnTo>
                  <a:lnTo>
                    <a:pt x="161" y="990"/>
                  </a:lnTo>
                  <a:lnTo>
                    <a:pt x="143" y="993"/>
                  </a:lnTo>
                  <a:lnTo>
                    <a:pt x="125" y="1000"/>
                  </a:lnTo>
                  <a:lnTo>
                    <a:pt x="104" y="1009"/>
                  </a:lnTo>
                  <a:lnTo>
                    <a:pt x="86" y="1020"/>
                  </a:lnTo>
                  <a:lnTo>
                    <a:pt x="70" y="1031"/>
                  </a:lnTo>
                  <a:lnTo>
                    <a:pt x="55" y="1044"/>
                  </a:lnTo>
                  <a:lnTo>
                    <a:pt x="40" y="1058"/>
                  </a:lnTo>
                  <a:lnTo>
                    <a:pt x="27" y="1073"/>
                  </a:lnTo>
                  <a:lnTo>
                    <a:pt x="13" y="1090"/>
                  </a:lnTo>
                  <a:lnTo>
                    <a:pt x="0" y="1109"/>
                  </a:lnTo>
                  <a:lnTo>
                    <a:pt x="0" y="1109"/>
                  </a:lnTo>
                  <a:lnTo>
                    <a:pt x="156" y="1123"/>
                  </a:lnTo>
                  <a:lnTo>
                    <a:pt x="178" y="1123"/>
                  </a:lnTo>
                  <a:lnTo>
                    <a:pt x="196" y="1123"/>
                  </a:lnTo>
                  <a:lnTo>
                    <a:pt x="216" y="1123"/>
                  </a:lnTo>
                  <a:lnTo>
                    <a:pt x="237" y="1123"/>
                  </a:lnTo>
                  <a:lnTo>
                    <a:pt x="244" y="1124"/>
                  </a:lnTo>
                  <a:lnTo>
                    <a:pt x="251" y="1125"/>
                  </a:lnTo>
                  <a:lnTo>
                    <a:pt x="257" y="1128"/>
                  </a:lnTo>
                  <a:lnTo>
                    <a:pt x="262" y="1132"/>
                  </a:lnTo>
                  <a:lnTo>
                    <a:pt x="269" y="1135"/>
                  </a:lnTo>
                  <a:lnTo>
                    <a:pt x="274" y="1137"/>
                  </a:lnTo>
                  <a:lnTo>
                    <a:pt x="281" y="1139"/>
                  </a:lnTo>
                  <a:lnTo>
                    <a:pt x="288" y="1140"/>
                  </a:lnTo>
                  <a:lnTo>
                    <a:pt x="293" y="1139"/>
                  </a:lnTo>
                  <a:lnTo>
                    <a:pt x="298" y="1138"/>
                  </a:lnTo>
                  <a:lnTo>
                    <a:pt x="301" y="1136"/>
                  </a:lnTo>
                  <a:lnTo>
                    <a:pt x="305" y="1134"/>
                  </a:lnTo>
                  <a:lnTo>
                    <a:pt x="312" y="1127"/>
                  </a:lnTo>
                  <a:lnTo>
                    <a:pt x="318" y="1120"/>
                  </a:lnTo>
                  <a:lnTo>
                    <a:pt x="324" y="1113"/>
                  </a:lnTo>
                  <a:lnTo>
                    <a:pt x="330" y="1107"/>
                  </a:lnTo>
                  <a:lnTo>
                    <a:pt x="335" y="1105"/>
                  </a:lnTo>
                  <a:lnTo>
                    <a:pt x="339" y="1102"/>
                  </a:lnTo>
                  <a:lnTo>
                    <a:pt x="343" y="1101"/>
                  </a:lnTo>
                  <a:lnTo>
                    <a:pt x="347" y="1100"/>
                  </a:lnTo>
                  <a:lnTo>
                    <a:pt x="365" y="1100"/>
                  </a:lnTo>
                  <a:lnTo>
                    <a:pt x="381" y="1100"/>
                  </a:lnTo>
                  <a:lnTo>
                    <a:pt x="396" y="1100"/>
                  </a:lnTo>
                  <a:lnTo>
                    <a:pt x="413" y="1100"/>
                  </a:lnTo>
                  <a:lnTo>
                    <a:pt x="425" y="1101"/>
                  </a:lnTo>
                  <a:lnTo>
                    <a:pt x="435" y="1103"/>
                  </a:lnTo>
                  <a:lnTo>
                    <a:pt x="445" y="1107"/>
                  </a:lnTo>
                  <a:lnTo>
                    <a:pt x="453" y="1110"/>
                  </a:lnTo>
                  <a:lnTo>
                    <a:pt x="462" y="1114"/>
                  </a:lnTo>
                  <a:lnTo>
                    <a:pt x="472" y="1117"/>
                  </a:lnTo>
                  <a:lnTo>
                    <a:pt x="483" y="1120"/>
                  </a:lnTo>
                  <a:lnTo>
                    <a:pt x="493" y="1120"/>
                  </a:lnTo>
                  <a:lnTo>
                    <a:pt x="508" y="1120"/>
                  </a:lnTo>
                  <a:lnTo>
                    <a:pt x="522" y="1120"/>
                  </a:lnTo>
                  <a:lnTo>
                    <a:pt x="535" y="1120"/>
                  </a:lnTo>
                  <a:lnTo>
                    <a:pt x="551" y="1120"/>
                  </a:lnTo>
                  <a:lnTo>
                    <a:pt x="559" y="1121"/>
                  </a:lnTo>
                  <a:lnTo>
                    <a:pt x="566" y="1122"/>
                  </a:lnTo>
                  <a:lnTo>
                    <a:pt x="573" y="1123"/>
                  </a:lnTo>
                  <a:lnTo>
                    <a:pt x="580" y="1125"/>
                  </a:lnTo>
                  <a:lnTo>
                    <a:pt x="593" y="1129"/>
                  </a:lnTo>
                  <a:lnTo>
                    <a:pt x="606" y="1136"/>
                  </a:lnTo>
                  <a:lnTo>
                    <a:pt x="616" y="1144"/>
                  </a:lnTo>
                  <a:lnTo>
                    <a:pt x="627" y="1153"/>
                  </a:lnTo>
                  <a:lnTo>
                    <a:pt x="638" y="1163"/>
                  </a:lnTo>
                  <a:lnTo>
                    <a:pt x="648" y="1171"/>
                  </a:lnTo>
                  <a:lnTo>
                    <a:pt x="659" y="1181"/>
                  </a:lnTo>
                  <a:lnTo>
                    <a:pt x="668" y="1191"/>
                  </a:lnTo>
                  <a:lnTo>
                    <a:pt x="679" y="1200"/>
                  </a:lnTo>
                  <a:lnTo>
                    <a:pt x="691" y="1207"/>
                  </a:lnTo>
                  <a:lnTo>
                    <a:pt x="703" y="1215"/>
                  </a:lnTo>
                  <a:lnTo>
                    <a:pt x="716" y="1219"/>
                  </a:lnTo>
                  <a:lnTo>
                    <a:pt x="722" y="1221"/>
                  </a:lnTo>
                  <a:lnTo>
                    <a:pt x="730" y="1222"/>
                  </a:lnTo>
                  <a:lnTo>
                    <a:pt x="737" y="1223"/>
                  </a:lnTo>
                  <a:lnTo>
                    <a:pt x="745" y="1223"/>
                  </a:lnTo>
                  <a:lnTo>
                    <a:pt x="756" y="1223"/>
                  </a:lnTo>
                  <a:lnTo>
                    <a:pt x="765" y="1221"/>
                  </a:lnTo>
                  <a:lnTo>
                    <a:pt x="775" y="1219"/>
                  </a:lnTo>
                  <a:lnTo>
                    <a:pt x="784" y="1216"/>
                  </a:lnTo>
                  <a:lnTo>
                    <a:pt x="794" y="1213"/>
                  </a:lnTo>
                  <a:lnTo>
                    <a:pt x="802" y="1209"/>
                  </a:lnTo>
                  <a:lnTo>
                    <a:pt x="813" y="1208"/>
                  </a:lnTo>
                  <a:lnTo>
                    <a:pt x="824" y="1207"/>
                  </a:lnTo>
                  <a:lnTo>
                    <a:pt x="829" y="1208"/>
                  </a:lnTo>
                  <a:lnTo>
                    <a:pt x="834" y="1210"/>
                  </a:lnTo>
                  <a:lnTo>
                    <a:pt x="837" y="1214"/>
                  </a:lnTo>
                  <a:lnTo>
                    <a:pt x="839" y="1219"/>
                  </a:lnTo>
                  <a:lnTo>
                    <a:pt x="844" y="1230"/>
                  </a:lnTo>
                  <a:lnTo>
                    <a:pt x="849" y="1241"/>
                  </a:lnTo>
                  <a:lnTo>
                    <a:pt x="858" y="1261"/>
                  </a:lnTo>
                  <a:lnTo>
                    <a:pt x="869" y="1281"/>
                  </a:lnTo>
                  <a:lnTo>
                    <a:pt x="876" y="1288"/>
                  </a:lnTo>
                  <a:lnTo>
                    <a:pt x="883" y="1295"/>
                  </a:lnTo>
                  <a:lnTo>
                    <a:pt x="888" y="1297"/>
                  </a:lnTo>
                  <a:lnTo>
                    <a:pt x="893" y="1298"/>
                  </a:lnTo>
                  <a:lnTo>
                    <a:pt x="897" y="1299"/>
                  </a:lnTo>
                  <a:lnTo>
                    <a:pt x="904" y="1300"/>
                  </a:lnTo>
                  <a:lnTo>
                    <a:pt x="912" y="1299"/>
                  </a:lnTo>
                  <a:lnTo>
                    <a:pt x="921" y="1296"/>
                  </a:lnTo>
                  <a:lnTo>
                    <a:pt x="929" y="1292"/>
                  </a:lnTo>
                  <a:lnTo>
                    <a:pt x="936" y="1288"/>
                  </a:lnTo>
                  <a:lnTo>
                    <a:pt x="944" y="1284"/>
                  </a:lnTo>
                  <a:lnTo>
                    <a:pt x="951" y="1281"/>
                  </a:lnTo>
                  <a:lnTo>
                    <a:pt x="960" y="1278"/>
                  </a:lnTo>
                  <a:lnTo>
                    <a:pt x="970" y="1277"/>
                  </a:lnTo>
                  <a:lnTo>
                    <a:pt x="982" y="1278"/>
                  </a:lnTo>
                  <a:lnTo>
                    <a:pt x="992" y="1281"/>
                  </a:lnTo>
                  <a:lnTo>
                    <a:pt x="1002" y="1284"/>
                  </a:lnTo>
                  <a:lnTo>
                    <a:pt x="1012" y="1288"/>
                  </a:lnTo>
                  <a:lnTo>
                    <a:pt x="1020" y="1292"/>
                  </a:lnTo>
                  <a:lnTo>
                    <a:pt x="1031" y="1296"/>
                  </a:lnTo>
                  <a:lnTo>
                    <a:pt x="1041" y="1299"/>
                  </a:lnTo>
                  <a:lnTo>
                    <a:pt x="1053" y="1300"/>
                  </a:lnTo>
                  <a:lnTo>
                    <a:pt x="1069" y="1299"/>
                  </a:lnTo>
                  <a:lnTo>
                    <a:pt x="1084" y="1297"/>
                  </a:lnTo>
                  <a:lnTo>
                    <a:pt x="1097" y="1295"/>
                  </a:lnTo>
                  <a:lnTo>
                    <a:pt x="1111" y="1292"/>
                  </a:lnTo>
                  <a:lnTo>
                    <a:pt x="1124" y="1290"/>
                  </a:lnTo>
                  <a:lnTo>
                    <a:pt x="1138" y="1288"/>
                  </a:lnTo>
                  <a:lnTo>
                    <a:pt x="1152" y="1286"/>
                  </a:lnTo>
                  <a:lnTo>
                    <a:pt x="1168" y="1286"/>
                  </a:lnTo>
                  <a:lnTo>
                    <a:pt x="1175" y="1286"/>
                  </a:lnTo>
                  <a:lnTo>
                    <a:pt x="1180" y="1287"/>
                  </a:lnTo>
                  <a:lnTo>
                    <a:pt x="1185" y="1289"/>
                  </a:lnTo>
                  <a:lnTo>
                    <a:pt x="1190" y="1292"/>
                  </a:lnTo>
                  <a:lnTo>
                    <a:pt x="1198" y="1300"/>
                  </a:lnTo>
                  <a:lnTo>
                    <a:pt x="1204" y="1310"/>
                  </a:lnTo>
                  <a:lnTo>
                    <a:pt x="1209" y="1319"/>
                  </a:lnTo>
                  <a:lnTo>
                    <a:pt x="1216" y="1330"/>
                  </a:lnTo>
                  <a:lnTo>
                    <a:pt x="1223" y="1341"/>
                  </a:lnTo>
                  <a:lnTo>
                    <a:pt x="1233" y="1350"/>
                  </a:lnTo>
                  <a:lnTo>
                    <a:pt x="1244" y="1357"/>
                  </a:lnTo>
                  <a:lnTo>
                    <a:pt x="1255" y="1364"/>
                  </a:lnTo>
                  <a:lnTo>
                    <a:pt x="1266" y="1369"/>
                  </a:lnTo>
                  <a:lnTo>
                    <a:pt x="1276" y="1375"/>
                  </a:lnTo>
                  <a:lnTo>
                    <a:pt x="1287" y="1379"/>
                  </a:lnTo>
                  <a:lnTo>
                    <a:pt x="1297" y="1384"/>
                  </a:lnTo>
                  <a:lnTo>
                    <a:pt x="1308" y="1391"/>
                  </a:lnTo>
                  <a:lnTo>
                    <a:pt x="1318" y="1399"/>
                  </a:lnTo>
                  <a:lnTo>
                    <a:pt x="1323" y="1409"/>
                  </a:lnTo>
                  <a:lnTo>
                    <a:pt x="1328" y="1419"/>
                  </a:lnTo>
                  <a:lnTo>
                    <a:pt x="1333" y="1427"/>
                  </a:lnTo>
                  <a:lnTo>
                    <a:pt x="1337" y="1438"/>
                  </a:lnTo>
                  <a:lnTo>
                    <a:pt x="1341" y="1453"/>
                  </a:lnTo>
                  <a:lnTo>
                    <a:pt x="1343" y="1470"/>
                  </a:lnTo>
                  <a:lnTo>
                    <a:pt x="1347" y="1485"/>
                  </a:lnTo>
                  <a:lnTo>
                    <a:pt x="1350" y="1499"/>
                  </a:lnTo>
                  <a:lnTo>
                    <a:pt x="1353" y="1512"/>
                  </a:lnTo>
                  <a:lnTo>
                    <a:pt x="1356" y="1528"/>
                  </a:lnTo>
                  <a:lnTo>
                    <a:pt x="1358" y="1542"/>
                  </a:lnTo>
                  <a:lnTo>
                    <a:pt x="1361" y="1555"/>
                  </a:lnTo>
                  <a:lnTo>
                    <a:pt x="1363" y="1567"/>
                  </a:lnTo>
                  <a:lnTo>
                    <a:pt x="1366" y="1581"/>
                  </a:lnTo>
                  <a:lnTo>
                    <a:pt x="1367" y="1592"/>
                  </a:lnTo>
                  <a:lnTo>
                    <a:pt x="1368" y="1601"/>
                  </a:lnTo>
                  <a:lnTo>
                    <a:pt x="1368" y="1611"/>
                  </a:lnTo>
                  <a:lnTo>
                    <a:pt x="1370" y="1622"/>
                  </a:lnTo>
                  <a:lnTo>
                    <a:pt x="1374" y="1636"/>
                  </a:lnTo>
                  <a:lnTo>
                    <a:pt x="1377" y="1650"/>
                  </a:lnTo>
                  <a:lnTo>
                    <a:pt x="1374" y="1659"/>
                  </a:lnTo>
                  <a:lnTo>
                    <a:pt x="1369" y="1667"/>
                  </a:lnTo>
                  <a:lnTo>
                    <a:pt x="1364" y="1675"/>
                  </a:lnTo>
                  <a:lnTo>
                    <a:pt x="1360" y="1681"/>
                  </a:lnTo>
                  <a:lnTo>
                    <a:pt x="1354" y="1689"/>
                  </a:lnTo>
                  <a:lnTo>
                    <a:pt x="1351" y="1696"/>
                  </a:lnTo>
                  <a:lnTo>
                    <a:pt x="1349" y="1705"/>
                  </a:lnTo>
                  <a:lnTo>
                    <a:pt x="1348" y="1715"/>
                  </a:lnTo>
                  <a:lnTo>
                    <a:pt x="1348" y="1722"/>
                  </a:lnTo>
                  <a:lnTo>
                    <a:pt x="1349" y="1729"/>
                  </a:lnTo>
                  <a:lnTo>
                    <a:pt x="1350" y="1735"/>
                  </a:lnTo>
                  <a:lnTo>
                    <a:pt x="1352" y="1742"/>
                  </a:lnTo>
                  <a:lnTo>
                    <a:pt x="1356" y="1754"/>
                  </a:lnTo>
                  <a:lnTo>
                    <a:pt x="1362" y="1765"/>
                  </a:lnTo>
                  <a:lnTo>
                    <a:pt x="1368" y="1776"/>
                  </a:lnTo>
                  <a:lnTo>
                    <a:pt x="1375" y="1788"/>
                  </a:lnTo>
                  <a:lnTo>
                    <a:pt x="1381" y="1801"/>
                  </a:lnTo>
                  <a:lnTo>
                    <a:pt x="1387" y="1815"/>
                  </a:lnTo>
                  <a:lnTo>
                    <a:pt x="1392" y="1834"/>
                  </a:lnTo>
                  <a:lnTo>
                    <a:pt x="1396" y="1850"/>
                  </a:lnTo>
                  <a:lnTo>
                    <a:pt x="1398" y="1866"/>
                  </a:lnTo>
                  <a:lnTo>
                    <a:pt x="1399" y="1881"/>
                  </a:lnTo>
                  <a:lnTo>
                    <a:pt x="1401" y="1913"/>
                  </a:lnTo>
                  <a:lnTo>
                    <a:pt x="1401" y="1950"/>
                  </a:lnTo>
                  <a:lnTo>
                    <a:pt x="1399" y="1975"/>
                  </a:lnTo>
                  <a:lnTo>
                    <a:pt x="1397" y="1998"/>
                  </a:lnTo>
                  <a:lnTo>
                    <a:pt x="1395" y="2019"/>
                  </a:lnTo>
                  <a:lnTo>
                    <a:pt x="1392" y="2045"/>
                  </a:lnTo>
                  <a:lnTo>
                    <a:pt x="1399" y="2048"/>
                  </a:lnTo>
                  <a:lnTo>
                    <a:pt x="1406" y="2051"/>
                  </a:lnTo>
                  <a:lnTo>
                    <a:pt x="1421" y="2050"/>
                  </a:lnTo>
                  <a:lnTo>
                    <a:pt x="1433" y="2047"/>
                  </a:lnTo>
                  <a:lnTo>
                    <a:pt x="1445" y="2045"/>
                  </a:lnTo>
                  <a:lnTo>
                    <a:pt x="1457" y="2042"/>
                  </a:lnTo>
                  <a:lnTo>
                    <a:pt x="1469" y="2039"/>
                  </a:lnTo>
                  <a:lnTo>
                    <a:pt x="1480" y="2037"/>
                  </a:lnTo>
                  <a:lnTo>
                    <a:pt x="1493" y="2034"/>
                  </a:lnTo>
                  <a:lnTo>
                    <a:pt x="1507" y="2033"/>
                  </a:lnTo>
                  <a:lnTo>
                    <a:pt x="1522" y="2034"/>
                  </a:lnTo>
                  <a:lnTo>
                    <a:pt x="1534" y="2037"/>
                  </a:lnTo>
                  <a:lnTo>
                    <a:pt x="1545" y="2041"/>
                  </a:lnTo>
                  <a:lnTo>
                    <a:pt x="1556" y="2045"/>
                  </a:lnTo>
                  <a:lnTo>
                    <a:pt x="1579" y="2057"/>
                  </a:lnTo>
                  <a:lnTo>
                    <a:pt x="1603" y="2070"/>
                  </a:lnTo>
                  <a:lnTo>
                    <a:pt x="1631" y="2081"/>
                  </a:lnTo>
                  <a:lnTo>
                    <a:pt x="1658" y="2091"/>
                  </a:lnTo>
                  <a:lnTo>
                    <a:pt x="1664" y="2093"/>
                  </a:lnTo>
                  <a:lnTo>
                    <a:pt x="1670" y="2096"/>
                  </a:lnTo>
                  <a:lnTo>
                    <a:pt x="1675" y="2100"/>
                  </a:lnTo>
                  <a:lnTo>
                    <a:pt x="1678" y="2105"/>
                  </a:lnTo>
                  <a:lnTo>
                    <a:pt x="1682" y="2109"/>
                  </a:lnTo>
                  <a:lnTo>
                    <a:pt x="1685" y="2114"/>
                  </a:lnTo>
                  <a:lnTo>
                    <a:pt x="1686" y="2121"/>
                  </a:lnTo>
                  <a:lnTo>
                    <a:pt x="1687" y="2127"/>
                  </a:lnTo>
                  <a:lnTo>
                    <a:pt x="1686" y="2147"/>
                  </a:lnTo>
                  <a:lnTo>
                    <a:pt x="1682" y="2164"/>
                  </a:lnTo>
                  <a:lnTo>
                    <a:pt x="1679" y="2180"/>
                  </a:lnTo>
                  <a:lnTo>
                    <a:pt x="1675" y="2195"/>
                  </a:lnTo>
                  <a:lnTo>
                    <a:pt x="1670" y="2212"/>
                  </a:lnTo>
                  <a:lnTo>
                    <a:pt x="1665" y="2227"/>
                  </a:lnTo>
                  <a:lnTo>
                    <a:pt x="1661" y="2244"/>
                  </a:lnTo>
                  <a:lnTo>
                    <a:pt x="1659" y="2263"/>
                  </a:lnTo>
                  <a:lnTo>
                    <a:pt x="1671" y="2263"/>
                  </a:lnTo>
                  <a:lnTo>
                    <a:pt x="1682" y="2263"/>
                  </a:lnTo>
                  <a:lnTo>
                    <a:pt x="1693" y="2263"/>
                  </a:lnTo>
                  <a:lnTo>
                    <a:pt x="1705" y="2263"/>
                  </a:lnTo>
                  <a:lnTo>
                    <a:pt x="1719" y="2261"/>
                  </a:lnTo>
                  <a:lnTo>
                    <a:pt x="1733" y="2258"/>
                  </a:lnTo>
                  <a:lnTo>
                    <a:pt x="1749" y="2258"/>
                  </a:lnTo>
                  <a:lnTo>
                    <a:pt x="1763" y="2260"/>
                  </a:lnTo>
                  <a:lnTo>
                    <a:pt x="1778" y="2261"/>
                  </a:lnTo>
                  <a:lnTo>
                    <a:pt x="1794" y="2263"/>
                  </a:lnTo>
                  <a:lnTo>
                    <a:pt x="1796" y="2282"/>
                  </a:lnTo>
                  <a:lnTo>
                    <a:pt x="1800" y="2299"/>
                  </a:lnTo>
                  <a:lnTo>
                    <a:pt x="1805" y="2315"/>
                  </a:lnTo>
                  <a:lnTo>
                    <a:pt x="1810" y="2330"/>
                  </a:lnTo>
                  <a:lnTo>
                    <a:pt x="1822" y="2361"/>
                  </a:lnTo>
                  <a:lnTo>
                    <a:pt x="1836" y="2394"/>
                  </a:lnTo>
                  <a:lnTo>
                    <a:pt x="1836" y="2394"/>
                  </a:lnTo>
                  <a:lnTo>
                    <a:pt x="1842" y="2391"/>
                  </a:lnTo>
                  <a:lnTo>
                    <a:pt x="1848" y="2386"/>
                  </a:lnTo>
                  <a:lnTo>
                    <a:pt x="1853" y="2382"/>
                  </a:lnTo>
                  <a:lnTo>
                    <a:pt x="1857" y="2377"/>
                  </a:lnTo>
                  <a:lnTo>
                    <a:pt x="1862" y="2371"/>
                  </a:lnTo>
                  <a:lnTo>
                    <a:pt x="1864" y="2365"/>
                  </a:lnTo>
                  <a:lnTo>
                    <a:pt x="1865" y="2358"/>
                  </a:lnTo>
                  <a:lnTo>
                    <a:pt x="1866" y="2351"/>
                  </a:lnTo>
                  <a:lnTo>
                    <a:pt x="1866" y="2343"/>
                  </a:lnTo>
                  <a:lnTo>
                    <a:pt x="1865" y="2337"/>
                  </a:lnTo>
                  <a:lnTo>
                    <a:pt x="1864" y="2330"/>
                  </a:lnTo>
                  <a:lnTo>
                    <a:pt x="1862" y="2324"/>
                  </a:lnTo>
                  <a:lnTo>
                    <a:pt x="1857" y="2313"/>
                  </a:lnTo>
                  <a:lnTo>
                    <a:pt x="1852" y="2300"/>
                  </a:lnTo>
                  <a:lnTo>
                    <a:pt x="1861" y="2299"/>
                  </a:lnTo>
                  <a:lnTo>
                    <a:pt x="1867" y="2297"/>
                  </a:lnTo>
                  <a:lnTo>
                    <a:pt x="1875" y="2295"/>
                  </a:lnTo>
                  <a:lnTo>
                    <a:pt x="1881" y="2291"/>
                  </a:lnTo>
                  <a:lnTo>
                    <a:pt x="1892" y="2284"/>
                  </a:lnTo>
                  <a:lnTo>
                    <a:pt x="1903" y="2274"/>
                  </a:lnTo>
                  <a:lnTo>
                    <a:pt x="1913" y="2263"/>
                  </a:lnTo>
                  <a:lnTo>
                    <a:pt x="1922" y="2253"/>
                  </a:lnTo>
                  <a:lnTo>
                    <a:pt x="1934" y="2243"/>
                  </a:lnTo>
                  <a:lnTo>
                    <a:pt x="1947" y="2233"/>
                  </a:lnTo>
                  <a:lnTo>
                    <a:pt x="1978" y="2213"/>
                  </a:lnTo>
                  <a:lnTo>
                    <a:pt x="2008" y="2195"/>
                  </a:lnTo>
                  <a:lnTo>
                    <a:pt x="2033" y="2178"/>
                  </a:lnTo>
                  <a:lnTo>
                    <a:pt x="2059" y="2162"/>
                  </a:lnTo>
                  <a:lnTo>
                    <a:pt x="2086" y="2147"/>
                  </a:lnTo>
                  <a:lnTo>
                    <a:pt x="2113" y="2131"/>
                  </a:lnTo>
                  <a:lnTo>
                    <a:pt x="2143" y="2113"/>
                  </a:lnTo>
                  <a:lnTo>
                    <a:pt x="2174" y="2095"/>
                  </a:lnTo>
                  <a:lnTo>
                    <a:pt x="2193" y="2084"/>
                  </a:lnTo>
                  <a:lnTo>
                    <a:pt x="2212" y="2073"/>
                  </a:lnTo>
                  <a:lnTo>
                    <a:pt x="2228" y="2061"/>
                  </a:lnTo>
                  <a:lnTo>
                    <a:pt x="2243" y="2051"/>
                  </a:lnTo>
                  <a:lnTo>
                    <a:pt x="2273" y="2028"/>
                  </a:lnTo>
                  <a:lnTo>
                    <a:pt x="2301" y="2005"/>
                  </a:lnTo>
                  <a:lnTo>
                    <a:pt x="2329" y="1983"/>
                  </a:lnTo>
                  <a:lnTo>
                    <a:pt x="2360" y="1962"/>
                  </a:lnTo>
                  <a:lnTo>
                    <a:pt x="2376" y="1952"/>
                  </a:lnTo>
                  <a:lnTo>
                    <a:pt x="2393" y="1943"/>
                  </a:lnTo>
                  <a:lnTo>
                    <a:pt x="2412" y="1933"/>
                  </a:lnTo>
                  <a:lnTo>
                    <a:pt x="2432" y="1924"/>
                  </a:lnTo>
                  <a:lnTo>
                    <a:pt x="2444" y="1919"/>
                  </a:lnTo>
                  <a:lnTo>
                    <a:pt x="2454" y="1912"/>
                  </a:lnTo>
                  <a:lnTo>
                    <a:pt x="2462" y="1906"/>
                  </a:lnTo>
                  <a:lnTo>
                    <a:pt x="2471" y="1898"/>
                  </a:lnTo>
                  <a:lnTo>
                    <a:pt x="2478" y="1892"/>
                  </a:lnTo>
                  <a:lnTo>
                    <a:pt x="2488" y="1888"/>
                  </a:lnTo>
                  <a:lnTo>
                    <a:pt x="2494" y="1885"/>
                  </a:lnTo>
                  <a:lnTo>
                    <a:pt x="2499" y="1883"/>
                  </a:lnTo>
                  <a:lnTo>
                    <a:pt x="2504" y="1883"/>
                  </a:lnTo>
                  <a:lnTo>
                    <a:pt x="2511" y="1882"/>
                  </a:lnTo>
                  <a:lnTo>
                    <a:pt x="2520" y="1883"/>
                  </a:lnTo>
                  <a:lnTo>
                    <a:pt x="2527" y="1886"/>
                  </a:lnTo>
                  <a:lnTo>
                    <a:pt x="2536" y="1890"/>
                  </a:lnTo>
                  <a:lnTo>
                    <a:pt x="2544" y="1891"/>
                  </a:lnTo>
                  <a:lnTo>
                    <a:pt x="2553" y="1891"/>
                  </a:lnTo>
                  <a:lnTo>
                    <a:pt x="2561" y="1890"/>
                  </a:lnTo>
                  <a:lnTo>
                    <a:pt x="2568" y="1888"/>
                  </a:lnTo>
                  <a:lnTo>
                    <a:pt x="2576" y="1885"/>
                  </a:lnTo>
                  <a:lnTo>
                    <a:pt x="2589" y="1879"/>
                  </a:lnTo>
                  <a:lnTo>
                    <a:pt x="2601" y="1870"/>
                  </a:lnTo>
                  <a:lnTo>
                    <a:pt x="2624" y="1852"/>
                  </a:lnTo>
                  <a:lnTo>
                    <a:pt x="2651" y="1832"/>
                  </a:lnTo>
                  <a:lnTo>
                    <a:pt x="2664" y="1824"/>
                  </a:lnTo>
                  <a:lnTo>
                    <a:pt x="2676" y="1817"/>
                  </a:lnTo>
                  <a:lnTo>
                    <a:pt x="2689" y="1812"/>
                  </a:lnTo>
                  <a:lnTo>
                    <a:pt x="2701" y="1808"/>
                  </a:lnTo>
                  <a:lnTo>
                    <a:pt x="2714" y="1805"/>
                  </a:lnTo>
                  <a:lnTo>
                    <a:pt x="2727" y="1803"/>
                  </a:lnTo>
                  <a:lnTo>
                    <a:pt x="2741" y="1801"/>
                  </a:lnTo>
                  <a:lnTo>
                    <a:pt x="2756" y="1801"/>
                  </a:lnTo>
                  <a:lnTo>
                    <a:pt x="2764" y="1801"/>
                  </a:lnTo>
                  <a:lnTo>
                    <a:pt x="2770" y="1802"/>
                  </a:lnTo>
                  <a:lnTo>
                    <a:pt x="2777" y="1804"/>
                  </a:lnTo>
                  <a:lnTo>
                    <a:pt x="2783" y="1807"/>
                  </a:lnTo>
                  <a:lnTo>
                    <a:pt x="2794" y="1812"/>
                  </a:lnTo>
                  <a:lnTo>
                    <a:pt x="2805" y="1818"/>
                  </a:lnTo>
                  <a:lnTo>
                    <a:pt x="2815" y="1824"/>
                  </a:lnTo>
                  <a:lnTo>
                    <a:pt x="2827" y="1829"/>
                  </a:lnTo>
                  <a:lnTo>
                    <a:pt x="2834" y="1831"/>
                  </a:lnTo>
                  <a:lnTo>
                    <a:pt x="2840" y="1834"/>
                  </a:lnTo>
                  <a:lnTo>
                    <a:pt x="2847" y="1835"/>
                  </a:lnTo>
                  <a:lnTo>
                    <a:pt x="2854" y="1835"/>
                  </a:lnTo>
                  <a:lnTo>
                    <a:pt x="2873" y="1835"/>
                  </a:lnTo>
                  <a:lnTo>
                    <a:pt x="2889" y="1834"/>
                  </a:lnTo>
                  <a:lnTo>
                    <a:pt x="2898" y="1832"/>
                  </a:lnTo>
                  <a:lnTo>
                    <a:pt x="2905" y="1829"/>
                  </a:lnTo>
                  <a:lnTo>
                    <a:pt x="2913" y="1826"/>
                  </a:lnTo>
                  <a:lnTo>
                    <a:pt x="2920" y="1821"/>
                  </a:lnTo>
                  <a:lnTo>
                    <a:pt x="2927" y="1814"/>
                  </a:lnTo>
                  <a:lnTo>
                    <a:pt x="2932" y="1808"/>
                  </a:lnTo>
                  <a:lnTo>
                    <a:pt x="2936" y="1800"/>
                  </a:lnTo>
                  <a:lnTo>
                    <a:pt x="2940" y="1792"/>
                  </a:lnTo>
                  <a:lnTo>
                    <a:pt x="2944" y="1785"/>
                  </a:lnTo>
                  <a:lnTo>
                    <a:pt x="2947" y="1778"/>
                  </a:lnTo>
                  <a:lnTo>
                    <a:pt x="2953" y="1771"/>
                  </a:lnTo>
                  <a:lnTo>
                    <a:pt x="2959" y="1764"/>
                  </a:lnTo>
                  <a:lnTo>
                    <a:pt x="2971" y="1755"/>
                  </a:lnTo>
                  <a:lnTo>
                    <a:pt x="2984" y="1746"/>
                  </a:lnTo>
                  <a:lnTo>
                    <a:pt x="2996" y="1740"/>
                  </a:lnTo>
                  <a:lnTo>
                    <a:pt x="3008" y="1734"/>
                  </a:lnTo>
                  <a:lnTo>
                    <a:pt x="3020" y="1730"/>
                  </a:lnTo>
                  <a:lnTo>
                    <a:pt x="3033" y="1727"/>
                  </a:lnTo>
                  <a:lnTo>
                    <a:pt x="3048" y="1723"/>
                  </a:lnTo>
                  <a:lnTo>
                    <a:pt x="3063" y="1720"/>
                  </a:lnTo>
                  <a:lnTo>
                    <a:pt x="3076" y="1714"/>
                  </a:lnTo>
                  <a:lnTo>
                    <a:pt x="3089" y="1708"/>
                  </a:lnTo>
                  <a:lnTo>
                    <a:pt x="3103" y="1708"/>
                  </a:lnTo>
                  <a:lnTo>
                    <a:pt x="3116" y="1708"/>
                  </a:lnTo>
                  <a:lnTo>
                    <a:pt x="3129" y="1708"/>
                  </a:lnTo>
                  <a:lnTo>
                    <a:pt x="3144" y="1708"/>
                  </a:lnTo>
                  <a:lnTo>
                    <a:pt x="3148" y="1708"/>
                  </a:lnTo>
                  <a:lnTo>
                    <a:pt x="3152" y="1709"/>
                  </a:lnTo>
                  <a:lnTo>
                    <a:pt x="3152" y="1709"/>
                  </a:lnTo>
                  <a:lnTo>
                    <a:pt x="3151" y="1704"/>
                  </a:lnTo>
                  <a:lnTo>
                    <a:pt x="3149" y="1700"/>
                  </a:lnTo>
                  <a:lnTo>
                    <a:pt x="3150" y="1689"/>
                  </a:lnTo>
                  <a:lnTo>
                    <a:pt x="3151" y="1679"/>
                  </a:lnTo>
                  <a:lnTo>
                    <a:pt x="3154" y="1669"/>
                  </a:lnTo>
                  <a:lnTo>
                    <a:pt x="3156" y="1661"/>
                  </a:lnTo>
                  <a:lnTo>
                    <a:pt x="3160" y="1642"/>
                  </a:lnTo>
                  <a:lnTo>
                    <a:pt x="3163" y="1622"/>
                  </a:lnTo>
                  <a:lnTo>
                    <a:pt x="3166" y="1602"/>
                  </a:lnTo>
                  <a:lnTo>
                    <a:pt x="3170" y="1585"/>
                  </a:lnTo>
                  <a:lnTo>
                    <a:pt x="3173" y="1578"/>
                  </a:lnTo>
                  <a:lnTo>
                    <a:pt x="3176" y="1570"/>
                  </a:lnTo>
                  <a:lnTo>
                    <a:pt x="3182" y="1564"/>
                  </a:lnTo>
                  <a:lnTo>
                    <a:pt x="3189" y="1557"/>
                  </a:lnTo>
                  <a:lnTo>
                    <a:pt x="3201" y="1548"/>
                  </a:lnTo>
                  <a:lnTo>
                    <a:pt x="3213" y="1540"/>
                  </a:lnTo>
                  <a:lnTo>
                    <a:pt x="3226" y="1533"/>
                  </a:lnTo>
                  <a:lnTo>
                    <a:pt x="3238" y="1526"/>
                  </a:lnTo>
                  <a:lnTo>
                    <a:pt x="3250" y="1520"/>
                  </a:lnTo>
                  <a:lnTo>
                    <a:pt x="3260" y="1515"/>
                  </a:lnTo>
                  <a:lnTo>
                    <a:pt x="3273" y="1511"/>
                  </a:lnTo>
                  <a:lnTo>
                    <a:pt x="3285" y="1506"/>
                  </a:lnTo>
                  <a:lnTo>
                    <a:pt x="3297" y="1503"/>
                  </a:lnTo>
                  <a:lnTo>
                    <a:pt x="3310" y="1500"/>
                  </a:lnTo>
                  <a:lnTo>
                    <a:pt x="3323" y="1498"/>
                  </a:lnTo>
                  <a:lnTo>
                    <a:pt x="3336" y="1495"/>
                  </a:lnTo>
                  <a:lnTo>
                    <a:pt x="3363" y="1493"/>
                  </a:lnTo>
                  <a:lnTo>
                    <a:pt x="3393" y="1493"/>
                  </a:lnTo>
                  <a:lnTo>
                    <a:pt x="3393" y="1478"/>
                  </a:lnTo>
                  <a:lnTo>
                    <a:pt x="3393" y="1464"/>
                  </a:lnTo>
                  <a:lnTo>
                    <a:pt x="3393" y="1459"/>
                  </a:lnTo>
                  <a:lnTo>
                    <a:pt x="3391" y="1454"/>
                  </a:lnTo>
                  <a:lnTo>
                    <a:pt x="3389" y="1451"/>
                  </a:lnTo>
                  <a:lnTo>
                    <a:pt x="3386" y="1447"/>
                  </a:lnTo>
                  <a:lnTo>
                    <a:pt x="3379" y="1440"/>
                  </a:lnTo>
                  <a:lnTo>
                    <a:pt x="3372" y="1434"/>
                  </a:lnTo>
                  <a:lnTo>
                    <a:pt x="3364" y="1426"/>
                  </a:lnTo>
                  <a:lnTo>
                    <a:pt x="3358" y="1419"/>
                  </a:lnTo>
                  <a:lnTo>
                    <a:pt x="3353" y="1416"/>
                  </a:lnTo>
                  <a:lnTo>
                    <a:pt x="3349" y="1413"/>
                  </a:lnTo>
                  <a:lnTo>
                    <a:pt x="3345" y="1412"/>
                  </a:lnTo>
                  <a:lnTo>
                    <a:pt x="3339" y="1411"/>
                  </a:lnTo>
                  <a:lnTo>
                    <a:pt x="3325" y="1411"/>
                  </a:lnTo>
                  <a:lnTo>
                    <a:pt x="3312" y="1411"/>
                  </a:lnTo>
                  <a:lnTo>
                    <a:pt x="3299" y="1411"/>
                  </a:lnTo>
                  <a:lnTo>
                    <a:pt x="3285" y="1411"/>
                  </a:lnTo>
                  <a:lnTo>
                    <a:pt x="3258" y="1412"/>
                  </a:lnTo>
                  <a:lnTo>
                    <a:pt x="3231" y="1411"/>
                  </a:lnTo>
                  <a:lnTo>
                    <a:pt x="3226" y="1410"/>
                  </a:lnTo>
                  <a:lnTo>
                    <a:pt x="3220" y="1408"/>
                  </a:lnTo>
                  <a:lnTo>
                    <a:pt x="3215" y="1406"/>
                  </a:lnTo>
                  <a:lnTo>
                    <a:pt x="3211" y="1404"/>
                  </a:lnTo>
                  <a:lnTo>
                    <a:pt x="3208" y="1399"/>
                  </a:lnTo>
                  <a:lnTo>
                    <a:pt x="3205" y="1396"/>
                  </a:lnTo>
                  <a:lnTo>
                    <a:pt x="3203" y="1391"/>
                  </a:lnTo>
                  <a:lnTo>
                    <a:pt x="3203" y="1385"/>
                  </a:lnTo>
                  <a:lnTo>
                    <a:pt x="3203" y="1371"/>
                  </a:lnTo>
                  <a:lnTo>
                    <a:pt x="3204" y="1358"/>
                  </a:lnTo>
                  <a:lnTo>
                    <a:pt x="3206" y="1346"/>
                  </a:lnTo>
                  <a:lnTo>
                    <a:pt x="3210" y="1335"/>
                  </a:lnTo>
                  <a:lnTo>
                    <a:pt x="3213" y="1323"/>
                  </a:lnTo>
                  <a:lnTo>
                    <a:pt x="3218" y="1311"/>
                  </a:lnTo>
                  <a:lnTo>
                    <a:pt x="3224" y="1300"/>
                  </a:lnTo>
                  <a:lnTo>
                    <a:pt x="3231" y="1288"/>
                  </a:lnTo>
                  <a:lnTo>
                    <a:pt x="3231" y="1288"/>
                  </a:lnTo>
                  <a:lnTo>
                    <a:pt x="3216" y="1288"/>
                  </a:lnTo>
                  <a:lnTo>
                    <a:pt x="3201" y="1286"/>
                  </a:lnTo>
                  <a:lnTo>
                    <a:pt x="3188" y="1284"/>
                  </a:lnTo>
                  <a:lnTo>
                    <a:pt x="3175" y="1282"/>
                  </a:lnTo>
                  <a:lnTo>
                    <a:pt x="3161" y="1278"/>
                  </a:lnTo>
                  <a:lnTo>
                    <a:pt x="3148" y="1276"/>
                  </a:lnTo>
                  <a:lnTo>
                    <a:pt x="3133" y="1275"/>
                  </a:lnTo>
                  <a:lnTo>
                    <a:pt x="3118" y="1274"/>
                  </a:lnTo>
                  <a:lnTo>
                    <a:pt x="3097" y="1274"/>
                  </a:lnTo>
                  <a:lnTo>
                    <a:pt x="3080" y="1274"/>
                  </a:lnTo>
                  <a:lnTo>
                    <a:pt x="3062" y="1274"/>
                  </a:lnTo>
                  <a:lnTo>
                    <a:pt x="3041" y="1274"/>
                  </a:lnTo>
                  <a:lnTo>
                    <a:pt x="3031" y="1275"/>
                  </a:lnTo>
                  <a:lnTo>
                    <a:pt x="3022" y="1276"/>
                  </a:lnTo>
                  <a:lnTo>
                    <a:pt x="3012" y="1278"/>
                  </a:lnTo>
                  <a:lnTo>
                    <a:pt x="3003" y="1281"/>
                  </a:lnTo>
                  <a:lnTo>
                    <a:pt x="2987" y="1287"/>
                  </a:lnTo>
                  <a:lnTo>
                    <a:pt x="2972" y="1294"/>
                  </a:lnTo>
                  <a:lnTo>
                    <a:pt x="2957" y="1301"/>
                  </a:lnTo>
                  <a:lnTo>
                    <a:pt x="2941" y="1308"/>
                  </a:lnTo>
                  <a:lnTo>
                    <a:pt x="2932" y="1310"/>
                  </a:lnTo>
                  <a:lnTo>
                    <a:pt x="2922" y="1312"/>
                  </a:lnTo>
                  <a:lnTo>
                    <a:pt x="2914" y="1313"/>
                  </a:lnTo>
                  <a:lnTo>
                    <a:pt x="2903" y="1313"/>
                  </a:lnTo>
                  <a:lnTo>
                    <a:pt x="2890" y="1314"/>
                  </a:lnTo>
                  <a:lnTo>
                    <a:pt x="2878" y="1313"/>
                  </a:lnTo>
                  <a:lnTo>
                    <a:pt x="2873" y="1312"/>
                  </a:lnTo>
                  <a:lnTo>
                    <a:pt x="2867" y="1311"/>
                  </a:lnTo>
                  <a:lnTo>
                    <a:pt x="2861" y="1309"/>
                  </a:lnTo>
                  <a:lnTo>
                    <a:pt x="2855" y="1305"/>
                  </a:lnTo>
                  <a:lnTo>
                    <a:pt x="2850" y="1300"/>
                  </a:lnTo>
                  <a:lnTo>
                    <a:pt x="2847" y="1294"/>
                  </a:lnTo>
                  <a:lnTo>
                    <a:pt x="2845" y="1290"/>
                  </a:lnTo>
                  <a:lnTo>
                    <a:pt x="2842" y="1288"/>
                  </a:lnTo>
                  <a:lnTo>
                    <a:pt x="2839" y="1286"/>
                  </a:lnTo>
                  <a:lnTo>
                    <a:pt x="2836" y="1286"/>
                  </a:lnTo>
                  <a:lnTo>
                    <a:pt x="2831" y="1286"/>
                  </a:lnTo>
                  <a:lnTo>
                    <a:pt x="2825" y="1287"/>
                  </a:lnTo>
                  <a:lnTo>
                    <a:pt x="2820" y="1288"/>
                  </a:lnTo>
                  <a:lnTo>
                    <a:pt x="2815" y="1290"/>
                  </a:lnTo>
                  <a:lnTo>
                    <a:pt x="2808" y="1296"/>
                  </a:lnTo>
                  <a:lnTo>
                    <a:pt x="2801" y="1303"/>
                  </a:lnTo>
                  <a:lnTo>
                    <a:pt x="2795" y="1312"/>
                  </a:lnTo>
                  <a:lnTo>
                    <a:pt x="2790" y="1321"/>
                  </a:lnTo>
                  <a:lnTo>
                    <a:pt x="2784" y="1331"/>
                  </a:lnTo>
                  <a:lnTo>
                    <a:pt x="2780" y="1341"/>
                  </a:lnTo>
                  <a:lnTo>
                    <a:pt x="2776" y="1352"/>
                  </a:lnTo>
                  <a:lnTo>
                    <a:pt x="2770" y="1362"/>
                  </a:lnTo>
                  <a:lnTo>
                    <a:pt x="2765" y="1371"/>
                  </a:lnTo>
                  <a:lnTo>
                    <a:pt x="2758" y="1380"/>
                  </a:lnTo>
                  <a:lnTo>
                    <a:pt x="2752" y="1387"/>
                  </a:lnTo>
                  <a:lnTo>
                    <a:pt x="2744" y="1393"/>
                  </a:lnTo>
                  <a:lnTo>
                    <a:pt x="2739" y="1395"/>
                  </a:lnTo>
                  <a:lnTo>
                    <a:pt x="2734" y="1396"/>
                  </a:lnTo>
                  <a:lnTo>
                    <a:pt x="2729" y="1397"/>
                  </a:lnTo>
                  <a:lnTo>
                    <a:pt x="2724" y="1397"/>
                  </a:lnTo>
                  <a:lnTo>
                    <a:pt x="2700" y="1397"/>
                  </a:lnTo>
                  <a:lnTo>
                    <a:pt x="2676" y="1395"/>
                  </a:lnTo>
                  <a:lnTo>
                    <a:pt x="2664" y="1393"/>
                  </a:lnTo>
                  <a:lnTo>
                    <a:pt x="2652" y="1390"/>
                  </a:lnTo>
                  <a:lnTo>
                    <a:pt x="2642" y="1387"/>
                  </a:lnTo>
                  <a:lnTo>
                    <a:pt x="2631" y="1383"/>
                  </a:lnTo>
                  <a:lnTo>
                    <a:pt x="2621" y="1379"/>
                  </a:lnTo>
                  <a:lnTo>
                    <a:pt x="2611" y="1373"/>
                  </a:lnTo>
                  <a:lnTo>
                    <a:pt x="2604" y="1367"/>
                  </a:lnTo>
                  <a:lnTo>
                    <a:pt x="2597" y="1360"/>
                  </a:lnTo>
                  <a:lnTo>
                    <a:pt x="2591" y="1353"/>
                  </a:lnTo>
                  <a:lnTo>
                    <a:pt x="2588" y="1343"/>
                  </a:lnTo>
                  <a:lnTo>
                    <a:pt x="2584" y="1333"/>
                  </a:lnTo>
                  <a:lnTo>
                    <a:pt x="2583" y="1323"/>
                  </a:lnTo>
                  <a:lnTo>
                    <a:pt x="2583" y="1304"/>
                  </a:lnTo>
                  <a:lnTo>
                    <a:pt x="2583" y="1288"/>
                  </a:lnTo>
                  <a:lnTo>
                    <a:pt x="2583" y="1272"/>
                  </a:lnTo>
                  <a:lnTo>
                    <a:pt x="2583" y="1254"/>
                  </a:lnTo>
                  <a:lnTo>
                    <a:pt x="2583" y="1243"/>
                  </a:lnTo>
                  <a:lnTo>
                    <a:pt x="2582" y="1233"/>
                  </a:lnTo>
                  <a:lnTo>
                    <a:pt x="2580" y="1223"/>
                  </a:lnTo>
                  <a:lnTo>
                    <a:pt x="2577" y="1215"/>
                  </a:lnTo>
                  <a:lnTo>
                    <a:pt x="2572" y="1206"/>
                  </a:lnTo>
                  <a:lnTo>
                    <a:pt x="2568" y="1198"/>
                  </a:lnTo>
                  <a:lnTo>
                    <a:pt x="2561" y="1191"/>
                  </a:lnTo>
                  <a:lnTo>
                    <a:pt x="2553" y="1184"/>
                  </a:lnTo>
                  <a:lnTo>
                    <a:pt x="2537" y="1175"/>
                  </a:lnTo>
                  <a:lnTo>
                    <a:pt x="2521" y="1167"/>
                  </a:lnTo>
                  <a:lnTo>
                    <a:pt x="2514" y="1163"/>
                  </a:lnTo>
                  <a:lnTo>
                    <a:pt x="2508" y="1157"/>
                  </a:lnTo>
                  <a:lnTo>
                    <a:pt x="2502" y="1151"/>
                  </a:lnTo>
                  <a:lnTo>
                    <a:pt x="2497" y="1142"/>
                  </a:lnTo>
                  <a:lnTo>
                    <a:pt x="2606" y="868"/>
                  </a:lnTo>
                  <a:lnTo>
                    <a:pt x="2603" y="840"/>
                  </a:lnTo>
                  <a:lnTo>
                    <a:pt x="2599" y="815"/>
                  </a:lnTo>
                  <a:lnTo>
                    <a:pt x="2597" y="803"/>
                  </a:lnTo>
                  <a:lnTo>
                    <a:pt x="2593" y="792"/>
                  </a:lnTo>
                  <a:lnTo>
                    <a:pt x="2586" y="781"/>
                  </a:lnTo>
                  <a:lnTo>
                    <a:pt x="2578" y="770"/>
                  </a:lnTo>
                  <a:lnTo>
                    <a:pt x="2572" y="764"/>
                  </a:lnTo>
                  <a:lnTo>
                    <a:pt x="2567" y="760"/>
                  </a:lnTo>
                  <a:lnTo>
                    <a:pt x="2561" y="756"/>
                  </a:lnTo>
                  <a:lnTo>
                    <a:pt x="2555" y="754"/>
                  </a:lnTo>
                  <a:lnTo>
                    <a:pt x="2549" y="751"/>
                  </a:lnTo>
                  <a:lnTo>
                    <a:pt x="2542" y="750"/>
                  </a:lnTo>
                  <a:lnTo>
                    <a:pt x="2536" y="749"/>
                  </a:lnTo>
                  <a:lnTo>
                    <a:pt x="2528" y="748"/>
                  </a:lnTo>
                  <a:lnTo>
                    <a:pt x="2500" y="749"/>
                  </a:lnTo>
                  <a:lnTo>
                    <a:pt x="2469" y="747"/>
                  </a:lnTo>
                  <a:lnTo>
                    <a:pt x="2461" y="746"/>
                  </a:lnTo>
                  <a:lnTo>
                    <a:pt x="2454" y="744"/>
                  </a:lnTo>
                  <a:lnTo>
                    <a:pt x="2447" y="742"/>
                  </a:lnTo>
                  <a:lnTo>
                    <a:pt x="2441" y="738"/>
                  </a:lnTo>
                  <a:lnTo>
                    <a:pt x="2434" y="734"/>
                  </a:lnTo>
                  <a:lnTo>
                    <a:pt x="2429" y="731"/>
                  </a:lnTo>
                  <a:lnTo>
                    <a:pt x="2423" y="725"/>
                  </a:lnTo>
                  <a:lnTo>
                    <a:pt x="2419" y="721"/>
                  </a:lnTo>
                  <a:lnTo>
                    <a:pt x="2410" y="709"/>
                  </a:lnTo>
                  <a:lnTo>
                    <a:pt x="2402" y="697"/>
                  </a:lnTo>
                  <a:lnTo>
                    <a:pt x="2394" y="683"/>
                  </a:lnTo>
                  <a:lnTo>
                    <a:pt x="2388" y="669"/>
                  </a:lnTo>
                  <a:lnTo>
                    <a:pt x="2379" y="638"/>
                  </a:lnTo>
                  <a:lnTo>
                    <a:pt x="2373" y="609"/>
                  </a:lnTo>
                  <a:lnTo>
                    <a:pt x="2369" y="595"/>
                  </a:lnTo>
                  <a:lnTo>
                    <a:pt x="2367" y="581"/>
                  </a:lnTo>
                  <a:lnTo>
                    <a:pt x="2365" y="565"/>
                  </a:lnTo>
                  <a:lnTo>
                    <a:pt x="2365" y="548"/>
                  </a:lnTo>
                  <a:lnTo>
                    <a:pt x="2366" y="528"/>
                  </a:lnTo>
                  <a:lnTo>
                    <a:pt x="2368" y="509"/>
                  </a:lnTo>
                  <a:lnTo>
                    <a:pt x="2372" y="492"/>
                  </a:lnTo>
                  <a:lnTo>
                    <a:pt x="2376" y="476"/>
                  </a:lnTo>
                  <a:lnTo>
                    <a:pt x="2380" y="459"/>
                  </a:lnTo>
                  <a:lnTo>
                    <a:pt x="2383" y="441"/>
                  </a:lnTo>
                  <a:lnTo>
                    <a:pt x="2387" y="423"/>
                  </a:lnTo>
                  <a:lnTo>
                    <a:pt x="2388" y="403"/>
                  </a:lnTo>
                  <a:lnTo>
                    <a:pt x="2387" y="396"/>
                  </a:lnTo>
                  <a:lnTo>
                    <a:pt x="2386" y="390"/>
                  </a:lnTo>
                  <a:lnTo>
                    <a:pt x="2383" y="384"/>
                  </a:lnTo>
                  <a:lnTo>
                    <a:pt x="2380" y="379"/>
                  </a:lnTo>
                  <a:lnTo>
                    <a:pt x="2378" y="374"/>
                  </a:lnTo>
                  <a:lnTo>
                    <a:pt x="2376" y="368"/>
                  </a:lnTo>
                  <a:lnTo>
                    <a:pt x="2374" y="363"/>
                  </a:lnTo>
                  <a:lnTo>
                    <a:pt x="2374" y="356"/>
                  </a:lnTo>
                  <a:lnTo>
                    <a:pt x="2374" y="337"/>
                  </a:lnTo>
                  <a:lnTo>
                    <a:pt x="2374" y="320"/>
                  </a:lnTo>
                  <a:lnTo>
                    <a:pt x="2374" y="303"/>
                  </a:lnTo>
                  <a:lnTo>
                    <a:pt x="2374" y="285"/>
                  </a:lnTo>
                  <a:lnTo>
                    <a:pt x="2373" y="274"/>
                  </a:lnTo>
                  <a:lnTo>
                    <a:pt x="2372" y="263"/>
                  </a:lnTo>
                  <a:lnTo>
                    <a:pt x="2369" y="252"/>
                  </a:lnTo>
                  <a:lnTo>
                    <a:pt x="2366" y="243"/>
                  </a:lnTo>
                  <a:lnTo>
                    <a:pt x="2363" y="233"/>
                  </a:lnTo>
                  <a:lnTo>
                    <a:pt x="2359" y="224"/>
                  </a:lnTo>
                  <a:lnTo>
                    <a:pt x="2353" y="215"/>
                  </a:lnTo>
                  <a:lnTo>
                    <a:pt x="2348" y="207"/>
                  </a:lnTo>
                  <a:lnTo>
                    <a:pt x="2340" y="199"/>
                  </a:lnTo>
                  <a:lnTo>
                    <a:pt x="2334" y="193"/>
                  </a:lnTo>
                  <a:lnTo>
                    <a:pt x="2326" y="188"/>
                  </a:lnTo>
                  <a:lnTo>
                    <a:pt x="2318" y="182"/>
                  </a:lnTo>
                  <a:lnTo>
                    <a:pt x="2308" y="178"/>
                  </a:lnTo>
                  <a:lnTo>
                    <a:pt x="2299" y="176"/>
                  </a:lnTo>
                  <a:lnTo>
                    <a:pt x="2288" y="174"/>
                  </a:lnTo>
                  <a:lnTo>
                    <a:pt x="2278" y="172"/>
                  </a:lnTo>
                  <a:lnTo>
                    <a:pt x="2266" y="174"/>
                  </a:lnTo>
                  <a:lnTo>
                    <a:pt x="2255" y="175"/>
                  </a:lnTo>
                  <a:lnTo>
                    <a:pt x="2245" y="177"/>
                  </a:lnTo>
                  <a:lnTo>
                    <a:pt x="2235" y="179"/>
                  </a:lnTo>
                  <a:lnTo>
                    <a:pt x="2226" y="180"/>
                  </a:lnTo>
                  <a:lnTo>
                    <a:pt x="2215" y="182"/>
                  </a:lnTo>
                  <a:lnTo>
                    <a:pt x="2204" y="183"/>
                  </a:lnTo>
                  <a:lnTo>
                    <a:pt x="2192" y="184"/>
                  </a:lnTo>
                  <a:lnTo>
                    <a:pt x="2186" y="183"/>
                  </a:lnTo>
                  <a:lnTo>
                    <a:pt x="2179" y="182"/>
                  </a:lnTo>
                  <a:lnTo>
                    <a:pt x="2173" y="180"/>
                  </a:lnTo>
                  <a:lnTo>
                    <a:pt x="2166" y="179"/>
                  </a:lnTo>
                  <a:lnTo>
                    <a:pt x="2161" y="177"/>
                  </a:lnTo>
                  <a:lnTo>
                    <a:pt x="2154" y="175"/>
                  </a:lnTo>
                  <a:lnTo>
                    <a:pt x="2148" y="174"/>
                  </a:lnTo>
                  <a:lnTo>
                    <a:pt x="2140" y="172"/>
                  </a:lnTo>
                  <a:lnTo>
                    <a:pt x="2134" y="174"/>
                  </a:lnTo>
                  <a:lnTo>
                    <a:pt x="2127" y="175"/>
                  </a:lnTo>
                  <a:lnTo>
                    <a:pt x="2122" y="177"/>
                  </a:lnTo>
                  <a:lnTo>
                    <a:pt x="2116" y="179"/>
                  </a:lnTo>
                  <a:lnTo>
                    <a:pt x="2106" y="185"/>
                  </a:lnTo>
                  <a:lnTo>
                    <a:pt x="2096" y="193"/>
                  </a:lnTo>
                  <a:lnTo>
                    <a:pt x="2086" y="199"/>
                  </a:lnTo>
                  <a:lnTo>
                    <a:pt x="2076" y="206"/>
                  </a:lnTo>
                  <a:lnTo>
                    <a:pt x="2070" y="208"/>
                  </a:lnTo>
                  <a:lnTo>
                    <a:pt x="2064" y="210"/>
                  </a:lnTo>
                  <a:lnTo>
                    <a:pt x="2058" y="211"/>
                  </a:lnTo>
                  <a:lnTo>
                    <a:pt x="2051" y="212"/>
                  </a:lnTo>
                  <a:lnTo>
                    <a:pt x="2039" y="211"/>
                  </a:lnTo>
                  <a:lnTo>
                    <a:pt x="2028" y="210"/>
                  </a:lnTo>
                  <a:lnTo>
                    <a:pt x="2017" y="208"/>
                  </a:lnTo>
                  <a:lnTo>
                    <a:pt x="2008" y="207"/>
                  </a:lnTo>
                  <a:lnTo>
                    <a:pt x="1998" y="205"/>
                  </a:lnTo>
                  <a:lnTo>
                    <a:pt x="1987" y="203"/>
                  </a:lnTo>
                  <a:lnTo>
                    <a:pt x="1976" y="202"/>
                  </a:lnTo>
                  <a:lnTo>
                    <a:pt x="1964" y="201"/>
                  </a:lnTo>
                  <a:lnTo>
                    <a:pt x="1927" y="202"/>
                  </a:lnTo>
                  <a:lnTo>
                    <a:pt x="1893" y="205"/>
                  </a:lnTo>
                  <a:lnTo>
                    <a:pt x="1876" y="207"/>
                  </a:lnTo>
                  <a:lnTo>
                    <a:pt x="1861" y="210"/>
                  </a:lnTo>
                  <a:lnTo>
                    <a:pt x="1846" y="214"/>
                  </a:lnTo>
                  <a:lnTo>
                    <a:pt x="1830" y="217"/>
                  </a:lnTo>
                  <a:lnTo>
                    <a:pt x="1815" y="222"/>
                  </a:lnTo>
                  <a:lnTo>
                    <a:pt x="1800" y="228"/>
                  </a:lnTo>
                  <a:lnTo>
                    <a:pt x="1785" y="233"/>
                  </a:lnTo>
                  <a:lnTo>
                    <a:pt x="1770" y="239"/>
                  </a:lnTo>
                  <a:lnTo>
                    <a:pt x="1739" y="256"/>
                  </a:lnTo>
                  <a:lnTo>
                    <a:pt x="1706" y="274"/>
                  </a:lnTo>
                  <a:lnTo>
                    <a:pt x="1702" y="264"/>
                  </a:lnTo>
                  <a:lnTo>
                    <a:pt x="1699" y="253"/>
                  </a:lnTo>
                  <a:lnTo>
                    <a:pt x="1693" y="245"/>
                  </a:lnTo>
                  <a:lnTo>
                    <a:pt x="1688" y="236"/>
                  </a:lnTo>
                  <a:lnTo>
                    <a:pt x="1682" y="229"/>
                  </a:lnTo>
                  <a:lnTo>
                    <a:pt x="1675" y="223"/>
                  </a:lnTo>
                  <a:lnTo>
                    <a:pt x="1671" y="221"/>
                  </a:lnTo>
                  <a:lnTo>
                    <a:pt x="1666" y="219"/>
                  </a:lnTo>
                  <a:lnTo>
                    <a:pt x="1661" y="218"/>
                  </a:lnTo>
                  <a:lnTo>
                    <a:pt x="1655" y="218"/>
                  </a:lnTo>
                  <a:lnTo>
                    <a:pt x="1650" y="218"/>
                  </a:lnTo>
                  <a:lnTo>
                    <a:pt x="1646" y="219"/>
                  </a:lnTo>
                  <a:lnTo>
                    <a:pt x="1641" y="221"/>
                  </a:lnTo>
                  <a:lnTo>
                    <a:pt x="1637" y="223"/>
                  </a:lnTo>
                  <a:lnTo>
                    <a:pt x="1630" y="230"/>
                  </a:lnTo>
                  <a:lnTo>
                    <a:pt x="1622" y="236"/>
                  </a:lnTo>
                  <a:lnTo>
                    <a:pt x="1616" y="243"/>
                  </a:lnTo>
                  <a:lnTo>
                    <a:pt x="1608" y="248"/>
                  </a:lnTo>
                  <a:lnTo>
                    <a:pt x="1604" y="251"/>
                  </a:lnTo>
                  <a:lnTo>
                    <a:pt x="1599" y="252"/>
                  </a:lnTo>
                  <a:lnTo>
                    <a:pt x="1594" y="253"/>
                  </a:lnTo>
                  <a:lnTo>
                    <a:pt x="1589" y="255"/>
                  </a:lnTo>
                  <a:lnTo>
                    <a:pt x="1583" y="253"/>
                  </a:lnTo>
                  <a:lnTo>
                    <a:pt x="1580" y="251"/>
                  </a:lnTo>
                  <a:lnTo>
                    <a:pt x="1576" y="248"/>
                  </a:lnTo>
                  <a:lnTo>
                    <a:pt x="1573" y="245"/>
                  </a:lnTo>
                  <a:lnTo>
                    <a:pt x="1568" y="235"/>
                  </a:lnTo>
                  <a:lnTo>
                    <a:pt x="1564" y="226"/>
                  </a:lnTo>
                  <a:lnTo>
                    <a:pt x="1558" y="219"/>
                  </a:lnTo>
                  <a:lnTo>
                    <a:pt x="1553" y="212"/>
                  </a:lnTo>
                  <a:lnTo>
                    <a:pt x="1551" y="210"/>
                  </a:lnTo>
                  <a:lnTo>
                    <a:pt x="1549" y="206"/>
                  </a:lnTo>
                  <a:lnTo>
                    <a:pt x="1547" y="203"/>
                  </a:lnTo>
                  <a:lnTo>
                    <a:pt x="1546" y="198"/>
                  </a:lnTo>
                  <a:lnTo>
                    <a:pt x="1547" y="187"/>
                  </a:lnTo>
                  <a:lnTo>
                    <a:pt x="1549" y="177"/>
                  </a:lnTo>
                  <a:lnTo>
                    <a:pt x="1551" y="167"/>
                  </a:lnTo>
                  <a:lnTo>
                    <a:pt x="1554" y="157"/>
                  </a:lnTo>
                  <a:lnTo>
                    <a:pt x="1556" y="149"/>
                  </a:lnTo>
                  <a:lnTo>
                    <a:pt x="1558" y="139"/>
                  </a:lnTo>
                  <a:lnTo>
                    <a:pt x="1560" y="128"/>
                  </a:lnTo>
                  <a:lnTo>
                    <a:pt x="1560" y="116"/>
                  </a:lnTo>
                  <a:lnTo>
                    <a:pt x="1560" y="109"/>
                  </a:lnTo>
                  <a:lnTo>
                    <a:pt x="1558" y="100"/>
                  </a:lnTo>
                  <a:lnTo>
                    <a:pt x="1555" y="91"/>
                  </a:lnTo>
                  <a:lnTo>
                    <a:pt x="1552" y="84"/>
                  </a:lnTo>
                  <a:lnTo>
                    <a:pt x="1546" y="77"/>
                  </a:lnTo>
                  <a:lnTo>
                    <a:pt x="1541" y="71"/>
                  </a:lnTo>
                  <a:lnTo>
                    <a:pt x="1534" y="66"/>
                  </a:lnTo>
                  <a:lnTo>
                    <a:pt x="1527" y="61"/>
                  </a:lnTo>
                  <a:lnTo>
                    <a:pt x="1515" y="58"/>
                  </a:lnTo>
                  <a:lnTo>
                    <a:pt x="1504" y="55"/>
                  </a:lnTo>
                  <a:lnTo>
                    <a:pt x="1493" y="53"/>
                  </a:lnTo>
                  <a:lnTo>
                    <a:pt x="1482" y="49"/>
                  </a:lnTo>
                  <a:lnTo>
                    <a:pt x="1469" y="47"/>
                  </a:lnTo>
                  <a:lnTo>
                    <a:pt x="1456" y="45"/>
                  </a:lnTo>
                  <a:lnTo>
                    <a:pt x="1444" y="44"/>
                  </a:lnTo>
                  <a:lnTo>
                    <a:pt x="1432" y="44"/>
                  </a:lnTo>
                  <a:lnTo>
                    <a:pt x="1408" y="44"/>
                  </a:lnTo>
                  <a:lnTo>
                    <a:pt x="1381" y="44"/>
                  </a:lnTo>
                  <a:lnTo>
                    <a:pt x="1341" y="45"/>
                  </a:lnTo>
                  <a:lnTo>
                    <a:pt x="1307" y="46"/>
                  </a:lnTo>
                  <a:lnTo>
                    <a:pt x="1272" y="48"/>
                  </a:lnTo>
                  <a:lnTo>
                    <a:pt x="1233" y="49"/>
                  </a:lnTo>
                  <a:lnTo>
                    <a:pt x="1198" y="44"/>
                  </a:lnTo>
                  <a:lnTo>
                    <a:pt x="1166" y="40"/>
                  </a:lnTo>
                  <a:lnTo>
                    <a:pt x="1152" y="36"/>
                  </a:lnTo>
                  <a:lnTo>
                    <a:pt x="1136" y="33"/>
                  </a:lnTo>
                  <a:lnTo>
                    <a:pt x="1121" y="28"/>
                  </a:lnTo>
                  <a:lnTo>
                    <a:pt x="1104" y="21"/>
                  </a:lnTo>
                  <a:lnTo>
                    <a:pt x="1090" y="14"/>
                  </a:lnTo>
                  <a:lnTo>
                    <a:pt x="1077" y="6"/>
                  </a:lnTo>
                  <a:lnTo>
                    <a:pt x="1070" y="4"/>
                  </a:lnTo>
                  <a:lnTo>
                    <a:pt x="1064" y="1"/>
                  </a:lnTo>
                  <a:lnTo>
                    <a:pt x="1056" y="0"/>
                  </a:lnTo>
                  <a:lnTo>
                    <a:pt x="1047" y="0"/>
                  </a:lnTo>
                  <a:lnTo>
                    <a:pt x="1032" y="0"/>
                  </a:lnTo>
                  <a:lnTo>
                    <a:pt x="1018" y="3"/>
                  </a:lnTo>
                  <a:lnTo>
                    <a:pt x="1004" y="7"/>
                  </a:lnTo>
                  <a:lnTo>
                    <a:pt x="992" y="14"/>
                  </a:lnTo>
                  <a:lnTo>
                    <a:pt x="980" y="21"/>
                  </a:lnTo>
                  <a:lnTo>
                    <a:pt x="970" y="31"/>
                  </a:lnTo>
                  <a:lnTo>
                    <a:pt x="960" y="43"/>
                  </a:lnTo>
                  <a:lnTo>
                    <a:pt x="951" y="55"/>
                  </a:lnTo>
                  <a:lnTo>
                    <a:pt x="951" y="55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59">
              <a:extLst>
                <a:ext uri="{FF2B5EF4-FFF2-40B4-BE49-F238E27FC236}">
                  <a16:creationId xmlns:a16="http://schemas.microsoft.com/office/drawing/2014/main" id="{178B6BAD-9B51-453A-A69E-A380818FC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0238" y="3913188"/>
              <a:ext cx="1139825" cy="1157288"/>
            </a:xfrm>
            <a:custGeom>
              <a:avLst/>
              <a:gdLst>
                <a:gd name="T0" fmla="*/ 2819 w 2873"/>
                <a:gd name="T1" fmla="*/ 1159 h 2916"/>
                <a:gd name="T2" fmla="*/ 2788 w 2873"/>
                <a:gd name="T3" fmla="*/ 1260 h 2916"/>
                <a:gd name="T4" fmla="*/ 2690 w 2873"/>
                <a:gd name="T5" fmla="*/ 1348 h 2916"/>
                <a:gd name="T6" fmla="*/ 2575 w 2873"/>
                <a:gd name="T7" fmla="*/ 1444 h 2916"/>
                <a:gd name="T8" fmla="*/ 2458 w 2873"/>
                <a:gd name="T9" fmla="*/ 1631 h 2916"/>
                <a:gd name="T10" fmla="*/ 2399 w 2873"/>
                <a:gd name="T11" fmla="*/ 1817 h 2916"/>
                <a:gd name="T12" fmla="*/ 2265 w 2873"/>
                <a:gd name="T13" fmla="*/ 1971 h 2916"/>
                <a:gd name="T14" fmla="*/ 2157 w 2873"/>
                <a:gd name="T15" fmla="*/ 2115 h 2916"/>
                <a:gd name="T16" fmla="*/ 1961 w 2873"/>
                <a:gd name="T17" fmla="*/ 2174 h 2916"/>
                <a:gd name="T18" fmla="*/ 1753 w 2873"/>
                <a:gd name="T19" fmla="*/ 2352 h 2916"/>
                <a:gd name="T20" fmla="*/ 1662 w 2873"/>
                <a:gd name="T21" fmla="*/ 2481 h 2916"/>
                <a:gd name="T22" fmla="*/ 1585 w 2873"/>
                <a:gd name="T23" fmla="*/ 2621 h 2916"/>
                <a:gd name="T24" fmla="*/ 1482 w 2873"/>
                <a:gd name="T25" fmla="*/ 2742 h 2916"/>
                <a:gd name="T26" fmla="*/ 1379 w 2873"/>
                <a:gd name="T27" fmla="*/ 2916 h 2916"/>
                <a:gd name="T28" fmla="*/ 1286 w 2873"/>
                <a:gd name="T29" fmla="*/ 2792 h 2916"/>
                <a:gd name="T30" fmla="*/ 1210 w 2873"/>
                <a:gd name="T31" fmla="*/ 2789 h 2916"/>
                <a:gd name="T32" fmla="*/ 1012 w 2873"/>
                <a:gd name="T33" fmla="*/ 2790 h 2916"/>
                <a:gd name="T34" fmla="*/ 905 w 2873"/>
                <a:gd name="T35" fmla="*/ 2673 h 2916"/>
                <a:gd name="T36" fmla="*/ 884 w 2873"/>
                <a:gd name="T37" fmla="*/ 2520 h 2916"/>
                <a:gd name="T38" fmla="*/ 853 w 2873"/>
                <a:gd name="T39" fmla="*/ 2381 h 2916"/>
                <a:gd name="T40" fmla="*/ 873 w 2873"/>
                <a:gd name="T41" fmla="*/ 2282 h 2916"/>
                <a:gd name="T42" fmla="*/ 870 w 2873"/>
                <a:gd name="T43" fmla="*/ 2125 h 2916"/>
                <a:gd name="T44" fmla="*/ 693 w 2873"/>
                <a:gd name="T45" fmla="*/ 2031 h 2916"/>
                <a:gd name="T46" fmla="*/ 493 w 2873"/>
                <a:gd name="T47" fmla="*/ 2070 h 2916"/>
                <a:gd name="T48" fmla="*/ 363 w 2873"/>
                <a:gd name="T49" fmla="*/ 2021 h 2916"/>
                <a:gd name="T50" fmla="*/ 130 w 2873"/>
                <a:gd name="T51" fmla="*/ 1962 h 2916"/>
                <a:gd name="T52" fmla="*/ 1 w 2873"/>
                <a:gd name="T53" fmla="*/ 1870 h 2916"/>
                <a:gd name="T54" fmla="*/ 67 w 2873"/>
                <a:gd name="T55" fmla="*/ 1686 h 2916"/>
                <a:gd name="T56" fmla="*/ 84 w 2873"/>
                <a:gd name="T57" fmla="*/ 1517 h 2916"/>
                <a:gd name="T58" fmla="*/ 81 w 2873"/>
                <a:gd name="T59" fmla="*/ 1390 h 2916"/>
                <a:gd name="T60" fmla="*/ 36 w 2873"/>
                <a:gd name="T61" fmla="*/ 1312 h 2916"/>
                <a:gd name="T62" fmla="*/ 21 w 2873"/>
                <a:gd name="T63" fmla="*/ 1203 h 2916"/>
                <a:gd name="T64" fmla="*/ 65 w 2873"/>
                <a:gd name="T65" fmla="*/ 1139 h 2916"/>
                <a:gd name="T66" fmla="*/ 110 w 2873"/>
                <a:gd name="T67" fmla="*/ 1029 h 2916"/>
                <a:gd name="T68" fmla="*/ 33 w 2873"/>
                <a:gd name="T69" fmla="*/ 953 h 2916"/>
                <a:gd name="T70" fmla="*/ 95 w 2873"/>
                <a:gd name="T71" fmla="*/ 801 h 2916"/>
                <a:gd name="T72" fmla="*/ 174 w 2873"/>
                <a:gd name="T73" fmla="*/ 593 h 2916"/>
                <a:gd name="T74" fmla="*/ 233 w 2873"/>
                <a:gd name="T75" fmla="*/ 344 h 2916"/>
                <a:gd name="T76" fmla="*/ 258 w 2873"/>
                <a:gd name="T77" fmla="*/ 236 h 2916"/>
                <a:gd name="T78" fmla="*/ 178 w 2873"/>
                <a:gd name="T79" fmla="*/ 68 h 2916"/>
                <a:gd name="T80" fmla="*/ 248 w 2873"/>
                <a:gd name="T81" fmla="*/ 81 h 2916"/>
                <a:gd name="T82" fmla="*/ 389 w 2873"/>
                <a:gd name="T83" fmla="*/ 216 h 2916"/>
                <a:gd name="T84" fmla="*/ 507 w 2873"/>
                <a:gd name="T85" fmla="*/ 175 h 2916"/>
                <a:gd name="T86" fmla="*/ 642 w 2873"/>
                <a:gd name="T87" fmla="*/ 141 h 2916"/>
                <a:gd name="T88" fmla="*/ 689 w 2873"/>
                <a:gd name="T89" fmla="*/ 74 h 2916"/>
                <a:gd name="T90" fmla="*/ 875 w 2873"/>
                <a:gd name="T91" fmla="*/ 16 h 2916"/>
                <a:gd name="T92" fmla="*/ 945 w 2873"/>
                <a:gd name="T93" fmla="*/ 73 h 2916"/>
                <a:gd name="T94" fmla="*/ 1114 w 2873"/>
                <a:gd name="T95" fmla="*/ 122 h 2916"/>
                <a:gd name="T96" fmla="*/ 1201 w 2873"/>
                <a:gd name="T97" fmla="*/ 53 h 2916"/>
                <a:gd name="T98" fmla="*/ 1347 w 2873"/>
                <a:gd name="T99" fmla="*/ 8 h 2916"/>
                <a:gd name="T100" fmla="*/ 1541 w 2873"/>
                <a:gd name="T101" fmla="*/ 33 h 2916"/>
                <a:gd name="T102" fmla="*/ 1692 w 2873"/>
                <a:gd name="T103" fmla="*/ 53 h 2916"/>
                <a:gd name="T104" fmla="*/ 1883 w 2873"/>
                <a:gd name="T105" fmla="*/ 51 h 2916"/>
                <a:gd name="T106" fmla="*/ 1910 w 2873"/>
                <a:gd name="T107" fmla="*/ 132 h 2916"/>
                <a:gd name="T108" fmla="*/ 2028 w 2873"/>
                <a:gd name="T109" fmla="*/ 181 h 2916"/>
                <a:gd name="T110" fmla="*/ 2000 w 2873"/>
                <a:gd name="T111" fmla="*/ 365 h 2916"/>
                <a:gd name="T112" fmla="*/ 2106 w 2873"/>
                <a:gd name="T113" fmla="*/ 440 h 2916"/>
                <a:gd name="T114" fmla="*/ 2295 w 2873"/>
                <a:gd name="T115" fmla="*/ 605 h 2916"/>
                <a:gd name="T116" fmla="*/ 2618 w 2873"/>
                <a:gd name="T117" fmla="*/ 821 h 2916"/>
                <a:gd name="T118" fmla="*/ 2711 w 2873"/>
                <a:gd name="T119" fmla="*/ 915 h 2916"/>
                <a:gd name="T120" fmla="*/ 2873 w 2873"/>
                <a:gd name="T121" fmla="*/ 996 h 2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73" h="2916">
                  <a:moveTo>
                    <a:pt x="2873" y="996"/>
                  </a:moveTo>
                  <a:lnTo>
                    <a:pt x="2858" y="1010"/>
                  </a:lnTo>
                  <a:lnTo>
                    <a:pt x="2846" y="1024"/>
                  </a:lnTo>
                  <a:lnTo>
                    <a:pt x="2835" y="1039"/>
                  </a:lnTo>
                  <a:lnTo>
                    <a:pt x="2827" y="1055"/>
                  </a:lnTo>
                  <a:lnTo>
                    <a:pt x="2821" y="1072"/>
                  </a:lnTo>
                  <a:lnTo>
                    <a:pt x="2817" y="1089"/>
                  </a:lnTo>
                  <a:lnTo>
                    <a:pt x="2814" y="1107"/>
                  </a:lnTo>
                  <a:lnTo>
                    <a:pt x="2813" y="1128"/>
                  </a:lnTo>
                  <a:lnTo>
                    <a:pt x="2814" y="1140"/>
                  </a:lnTo>
                  <a:lnTo>
                    <a:pt x="2817" y="1149"/>
                  </a:lnTo>
                  <a:lnTo>
                    <a:pt x="2819" y="1159"/>
                  </a:lnTo>
                  <a:lnTo>
                    <a:pt x="2822" y="1169"/>
                  </a:lnTo>
                  <a:lnTo>
                    <a:pt x="2824" y="1177"/>
                  </a:lnTo>
                  <a:lnTo>
                    <a:pt x="2826" y="1187"/>
                  </a:lnTo>
                  <a:lnTo>
                    <a:pt x="2827" y="1198"/>
                  </a:lnTo>
                  <a:lnTo>
                    <a:pt x="2826" y="1209"/>
                  </a:lnTo>
                  <a:lnTo>
                    <a:pt x="2826" y="1209"/>
                  </a:lnTo>
                  <a:lnTo>
                    <a:pt x="2822" y="1217"/>
                  </a:lnTo>
                  <a:lnTo>
                    <a:pt x="2819" y="1224"/>
                  </a:lnTo>
                  <a:lnTo>
                    <a:pt x="2814" y="1230"/>
                  </a:lnTo>
                  <a:lnTo>
                    <a:pt x="2809" y="1236"/>
                  </a:lnTo>
                  <a:lnTo>
                    <a:pt x="2799" y="1247"/>
                  </a:lnTo>
                  <a:lnTo>
                    <a:pt x="2788" y="1260"/>
                  </a:lnTo>
                  <a:lnTo>
                    <a:pt x="2778" y="1276"/>
                  </a:lnTo>
                  <a:lnTo>
                    <a:pt x="2769" y="1290"/>
                  </a:lnTo>
                  <a:lnTo>
                    <a:pt x="2765" y="1297"/>
                  </a:lnTo>
                  <a:lnTo>
                    <a:pt x="2759" y="1304"/>
                  </a:lnTo>
                  <a:lnTo>
                    <a:pt x="2754" y="1309"/>
                  </a:lnTo>
                  <a:lnTo>
                    <a:pt x="2746" y="1316"/>
                  </a:lnTo>
                  <a:lnTo>
                    <a:pt x="2738" y="1321"/>
                  </a:lnTo>
                  <a:lnTo>
                    <a:pt x="2729" y="1325"/>
                  </a:lnTo>
                  <a:lnTo>
                    <a:pt x="2721" y="1329"/>
                  </a:lnTo>
                  <a:lnTo>
                    <a:pt x="2713" y="1333"/>
                  </a:lnTo>
                  <a:lnTo>
                    <a:pt x="2700" y="1341"/>
                  </a:lnTo>
                  <a:lnTo>
                    <a:pt x="2690" y="1348"/>
                  </a:lnTo>
                  <a:lnTo>
                    <a:pt x="2680" y="1357"/>
                  </a:lnTo>
                  <a:lnTo>
                    <a:pt x="2667" y="1363"/>
                  </a:lnTo>
                  <a:lnTo>
                    <a:pt x="2657" y="1368"/>
                  </a:lnTo>
                  <a:lnTo>
                    <a:pt x="2645" y="1369"/>
                  </a:lnTo>
                  <a:lnTo>
                    <a:pt x="2634" y="1371"/>
                  </a:lnTo>
                  <a:lnTo>
                    <a:pt x="2623" y="1375"/>
                  </a:lnTo>
                  <a:lnTo>
                    <a:pt x="2612" y="1380"/>
                  </a:lnTo>
                  <a:lnTo>
                    <a:pt x="2605" y="1387"/>
                  </a:lnTo>
                  <a:lnTo>
                    <a:pt x="2598" y="1395"/>
                  </a:lnTo>
                  <a:lnTo>
                    <a:pt x="2592" y="1403"/>
                  </a:lnTo>
                  <a:lnTo>
                    <a:pt x="2583" y="1423"/>
                  </a:lnTo>
                  <a:lnTo>
                    <a:pt x="2575" y="1444"/>
                  </a:lnTo>
                  <a:lnTo>
                    <a:pt x="2565" y="1471"/>
                  </a:lnTo>
                  <a:lnTo>
                    <a:pt x="2557" y="1495"/>
                  </a:lnTo>
                  <a:lnTo>
                    <a:pt x="2548" y="1519"/>
                  </a:lnTo>
                  <a:lnTo>
                    <a:pt x="2536" y="1546"/>
                  </a:lnTo>
                  <a:lnTo>
                    <a:pt x="2527" y="1557"/>
                  </a:lnTo>
                  <a:lnTo>
                    <a:pt x="2520" y="1568"/>
                  </a:lnTo>
                  <a:lnTo>
                    <a:pt x="2514" y="1577"/>
                  </a:lnTo>
                  <a:lnTo>
                    <a:pt x="2510" y="1586"/>
                  </a:lnTo>
                  <a:lnTo>
                    <a:pt x="2504" y="1593"/>
                  </a:lnTo>
                  <a:lnTo>
                    <a:pt x="2497" y="1602"/>
                  </a:lnTo>
                  <a:lnTo>
                    <a:pt x="2476" y="1617"/>
                  </a:lnTo>
                  <a:lnTo>
                    <a:pt x="2458" y="1631"/>
                  </a:lnTo>
                  <a:lnTo>
                    <a:pt x="2449" y="1639"/>
                  </a:lnTo>
                  <a:lnTo>
                    <a:pt x="2442" y="1646"/>
                  </a:lnTo>
                  <a:lnTo>
                    <a:pt x="2434" y="1655"/>
                  </a:lnTo>
                  <a:lnTo>
                    <a:pt x="2427" y="1666"/>
                  </a:lnTo>
                  <a:lnTo>
                    <a:pt x="2421" y="1675"/>
                  </a:lnTo>
                  <a:lnTo>
                    <a:pt x="2417" y="1685"/>
                  </a:lnTo>
                  <a:lnTo>
                    <a:pt x="2414" y="1694"/>
                  </a:lnTo>
                  <a:lnTo>
                    <a:pt x="2410" y="1703"/>
                  </a:lnTo>
                  <a:lnTo>
                    <a:pt x="2407" y="1721"/>
                  </a:lnTo>
                  <a:lnTo>
                    <a:pt x="2404" y="1739"/>
                  </a:lnTo>
                  <a:lnTo>
                    <a:pt x="2402" y="1776"/>
                  </a:lnTo>
                  <a:lnTo>
                    <a:pt x="2399" y="1817"/>
                  </a:lnTo>
                  <a:lnTo>
                    <a:pt x="2395" y="1833"/>
                  </a:lnTo>
                  <a:lnTo>
                    <a:pt x="2390" y="1848"/>
                  </a:lnTo>
                  <a:lnTo>
                    <a:pt x="2383" y="1861"/>
                  </a:lnTo>
                  <a:lnTo>
                    <a:pt x="2375" y="1873"/>
                  </a:lnTo>
                  <a:lnTo>
                    <a:pt x="2365" y="1884"/>
                  </a:lnTo>
                  <a:lnTo>
                    <a:pt x="2355" y="1893"/>
                  </a:lnTo>
                  <a:lnTo>
                    <a:pt x="2345" y="1902"/>
                  </a:lnTo>
                  <a:lnTo>
                    <a:pt x="2333" y="1912"/>
                  </a:lnTo>
                  <a:lnTo>
                    <a:pt x="2310" y="1929"/>
                  </a:lnTo>
                  <a:lnTo>
                    <a:pt x="2286" y="1949"/>
                  </a:lnTo>
                  <a:lnTo>
                    <a:pt x="2275" y="1959"/>
                  </a:lnTo>
                  <a:lnTo>
                    <a:pt x="2265" y="1971"/>
                  </a:lnTo>
                  <a:lnTo>
                    <a:pt x="2256" y="1985"/>
                  </a:lnTo>
                  <a:lnTo>
                    <a:pt x="2247" y="1999"/>
                  </a:lnTo>
                  <a:lnTo>
                    <a:pt x="2237" y="2021"/>
                  </a:lnTo>
                  <a:lnTo>
                    <a:pt x="2226" y="2040"/>
                  </a:lnTo>
                  <a:lnTo>
                    <a:pt x="2215" y="2059"/>
                  </a:lnTo>
                  <a:lnTo>
                    <a:pt x="2203" y="2075"/>
                  </a:lnTo>
                  <a:lnTo>
                    <a:pt x="2197" y="2082"/>
                  </a:lnTo>
                  <a:lnTo>
                    <a:pt x="2190" y="2090"/>
                  </a:lnTo>
                  <a:lnTo>
                    <a:pt x="2183" y="2097"/>
                  </a:lnTo>
                  <a:lnTo>
                    <a:pt x="2174" y="2103"/>
                  </a:lnTo>
                  <a:lnTo>
                    <a:pt x="2165" y="2109"/>
                  </a:lnTo>
                  <a:lnTo>
                    <a:pt x="2157" y="2115"/>
                  </a:lnTo>
                  <a:lnTo>
                    <a:pt x="2146" y="2120"/>
                  </a:lnTo>
                  <a:lnTo>
                    <a:pt x="2135" y="2126"/>
                  </a:lnTo>
                  <a:lnTo>
                    <a:pt x="2118" y="2132"/>
                  </a:lnTo>
                  <a:lnTo>
                    <a:pt x="2100" y="2136"/>
                  </a:lnTo>
                  <a:lnTo>
                    <a:pt x="2084" y="2139"/>
                  </a:lnTo>
                  <a:lnTo>
                    <a:pt x="2068" y="2140"/>
                  </a:lnTo>
                  <a:lnTo>
                    <a:pt x="2052" y="2142"/>
                  </a:lnTo>
                  <a:lnTo>
                    <a:pt x="2036" y="2144"/>
                  </a:lnTo>
                  <a:lnTo>
                    <a:pt x="2018" y="2147"/>
                  </a:lnTo>
                  <a:lnTo>
                    <a:pt x="2000" y="2154"/>
                  </a:lnTo>
                  <a:lnTo>
                    <a:pt x="1979" y="2163"/>
                  </a:lnTo>
                  <a:lnTo>
                    <a:pt x="1961" y="2174"/>
                  </a:lnTo>
                  <a:lnTo>
                    <a:pt x="1945" y="2185"/>
                  </a:lnTo>
                  <a:lnTo>
                    <a:pt x="1930" y="2198"/>
                  </a:lnTo>
                  <a:lnTo>
                    <a:pt x="1915" y="2212"/>
                  </a:lnTo>
                  <a:lnTo>
                    <a:pt x="1902" y="2227"/>
                  </a:lnTo>
                  <a:lnTo>
                    <a:pt x="1888" y="2244"/>
                  </a:lnTo>
                  <a:lnTo>
                    <a:pt x="1875" y="2263"/>
                  </a:lnTo>
                  <a:lnTo>
                    <a:pt x="1854" y="2282"/>
                  </a:lnTo>
                  <a:lnTo>
                    <a:pt x="1834" y="2300"/>
                  </a:lnTo>
                  <a:lnTo>
                    <a:pt x="1814" y="2314"/>
                  </a:lnTo>
                  <a:lnTo>
                    <a:pt x="1795" y="2327"/>
                  </a:lnTo>
                  <a:lnTo>
                    <a:pt x="1774" y="2340"/>
                  </a:lnTo>
                  <a:lnTo>
                    <a:pt x="1753" y="2352"/>
                  </a:lnTo>
                  <a:lnTo>
                    <a:pt x="1730" y="2365"/>
                  </a:lnTo>
                  <a:lnTo>
                    <a:pt x="1706" y="2381"/>
                  </a:lnTo>
                  <a:lnTo>
                    <a:pt x="1700" y="2385"/>
                  </a:lnTo>
                  <a:lnTo>
                    <a:pt x="1694" y="2389"/>
                  </a:lnTo>
                  <a:lnTo>
                    <a:pt x="1689" y="2395"/>
                  </a:lnTo>
                  <a:lnTo>
                    <a:pt x="1685" y="2400"/>
                  </a:lnTo>
                  <a:lnTo>
                    <a:pt x="1677" y="2411"/>
                  </a:lnTo>
                  <a:lnTo>
                    <a:pt x="1672" y="2424"/>
                  </a:lnTo>
                  <a:lnTo>
                    <a:pt x="1668" y="2437"/>
                  </a:lnTo>
                  <a:lnTo>
                    <a:pt x="1665" y="2451"/>
                  </a:lnTo>
                  <a:lnTo>
                    <a:pt x="1663" y="2466"/>
                  </a:lnTo>
                  <a:lnTo>
                    <a:pt x="1662" y="2481"/>
                  </a:lnTo>
                  <a:lnTo>
                    <a:pt x="1660" y="2494"/>
                  </a:lnTo>
                  <a:lnTo>
                    <a:pt x="1658" y="2505"/>
                  </a:lnTo>
                  <a:lnTo>
                    <a:pt x="1654" y="2514"/>
                  </a:lnTo>
                  <a:lnTo>
                    <a:pt x="1651" y="2524"/>
                  </a:lnTo>
                  <a:lnTo>
                    <a:pt x="1642" y="2544"/>
                  </a:lnTo>
                  <a:lnTo>
                    <a:pt x="1634" y="2565"/>
                  </a:lnTo>
                  <a:lnTo>
                    <a:pt x="1628" y="2575"/>
                  </a:lnTo>
                  <a:lnTo>
                    <a:pt x="1624" y="2584"/>
                  </a:lnTo>
                  <a:lnTo>
                    <a:pt x="1618" y="2591"/>
                  </a:lnTo>
                  <a:lnTo>
                    <a:pt x="1612" y="2599"/>
                  </a:lnTo>
                  <a:lnTo>
                    <a:pt x="1599" y="2611"/>
                  </a:lnTo>
                  <a:lnTo>
                    <a:pt x="1585" y="2621"/>
                  </a:lnTo>
                  <a:lnTo>
                    <a:pt x="1570" y="2632"/>
                  </a:lnTo>
                  <a:lnTo>
                    <a:pt x="1555" y="2643"/>
                  </a:lnTo>
                  <a:lnTo>
                    <a:pt x="1539" y="2655"/>
                  </a:lnTo>
                  <a:lnTo>
                    <a:pt x="1524" y="2669"/>
                  </a:lnTo>
                  <a:lnTo>
                    <a:pt x="1517" y="2679"/>
                  </a:lnTo>
                  <a:lnTo>
                    <a:pt x="1511" y="2687"/>
                  </a:lnTo>
                  <a:lnTo>
                    <a:pt x="1506" y="2696"/>
                  </a:lnTo>
                  <a:lnTo>
                    <a:pt x="1502" y="2706"/>
                  </a:lnTo>
                  <a:lnTo>
                    <a:pt x="1499" y="2714"/>
                  </a:lnTo>
                  <a:lnTo>
                    <a:pt x="1495" y="2724"/>
                  </a:lnTo>
                  <a:lnTo>
                    <a:pt x="1489" y="2733"/>
                  </a:lnTo>
                  <a:lnTo>
                    <a:pt x="1482" y="2742"/>
                  </a:lnTo>
                  <a:lnTo>
                    <a:pt x="1457" y="2767"/>
                  </a:lnTo>
                  <a:lnTo>
                    <a:pt x="1433" y="2789"/>
                  </a:lnTo>
                  <a:lnTo>
                    <a:pt x="1422" y="2800"/>
                  </a:lnTo>
                  <a:lnTo>
                    <a:pt x="1412" y="2811"/>
                  </a:lnTo>
                  <a:lnTo>
                    <a:pt x="1408" y="2819"/>
                  </a:lnTo>
                  <a:lnTo>
                    <a:pt x="1405" y="2827"/>
                  </a:lnTo>
                  <a:lnTo>
                    <a:pt x="1401" y="2834"/>
                  </a:lnTo>
                  <a:lnTo>
                    <a:pt x="1398" y="2843"/>
                  </a:lnTo>
                  <a:lnTo>
                    <a:pt x="1392" y="2862"/>
                  </a:lnTo>
                  <a:lnTo>
                    <a:pt x="1388" y="2880"/>
                  </a:lnTo>
                  <a:lnTo>
                    <a:pt x="1384" y="2896"/>
                  </a:lnTo>
                  <a:lnTo>
                    <a:pt x="1379" y="2916"/>
                  </a:lnTo>
                  <a:lnTo>
                    <a:pt x="1379" y="2916"/>
                  </a:lnTo>
                  <a:lnTo>
                    <a:pt x="1365" y="2898"/>
                  </a:lnTo>
                  <a:lnTo>
                    <a:pt x="1350" y="2882"/>
                  </a:lnTo>
                  <a:lnTo>
                    <a:pt x="1343" y="2874"/>
                  </a:lnTo>
                  <a:lnTo>
                    <a:pt x="1337" y="2865"/>
                  </a:lnTo>
                  <a:lnTo>
                    <a:pt x="1330" y="2857"/>
                  </a:lnTo>
                  <a:lnTo>
                    <a:pt x="1325" y="2846"/>
                  </a:lnTo>
                  <a:lnTo>
                    <a:pt x="1318" y="2832"/>
                  </a:lnTo>
                  <a:lnTo>
                    <a:pt x="1310" y="2818"/>
                  </a:lnTo>
                  <a:lnTo>
                    <a:pt x="1301" y="2806"/>
                  </a:lnTo>
                  <a:lnTo>
                    <a:pt x="1291" y="2796"/>
                  </a:lnTo>
                  <a:lnTo>
                    <a:pt x="1286" y="2792"/>
                  </a:lnTo>
                  <a:lnTo>
                    <a:pt x="1281" y="2788"/>
                  </a:lnTo>
                  <a:lnTo>
                    <a:pt x="1274" y="2784"/>
                  </a:lnTo>
                  <a:lnTo>
                    <a:pt x="1268" y="2781"/>
                  </a:lnTo>
                  <a:lnTo>
                    <a:pt x="1261" y="2779"/>
                  </a:lnTo>
                  <a:lnTo>
                    <a:pt x="1254" y="2777"/>
                  </a:lnTo>
                  <a:lnTo>
                    <a:pt x="1246" y="2776"/>
                  </a:lnTo>
                  <a:lnTo>
                    <a:pt x="1239" y="2776"/>
                  </a:lnTo>
                  <a:lnTo>
                    <a:pt x="1231" y="2777"/>
                  </a:lnTo>
                  <a:lnTo>
                    <a:pt x="1226" y="2778"/>
                  </a:lnTo>
                  <a:lnTo>
                    <a:pt x="1220" y="2781"/>
                  </a:lnTo>
                  <a:lnTo>
                    <a:pt x="1215" y="2784"/>
                  </a:lnTo>
                  <a:lnTo>
                    <a:pt x="1210" y="2789"/>
                  </a:lnTo>
                  <a:lnTo>
                    <a:pt x="1205" y="2792"/>
                  </a:lnTo>
                  <a:lnTo>
                    <a:pt x="1200" y="2795"/>
                  </a:lnTo>
                  <a:lnTo>
                    <a:pt x="1193" y="2799"/>
                  </a:lnTo>
                  <a:lnTo>
                    <a:pt x="1180" y="2801"/>
                  </a:lnTo>
                  <a:lnTo>
                    <a:pt x="1167" y="2802"/>
                  </a:lnTo>
                  <a:lnTo>
                    <a:pt x="1154" y="2802"/>
                  </a:lnTo>
                  <a:lnTo>
                    <a:pt x="1140" y="2801"/>
                  </a:lnTo>
                  <a:lnTo>
                    <a:pt x="1097" y="2802"/>
                  </a:lnTo>
                  <a:lnTo>
                    <a:pt x="1058" y="2801"/>
                  </a:lnTo>
                  <a:lnTo>
                    <a:pt x="1040" y="2799"/>
                  </a:lnTo>
                  <a:lnTo>
                    <a:pt x="1021" y="2793"/>
                  </a:lnTo>
                  <a:lnTo>
                    <a:pt x="1012" y="2790"/>
                  </a:lnTo>
                  <a:lnTo>
                    <a:pt x="1003" y="2787"/>
                  </a:lnTo>
                  <a:lnTo>
                    <a:pt x="993" y="2781"/>
                  </a:lnTo>
                  <a:lnTo>
                    <a:pt x="984" y="2776"/>
                  </a:lnTo>
                  <a:lnTo>
                    <a:pt x="971" y="2767"/>
                  </a:lnTo>
                  <a:lnTo>
                    <a:pt x="959" y="2759"/>
                  </a:lnTo>
                  <a:lnTo>
                    <a:pt x="949" y="2749"/>
                  </a:lnTo>
                  <a:lnTo>
                    <a:pt x="940" y="2740"/>
                  </a:lnTo>
                  <a:lnTo>
                    <a:pt x="933" y="2729"/>
                  </a:lnTo>
                  <a:lnTo>
                    <a:pt x="925" y="2720"/>
                  </a:lnTo>
                  <a:lnTo>
                    <a:pt x="919" y="2709"/>
                  </a:lnTo>
                  <a:lnTo>
                    <a:pt x="913" y="2697"/>
                  </a:lnTo>
                  <a:lnTo>
                    <a:pt x="905" y="2673"/>
                  </a:lnTo>
                  <a:lnTo>
                    <a:pt x="896" y="2648"/>
                  </a:lnTo>
                  <a:lnTo>
                    <a:pt x="890" y="2620"/>
                  </a:lnTo>
                  <a:lnTo>
                    <a:pt x="882" y="2591"/>
                  </a:lnTo>
                  <a:lnTo>
                    <a:pt x="879" y="2583"/>
                  </a:lnTo>
                  <a:lnTo>
                    <a:pt x="878" y="2575"/>
                  </a:lnTo>
                  <a:lnTo>
                    <a:pt x="877" y="2566"/>
                  </a:lnTo>
                  <a:lnTo>
                    <a:pt x="877" y="2559"/>
                  </a:lnTo>
                  <a:lnTo>
                    <a:pt x="877" y="2550"/>
                  </a:lnTo>
                  <a:lnTo>
                    <a:pt x="879" y="2541"/>
                  </a:lnTo>
                  <a:lnTo>
                    <a:pt x="880" y="2534"/>
                  </a:lnTo>
                  <a:lnTo>
                    <a:pt x="882" y="2527"/>
                  </a:lnTo>
                  <a:lnTo>
                    <a:pt x="884" y="2520"/>
                  </a:lnTo>
                  <a:lnTo>
                    <a:pt x="886" y="2512"/>
                  </a:lnTo>
                  <a:lnTo>
                    <a:pt x="888" y="2505"/>
                  </a:lnTo>
                  <a:lnTo>
                    <a:pt x="888" y="2495"/>
                  </a:lnTo>
                  <a:lnTo>
                    <a:pt x="888" y="2475"/>
                  </a:lnTo>
                  <a:lnTo>
                    <a:pt x="886" y="2456"/>
                  </a:lnTo>
                  <a:lnTo>
                    <a:pt x="884" y="2438"/>
                  </a:lnTo>
                  <a:lnTo>
                    <a:pt x="880" y="2417"/>
                  </a:lnTo>
                  <a:lnTo>
                    <a:pt x="876" y="2408"/>
                  </a:lnTo>
                  <a:lnTo>
                    <a:pt x="870" y="2400"/>
                  </a:lnTo>
                  <a:lnTo>
                    <a:pt x="865" y="2394"/>
                  </a:lnTo>
                  <a:lnTo>
                    <a:pt x="858" y="2387"/>
                  </a:lnTo>
                  <a:lnTo>
                    <a:pt x="853" y="2381"/>
                  </a:lnTo>
                  <a:lnTo>
                    <a:pt x="848" y="2373"/>
                  </a:lnTo>
                  <a:lnTo>
                    <a:pt x="845" y="2369"/>
                  </a:lnTo>
                  <a:lnTo>
                    <a:pt x="844" y="2365"/>
                  </a:lnTo>
                  <a:lnTo>
                    <a:pt x="843" y="2360"/>
                  </a:lnTo>
                  <a:lnTo>
                    <a:pt x="843" y="2356"/>
                  </a:lnTo>
                  <a:lnTo>
                    <a:pt x="843" y="2346"/>
                  </a:lnTo>
                  <a:lnTo>
                    <a:pt x="845" y="2338"/>
                  </a:lnTo>
                  <a:lnTo>
                    <a:pt x="848" y="2330"/>
                  </a:lnTo>
                  <a:lnTo>
                    <a:pt x="850" y="2322"/>
                  </a:lnTo>
                  <a:lnTo>
                    <a:pt x="857" y="2308"/>
                  </a:lnTo>
                  <a:lnTo>
                    <a:pt x="866" y="2295"/>
                  </a:lnTo>
                  <a:lnTo>
                    <a:pt x="873" y="2282"/>
                  </a:lnTo>
                  <a:lnTo>
                    <a:pt x="881" y="2268"/>
                  </a:lnTo>
                  <a:lnTo>
                    <a:pt x="883" y="2261"/>
                  </a:lnTo>
                  <a:lnTo>
                    <a:pt x="886" y="2252"/>
                  </a:lnTo>
                  <a:lnTo>
                    <a:pt x="888" y="2243"/>
                  </a:lnTo>
                  <a:lnTo>
                    <a:pt x="888" y="2235"/>
                  </a:lnTo>
                  <a:lnTo>
                    <a:pt x="888" y="2217"/>
                  </a:lnTo>
                  <a:lnTo>
                    <a:pt x="888" y="2200"/>
                  </a:lnTo>
                  <a:lnTo>
                    <a:pt x="886" y="2185"/>
                  </a:lnTo>
                  <a:lnTo>
                    <a:pt x="884" y="2170"/>
                  </a:lnTo>
                  <a:lnTo>
                    <a:pt x="881" y="2155"/>
                  </a:lnTo>
                  <a:lnTo>
                    <a:pt x="877" y="2140"/>
                  </a:lnTo>
                  <a:lnTo>
                    <a:pt x="870" y="2125"/>
                  </a:lnTo>
                  <a:lnTo>
                    <a:pt x="863" y="2108"/>
                  </a:lnTo>
                  <a:lnTo>
                    <a:pt x="856" y="2098"/>
                  </a:lnTo>
                  <a:lnTo>
                    <a:pt x="848" y="2089"/>
                  </a:lnTo>
                  <a:lnTo>
                    <a:pt x="839" y="2082"/>
                  </a:lnTo>
                  <a:lnTo>
                    <a:pt x="829" y="2077"/>
                  </a:lnTo>
                  <a:lnTo>
                    <a:pt x="809" y="2067"/>
                  </a:lnTo>
                  <a:lnTo>
                    <a:pt x="784" y="2059"/>
                  </a:lnTo>
                  <a:lnTo>
                    <a:pt x="757" y="2047"/>
                  </a:lnTo>
                  <a:lnTo>
                    <a:pt x="732" y="2038"/>
                  </a:lnTo>
                  <a:lnTo>
                    <a:pt x="720" y="2035"/>
                  </a:lnTo>
                  <a:lnTo>
                    <a:pt x="707" y="2033"/>
                  </a:lnTo>
                  <a:lnTo>
                    <a:pt x="693" y="2031"/>
                  </a:lnTo>
                  <a:lnTo>
                    <a:pt x="678" y="2031"/>
                  </a:lnTo>
                  <a:lnTo>
                    <a:pt x="657" y="2031"/>
                  </a:lnTo>
                  <a:lnTo>
                    <a:pt x="639" y="2033"/>
                  </a:lnTo>
                  <a:lnTo>
                    <a:pt x="621" y="2036"/>
                  </a:lnTo>
                  <a:lnTo>
                    <a:pt x="605" y="2039"/>
                  </a:lnTo>
                  <a:lnTo>
                    <a:pt x="571" y="2048"/>
                  </a:lnTo>
                  <a:lnTo>
                    <a:pt x="532" y="2055"/>
                  </a:lnTo>
                  <a:lnTo>
                    <a:pt x="520" y="2059"/>
                  </a:lnTo>
                  <a:lnTo>
                    <a:pt x="509" y="2064"/>
                  </a:lnTo>
                  <a:lnTo>
                    <a:pt x="504" y="2066"/>
                  </a:lnTo>
                  <a:lnTo>
                    <a:pt x="500" y="2067"/>
                  </a:lnTo>
                  <a:lnTo>
                    <a:pt x="493" y="2070"/>
                  </a:lnTo>
                  <a:lnTo>
                    <a:pt x="487" y="2070"/>
                  </a:lnTo>
                  <a:lnTo>
                    <a:pt x="480" y="2070"/>
                  </a:lnTo>
                  <a:lnTo>
                    <a:pt x="474" y="2068"/>
                  </a:lnTo>
                  <a:lnTo>
                    <a:pt x="468" y="2066"/>
                  </a:lnTo>
                  <a:lnTo>
                    <a:pt x="463" y="2065"/>
                  </a:lnTo>
                  <a:lnTo>
                    <a:pt x="452" y="2060"/>
                  </a:lnTo>
                  <a:lnTo>
                    <a:pt x="443" y="2053"/>
                  </a:lnTo>
                  <a:lnTo>
                    <a:pt x="433" y="2047"/>
                  </a:lnTo>
                  <a:lnTo>
                    <a:pt x="423" y="2040"/>
                  </a:lnTo>
                  <a:lnTo>
                    <a:pt x="412" y="2035"/>
                  </a:lnTo>
                  <a:lnTo>
                    <a:pt x="400" y="2031"/>
                  </a:lnTo>
                  <a:lnTo>
                    <a:pt x="363" y="2021"/>
                  </a:lnTo>
                  <a:lnTo>
                    <a:pt x="328" y="2013"/>
                  </a:lnTo>
                  <a:lnTo>
                    <a:pt x="312" y="2009"/>
                  </a:lnTo>
                  <a:lnTo>
                    <a:pt x="295" y="2005"/>
                  </a:lnTo>
                  <a:lnTo>
                    <a:pt x="276" y="1998"/>
                  </a:lnTo>
                  <a:lnTo>
                    <a:pt x="257" y="1991"/>
                  </a:lnTo>
                  <a:lnTo>
                    <a:pt x="233" y="1980"/>
                  </a:lnTo>
                  <a:lnTo>
                    <a:pt x="210" y="1970"/>
                  </a:lnTo>
                  <a:lnTo>
                    <a:pt x="200" y="1966"/>
                  </a:lnTo>
                  <a:lnTo>
                    <a:pt x="188" y="1963"/>
                  </a:lnTo>
                  <a:lnTo>
                    <a:pt x="176" y="1960"/>
                  </a:lnTo>
                  <a:lnTo>
                    <a:pt x="162" y="1960"/>
                  </a:lnTo>
                  <a:lnTo>
                    <a:pt x="130" y="1962"/>
                  </a:lnTo>
                  <a:lnTo>
                    <a:pt x="98" y="1963"/>
                  </a:lnTo>
                  <a:lnTo>
                    <a:pt x="67" y="1965"/>
                  </a:lnTo>
                  <a:lnTo>
                    <a:pt x="34" y="1966"/>
                  </a:lnTo>
                  <a:lnTo>
                    <a:pt x="29" y="1950"/>
                  </a:lnTo>
                  <a:lnTo>
                    <a:pt x="22" y="1936"/>
                  </a:lnTo>
                  <a:lnTo>
                    <a:pt x="19" y="1929"/>
                  </a:lnTo>
                  <a:lnTo>
                    <a:pt x="16" y="1922"/>
                  </a:lnTo>
                  <a:lnTo>
                    <a:pt x="14" y="1913"/>
                  </a:lnTo>
                  <a:lnTo>
                    <a:pt x="12" y="1904"/>
                  </a:lnTo>
                  <a:lnTo>
                    <a:pt x="5" y="1892"/>
                  </a:lnTo>
                  <a:lnTo>
                    <a:pt x="0" y="1881"/>
                  </a:lnTo>
                  <a:lnTo>
                    <a:pt x="1" y="1870"/>
                  </a:lnTo>
                  <a:lnTo>
                    <a:pt x="3" y="1861"/>
                  </a:lnTo>
                  <a:lnTo>
                    <a:pt x="7" y="1852"/>
                  </a:lnTo>
                  <a:lnTo>
                    <a:pt x="11" y="1843"/>
                  </a:lnTo>
                  <a:lnTo>
                    <a:pt x="17" y="1822"/>
                  </a:lnTo>
                  <a:lnTo>
                    <a:pt x="23" y="1803"/>
                  </a:lnTo>
                  <a:lnTo>
                    <a:pt x="31" y="1787"/>
                  </a:lnTo>
                  <a:lnTo>
                    <a:pt x="38" y="1769"/>
                  </a:lnTo>
                  <a:lnTo>
                    <a:pt x="44" y="1753"/>
                  </a:lnTo>
                  <a:lnTo>
                    <a:pt x="52" y="1736"/>
                  </a:lnTo>
                  <a:lnTo>
                    <a:pt x="58" y="1717"/>
                  </a:lnTo>
                  <a:lnTo>
                    <a:pt x="63" y="1697"/>
                  </a:lnTo>
                  <a:lnTo>
                    <a:pt x="67" y="1686"/>
                  </a:lnTo>
                  <a:lnTo>
                    <a:pt x="68" y="1677"/>
                  </a:lnTo>
                  <a:lnTo>
                    <a:pt x="69" y="1668"/>
                  </a:lnTo>
                  <a:lnTo>
                    <a:pt x="69" y="1659"/>
                  </a:lnTo>
                  <a:lnTo>
                    <a:pt x="69" y="1642"/>
                  </a:lnTo>
                  <a:lnTo>
                    <a:pt x="71" y="1621"/>
                  </a:lnTo>
                  <a:lnTo>
                    <a:pt x="74" y="1595"/>
                  </a:lnTo>
                  <a:lnTo>
                    <a:pt x="79" y="1574"/>
                  </a:lnTo>
                  <a:lnTo>
                    <a:pt x="81" y="1562"/>
                  </a:lnTo>
                  <a:lnTo>
                    <a:pt x="82" y="1551"/>
                  </a:lnTo>
                  <a:lnTo>
                    <a:pt x="83" y="1539"/>
                  </a:lnTo>
                  <a:lnTo>
                    <a:pt x="84" y="1525"/>
                  </a:lnTo>
                  <a:lnTo>
                    <a:pt x="84" y="1517"/>
                  </a:lnTo>
                  <a:lnTo>
                    <a:pt x="84" y="1509"/>
                  </a:lnTo>
                  <a:lnTo>
                    <a:pt x="84" y="1501"/>
                  </a:lnTo>
                  <a:lnTo>
                    <a:pt x="84" y="1493"/>
                  </a:lnTo>
                  <a:lnTo>
                    <a:pt x="83" y="1482"/>
                  </a:lnTo>
                  <a:lnTo>
                    <a:pt x="82" y="1472"/>
                  </a:lnTo>
                  <a:lnTo>
                    <a:pt x="81" y="1464"/>
                  </a:lnTo>
                  <a:lnTo>
                    <a:pt x="81" y="1453"/>
                  </a:lnTo>
                  <a:lnTo>
                    <a:pt x="81" y="1441"/>
                  </a:lnTo>
                  <a:lnTo>
                    <a:pt x="81" y="1430"/>
                  </a:lnTo>
                  <a:lnTo>
                    <a:pt x="81" y="1420"/>
                  </a:lnTo>
                  <a:lnTo>
                    <a:pt x="81" y="1409"/>
                  </a:lnTo>
                  <a:lnTo>
                    <a:pt x="81" y="1390"/>
                  </a:lnTo>
                  <a:lnTo>
                    <a:pt x="79" y="1374"/>
                  </a:lnTo>
                  <a:lnTo>
                    <a:pt x="77" y="1365"/>
                  </a:lnTo>
                  <a:lnTo>
                    <a:pt x="75" y="1358"/>
                  </a:lnTo>
                  <a:lnTo>
                    <a:pt x="72" y="1349"/>
                  </a:lnTo>
                  <a:lnTo>
                    <a:pt x="68" y="1341"/>
                  </a:lnTo>
                  <a:lnTo>
                    <a:pt x="66" y="1337"/>
                  </a:lnTo>
                  <a:lnTo>
                    <a:pt x="62" y="1333"/>
                  </a:lnTo>
                  <a:lnTo>
                    <a:pt x="59" y="1331"/>
                  </a:lnTo>
                  <a:lnTo>
                    <a:pt x="56" y="1328"/>
                  </a:lnTo>
                  <a:lnTo>
                    <a:pt x="48" y="1323"/>
                  </a:lnTo>
                  <a:lnTo>
                    <a:pt x="42" y="1317"/>
                  </a:lnTo>
                  <a:lnTo>
                    <a:pt x="36" y="1312"/>
                  </a:lnTo>
                  <a:lnTo>
                    <a:pt x="33" y="1307"/>
                  </a:lnTo>
                  <a:lnTo>
                    <a:pt x="29" y="1302"/>
                  </a:lnTo>
                  <a:lnTo>
                    <a:pt x="27" y="1296"/>
                  </a:lnTo>
                  <a:lnTo>
                    <a:pt x="25" y="1291"/>
                  </a:lnTo>
                  <a:lnTo>
                    <a:pt x="23" y="1285"/>
                  </a:lnTo>
                  <a:lnTo>
                    <a:pt x="22" y="1279"/>
                  </a:lnTo>
                  <a:lnTo>
                    <a:pt x="21" y="1271"/>
                  </a:lnTo>
                  <a:lnTo>
                    <a:pt x="21" y="1255"/>
                  </a:lnTo>
                  <a:lnTo>
                    <a:pt x="21" y="1241"/>
                  </a:lnTo>
                  <a:lnTo>
                    <a:pt x="21" y="1226"/>
                  </a:lnTo>
                  <a:lnTo>
                    <a:pt x="21" y="1210"/>
                  </a:lnTo>
                  <a:lnTo>
                    <a:pt x="21" y="1203"/>
                  </a:lnTo>
                  <a:lnTo>
                    <a:pt x="19" y="1198"/>
                  </a:lnTo>
                  <a:lnTo>
                    <a:pt x="17" y="1193"/>
                  </a:lnTo>
                  <a:lnTo>
                    <a:pt x="15" y="1188"/>
                  </a:lnTo>
                  <a:lnTo>
                    <a:pt x="8" y="1179"/>
                  </a:lnTo>
                  <a:lnTo>
                    <a:pt x="4" y="1167"/>
                  </a:lnTo>
                  <a:lnTo>
                    <a:pt x="3" y="1163"/>
                  </a:lnTo>
                  <a:lnTo>
                    <a:pt x="2" y="1160"/>
                  </a:lnTo>
                  <a:lnTo>
                    <a:pt x="2" y="1160"/>
                  </a:lnTo>
                  <a:lnTo>
                    <a:pt x="23" y="1153"/>
                  </a:lnTo>
                  <a:lnTo>
                    <a:pt x="45" y="1146"/>
                  </a:lnTo>
                  <a:lnTo>
                    <a:pt x="55" y="1143"/>
                  </a:lnTo>
                  <a:lnTo>
                    <a:pt x="65" y="1139"/>
                  </a:lnTo>
                  <a:lnTo>
                    <a:pt x="74" y="1132"/>
                  </a:lnTo>
                  <a:lnTo>
                    <a:pt x="84" y="1126"/>
                  </a:lnTo>
                  <a:lnTo>
                    <a:pt x="93" y="1116"/>
                  </a:lnTo>
                  <a:lnTo>
                    <a:pt x="99" y="1106"/>
                  </a:lnTo>
                  <a:lnTo>
                    <a:pt x="104" y="1095"/>
                  </a:lnTo>
                  <a:lnTo>
                    <a:pt x="108" y="1085"/>
                  </a:lnTo>
                  <a:lnTo>
                    <a:pt x="110" y="1074"/>
                  </a:lnTo>
                  <a:lnTo>
                    <a:pt x="111" y="1062"/>
                  </a:lnTo>
                  <a:lnTo>
                    <a:pt x="111" y="1049"/>
                  </a:lnTo>
                  <a:lnTo>
                    <a:pt x="111" y="1036"/>
                  </a:lnTo>
                  <a:lnTo>
                    <a:pt x="111" y="1032"/>
                  </a:lnTo>
                  <a:lnTo>
                    <a:pt x="110" y="1029"/>
                  </a:lnTo>
                  <a:lnTo>
                    <a:pt x="109" y="1026"/>
                  </a:lnTo>
                  <a:lnTo>
                    <a:pt x="108" y="1024"/>
                  </a:lnTo>
                  <a:lnTo>
                    <a:pt x="103" y="1021"/>
                  </a:lnTo>
                  <a:lnTo>
                    <a:pt x="98" y="1019"/>
                  </a:lnTo>
                  <a:lnTo>
                    <a:pt x="85" y="1013"/>
                  </a:lnTo>
                  <a:lnTo>
                    <a:pt x="72" y="1008"/>
                  </a:lnTo>
                  <a:lnTo>
                    <a:pt x="62" y="1000"/>
                  </a:lnTo>
                  <a:lnTo>
                    <a:pt x="54" y="992"/>
                  </a:lnTo>
                  <a:lnTo>
                    <a:pt x="46" y="983"/>
                  </a:lnTo>
                  <a:lnTo>
                    <a:pt x="41" y="974"/>
                  </a:lnTo>
                  <a:lnTo>
                    <a:pt x="36" y="964"/>
                  </a:lnTo>
                  <a:lnTo>
                    <a:pt x="33" y="953"/>
                  </a:lnTo>
                  <a:lnTo>
                    <a:pt x="31" y="942"/>
                  </a:lnTo>
                  <a:lnTo>
                    <a:pt x="30" y="929"/>
                  </a:lnTo>
                  <a:lnTo>
                    <a:pt x="31" y="918"/>
                  </a:lnTo>
                  <a:lnTo>
                    <a:pt x="32" y="910"/>
                  </a:lnTo>
                  <a:lnTo>
                    <a:pt x="33" y="900"/>
                  </a:lnTo>
                  <a:lnTo>
                    <a:pt x="35" y="891"/>
                  </a:lnTo>
                  <a:lnTo>
                    <a:pt x="39" y="884"/>
                  </a:lnTo>
                  <a:lnTo>
                    <a:pt x="42" y="875"/>
                  </a:lnTo>
                  <a:lnTo>
                    <a:pt x="46" y="867"/>
                  </a:lnTo>
                  <a:lnTo>
                    <a:pt x="50" y="861"/>
                  </a:lnTo>
                  <a:lnTo>
                    <a:pt x="71" y="832"/>
                  </a:lnTo>
                  <a:lnTo>
                    <a:pt x="95" y="801"/>
                  </a:lnTo>
                  <a:lnTo>
                    <a:pt x="103" y="790"/>
                  </a:lnTo>
                  <a:lnTo>
                    <a:pt x="110" y="779"/>
                  </a:lnTo>
                  <a:lnTo>
                    <a:pt x="115" y="769"/>
                  </a:lnTo>
                  <a:lnTo>
                    <a:pt x="120" y="758"/>
                  </a:lnTo>
                  <a:lnTo>
                    <a:pt x="127" y="736"/>
                  </a:lnTo>
                  <a:lnTo>
                    <a:pt x="134" y="711"/>
                  </a:lnTo>
                  <a:lnTo>
                    <a:pt x="140" y="688"/>
                  </a:lnTo>
                  <a:lnTo>
                    <a:pt x="147" y="668"/>
                  </a:lnTo>
                  <a:lnTo>
                    <a:pt x="154" y="649"/>
                  </a:lnTo>
                  <a:lnTo>
                    <a:pt x="161" y="631"/>
                  </a:lnTo>
                  <a:lnTo>
                    <a:pt x="167" y="613"/>
                  </a:lnTo>
                  <a:lnTo>
                    <a:pt x="174" y="593"/>
                  </a:lnTo>
                  <a:lnTo>
                    <a:pt x="179" y="574"/>
                  </a:lnTo>
                  <a:lnTo>
                    <a:pt x="184" y="551"/>
                  </a:lnTo>
                  <a:lnTo>
                    <a:pt x="190" y="526"/>
                  </a:lnTo>
                  <a:lnTo>
                    <a:pt x="194" y="504"/>
                  </a:lnTo>
                  <a:lnTo>
                    <a:pt x="198" y="483"/>
                  </a:lnTo>
                  <a:lnTo>
                    <a:pt x="203" y="462"/>
                  </a:lnTo>
                  <a:lnTo>
                    <a:pt x="208" y="442"/>
                  </a:lnTo>
                  <a:lnTo>
                    <a:pt x="212" y="421"/>
                  </a:lnTo>
                  <a:lnTo>
                    <a:pt x="218" y="399"/>
                  </a:lnTo>
                  <a:lnTo>
                    <a:pt x="223" y="374"/>
                  </a:lnTo>
                  <a:lnTo>
                    <a:pt x="228" y="358"/>
                  </a:lnTo>
                  <a:lnTo>
                    <a:pt x="233" y="344"/>
                  </a:lnTo>
                  <a:lnTo>
                    <a:pt x="239" y="331"/>
                  </a:lnTo>
                  <a:lnTo>
                    <a:pt x="246" y="316"/>
                  </a:lnTo>
                  <a:lnTo>
                    <a:pt x="251" y="308"/>
                  </a:lnTo>
                  <a:lnTo>
                    <a:pt x="258" y="302"/>
                  </a:lnTo>
                  <a:lnTo>
                    <a:pt x="261" y="298"/>
                  </a:lnTo>
                  <a:lnTo>
                    <a:pt x="263" y="295"/>
                  </a:lnTo>
                  <a:lnTo>
                    <a:pt x="265" y="292"/>
                  </a:lnTo>
                  <a:lnTo>
                    <a:pt x="265" y="288"/>
                  </a:lnTo>
                  <a:lnTo>
                    <a:pt x="265" y="273"/>
                  </a:lnTo>
                  <a:lnTo>
                    <a:pt x="263" y="259"/>
                  </a:lnTo>
                  <a:lnTo>
                    <a:pt x="261" y="248"/>
                  </a:lnTo>
                  <a:lnTo>
                    <a:pt x="258" y="236"/>
                  </a:lnTo>
                  <a:lnTo>
                    <a:pt x="255" y="224"/>
                  </a:lnTo>
                  <a:lnTo>
                    <a:pt x="250" y="213"/>
                  </a:lnTo>
                  <a:lnTo>
                    <a:pt x="245" y="203"/>
                  </a:lnTo>
                  <a:lnTo>
                    <a:pt x="239" y="192"/>
                  </a:lnTo>
                  <a:lnTo>
                    <a:pt x="228" y="172"/>
                  </a:lnTo>
                  <a:lnTo>
                    <a:pt x="215" y="150"/>
                  </a:lnTo>
                  <a:lnTo>
                    <a:pt x="203" y="128"/>
                  </a:lnTo>
                  <a:lnTo>
                    <a:pt x="190" y="102"/>
                  </a:lnTo>
                  <a:lnTo>
                    <a:pt x="187" y="93"/>
                  </a:lnTo>
                  <a:lnTo>
                    <a:pt x="183" y="84"/>
                  </a:lnTo>
                  <a:lnTo>
                    <a:pt x="180" y="76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9" y="66"/>
                  </a:lnTo>
                  <a:lnTo>
                    <a:pt x="198" y="63"/>
                  </a:lnTo>
                  <a:lnTo>
                    <a:pt x="203" y="61"/>
                  </a:lnTo>
                  <a:lnTo>
                    <a:pt x="207" y="59"/>
                  </a:lnTo>
                  <a:lnTo>
                    <a:pt x="212" y="57"/>
                  </a:lnTo>
                  <a:lnTo>
                    <a:pt x="218" y="57"/>
                  </a:lnTo>
                  <a:lnTo>
                    <a:pt x="224" y="59"/>
                  </a:lnTo>
                  <a:lnTo>
                    <a:pt x="231" y="61"/>
                  </a:lnTo>
                  <a:lnTo>
                    <a:pt x="236" y="64"/>
                  </a:lnTo>
                  <a:lnTo>
                    <a:pt x="241" y="69"/>
                  </a:lnTo>
                  <a:lnTo>
                    <a:pt x="248" y="81"/>
                  </a:lnTo>
                  <a:lnTo>
                    <a:pt x="255" y="94"/>
                  </a:lnTo>
                  <a:lnTo>
                    <a:pt x="269" y="119"/>
                  </a:lnTo>
                  <a:lnTo>
                    <a:pt x="282" y="141"/>
                  </a:lnTo>
                  <a:lnTo>
                    <a:pt x="289" y="151"/>
                  </a:lnTo>
                  <a:lnTo>
                    <a:pt x="298" y="161"/>
                  </a:lnTo>
                  <a:lnTo>
                    <a:pt x="308" y="171"/>
                  </a:lnTo>
                  <a:lnTo>
                    <a:pt x="319" y="181"/>
                  </a:lnTo>
                  <a:lnTo>
                    <a:pt x="332" y="191"/>
                  </a:lnTo>
                  <a:lnTo>
                    <a:pt x="346" y="200"/>
                  </a:lnTo>
                  <a:lnTo>
                    <a:pt x="360" y="207"/>
                  </a:lnTo>
                  <a:lnTo>
                    <a:pt x="374" y="212"/>
                  </a:lnTo>
                  <a:lnTo>
                    <a:pt x="389" y="216"/>
                  </a:lnTo>
                  <a:lnTo>
                    <a:pt x="405" y="218"/>
                  </a:lnTo>
                  <a:lnTo>
                    <a:pt x="421" y="219"/>
                  </a:lnTo>
                  <a:lnTo>
                    <a:pt x="438" y="219"/>
                  </a:lnTo>
                  <a:lnTo>
                    <a:pt x="445" y="219"/>
                  </a:lnTo>
                  <a:lnTo>
                    <a:pt x="451" y="218"/>
                  </a:lnTo>
                  <a:lnTo>
                    <a:pt x="458" y="216"/>
                  </a:lnTo>
                  <a:lnTo>
                    <a:pt x="463" y="213"/>
                  </a:lnTo>
                  <a:lnTo>
                    <a:pt x="474" y="205"/>
                  </a:lnTo>
                  <a:lnTo>
                    <a:pt x="482" y="197"/>
                  </a:lnTo>
                  <a:lnTo>
                    <a:pt x="492" y="188"/>
                  </a:lnTo>
                  <a:lnTo>
                    <a:pt x="502" y="180"/>
                  </a:lnTo>
                  <a:lnTo>
                    <a:pt x="507" y="175"/>
                  </a:lnTo>
                  <a:lnTo>
                    <a:pt x="513" y="172"/>
                  </a:lnTo>
                  <a:lnTo>
                    <a:pt x="519" y="169"/>
                  </a:lnTo>
                  <a:lnTo>
                    <a:pt x="527" y="167"/>
                  </a:lnTo>
                  <a:lnTo>
                    <a:pt x="544" y="162"/>
                  </a:lnTo>
                  <a:lnTo>
                    <a:pt x="560" y="160"/>
                  </a:lnTo>
                  <a:lnTo>
                    <a:pt x="575" y="158"/>
                  </a:lnTo>
                  <a:lnTo>
                    <a:pt x="591" y="157"/>
                  </a:lnTo>
                  <a:lnTo>
                    <a:pt x="605" y="154"/>
                  </a:lnTo>
                  <a:lnTo>
                    <a:pt x="620" y="150"/>
                  </a:lnTo>
                  <a:lnTo>
                    <a:pt x="627" y="148"/>
                  </a:lnTo>
                  <a:lnTo>
                    <a:pt x="635" y="145"/>
                  </a:lnTo>
                  <a:lnTo>
                    <a:pt x="642" y="141"/>
                  </a:lnTo>
                  <a:lnTo>
                    <a:pt x="650" y="136"/>
                  </a:lnTo>
                  <a:lnTo>
                    <a:pt x="655" y="131"/>
                  </a:lnTo>
                  <a:lnTo>
                    <a:pt x="659" y="126"/>
                  </a:lnTo>
                  <a:lnTo>
                    <a:pt x="662" y="119"/>
                  </a:lnTo>
                  <a:lnTo>
                    <a:pt x="664" y="113"/>
                  </a:lnTo>
                  <a:lnTo>
                    <a:pt x="665" y="105"/>
                  </a:lnTo>
                  <a:lnTo>
                    <a:pt x="667" y="99"/>
                  </a:lnTo>
                  <a:lnTo>
                    <a:pt x="670" y="92"/>
                  </a:lnTo>
                  <a:lnTo>
                    <a:pt x="675" y="86"/>
                  </a:lnTo>
                  <a:lnTo>
                    <a:pt x="679" y="81"/>
                  </a:lnTo>
                  <a:lnTo>
                    <a:pt x="684" y="77"/>
                  </a:lnTo>
                  <a:lnTo>
                    <a:pt x="689" y="74"/>
                  </a:lnTo>
                  <a:lnTo>
                    <a:pt x="694" y="72"/>
                  </a:lnTo>
                  <a:lnTo>
                    <a:pt x="704" y="67"/>
                  </a:lnTo>
                  <a:lnTo>
                    <a:pt x="715" y="64"/>
                  </a:lnTo>
                  <a:lnTo>
                    <a:pt x="726" y="62"/>
                  </a:lnTo>
                  <a:lnTo>
                    <a:pt x="737" y="60"/>
                  </a:lnTo>
                  <a:lnTo>
                    <a:pt x="749" y="56"/>
                  </a:lnTo>
                  <a:lnTo>
                    <a:pt x="761" y="52"/>
                  </a:lnTo>
                  <a:lnTo>
                    <a:pt x="796" y="37"/>
                  </a:lnTo>
                  <a:lnTo>
                    <a:pt x="826" y="25"/>
                  </a:lnTo>
                  <a:lnTo>
                    <a:pt x="841" y="21"/>
                  </a:lnTo>
                  <a:lnTo>
                    <a:pt x="857" y="18"/>
                  </a:lnTo>
                  <a:lnTo>
                    <a:pt x="875" y="16"/>
                  </a:lnTo>
                  <a:lnTo>
                    <a:pt x="893" y="15"/>
                  </a:lnTo>
                  <a:lnTo>
                    <a:pt x="896" y="16"/>
                  </a:lnTo>
                  <a:lnTo>
                    <a:pt x="898" y="18"/>
                  </a:lnTo>
                  <a:lnTo>
                    <a:pt x="900" y="21"/>
                  </a:lnTo>
                  <a:lnTo>
                    <a:pt x="900" y="23"/>
                  </a:lnTo>
                  <a:lnTo>
                    <a:pt x="903" y="30"/>
                  </a:lnTo>
                  <a:lnTo>
                    <a:pt x="905" y="38"/>
                  </a:lnTo>
                  <a:lnTo>
                    <a:pt x="909" y="45"/>
                  </a:lnTo>
                  <a:lnTo>
                    <a:pt x="915" y="50"/>
                  </a:lnTo>
                  <a:lnTo>
                    <a:pt x="920" y="55"/>
                  </a:lnTo>
                  <a:lnTo>
                    <a:pt x="927" y="61"/>
                  </a:lnTo>
                  <a:lnTo>
                    <a:pt x="945" y="73"/>
                  </a:lnTo>
                  <a:lnTo>
                    <a:pt x="961" y="84"/>
                  </a:lnTo>
                  <a:lnTo>
                    <a:pt x="977" y="95"/>
                  </a:lnTo>
                  <a:lnTo>
                    <a:pt x="994" y="104"/>
                  </a:lnTo>
                  <a:lnTo>
                    <a:pt x="1012" y="111"/>
                  </a:lnTo>
                  <a:lnTo>
                    <a:pt x="1029" y="117"/>
                  </a:lnTo>
                  <a:lnTo>
                    <a:pt x="1039" y="119"/>
                  </a:lnTo>
                  <a:lnTo>
                    <a:pt x="1050" y="121"/>
                  </a:lnTo>
                  <a:lnTo>
                    <a:pt x="1059" y="121"/>
                  </a:lnTo>
                  <a:lnTo>
                    <a:pt x="1071" y="122"/>
                  </a:lnTo>
                  <a:lnTo>
                    <a:pt x="1087" y="122"/>
                  </a:lnTo>
                  <a:lnTo>
                    <a:pt x="1101" y="122"/>
                  </a:lnTo>
                  <a:lnTo>
                    <a:pt x="1114" y="122"/>
                  </a:lnTo>
                  <a:lnTo>
                    <a:pt x="1131" y="122"/>
                  </a:lnTo>
                  <a:lnTo>
                    <a:pt x="1137" y="121"/>
                  </a:lnTo>
                  <a:lnTo>
                    <a:pt x="1142" y="121"/>
                  </a:lnTo>
                  <a:lnTo>
                    <a:pt x="1147" y="119"/>
                  </a:lnTo>
                  <a:lnTo>
                    <a:pt x="1151" y="118"/>
                  </a:lnTo>
                  <a:lnTo>
                    <a:pt x="1160" y="113"/>
                  </a:lnTo>
                  <a:lnTo>
                    <a:pt x="1167" y="107"/>
                  </a:lnTo>
                  <a:lnTo>
                    <a:pt x="1174" y="100"/>
                  </a:lnTo>
                  <a:lnTo>
                    <a:pt x="1179" y="91"/>
                  </a:lnTo>
                  <a:lnTo>
                    <a:pt x="1185" y="82"/>
                  </a:lnTo>
                  <a:lnTo>
                    <a:pt x="1190" y="73"/>
                  </a:lnTo>
                  <a:lnTo>
                    <a:pt x="1201" y="53"/>
                  </a:lnTo>
                  <a:lnTo>
                    <a:pt x="1213" y="35"/>
                  </a:lnTo>
                  <a:lnTo>
                    <a:pt x="1219" y="27"/>
                  </a:lnTo>
                  <a:lnTo>
                    <a:pt x="1227" y="20"/>
                  </a:lnTo>
                  <a:lnTo>
                    <a:pt x="1236" y="14"/>
                  </a:lnTo>
                  <a:lnTo>
                    <a:pt x="1246" y="10"/>
                  </a:lnTo>
                  <a:lnTo>
                    <a:pt x="1258" y="7"/>
                  </a:lnTo>
                  <a:lnTo>
                    <a:pt x="1269" y="6"/>
                  </a:lnTo>
                  <a:lnTo>
                    <a:pt x="1280" y="6"/>
                  </a:lnTo>
                  <a:lnTo>
                    <a:pt x="1289" y="7"/>
                  </a:lnTo>
                  <a:lnTo>
                    <a:pt x="1310" y="9"/>
                  </a:lnTo>
                  <a:lnTo>
                    <a:pt x="1334" y="10"/>
                  </a:lnTo>
                  <a:lnTo>
                    <a:pt x="1347" y="8"/>
                  </a:lnTo>
                  <a:lnTo>
                    <a:pt x="1360" y="6"/>
                  </a:lnTo>
                  <a:lnTo>
                    <a:pt x="1371" y="2"/>
                  </a:lnTo>
                  <a:lnTo>
                    <a:pt x="1384" y="1"/>
                  </a:lnTo>
                  <a:lnTo>
                    <a:pt x="1422" y="1"/>
                  </a:lnTo>
                  <a:lnTo>
                    <a:pt x="1455" y="1"/>
                  </a:lnTo>
                  <a:lnTo>
                    <a:pt x="1487" y="0"/>
                  </a:lnTo>
                  <a:lnTo>
                    <a:pt x="1524" y="0"/>
                  </a:lnTo>
                  <a:lnTo>
                    <a:pt x="1527" y="8"/>
                  </a:lnTo>
                  <a:lnTo>
                    <a:pt x="1529" y="14"/>
                  </a:lnTo>
                  <a:lnTo>
                    <a:pt x="1532" y="21"/>
                  </a:lnTo>
                  <a:lnTo>
                    <a:pt x="1537" y="27"/>
                  </a:lnTo>
                  <a:lnTo>
                    <a:pt x="1541" y="33"/>
                  </a:lnTo>
                  <a:lnTo>
                    <a:pt x="1545" y="37"/>
                  </a:lnTo>
                  <a:lnTo>
                    <a:pt x="1551" y="41"/>
                  </a:lnTo>
                  <a:lnTo>
                    <a:pt x="1556" y="46"/>
                  </a:lnTo>
                  <a:lnTo>
                    <a:pt x="1563" y="49"/>
                  </a:lnTo>
                  <a:lnTo>
                    <a:pt x="1568" y="52"/>
                  </a:lnTo>
                  <a:lnTo>
                    <a:pt x="1574" y="54"/>
                  </a:lnTo>
                  <a:lnTo>
                    <a:pt x="1582" y="56"/>
                  </a:lnTo>
                  <a:lnTo>
                    <a:pt x="1596" y="60"/>
                  </a:lnTo>
                  <a:lnTo>
                    <a:pt x="1611" y="61"/>
                  </a:lnTo>
                  <a:lnTo>
                    <a:pt x="1640" y="60"/>
                  </a:lnTo>
                  <a:lnTo>
                    <a:pt x="1667" y="56"/>
                  </a:lnTo>
                  <a:lnTo>
                    <a:pt x="1692" y="53"/>
                  </a:lnTo>
                  <a:lnTo>
                    <a:pt x="1716" y="49"/>
                  </a:lnTo>
                  <a:lnTo>
                    <a:pt x="1741" y="45"/>
                  </a:lnTo>
                  <a:lnTo>
                    <a:pt x="1766" y="41"/>
                  </a:lnTo>
                  <a:lnTo>
                    <a:pt x="1792" y="39"/>
                  </a:lnTo>
                  <a:lnTo>
                    <a:pt x="1821" y="38"/>
                  </a:lnTo>
                  <a:lnTo>
                    <a:pt x="1840" y="37"/>
                  </a:lnTo>
                  <a:lnTo>
                    <a:pt x="1859" y="38"/>
                  </a:lnTo>
                  <a:lnTo>
                    <a:pt x="1867" y="39"/>
                  </a:lnTo>
                  <a:lnTo>
                    <a:pt x="1875" y="42"/>
                  </a:lnTo>
                  <a:lnTo>
                    <a:pt x="1878" y="45"/>
                  </a:lnTo>
                  <a:lnTo>
                    <a:pt x="1880" y="48"/>
                  </a:lnTo>
                  <a:lnTo>
                    <a:pt x="1883" y="51"/>
                  </a:lnTo>
                  <a:lnTo>
                    <a:pt x="1886" y="54"/>
                  </a:lnTo>
                  <a:lnTo>
                    <a:pt x="1890" y="64"/>
                  </a:lnTo>
                  <a:lnTo>
                    <a:pt x="1891" y="74"/>
                  </a:lnTo>
                  <a:lnTo>
                    <a:pt x="1892" y="83"/>
                  </a:lnTo>
                  <a:lnTo>
                    <a:pt x="1893" y="93"/>
                  </a:lnTo>
                  <a:lnTo>
                    <a:pt x="1893" y="102"/>
                  </a:lnTo>
                  <a:lnTo>
                    <a:pt x="1895" y="110"/>
                  </a:lnTo>
                  <a:lnTo>
                    <a:pt x="1896" y="115"/>
                  </a:lnTo>
                  <a:lnTo>
                    <a:pt x="1898" y="119"/>
                  </a:lnTo>
                  <a:lnTo>
                    <a:pt x="1902" y="123"/>
                  </a:lnTo>
                  <a:lnTo>
                    <a:pt x="1905" y="128"/>
                  </a:lnTo>
                  <a:lnTo>
                    <a:pt x="1910" y="132"/>
                  </a:lnTo>
                  <a:lnTo>
                    <a:pt x="1916" y="135"/>
                  </a:lnTo>
                  <a:lnTo>
                    <a:pt x="1922" y="137"/>
                  </a:lnTo>
                  <a:lnTo>
                    <a:pt x="1928" y="140"/>
                  </a:lnTo>
                  <a:lnTo>
                    <a:pt x="1941" y="142"/>
                  </a:lnTo>
                  <a:lnTo>
                    <a:pt x="1952" y="147"/>
                  </a:lnTo>
                  <a:lnTo>
                    <a:pt x="1972" y="159"/>
                  </a:lnTo>
                  <a:lnTo>
                    <a:pt x="1989" y="170"/>
                  </a:lnTo>
                  <a:lnTo>
                    <a:pt x="1998" y="174"/>
                  </a:lnTo>
                  <a:lnTo>
                    <a:pt x="2008" y="177"/>
                  </a:lnTo>
                  <a:lnTo>
                    <a:pt x="2017" y="180"/>
                  </a:lnTo>
                  <a:lnTo>
                    <a:pt x="2028" y="181"/>
                  </a:lnTo>
                  <a:lnTo>
                    <a:pt x="2028" y="181"/>
                  </a:lnTo>
                  <a:lnTo>
                    <a:pt x="2026" y="196"/>
                  </a:lnTo>
                  <a:lnTo>
                    <a:pt x="2024" y="211"/>
                  </a:lnTo>
                  <a:lnTo>
                    <a:pt x="2022" y="225"/>
                  </a:lnTo>
                  <a:lnTo>
                    <a:pt x="2021" y="239"/>
                  </a:lnTo>
                  <a:lnTo>
                    <a:pt x="2019" y="268"/>
                  </a:lnTo>
                  <a:lnTo>
                    <a:pt x="2017" y="298"/>
                  </a:lnTo>
                  <a:lnTo>
                    <a:pt x="2016" y="311"/>
                  </a:lnTo>
                  <a:lnTo>
                    <a:pt x="2013" y="323"/>
                  </a:lnTo>
                  <a:lnTo>
                    <a:pt x="2010" y="334"/>
                  </a:lnTo>
                  <a:lnTo>
                    <a:pt x="2006" y="345"/>
                  </a:lnTo>
                  <a:lnTo>
                    <a:pt x="2003" y="354"/>
                  </a:lnTo>
                  <a:lnTo>
                    <a:pt x="2000" y="365"/>
                  </a:lnTo>
                  <a:lnTo>
                    <a:pt x="1999" y="377"/>
                  </a:lnTo>
                  <a:lnTo>
                    <a:pt x="1998" y="390"/>
                  </a:lnTo>
                  <a:lnTo>
                    <a:pt x="1998" y="402"/>
                  </a:lnTo>
                  <a:lnTo>
                    <a:pt x="1998" y="413"/>
                  </a:lnTo>
                  <a:lnTo>
                    <a:pt x="2018" y="416"/>
                  </a:lnTo>
                  <a:lnTo>
                    <a:pt x="2038" y="417"/>
                  </a:lnTo>
                  <a:lnTo>
                    <a:pt x="2046" y="418"/>
                  </a:lnTo>
                  <a:lnTo>
                    <a:pt x="2056" y="419"/>
                  </a:lnTo>
                  <a:lnTo>
                    <a:pt x="2066" y="421"/>
                  </a:lnTo>
                  <a:lnTo>
                    <a:pt x="2077" y="425"/>
                  </a:lnTo>
                  <a:lnTo>
                    <a:pt x="2092" y="431"/>
                  </a:lnTo>
                  <a:lnTo>
                    <a:pt x="2106" y="440"/>
                  </a:lnTo>
                  <a:lnTo>
                    <a:pt x="2118" y="448"/>
                  </a:lnTo>
                  <a:lnTo>
                    <a:pt x="2130" y="458"/>
                  </a:lnTo>
                  <a:lnTo>
                    <a:pt x="2149" y="482"/>
                  </a:lnTo>
                  <a:lnTo>
                    <a:pt x="2172" y="509"/>
                  </a:lnTo>
                  <a:lnTo>
                    <a:pt x="2180" y="519"/>
                  </a:lnTo>
                  <a:lnTo>
                    <a:pt x="2189" y="526"/>
                  </a:lnTo>
                  <a:lnTo>
                    <a:pt x="2198" y="534"/>
                  </a:lnTo>
                  <a:lnTo>
                    <a:pt x="2207" y="540"/>
                  </a:lnTo>
                  <a:lnTo>
                    <a:pt x="2227" y="553"/>
                  </a:lnTo>
                  <a:lnTo>
                    <a:pt x="2247" y="567"/>
                  </a:lnTo>
                  <a:lnTo>
                    <a:pt x="2272" y="587"/>
                  </a:lnTo>
                  <a:lnTo>
                    <a:pt x="2295" y="605"/>
                  </a:lnTo>
                  <a:lnTo>
                    <a:pt x="2315" y="622"/>
                  </a:lnTo>
                  <a:lnTo>
                    <a:pt x="2336" y="640"/>
                  </a:lnTo>
                  <a:lnTo>
                    <a:pt x="2356" y="656"/>
                  </a:lnTo>
                  <a:lnTo>
                    <a:pt x="2378" y="673"/>
                  </a:lnTo>
                  <a:lnTo>
                    <a:pt x="2403" y="690"/>
                  </a:lnTo>
                  <a:lnTo>
                    <a:pt x="2430" y="708"/>
                  </a:lnTo>
                  <a:lnTo>
                    <a:pt x="2463" y="729"/>
                  </a:lnTo>
                  <a:lnTo>
                    <a:pt x="2494" y="750"/>
                  </a:lnTo>
                  <a:lnTo>
                    <a:pt x="2524" y="770"/>
                  </a:lnTo>
                  <a:lnTo>
                    <a:pt x="2558" y="792"/>
                  </a:lnTo>
                  <a:lnTo>
                    <a:pt x="2590" y="808"/>
                  </a:lnTo>
                  <a:lnTo>
                    <a:pt x="2618" y="821"/>
                  </a:lnTo>
                  <a:lnTo>
                    <a:pt x="2631" y="830"/>
                  </a:lnTo>
                  <a:lnTo>
                    <a:pt x="2643" y="838"/>
                  </a:lnTo>
                  <a:lnTo>
                    <a:pt x="2649" y="844"/>
                  </a:lnTo>
                  <a:lnTo>
                    <a:pt x="2655" y="850"/>
                  </a:lnTo>
                  <a:lnTo>
                    <a:pt x="2660" y="857"/>
                  </a:lnTo>
                  <a:lnTo>
                    <a:pt x="2665" y="864"/>
                  </a:lnTo>
                  <a:lnTo>
                    <a:pt x="2672" y="875"/>
                  </a:lnTo>
                  <a:lnTo>
                    <a:pt x="2679" y="885"/>
                  </a:lnTo>
                  <a:lnTo>
                    <a:pt x="2687" y="893"/>
                  </a:lnTo>
                  <a:lnTo>
                    <a:pt x="2694" y="901"/>
                  </a:lnTo>
                  <a:lnTo>
                    <a:pt x="2703" y="909"/>
                  </a:lnTo>
                  <a:lnTo>
                    <a:pt x="2711" y="915"/>
                  </a:lnTo>
                  <a:lnTo>
                    <a:pt x="2719" y="921"/>
                  </a:lnTo>
                  <a:lnTo>
                    <a:pt x="2729" y="927"/>
                  </a:lnTo>
                  <a:lnTo>
                    <a:pt x="2747" y="937"/>
                  </a:lnTo>
                  <a:lnTo>
                    <a:pt x="2768" y="946"/>
                  </a:lnTo>
                  <a:lnTo>
                    <a:pt x="2790" y="955"/>
                  </a:lnTo>
                  <a:lnTo>
                    <a:pt x="2813" y="966"/>
                  </a:lnTo>
                  <a:lnTo>
                    <a:pt x="2829" y="972"/>
                  </a:lnTo>
                  <a:lnTo>
                    <a:pt x="2845" y="978"/>
                  </a:lnTo>
                  <a:lnTo>
                    <a:pt x="2852" y="981"/>
                  </a:lnTo>
                  <a:lnTo>
                    <a:pt x="2859" y="985"/>
                  </a:lnTo>
                  <a:lnTo>
                    <a:pt x="2865" y="991"/>
                  </a:lnTo>
                  <a:lnTo>
                    <a:pt x="2873" y="996"/>
                  </a:lnTo>
                  <a:lnTo>
                    <a:pt x="2873" y="996"/>
                  </a:lnTo>
                  <a:close/>
                </a:path>
              </a:pathLst>
            </a:custGeom>
            <a:solidFill>
              <a:srgbClr val="73B84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60">
              <a:extLst>
                <a:ext uri="{FF2B5EF4-FFF2-40B4-BE49-F238E27FC236}">
                  <a16:creationId xmlns:a16="http://schemas.microsoft.com/office/drawing/2014/main" id="{F0344754-4D29-483E-9D7A-61791A946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0238" y="3913188"/>
              <a:ext cx="1139825" cy="1157288"/>
            </a:xfrm>
            <a:custGeom>
              <a:avLst/>
              <a:gdLst>
                <a:gd name="T0" fmla="*/ 2819 w 2873"/>
                <a:gd name="T1" fmla="*/ 1159 h 2916"/>
                <a:gd name="T2" fmla="*/ 2788 w 2873"/>
                <a:gd name="T3" fmla="*/ 1260 h 2916"/>
                <a:gd name="T4" fmla="*/ 2690 w 2873"/>
                <a:gd name="T5" fmla="*/ 1348 h 2916"/>
                <a:gd name="T6" fmla="*/ 2575 w 2873"/>
                <a:gd name="T7" fmla="*/ 1444 h 2916"/>
                <a:gd name="T8" fmla="*/ 2458 w 2873"/>
                <a:gd name="T9" fmla="*/ 1631 h 2916"/>
                <a:gd name="T10" fmla="*/ 2399 w 2873"/>
                <a:gd name="T11" fmla="*/ 1817 h 2916"/>
                <a:gd name="T12" fmla="*/ 2265 w 2873"/>
                <a:gd name="T13" fmla="*/ 1971 h 2916"/>
                <a:gd name="T14" fmla="*/ 2157 w 2873"/>
                <a:gd name="T15" fmla="*/ 2115 h 2916"/>
                <a:gd name="T16" fmla="*/ 1961 w 2873"/>
                <a:gd name="T17" fmla="*/ 2174 h 2916"/>
                <a:gd name="T18" fmla="*/ 1753 w 2873"/>
                <a:gd name="T19" fmla="*/ 2352 h 2916"/>
                <a:gd name="T20" fmla="*/ 1662 w 2873"/>
                <a:gd name="T21" fmla="*/ 2481 h 2916"/>
                <a:gd name="T22" fmla="*/ 1585 w 2873"/>
                <a:gd name="T23" fmla="*/ 2621 h 2916"/>
                <a:gd name="T24" fmla="*/ 1482 w 2873"/>
                <a:gd name="T25" fmla="*/ 2742 h 2916"/>
                <a:gd name="T26" fmla="*/ 1379 w 2873"/>
                <a:gd name="T27" fmla="*/ 2916 h 2916"/>
                <a:gd name="T28" fmla="*/ 1286 w 2873"/>
                <a:gd name="T29" fmla="*/ 2792 h 2916"/>
                <a:gd name="T30" fmla="*/ 1210 w 2873"/>
                <a:gd name="T31" fmla="*/ 2789 h 2916"/>
                <a:gd name="T32" fmla="*/ 1012 w 2873"/>
                <a:gd name="T33" fmla="*/ 2790 h 2916"/>
                <a:gd name="T34" fmla="*/ 905 w 2873"/>
                <a:gd name="T35" fmla="*/ 2673 h 2916"/>
                <a:gd name="T36" fmla="*/ 884 w 2873"/>
                <a:gd name="T37" fmla="*/ 2520 h 2916"/>
                <a:gd name="T38" fmla="*/ 853 w 2873"/>
                <a:gd name="T39" fmla="*/ 2381 h 2916"/>
                <a:gd name="T40" fmla="*/ 873 w 2873"/>
                <a:gd name="T41" fmla="*/ 2282 h 2916"/>
                <a:gd name="T42" fmla="*/ 870 w 2873"/>
                <a:gd name="T43" fmla="*/ 2125 h 2916"/>
                <a:gd name="T44" fmla="*/ 693 w 2873"/>
                <a:gd name="T45" fmla="*/ 2031 h 2916"/>
                <a:gd name="T46" fmla="*/ 493 w 2873"/>
                <a:gd name="T47" fmla="*/ 2070 h 2916"/>
                <a:gd name="T48" fmla="*/ 363 w 2873"/>
                <a:gd name="T49" fmla="*/ 2021 h 2916"/>
                <a:gd name="T50" fmla="*/ 130 w 2873"/>
                <a:gd name="T51" fmla="*/ 1962 h 2916"/>
                <a:gd name="T52" fmla="*/ 1 w 2873"/>
                <a:gd name="T53" fmla="*/ 1870 h 2916"/>
                <a:gd name="T54" fmla="*/ 67 w 2873"/>
                <a:gd name="T55" fmla="*/ 1686 h 2916"/>
                <a:gd name="T56" fmla="*/ 84 w 2873"/>
                <a:gd name="T57" fmla="*/ 1517 h 2916"/>
                <a:gd name="T58" fmla="*/ 81 w 2873"/>
                <a:gd name="T59" fmla="*/ 1390 h 2916"/>
                <a:gd name="T60" fmla="*/ 36 w 2873"/>
                <a:gd name="T61" fmla="*/ 1312 h 2916"/>
                <a:gd name="T62" fmla="*/ 21 w 2873"/>
                <a:gd name="T63" fmla="*/ 1203 h 2916"/>
                <a:gd name="T64" fmla="*/ 65 w 2873"/>
                <a:gd name="T65" fmla="*/ 1139 h 2916"/>
                <a:gd name="T66" fmla="*/ 110 w 2873"/>
                <a:gd name="T67" fmla="*/ 1029 h 2916"/>
                <a:gd name="T68" fmla="*/ 33 w 2873"/>
                <a:gd name="T69" fmla="*/ 953 h 2916"/>
                <a:gd name="T70" fmla="*/ 95 w 2873"/>
                <a:gd name="T71" fmla="*/ 801 h 2916"/>
                <a:gd name="T72" fmla="*/ 174 w 2873"/>
                <a:gd name="T73" fmla="*/ 593 h 2916"/>
                <a:gd name="T74" fmla="*/ 233 w 2873"/>
                <a:gd name="T75" fmla="*/ 344 h 2916"/>
                <a:gd name="T76" fmla="*/ 258 w 2873"/>
                <a:gd name="T77" fmla="*/ 236 h 2916"/>
                <a:gd name="T78" fmla="*/ 178 w 2873"/>
                <a:gd name="T79" fmla="*/ 68 h 2916"/>
                <a:gd name="T80" fmla="*/ 248 w 2873"/>
                <a:gd name="T81" fmla="*/ 81 h 2916"/>
                <a:gd name="T82" fmla="*/ 389 w 2873"/>
                <a:gd name="T83" fmla="*/ 216 h 2916"/>
                <a:gd name="T84" fmla="*/ 507 w 2873"/>
                <a:gd name="T85" fmla="*/ 175 h 2916"/>
                <a:gd name="T86" fmla="*/ 642 w 2873"/>
                <a:gd name="T87" fmla="*/ 141 h 2916"/>
                <a:gd name="T88" fmla="*/ 689 w 2873"/>
                <a:gd name="T89" fmla="*/ 74 h 2916"/>
                <a:gd name="T90" fmla="*/ 875 w 2873"/>
                <a:gd name="T91" fmla="*/ 16 h 2916"/>
                <a:gd name="T92" fmla="*/ 945 w 2873"/>
                <a:gd name="T93" fmla="*/ 73 h 2916"/>
                <a:gd name="T94" fmla="*/ 1114 w 2873"/>
                <a:gd name="T95" fmla="*/ 122 h 2916"/>
                <a:gd name="T96" fmla="*/ 1201 w 2873"/>
                <a:gd name="T97" fmla="*/ 53 h 2916"/>
                <a:gd name="T98" fmla="*/ 1347 w 2873"/>
                <a:gd name="T99" fmla="*/ 8 h 2916"/>
                <a:gd name="T100" fmla="*/ 1541 w 2873"/>
                <a:gd name="T101" fmla="*/ 33 h 2916"/>
                <a:gd name="T102" fmla="*/ 1692 w 2873"/>
                <a:gd name="T103" fmla="*/ 53 h 2916"/>
                <a:gd name="T104" fmla="*/ 1883 w 2873"/>
                <a:gd name="T105" fmla="*/ 51 h 2916"/>
                <a:gd name="T106" fmla="*/ 1910 w 2873"/>
                <a:gd name="T107" fmla="*/ 132 h 2916"/>
                <a:gd name="T108" fmla="*/ 2028 w 2873"/>
                <a:gd name="T109" fmla="*/ 181 h 2916"/>
                <a:gd name="T110" fmla="*/ 2000 w 2873"/>
                <a:gd name="T111" fmla="*/ 365 h 2916"/>
                <a:gd name="T112" fmla="*/ 2106 w 2873"/>
                <a:gd name="T113" fmla="*/ 440 h 2916"/>
                <a:gd name="T114" fmla="*/ 2295 w 2873"/>
                <a:gd name="T115" fmla="*/ 605 h 2916"/>
                <a:gd name="T116" fmla="*/ 2618 w 2873"/>
                <a:gd name="T117" fmla="*/ 821 h 2916"/>
                <a:gd name="T118" fmla="*/ 2711 w 2873"/>
                <a:gd name="T119" fmla="*/ 915 h 2916"/>
                <a:gd name="T120" fmla="*/ 2873 w 2873"/>
                <a:gd name="T121" fmla="*/ 996 h 2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73" h="2916">
                  <a:moveTo>
                    <a:pt x="2873" y="996"/>
                  </a:moveTo>
                  <a:lnTo>
                    <a:pt x="2858" y="1010"/>
                  </a:lnTo>
                  <a:lnTo>
                    <a:pt x="2846" y="1024"/>
                  </a:lnTo>
                  <a:lnTo>
                    <a:pt x="2835" y="1039"/>
                  </a:lnTo>
                  <a:lnTo>
                    <a:pt x="2827" y="1055"/>
                  </a:lnTo>
                  <a:lnTo>
                    <a:pt x="2821" y="1072"/>
                  </a:lnTo>
                  <a:lnTo>
                    <a:pt x="2817" y="1089"/>
                  </a:lnTo>
                  <a:lnTo>
                    <a:pt x="2814" y="1107"/>
                  </a:lnTo>
                  <a:lnTo>
                    <a:pt x="2813" y="1128"/>
                  </a:lnTo>
                  <a:lnTo>
                    <a:pt x="2814" y="1140"/>
                  </a:lnTo>
                  <a:lnTo>
                    <a:pt x="2817" y="1149"/>
                  </a:lnTo>
                  <a:lnTo>
                    <a:pt x="2819" y="1159"/>
                  </a:lnTo>
                  <a:lnTo>
                    <a:pt x="2822" y="1169"/>
                  </a:lnTo>
                  <a:lnTo>
                    <a:pt x="2824" y="1177"/>
                  </a:lnTo>
                  <a:lnTo>
                    <a:pt x="2826" y="1187"/>
                  </a:lnTo>
                  <a:lnTo>
                    <a:pt x="2827" y="1198"/>
                  </a:lnTo>
                  <a:lnTo>
                    <a:pt x="2826" y="1209"/>
                  </a:lnTo>
                  <a:lnTo>
                    <a:pt x="2826" y="1209"/>
                  </a:lnTo>
                  <a:lnTo>
                    <a:pt x="2822" y="1217"/>
                  </a:lnTo>
                  <a:lnTo>
                    <a:pt x="2819" y="1224"/>
                  </a:lnTo>
                  <a:lnTo>
                    <a:pt x="2814" y="1230"/>
                  </a:lnTo>
                  <a:lnTo>
                    <a:pt x="2809" y="1236"/>
                  </a:lnTo>
                  <a:lnTo>
                    <a:pt x="2799" y="1247"/>
                  </a:lnTo>
                  <a:lnTo>
                    <a:pt x="2788" y="1260"/>
                  </a:lnTo>
                  <a:lnTo>
                    <a:pt x="2778" y="1276"/>
                  </a:lnTo>
                  <a:lnTo>
                    <a:pt x="2769" y="1290"/>
                  </a:lnTo>
                  <a:lnTo>
                    <a:pt x="2765" y="1297"/>
                  </a:lnTo>
                  <a:lnTo>
                    <a:pt x="2759" y="1304"/>
                  </a:lnTo>
                  <a:lnTo>
                    <a:pt x="2754" y="1309"/>
                  </a:lnTo>
                  <a:lnTo>
                    <a:pt x="2746" y="1316"/>
                  </a:lnTo>
                  <a:lnTo>
                    <a:pt x="2738" y="1321"/>
                  </a:lnTo>
                  <a:lnTo>
                    <a:pt x="2729" y="1325"/>
                  </a:lnTo>
                  <a:lnTo>
                    <a:pt x="2721" y="1329"/>
                  </a:lnTo>
                  <a:lnTo>
                    <a:pt x="2713" y="1333"/>
                  </a:lnTo>
                  <a:lnTo>
                    <a:pt x="2700" y="1341"/>
                  </a:lnTo>
                  <a:lnTo>
                    <a:pt x="2690" y="1348"/>
                  </a:lnTo>
                  <a:lnTo>
                    <a:pt x="2680" y="1357"/>
                  </a:lnTo>
                  <a:lnTo>
                    <a:pt x="2667" y="1363"/>
                  </a:lnTo>
                  <a:lnTo>
                    <a:pt x="2657" y="1368"/>
                  </a:lnTo>
                  <a:lnTo>
                    <a:pt x="2645" y="1369"/>
                  </a:lnTo>
                  <a:lnTo>
                    <a:pt x="2634" y="1371"/>
                  </a:lnTo>
                  <a:lnTo>
                    <a:pt x="2623" y="1375"/>
                  </a:lnTo>
                  <a:lnTo>
                    <a:pt x="2612" y="1380"/>
                  </a:lnTo>
                  <a:lnTo>
                    <a:pt x="2605" y="1387"/>
                  </a:lnTo>
                  <a:lnTo>
                    <a:pt x="2598" y="1395"/>
                  </a:lnTo>
                  <a:lnTo>
                    <a:pt x="2592" y="1403"/>
                  </a:lnTo>
                  <a:lnTo>
                    <a:pt x="2583" y="1423"/>
                  </a:lnTo>
                  <a:lnTo>
                    <a:pt x="2575" y="1444"/>
                  </a:lnTo>
                  <a:lnTo>
                    <a:pt x="2565" y="1471"/>
                  </a:lnTo>
                  <a:lnTo>
                    <a:pt x="2557" y="1495"/>
                  </a:lnTo>
                  <a:lnTo>
                    <a:pt x="2548" y="1519"/>
                  </a:lnTo>
                  <a:lnTo>
                    <a:pt x="2536" y="1546"/>
                  </a:lnTo>
                  <a:lnTo>
                    <a:pt x="2527" y="1557"/>
                  </a:lnTo>
                  <a:lnTo>
                    <a:pt x="2520" y="1568"/>
                  </a:lnTo>
                  <a:lnTo>
                    <a:pt x="2514" y="1577"/>
                  </a:lnTo>
                  <a:lnTo>
                    <a:pt x="2510" y="1586"/>
                  </a:lnTo>
                  <a:lnTo>
                    <a:pt x="2504" y="1593"/>
                  </a:lnTo>
                  <a:lnTo>
                    <a:pt x="2497" y="1602"/>
                  </a:lnTo>
                  <a:lnTo>
                    <a:pt x="2476" y="1617"/>
                  </a:lnTo>
                  <a:lnTo>
                    <a:pt x="2458" y="1631"/>
                  </a:lnTo>
                  <a:lnTo>
                    <a:pt x="2449" y="1639"/>
                  </a:lnTo>
                  <a:lnTo>
                    <a:pt x="2442" y="1646"/>
                  </a:lnTo>
                  <a:lnTo>
                    <a:pt x="2434" y="1655"/>
                  </a:lnTo>
                  <a:lnTo>
                    <a:pt x="2427" y="1666"/>
                  </a:lnTo>
                  <a:lnTo>
                    <a:pt x="2421" y="1675"/>
                  </a:lnTo>
                  <a:lnTo>
                    <a:pt x="2417" y="1685"/>
                  </a:lnTo>
                  <a:lnTo>
                    <a:pt x="2414" y="1694"/>
                  </a:lnTo>
                  <a:lnTo>
                    <a:pt x="2410" y="1703"/>
                  </a:lnTo>
                  <a:lnTo>
                    <a:pt x="2407" y="1721"/>
                  </a:lnTo>
                  <a:lnTo>
                    <a:pt x="2404" y="1739"/>
                  </a:lnTo>
                  <a:lnTo>
                    <a:pt x="2402" y="1776"/>
                  </a:lnTo>
                  <a:lnTo>
                    <a:pt x="2399" y="1817"/>
                  </a:lnTo>
                  <a:lnTo>
                    <a:pt x="2395" y="1833"/>
                  </a:lnTo>
                  <a:lnTo>
                    <a:pt x="2390" y="1848"/>
                  </a:lnTo>
                  <a:lnTo>
                    <a:pt x="2383" y="1861"/>
                  </a:lnTo>
                  <a:lnTo>
                    <a:pt x="2375" y="1873"/>
                  </a:lnTo>
                  <a:lnTo>
                    <a:pt x="2365" y="1884"/>
                  </a:lnTo>
                  <a:lnTo>
                    <a:pt x="2355" y="1893"/>
                  </a:lnTo>
                  <a:lnTo>
                    <a:pt x="2345" y="1902"/>
                  </a:lnTo>
                  <a:lnTo>
                    <a:pt x="2333" y="1912"/>
                  </a:lnTo>
                  <a:lnTo>
                    <a:pt x="2310" y="1929"/>
                  </a:lnTo>
                  <a:lnTo>
                    <a:pt x="2286" y="1949"/>
                  </a:lnTo>
                  <a:lnTo>
                    <a:pt x="2275" y="1959"/>
                  </a:lnTo>
                  <a:lnTo>
                    <a:pt x="2265" y="1971"/>
                  </a:lnTo>
                  <a:lnTo>
                    <a:pt x="2256" y="1985"/>
                  </a:lnTo>
                  <a:lnTo>
                    <a:pt x="2247" y="1999"/>
                  </a:lnTo>
                  <a:lnTo>
                    <a:pt x="2237" y="2021"/>
                  </a:lnTo>
                  <a:lnTo>
                    <a:pt x="2226" y="2040"/>
                  </a:lnTo>
                  <a:lnTo>
                    <a:pt x="2215" y="2059"/>
                  </a:lnTo>
                  <a:lnTo>
                    <a:pt x="2203" y="2075"/>
                  </a:lnTo>
                  <a:lnTo>
                    <a:pt x="2197" y="2082"/>
                  </a:lnTo>
                  <a:lnTo>
                    <a:pt x="2190" y="2090"/>
                  </a:lnTo>
                  <a:lnTo>
                    <a:pt x="2183" y="2097"/>
                  </a:lnTo>
                  <a:lnTo>
                    <a:pt x="2174" y="2103"/>
                  </a:lnTo>
                  <a:lnTo>
                    <a:pt x="2165" y="2109"/>
                  </a:lnTo>
                  <a:lnTo>
                    <a:pt x="2157" y="2115"/>
                  </a:lnTo>
                  <a:lnTo>
                    <a:pt x="2146" y="2120"/>
                  </a:lnTo>
                  <a:lnTo>
                    <a:pt x="2135" y="2126"/>
                  </a:lnTo>
                  <a:lnTo>
                    <a:pt x="2118" y="2132"/>
                  </a:lnTo>
                  <a:lnTo>
                    <a:pt x="2100" y="2136"/>
                  </a:lnTo>
                  <a:lnTo>
                    <a:pt x="2084" y="2139"/>
                  </a:lnTo>
                  <a:lnTo>
                    <a:pt x="2068" y="2140"/>
                  </a:lnTo>
                  <a:lnTo>
                    <a:pt x="2052" y="2142"/>
                  </a:lnTo>
                  <a:lnTo>
                    <a:pt x="2036" y="2144"/>
                  </a:lnTo>
                  <a:lnTo>
                    <a:pt x="2018" y="2147"/>
                  </a:lnTo>
                  <a:lnTo>
                    <a:pt x="2000" y="2154"/>
                  </a:lnTo>
                  <a:lnTo>
                    <a:pt x="1979" y="2163"/>
                  </a:lnTo>
                  <a:lnTo>
                    <a:pt x="1961" y="2174"/>
                  </a:lnTo>
                  <a:lnTo>
                    <a:pt x="1945" y="2185"/>
                  </a:lnTo>
                  <a:lnTo>
                    <a:pt x="1930" y="2198"/>
                  </a:lnTo>
                  <a:lnTo>
                    <a:pt x="1915" y="2212"/>
                  </a:lnTo>
                  <a:lnTo>
                    <a:pt x="1902" y="2227"/>
                  </a:lnTo>
                  <a:lnTo>
                    <a:pt x="1888" y="2244"/>
                  </a:lnTo>
                  <a:lnTo>
                    <a:pt x="1875" y="2263"/>
                  </a:lnTo>
                  <a:lnTo>
                    <a:pt x="1854" y="2282"/>
                  </a:lnTo>
                  <a:lnTo>
                    <a:pt x="1834" y="2300"/>
                  </a:lnTo>
                  <a:lnTo>
                    <a:pt x="1814" y="2314"/>
                  </a:lnTo>
                  <a:lnTo>
                    <a:pt x="1795" y="2327"/>
                  </a:lnTo>
                  <a:lnTo>
                    <a:pt x="1774" y="2340"/>
                  </a:lnTo>
                  <a:lnTo>
                    <a:pt x="1753" y="2352"/>
                  </a:lnTo>
                  <a:lnTo>
                    <a:pt x="1730" y="2365"/>
                  </a:lnTo>
                  <a:lnTo>
                    <a:pt x="1706" y="2381"/>
                  </a:lnTo>
                  <a:lnTo>
                    <a:pt x="1700" y="2385"/>
                  </a:lnTo>
                  <a:lnTo>
                    <a:pt x="1694" y="2389"/>
                  </a:lnTo>
                  <a:lnTo>
                    <a:pt x="1689" y="2395"/>
                  </a:lnTo>
                  <a:lnTo>
                    <a:pt x="1685" y="2400"/>
                  </a:lnTo>
                  <a:lnTo>
                    <a:pt x="1677" y="2411"/>
                  </a:lnTo>
                  <a:lnTo>
                    <a:pt x="1672" y="2424"/>
                  </a:lnTo>
                  <a:lnTo>
                    <a:pt x="1668" y="2437"/>
                  </a:lnTo>
                  <a:lnTo>
                    <a:pt x="1665" y="2451"/>
                  </a:lnTo>
                  <a:lnTo>
                    <a:pt x="1663" y="2466"/>
                  </a:lnTo>
                  <a:lnTo>
                    <a:pt x="1662" y="2481"/>
                  </a:lnTo>
                  <a:lnTo>
                    <a:pt x="1660" y="2494"/>
                  </a:lnTo>
                  <a:lnTo>
                    <a:pt x="1658" y="2505"/>
                  </a:lnTo>
                  <a:lnTo>
                    <a:pt x="1654" y="2514"/>
                  </a:lnTo>
                  <a:lnTo>
                    <a:pt x="1651" y="2524"/>
                  </a:lnTo>
                  <a:lnTo>
                    <a:pt x="1642" y="2544"/>
                  </a:lnTo>
                  <a:lnTo>
                    <a:pt x="1634" y="2565"/>
                  </a:lnTo>
                  <a:lnTo>
                    <a:pt x="1628" y="2575"/>
                  </a:lnTo>
                  <a:lnTo>
                    <a:pt x="1624" y="2584"/>
                  </a:lnTo>
                  <a:lnTo>
                    <a:pt x="1618" y="2591"/>
                  </a:lnTo>
                  <a:lnTo>
                    <a:pt x="1612" y="2599"/>
                  </a:lnTo>
                  <a:lnTo>
                    <a:pt x="1599" y="2611"/>
                  </a:lnTo>
                  <a:lnTo>
                    <a:pt x="1585" y="2621"/>
                  </a:lnTo>
                  <a:lnTo>
                    <a:pt x="1570" y="2632"/>
                  </a:lnTo>
                  <a:lnTo>
                    <a:pt x="1555" y="2643"/>
                  </a:lnTo>
                  <a:lnTo>
                    <a:pt x="1539" y="2655"/>
                  </a:lnTo>
                  <a:lnTo>
                    <a:pt x="1524" y="2669"/>
                  </a:lnTo>
                  <a:lnTo>
                    <a:pt x="1517" y="2679"/>
                  </a:lnTo>
                  <a:lnTo>
                    <a:pt x="1511" y="2687"/>
                  </a:lnTo>
                  <a:lnTo>
                    <a:pt x="1506" y="2696"/>
                  </a:lnTo>
                  <a:lnTo>
                    <a:pt x="1502" y="2706"/>
                  </a:lnTo>
                  <a:lnTo>
                    <a:pt x="1499" y="2714"/>
                  </a:lnTo>
                  <a:lnTo>
                    <a:pt x="1495" y="2724"/>
                  </a:lnTo>
                  <a:lnTo>
                    <a:pt x="1489" y="2733"/>
                  </a:lnTo>
                  <a:lnTo>
                    <a:pt x="1482" y="2742"/>
                  </a:lnTo>
                  <a:lnTo>
                    <a:pt x="1457" y="2767"/>
                  </a:lnTo>
                  <a:lnTo>
                    <a:pt x="1433" y="2789"/>
                  </a:lnTo>
                  <a:lnTo>
                    <a:pt x="1422" y="2800"/>
                  </a:lnTo>
                  <a:lnTo>
                    <a:pt x="1412" y="2811"/>
                  </a:lnTo>
                  <a:lnTo>
                    <a:pt x="1408" y="2819"/>
                  </a:lnTo>
                  <a:lnTo>
                    <a:pt x="1405" y="2827"/>
                  </a:lnTo>
                  <a:lnTo>
                    <a:pt x="1401" y="2834"/>
                  </a:lnTo>
                  <a:lnTo>
                    <a:pt x="1398" y="2843"/>
                  </a:lnTo>
                  <a:lnTo>
                    <a:pt x="1392" y="2862"/>
                  </a:lnTo>
                  <a:lnTo>
                    <a:pt x="1388" y="2880"/>
                  </a:lnTo>
                  <a:lnTo>
                    <a:pt x="1384" y="2896"/>
                  </a:lnTo>
                  <a:lnTo>
                    <a:pt x="1379" y="2916"/>
                  </a:lnTo>
                  <a:lnTo>
                    <a:pt x="1379" y="2916"/>
                  </a:lnTo>
                  <a:lnTo>
                    <a:pt x="1365" y="2898"/>
                  </a:lnTo>
                  <a:lnTo>
                    <a:pt x="1350" y="2882"/>
                  </a:lnTo>
                  <a:lnTo>
                    <a:pt x="1343" y="2874"/>
                  </a:lnTo>
                  <a:lnTo>
                    <a:pt x="1337" y="2865"/>
                  </a:lnTo>
                  <a:lnTo>
                    <a:pt x="1330" y="2857"/>
                  </a:lnTo>
                  <a:lnTo>
                    <a:pt x="1325" y="2846"/>
                  </a:lnTo>
                  <a:lnTo>
                    <a:pt x="1318" y="2832"/>
                  </a:lnTo>
                  <a:lnTo>
                    <a:pt x="1310" y="2818"/>
                  </a:lnTo>
                  <a:lnTo>
                    <a:pt x="1301" y="2806"/>
                  </a:lnTo>
                  <a:lnTo>
                    <a:pt x="1291" y="2796"/>
                  </a:lnTo>
                  <a:lnTo>
                    <a:pt x="1286" y="2792"/>
                  </a:lnTo>
                  <a:lnTo>
                    <a:pt x="1281" y="2788"/>
                  </a:lnTo>
                  <a:lnTo>
                    <a:pt x="1274" y="2784"/>
                  </a:lnTo>
                  <a:lnTo>
                    <a:pt x="1268" y="2781"/>
                  </a:lnTo>
                  <a:lnTo>
                    <a:pt x="1261" y="2779"/>
                  </a:lnTo>
                  <a:lnTo>
                    <a:pt x="1254" y="2777"/>
                  </a:lnTo>
                  <a:lnTo>
                    <a:pt x="1246" y="2776"/>
                  </a:lnTo>
                  <a:lnTo>
                    <a:pt x="1239" y="2776"/>
                  </a:lnTo>
                  <a:lnTo>
                    <a:pt x="1231" y="2777"/>
                  </a:lnTo>
                  <a:lnTo>
                    <a:pt x="1226" y="2778"/>
                  </a:lnTo>
                  <a:lnTo>
                    <a:pt x="1220" y="2781"/>
                  </a:lnTo>
                  <a:lnTo>
                    <a:pt x="1215" y="2784"/>
                  </a:lnTo>
                  <a:lnTo>
                    <a:pt x="1210" y="2789"/>
                  </a:lnTo>
                  <a:lnTo>
                    <a:pt x="1205" y="2792"/>
                  </a:lnTo>
                  <a:lnTo>
                    <a:pt x="1200" y="2795"/>
                  </a:lnTo>
                  <a:lnTo>
                    <a:pt x="1193" y="2799"/>
                  </a:lnTo>
                  <a:lnTo>
                    <a:pt x="1180" y="2801"/>
                  </a:lnTo>
                  <a:lnTo>
                    <a:pt x="1167" y="2802"/>
                  </a:lnTo>
                  <a:lnTo>
                    <a:pt x="1154" y="2802"/>
                  </a:lnTo>
                  <a:lnTo>
                    <a:pt x="1140" y="2801"/>
                  </a:lnTo>
                  <a:lnTo>
                    <a:pt x="1097" y="2802"/>
                  </a:lnTo>
                  <a:lnTo>
                    <a:pt x="1058" y="2801"/>
                  </a:lnTo>
                  <a:lnTo>
                    <a:pt x="1040" y="2799"/>
                  </a:lnTo>
                  <a:lnTo>
                    <a:pt x="1021" y="2793"/>
                  </a:lnTo>
                  <a:lnTo>
                    <a:pt x="1012" y="2790"/>
                  </a:lnTo>
                  <a:lnTo>
                    <a:pt x="1003" y="2787"/>
                  </a:lnTo>
                  <a:lnTo>
                    <a:pt x="993" y="2781"/>
                  </a:lnTo>
                  <a:lnTo>
                    <a:pt x="984" y="2776"/>
                  </a:lnTo>
                  <a:lnTo>
                    <a:pt x="971" y="2767"/>
                  </a:lnTo>
                  <a:lnTo>
                    <a:pt x="959" y="2759"/>
                  </a:lnTo>
                  <a:lnTo>
                    <a:pt x="949" y="2749"/>
                  </a:lnTo>
                  <a:lnTo>
                    <a:pt x="940" y="2740"/>
                  </a:lnTo>
                  <a:lnTo>
                    <a:pt x="933" y="2729"/>
                  </a:lnTo>
                  <a:lnTo>
                    <a:pt x="925" y="2720"/>
                  </a:lnTo>
                  <a:lnTo>
                    <a:pt x="919" y="2709"/>
                  </a:lnTo>
                  <a:lnTo>
                    <a:pt x="913" y="2697"/>
                  </a:lnTo>
                  <a:lnTo>
                    <a:pt x="905" y="2673"/>
                  </a:lnTo>
                  <a:lnTo>
                    <a:pt x="896" y="2648"/>
                  </a:lnTo>
                  <a:lnTo>
                    <a:pt x="890" y="2620"/>
                  </a:lnTo>
                  <a:lnTo>
                    <a:pt x="882" y="2591"/>
                  </a:lnTo>
                  <a:lnTo>
                    <a:pt x="879" y="2583"/>
                  </a:lnTo>
                  <a:lnTo>
                    <a:pt x="878" y="2575"/>
                  </a:lnTo>
                  <a:lnTo>
                    <a:pt x="877" y="2566"/>
                  </a:lnTo>
                  <a:lnTo>
                    <a:pt x="877" y="2559"/>
                  </a:lnTo>
                  <a:lnTo>
                    <a:pt x="877" y="2550"/>
                  </a:lnTo>
                  <a:lnTo>
                    <a:pt x="879" y="2541"/>
                  </a:lnTo>
                  <a:lnTo>
                    <a:pt x="880" y="2534"/>
                  </a:lnTo>
                  <a:lnTo>
                    <a:pt x="882" y="2527"/>
                  </a:lnTo>
                  <a:lnTo>
                    <a:pt x="884" y="2520"/>
                  </a:lnTo>
                  <a:lnTo>
                    <a:pt x="886" y="2512"/>
                  </a:lnTo>
                  <a:lnTo>
                    <a:pt x="888" y="2505"/>
                  </a:lnTo>
                  <a:lnTo>
                    <a:pt x="888" y="2495"/>
                  </a:lnTo>
                  <a:lnTo>
                    <a:pt x="888" y="2475"/>
                  </a:lnTo>
                  <a:lnTo>
                    <a:pt x="886" y="2456"/>
                  </a:lnTo>
                  <a:lnTo>
                    <a:pt x="884" y="2438"/>
                  </a:lnTo>
                  <a:lnTo>
                    <a:pt x="880" y="2417"/>
                  </a:lnTo>
                  <a:lnTo>
                    <a:pt x="876" y="2408"/>
                  </a:lnTo>
                  <a:lnTo>
                    <a:pt x="870" y="2400"/>
                  </a:lnTo>
                  <a:lnTo>
                    <a:pt x="865" y="2394"/>
                  </a:lnTo>
                  <a:lnTo>
                    <a:pt x="858" y="2387"/>
                  </a:lnTo>
                  <a:lnTo>
                    <a:pt x="853" y="2381"/>
                  </a:lnTo>
                  <a:lnTo>
                    <a:pt x="848" y="2373"/>
                  </a:lnTo>
                  <a:lnTo>
                    <a:pt x="845" y="2369"/>
                  </a:lnTo>
                  <a:lnTo>
                    <a:pt x="844" y="2365"/>
                  </a:lnTo>
                  <a:lnTo>
                    <a:pt x="843" y="2360"/>
                  </a:lnTo>
                  <a:lnTo>
                    <a:pt x="843" y="2356"/>
                  </a:lnTo>
                  <a:lnTo>
                    <a:pt x="843" y="2346"/>
                  </a:lnTo>
                  <a:lnTo>
                    <a:pt x="845" y="2338"/>
                  </a:lnTo>
                  <a:lnTo>
                    <a:pt x="848" y="2330"/>
                  </a:lnTo>
                  <a:lnTo>
                    <a:pt x="850" y="2322"/>
                  </a:lnTo>
                  <a:lnTo>
                    <a:pt x="857" y="2308"/>
                  </a:lnTo>
                  <a:lnTo>
                    <a:pt x="866" y="2295"/>
                  </a:lnTo>
                  <a:lnTo>
                    <a:pt x="873" y="2282"/>
                  </a:lnTo>
                  <a:lnTo>
                    <a:pt x="881" y="2268"/>
                  </a:lnTo>
                  <a:lnTo>
                    <a:pt x="883" y="2261"/>
                  </a:lnTo>
                  <a:lnTo>
                    <a:pt x="886" y="2252"/>
                  </a:lnTo>
                  <a:lnTo>
                    <a:pt x="888" y="2243"/>
                  </a:lnTo>
                  <a:lnTo>
                    <a:pt x="888" y="2235"/>
                  </a:lnTo>
                  <a:lnTo>
                    <a:pt x="888" y="2217"/>
                  </a:lnTo>
                  <a:lnTo>
                    <a:pt x="888" y="2200"/>
                  </a:lnTo>
                  <a:lnTo>
                    <a:pt x="886" y="2185"/>
                  </a:lnTo>
                  <a:lnTo>
                    <a:pt x="884" y="2170"/>
                  </a:lnTo>
                  <a:lnTo>
                    <a:pt x="881" y="2155"/>
                  </a:lnTo>
                  <a:lnTo>
                    <a:pt x="877" y="2140"/>
                  </a:lnTo>
                  <a:lnTo>
                    <a:pt x="870" y="2125"/>
                  </a:lnTo>
                  <a:lnTo>
                    <a:pt x="863" y="2108"/>
                  </a:lnTo>
                  <a:lnTo>
                    <a:pt x="856" y="2098"/>
                  </a:lnTo>
                  <a:lnTo>
                    <a:pt x="848" y="2089"/>
                  </a:lnTo>
                  <a:lnTo>
                    <a:pt x="839" y="2082"/>
                  </a:lnTo>
                  <a:lnTo>
                    <a:pt x="829" y="2077"/>
                  </a:lnTo>
                  <a:lnTo>
                    <a:pt x="809" y="2067"/>
                  </a:lnTo>
                  <a:lnTo>
                    <a:pt x="784" y="2059"/>
                  </a:lnTo>
                  <a:lnTo>
                    <a:pt x="757" y="2047"/>
                  </a:lnTo>
                  <a:lnTo>
                    <a:pt x="732" y="2038"/>
                  </a:lnTo>
                  <a:lnTo>
                    <a:pt x="720" y="2035"/>
                  </a:lnTo>
                  <a:lnTo>
                    <a:pt x="707" y="2033"/>
                  </a:lnTo>
                  <a:lnTo>
                    <a:pt x="693" y="2031"/>
                  </a:lnTo>
                  <a:lnTo>
                    <a:pt x="678" y="2031"/>
                  </a:lnTo>
                  <a:lnTo>
                    <a:pt x="657" y="2031"/>
                  </a:lnTo>
                  <a:lnTo>
                    <a:pt x="639" y="2033"/>
                  </a:lnTo>
                  <a:lnTo>
                    <a:pt x="621" y="2036"/>
                  </a:lnTo>
                  <a:lnTo>
                    <a:pt x="605" y="2039"/>
                  </a:lnTo>
                  <a:lnTo>
                    <a:pt x="571" y="2048"/>
                  </a:lnTo>
                  <a:lnTo>
                    <a:pt x="532" y="2055"/>
                  </a:lnTo>
                  <a:lnTo>
                    <a:pt x="520" y="2059"/>
                  </a:lnTo>
                  <a:lnTo>
                    <a:pt x="509" y="2064"/>
                  </a:lnTo>
                  <a:lnTo>
                    <a:pt x="504" y="2066"/>
                  </a:lnTo>
                  <a:lnTo>
                    <a:pt x="500" y="2067"/>
                  </a:lnTo>
                  <a:lnTo>
                    <a:pt x="493" y="2070"/>
                  </a:lnTo>
                  <a:lnTo>
                    <a:pt x="487" y="2070"/>
                  </a:lnTo>
                  <a:lnTo>
                    <a:pt x="480" y="2070"/>
                  </a:lnTo>
                  <a:lnTo>
                    <a:pt x="474" y="2068"/>
                  </a:lnTo>
                  <a:lnTo>
                    <a:pt x="468" y="2066"/>
                  </a:lnTo>
                  <a:lnTo>
                    <a:pt x="463" y="2065"/>
                  </a:lnTo>
                  <a:lnTo>
                    <a:pt x="452" y="2060"/>
                  </a:lnTo>
                  <a:lnTo>
                    <a:pt x="443" y="2053"/>
                  </a:lnTo>
                  <a:lnTo>
                    <a:pt x="433" y="2047"/>
                  </a:lnTo>
                  <a:lnTo>
                    <a:pt x="423" y="2040"/>
                  </a:lnTo>
                  <a:lnTo>
                    <a:pt x="412" y="2035"/>
                  </a:lnTo>
                  <a:lnTo>
                    <a:pt x="400" y="2031"/>
                  </a:lnTo>
                  <a:lnTo>
                    <a:pt x="363" y="2021"/>
                  </a:lnTo>
                  <a:lnTo>
                    <a:pt x="328" y="2013"/>
                  </a:lnTo>
                  <a:lnTo>
                    <a:pt x="312" y="2009"/>
                  </a:lnTo>
                  <a:lnTo>
                    <a:pt x="295" y="2005"/>
                  </a:lnTo>
                  <a:lnTo>
                    <a:pt x="276" y="1998"/>
                  </a:lnTo>
                  <a:lnTo>
                    <a:pt x="257" y="1991"/>
                  </a:lnTo>
                  <a:lnTo>
                    <a:pt x="233" y="1980"/>
                  </a:lnTo>
                  <a:lnTo>
                    <a:pt x="210" y="1970"/>
                  </a:lnTo>
                  <a:lnTo>
                    <a:pt x="200" y="1966"/>
                  </a:lnTo>
                  <a:lnTo>
                    <a:pt x="188" y="1963"/>
                  </a:lnTo>
                  <a:lnTo>
                    <a:pt x="176" y="1960"/>
                  </a:lnTo>
                  <a:lnTo>
                    <a:pt x="162" y="1960"/>
                  </a:lnTo>
                  <a:lnTo>
                    <a:pt x="130" y="1962"/>
                  </a:lnTo>
                  <a:lnTo>
                    <a:pt x="98" y="1963"/>
                  </a:lnTo>
                  <a:lnTo>
                    <a:pt x="67" y="1965"/>
                  </a:lnTo>
                  <a:lnTo>
                    <a:pt x="34" y="1966"/>
                  </a:lnTo>
                  <a:lnTo>
                    <a:pt x="29" y="1950"/>
                  </a:lnTo>
                  <a:lnTo>
                    <a:pt x="22" y="1936"/>
                  </a:lnTo>
                  <a:lnTo>
                    <a:pt x="19" y="1929"/>
                  </a:lnTo>
                  <a:lnTo>
                    <a:pt x="16" y="1922"/>
                  </a:lnTo>
                  <a:lnTo>
                    <a:pt x="14" y="1913"/>
                  </a:lnTo>
                  <a:lnTo>
                    <a:pt x="12" y="1904"/>
                  </a:lnTo>
                  <a:lnTo>
                    <a:pt x="5" y="1892"/>
                  </a:lnTo>
                  <a:lnTo>
                    <a:pt x="0" y="1881"/>
                  </a:lnTo>
                  <a:lnTo>
                    <a:pt x="1" y="1870"/>
                  </a:lnTo>
                  <a:lnTo>
                    <a:pt x="3" y="1861"/>
                  </a:lnTo>
                  <a:lnTo>
                    <a:pt x="7" y="1852"/>
                  </a:lnTo>
                  <a:lnTo>
                    <a:pt x="11" y="1843"/>
                  </a:lnTo>
                  <a:lnTo>
                    <a:pt x="17" y="1822"/>
                  </a:lnTo>
                  <a:lnTo>
                    <a:pt x="23" y="1803"/>
                  </a:lnTo>
                  <a:lnTo>
                    <a:pt x="31" y="1787"/>
                  </a:lnTo>
                  <a:lnTo>
                    <a:pt x="38" y="1769"/>
                  </a:lnTo>
                  <a:lnTo>
                    <a:pt x="44" y="1753"/>
                  </a:lnTo>
                  <a:lnTo>
                    <a:pt x="52" y="1736"/>
                  </a:lnTo>
                  <a:lnTo>
                    <a:pt x="58" y="1717"/>
                  </a:lnTo>
                  <a:lnTo>
                    <a:pt x="63" y="1697"/>
                  </a:lnTo>
                  <a:lnTo>
                    <a:pt x="67" y="1686"/>
                  </a:lnTo>
                  <a:lnTo>
                    <a:pt x="68" y="1677"/>
                  </a:lnTo>
                  <a:lnTo>
                    <a:pt x="69" y="1668"/>
                  </a:lnTo>
                  <a:lnTo>
                    <a:pt x="69" y="1659"/>
                  </a:lnTo>
                  <a:lnTo>
                    <a:pt x="69" y="1642"/>
                  </a:lnTo>
                  <a:lnTo>
                    <a:pt x="71" y="1621"/>
                  </a:lnTo>
                  <a:lnTo>
                    <a:pt x="74" y="1595"/>
                  </a:lnTo>
                  <a:lnTo>
                    <a:pt x="79" y="1574"/>
                  </a:lnTo>
                  <a:lnTo>
                    <a:pt x="81" y="1562"/>
                  </a:lnTo>
                  <a:lnTo>
                    <a:pt x="82" y="1551"/>
                  </a:lnTo>
                  <a:lnTo>
                    <a:pt x="83" y="1539"/>
                  </a:lnTo>
                  <a:lnTo>
                    <a:pt x="84" y="1525"/>
                  </a:lnTo>
                  <a:lnTo>
                    <a:pt x="84" y="1517"/>
                  </a:lnTo>
                  <a:lnTo>
                    <a:pt x="84" y="1509"/>
                  </a:lnTo>
                  <a:lnTo>
                    <a:pt x="84" y="1501"/>
                  </a:lnTo>
                  <a:lnTo>
                    <a:pt x="84" y="1493"/>
                  </a:lnTo>
                  <a:lnTo>
                    <a:pt x="83" y="1482"/>
                  </a:lnTo>
                  <a:lnTo>
                    <a:pt x="82" y="1472"/>
                  </a:lnTo>
                  <a:lnTo>
                    <a:pt x="81" y="1464"/>
                  </a:lnTo>
                  <a:lnTo>
                    <a:pt x="81" y="1453"/>
                  </a:lnTo>
                  <a:lnTo>
                    <a:pt x="81" y="1441"/>
                  </a:lnTo>
                  <a:lnTo>
                    <a:pt x="81" y="1430"/>
                  </a:lnTo>
                  <a:lnTo>
                    <a:pt x="81" y="1420"/>
                  </a:lnTo>
                  <a:lnTo>
                    <a:pt x="81" y="1409"/>
                  </a:lnTo>
                  <a:lnTo>
                    <a:pt x="81" y="1390"/>
                  </a:lnTo>
                  <a:lnTo>
                    <a:pt x="79" y="1374"/>
                  </a:lnTo>
                  <a:lnTo>
                    <a:pt x="77" y="1365"/>
                  </a:lnTo>
                  <a:lnTo>
                    <a:pt x="75" y="1358"/>
                  </a:lnTo>
                  <a:lnTo>
                    <a:pt x="72" y="1349"/>
                  </a:lnTo>
                  <a:lnTo>
                    <a:pt x="68" y="1341"/>
                  </a:lnTo>
                  <a:lnTo>
                    <a:pt x="66" y="1337"/>
                  </a:lnTo>
                  <a:lnTo>
                    <a:pt x="62" y="1333"/>
                  </a:lnTo>
                  <a:lnTo>
                    <a:pt x="59" y="1331"/>
                  </a:lnTo>
                  <a:lnTo>
                    <a:pt x="56" y="1328"/>
                  </a:lnTo>
                  <a:lnTo>
                    <a:pt x="48" y="1323"/>
                  </a:lnTo>
                  <a:lnTo>
                    <a:pt x="42" y="1317"/>
                  </a:lnTo>
                  <a:lnTo>
                    <a:pt x="36" y="1312"/>
                  </a:lnTo>
                  <a:lnTo>
                    <a:pt x="33" y="1307"/>
                  </a:lnTo>
                  <a:lnTo>
                    <a:pt x="29" y="1302"/>
                  </a:lnTo>
                  <a:lnTo>
                    <a:pt x="27" y="1296"/>
                  </a:lnTo>
                  <a:lnTo>
                    <a:pt x="25" y="1291"/>
                  </a:lnTo>
                  <a:lnTo>
                    <a:pt x="23" y="1285"/>
                  </a:lnTo>
                  <a:lnTo>
                    <a:pt x="22" y="1279"/>
                  </a:lnTo>
                  <a:lnTo>
                    <a:pt x="21" y="1271"/>
                  </a:lnTo>
                  <a:lnTo>
                    <a:pt x="21" y="1255"/>
                  </a:lnTo>
                  <a:lnTo>
                    <a:pt x="21" y="1241"/>
                  </a:lnTo>
                  <a:lnTo>
                    <a:pt x="21" y="1226"/>
                  </a:lnTo>
                  <a:lnTo>
                    <a:pt x="21" y="1210"/>
                  </a:lnTo>
                  <a:lnTo>
                    <a:pt x="21" y="1203"/>
                  </a:lnTo>
                  <a:lnTo>
                    <a:pt x="19" y="1198"/>
                  </a:lnTo>
                  <a:lnTo>
                    <a:pt x="17" y="1193"/>
                  </a:lnTo>
                  <a:lnTo>
                    <a:pt x="15" y="1188"/>
                  </a:lnTo>
                  <a:lnTo>
                    <a:pt x="8" y="1179"/>
                  </a:lnTo>
                  <a:lnTo>
                    <a:pt x="4" y="1167"/>
                  </a:lnTo>
                  <a:lnTo>
                    <a:pt x="3" y="1163"/>
                  </a:lnTo>
                  <a:lnTo>
                    <a:pt x="2" y="1160"/>
                  </a:lnTo>
                  <a:lnTo>
                    <a:pt x="2" y="1160"/>
                  </a:lnTo>
                  <a:lnTo>
                    <a:pt x="23" y="1153"/>
                  </a:lnTo>
                  <a:lnTo>
                    <a:pt x="45" y="1146"/>
                  </a:lnTo>
                  <a:lnTo>
                    <a:pt x="55" y="1143"/>
                  </a:lnTo>
                  <a:lnTo>
                    <a:pt x="65" y="1139"/>
                  </a:lnTo>
                  <a:lnTo>
                    <a:pt x="74" y="1132"/>
                  </a:lnTo>
                  <a:lnTo>
                    <a:pt x="84" y="1126"/>
                  </a:lnTo>
                  <a:lnTo>
                    <a:pt x="93" y="1116"/>
                  </a:lnTo>
                  <a:lnTo>
                    <a:pt x="99" y="1106"/>
                  </a:lnTo>
                  <a:lnTo>
                    <a:pt x="104" y="1095"/>
                  </a:lnTo>
                  <a:lnTo>
                    <a:pt x="108" y="1085"/>
                  </a:lnTo>
                  <a:lnTo>
                    <a:pt x="110" y="1074"/>
                  </a:lnTo>
                  <a:lnTo>
                    <a:pt x="111" y="1062"/>
                  </a:lnTo>
                  <a:lnTo>
                    <a:pt x="111" y="1049"/>
                  </a:lnTo>
                  <a:lnTo>
                    <a:pt x="111" y="1036"/>
                  </a:lnTo>
                  <a:lnTo>
                    <a:pt x="111" y="1032"/>
                  </a:lnTo>
                  <a:lnTo>
                    <a:pt x="110" y="1029"/>
                  </a:lnTo>
                  <a:lnTo>
                    <a:pt x="109" y="1026"/>
                  </a:lnTo>
                  <a:lnTo>
                    <a:pt x="108" y="1024"/>
                  </a:lnTo>
                  <a:lnTo>
                    <a:pt x="103" y="1021"/>
                  </a:lnTo>
                  <a:lnTo>
                    <a:pt x="98" y="1019"/>
                  </a:lnTo>
                  <a:lnTo>
                    <a:pt x="85" y="1013"/>
                  </a:lnTo>
                  <a:lnTo>
                    <a:pt x="72" y="1008"/>
                  </a:lnTo>
                  <a:lnTo>
                    <a:pt x="62" y="1000"/>
                  </a:lnTo>
                  <a:lnTo>
                    <a:pt x="54" y="992"/>
                  </a:lnTo>
                  <a:lnTo>
                    <a:pt x="46" y="983"/>
                  </a:lnTo>
                  <a:lnTo>
                    <a:pt x="41" y="974"/>
                  </a:lnTo>
                  <a:lnTo>
                    <a:pt x="36" y="964"/>
                  </a:lnTo>
                  <a:lnTo>
                    <a:pt x="33" y="953"/>
                  </a:lnTo>
                  <a:lnTo>
                    <a:pt x="31" y="942"/>
                  </a:lnTo>
                  <a:lnTo>
                    <a:pt x="30" y="929"/>
                  </a:lnTo>
                  <a:lnTo>
                    <a:pt x="31" y="918"/>
                  </a:lnTo>
                  <a:lnTo>
                    <a:pt x="32" y="910"/>
                  </a:lnTo>
                  <a:lnTo>
                    <a:pt x="33" y="900"/>
                  </a:lnTo>
                  <a:lnTo>
                    <a:pt x="35" y="891"/>
                  </a:lnTo>
                  <a:lnTo>
                    <a:pt x="39" y="884"/>
                  </a:lnTo>
                  <a:lnTo>
                    <a:pt x="42" y="875"/>
                  </a:lnTo>
                  <a:lnTo>
                    <a:pt x="46" y="867"/>
                  </a:lnTo>
                  <a:lnTo>
                    <a:pt x="50" y="861"/>
                  </a:lnTo>
                  <a:lnTo>
                    <a:pt x="71" y="832"/>
                  </a:lnTo>
                  <a:lnTo>
                    <a:pt x="95" y="801"/>
                  </a:lnTo>
                  <a:lnTo>
                    <a:pt x="103" y="790"/>
                  </a:lnTo>
                  <a:lnTo>
                    <a:pt x="110" y="779"/>
                  </a:lnTo>
                  <a:lnTo>
                    <a:pt x="115" y="769"/>
                  </a:lnTo>
                  <a:lnTo>
                    <a:pt x="120" y="758"/>
                  </a:lnTo>
                  <a:lnTo>
                    <a:pt x="127" y="736"/>
                  </a:lnTo>
                  <a:lnTo>
                    <a:pt x="134" y="711"/>
                  </a:lnTo>
                  <a:lnTo>
                    <a:pt x="140" y="688"/>
                  </a:lnTo>
                  <a:lnTo>
                    <a:pt x="147" y="668"/>
                  </a:lnTo>
                  <a:lnTo>
                    <a:pt x="154" y="649"/>
                  </a:lnTo>
                  <a:lnTo>
                    <a:pt x="161" y="631"/>
                  </a:lnTo>
                  <a:lnTo>
                    <a:pt x="167" y="613"/>
                  </a:lnTo>
                  <a:lnTo>
                    <a:pt x="174" y="593"/>
                  </a:lnTo>
                  <a:lnTo>
                    <a:pt x="179" y="574"/>
                  </a:lnTo>
                  <a:lnTo>
                    <a:pt x="184" y="551"/>
                  </a:lnTo>
                  <a:lnTo>
                    <a:pt x="190" y="526"/>
                  </a:lnTo>
                  <a:lnTo>
                    <a:pt x="194" y="504"/>
                  </a:lnTo>
                  <a:lnTo>
                    <a:pt x="198" y="483"/>
                  </a:lnTo>
                  <a:lnTo>
                    <a:pt x="203" y="462"/>
                  </a:lnTo>
                  <a:lnTo>
                    <a:pt x="208" y="442"/>
                  </a:lnTo>
                  <a:lnTo>
                    <a:pt x="212" y="421"/>
                  </a:lnTo>
                  <a:lnTo>
                    <a:pt x="218" y="399"/>
                  </a:lnTo>
                  <a:lnTo>
                    <a:pt x="223" y="374"/>
                  </a:lnTo>
                  <a:lnTo>
                    <a:pt x="228" y="358"/>
                  </a:lnTo>
                  <a:lnTo>
                    <a:pt x="233" y="344"/>
                  </a:lnTo>
                  <a:lnTo>
                    <a:pt x="239" y="331"/>
                  </a:lnTo>
                  <a:lnTo>
                    <a:pt x="246" y="316"/>
                  </a:lnTo>
                  <a:lnTo>
                    <a:pt x="251" y="308"/>
                  </a:lnTo>
                  <a:lnTo>
                    <a:pt x="258" y="302"/>
                  </a:lnTo>
                  <a:lnTo>
                    <a:pt x="261" y="298"/>
                  </a:lnTo>
                  <a:lnTo>
                    <a:pt x="263" y="295"/>
                  </a:lnTo>
                  <a:lnTo>
                    <a:pt x="265" y="292"/>
                  </a:lnTo>
                  <a:lnTo>
                    <a:pt x="265" y="288"/>
                  </a:lnTo>
                  <a:lnTo>
                    <a:pt x="265" y="273"/>
                  </a:lnTo>
                  <a:lnTo>
                    <a:pt x="263" y="259"/>
                  </a:lnTo>
                  <a:lnTo>
                    <a:pt x="261" y="248"/>
                  </a:lnTo>
                  <a:lnTo>
                    <a:pt x="258" y="236"/>
                  </a:lnTo>
                  <a:lnTo>
                    <a:pt x="255" y="224"/>
                  </a:lnTo>
                  <a:lnTo>
                    <a:pt x="250" y="213"/>
                  </a:lnTo>
                  <a:lnTo>
                    <a:pt x="245" y="203"/>
                  </a:lnTo>
                  <a:lnTo>
                    <a:pt x="239" y="192"/>
                  </a:lnTo>
                  <a:lnTo>
                    <a:pt x="228" y="172"/>
                  </a:lnTo>
                  <a:lnTo>
                    <a:pt x="215" y="150"/>
                  </a:lnTo>
                  <a:lnTo>
                    <a:pt x="203" y="128"/>
                  </a:lnTo>
                  <a:lnTo>
                    <a:pt x="190" y="102"/>
                  </a:lnTo>
                  <a:lnTo>
                    <a:pt x="187" y="93"/>
                  </a:lnTo>
                  <a:lnTo>
                    <a:pt x="183" y="84"/>
                  </a:lnTo>
                  <a:lnTo>
                    <a:pt x="180" y="76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9" y="66"/>
                  </a:lnTo>
                  <a:lnTo>
                    <a:pt x="198" y="63"/>
                  </a:lnTo>
                  <a:lnTo>
                    <a:pt x="203" y="61"/>
                  </a:lnTo>
                  <a:lnTo>
                    <a:pt x="207" y="59"/>
                  </a:lnTo>
                  <a:lnTo>
                    <a:pt x="212" y="57"/>
                  </a:lnTo>
                  <a:lnTo>
                    <a:pt x="218" y="57"/>
                  </a:lnTo>
                  <a:lnTo>
                    <a:pt x="224" y="59"/>
                  </a:lnTo>
                  <a:lnTo>
                    <a:pt x="231" y="61"/>
                  </a:lnTo>
                  <a:lnTo>
                    <a:pt x="236" y="64"/>
                  </a:lnTo>
                  <a:lnTo>
                    <a:pt x="241" y="69"/>
                  </a:lnTo>
                  <a:lnTo>
                    <a:pt x="248" y="81"/>
                  </a:lnTo>
                  <a:lnTo>
                    <a:pt x="255" y="94"/>
                  </a:lnTo>
                  <a:lnTo>
                    <a:pt x="269" y="119"/>
                  </a:lnTo>
                  <a:lnTo>
                    <a:pt x="282" y="141"/>
                  </a:lnTo>
                  <a:lnTo>
                    <a:pt x="289" y="151"/>
                  </a:lnTo>
                  <a:lnTo>
                    <a:pt x="298" y="161"/>
                  </a:lnTo>
                  <a:lnTo>
                    <a:pt x="308" y="171"/>
                  </a:lnTo>
                  <a:lnTo>
                    <a:pt x="319" y="181"/>
                  </a:lnTo>
                  <a:lnTo>
                    <a:pt x="332" y="191"/>
                  </a:lnTo>
                  <a:lnTo>
                    <a:pt x="346" y="200"/>
                  </a:lnTo>
                  <a:lnTo>
                    <a:pt x="360" y="207"/>
                  </a:lnTo>
                  <a:lnTo>
                    <a:pt x="374" y="212"/>
                  </a:lnTo>
                  <a:lnTo>
                    <a:pt x="389" y="216"/>
                  </a:lnTo>
                  <a:lnTo>
                    <a:pt x="405" y="218"/>
                  </a:lnTo>
                  <a:lnTo>
                    <a:pt x="421" y="219"/>
                  </a:lnTo>
                  <a:lnTo>
                    <a:pt x="438" y="219"/>
                  </a:lnTo>
                  <a:lnTo>
                    <a:pt x="445" y="219"/>
                  </a:lnTo>
                  <a:lnTo>
                    <a:pt x="451" y="218"/>
                  </a:lnTo>
                  <a:lnTo>
                    <a:pt x="458" y="216"/>
                  </a:lnTo>
                  <a:lnTo>
                    <a:pt x="463" y="213"/>
                  </a:lnTo>
                  <a:lnTo>
                    <a:pt x="474" y="205"/>
                  </a:lnTo>
                  <a:lnTo>
                    <a:pt x="482" y="197"/>
                  </a:lnTo>
                  <a:lnTo>
                    <a:pt x="492" y="188"/>
                  </a:lnTo>
                  <a:lnTo>
                    <a:pt x="502" y="180"/>
                  </a:lnTo>
                  <a:lnTo>
                    <a:pt x="507" y="175"/>
                  </a:lnTo>
                  <a:lnTo>
                    <a:pt x="513" y="172"/>
                  </a:lnTo>
                  <a:lnTo>
                    <a:pt x="519" y="169"/>
                  </a:lnTo>
                  <a:lnTo>
                    <a:pt x="527" y="167"/>
                  </a:lnTo>
                  <a:lnTo>
                    <a:pt x="544" y="162"/>
                  </a:lnTo>
                  <a:lnTo>
                    <a:pt x="560" y="160"/>
                  </a:lnTo>
                  <a:lnTo>
                    <a:pt x="575" y="158"/>
                  </a:lnTo>
                  <a:lnTo>
                    <a:pt x="591" y="157"/>
                  </a:lnTo>
                  <a:lnTo>
                    <a:pt x="605" y="154"/>
                  </a:lnTo>
                  <a:lnTo>
                    <a:pt x="620" y="150"/>
                  </a:lnTo>
                  <a:lnTo>
                    <a:pt x="627" y="148"/>
                  </a:lnTo>
                  <a:lnTo>
                    <a:pt x="635" y="145"/>
                  </a:lnTo>
                  <a:lnTo>
                    <a:pt x="642" y="141"/>
                  </a:lnTo>
                  <a:lnTo>
                    <a:pt x="650" y="136"/>
                  </a:lnTo>
                  <a:lnTo>
                    <a:pt x="655" y="131"/>
                  </a:lnTo>
                  <a:lnTo>
                    <a:pt x="659" y="126"/>
                  </a:lnTo>
                  <a:lnTo>
                    <a:pt x="662" y="119"/>
                  </a:lnTo>
                  <a:lnTo>
                    <a:pt x="664" y="113"/>
                  </a:lnTo>
                  <a:lnTo>
                    <a:pt x="665" y="105"/>
                  </a:lnTo>
                  <a:lnTo>
                    <a:pt x="667" y="99"/>
                  </a:lnTo>
                  <a:lnTo>
                    <a:pt x="670" y="92"/>
                  </a:lnTo>
                  <a:lnTo>
                    <a:pt x="675" y="86"/>
                  </a:lnTo>
                  <a:lnTo>
                    <a:pt x="679" y="81"/>
                  </a:lnTo>
                  <a:lnTo>
                    <a:pt x="684" y="77"/>
                  </a:lnTo>
                  <a:lnTo>
                    <a:pt x="689" y="74"/>
                  </a:lnTo>
                  <a:lnTo>
                    <a:pt x="694" y="72"/>
                  </a:lnTo>
                  <a:lnTo>
                    <a:pt x="704" y="67"/>
                  </a:lnTo>
                  <a:lnTo>
                    <a:pt x="715" y="64"/>
                  </a:lnTo>
                  <a:lnTo>
                    <a:pt x="726" y="62"/>
                  </a:lnTo>
                  <a:lnTo>
                    <a:pt x="737" y="60"/>
                  </a:lnTo>
                  <a:lnTo>
                    <a:pt x="749" y="56"/>
                  </a:lnTo>
                  <a:lnTo>
                    <a:pt x="761" y="52"/>
                  </a:lnTo>
                  <a:lnTo>
                    <a:pt x="796" y="37"/>
                  </a:lnTo>
                  <a:lnTo>
                    <a:pt x="826" y="25"/>
                  </a:lnTo>
                  <a:lnTo>
                    <a:pt x="841" y="21"/>
                  </a:lnTo>
                  <a:lnTo>
                    <a:pt x="857" y="18"/>
                  </a:lnTo>
                  <a:lnTo>
                    <a:pt x="875" y="16"/>
                  </a:lnTo>
                  <a:lnTo>
                    <a:pt x="893" y="15"/>
                  </a:lnTo>
                  <a:lnTo>
                    <a:pt x="896" y="16"/>
                  </a:lnTo>
                  <a:lnTo>
                    <a:pt x="898" y="18"/>
                  </a:lnTo>
                  <a:lnTo>
                    <a:pt x="900" y="21"/>
                  </a:lnTo>
                  <a:lnTo>
                    <a:pt x="900" y="23"/>
                  </a:lnTo>
                  <a:lnTo>
                    <a:pt x="903" y="30"/>
                  </a:lnTo>
                  <a:lnTo>
                    <a:pt x="905" y="38"/>
                  </a:lnTo>
                  <a:lnTo>
                    <a:pt x="909" y="45"/>
                  </a:lnTo>
                  <a:lnTo>
                    <a:pt x="915" y="50"/>
                  </a:lnTo>
                  <a:lnTo>
                    <a:pt x="920" y="55"/>
                  </a:lnTo>
                  <a:lnTo>
                    <a:pt x="927" y="61"/>
                  </a:lnTo>
                  <a:lnTo>
                    <a:pt x="945" y="73"/>
                  </a:lnTo>
                  <a:lnTo>
                    <a:pt x="961" y="84"/>
                  </a:lnTo>
                  <a:lnTo>
                    <a:pt x="977" y="95"/>
                  </a:lnTo>
                  <a:lnTo>
                    <a:pt x="994" y="104"/>
                  </a:lnTo>
                  <a:lnTo>
                    <a:pt x="1012" y="111"/>
                  </a:lnTo>
                  <a:lnTo>
                    <a:pt x="1029" y="117"/>
                  </a:lnTo>
                  <a:lnTo>
                    <a:pt x="1039" y="119"/>
                  </a:lnTo>
                  <a:lnTo>
                    <a:pt x="1050" y="121"/>
                  </a:lnTo>
                  <a:lnTo>
                    <a:pt x="1059" y="121"/>
                  </a:lnTo>
                  <a:lnTo>
                    <a:pt x="1071" y="122"/>
                  </a:lnTo>
                  <a:lnTo>
                    <a:pt x="1087" y="122"/>
                  </a:lnTo>
                  <a:lnTo>
                    <a:pt x="1101" y="122"/>
                  </a:lnTo>
                  <a:lnTo>
                    <a:pt x="1114" y="122"/>
                  </a:lnTo>
                  <a:lnTo>
                    <a:pt x="1131" y="122"/>
                  </a:lnTo>
                  <a:lnTo>
                    <a:pt x="1137" y="121"/>
                  </a:lnTo>
                  <a:lnTo>
                    <a:pt x="1142" y="121"/>
                  </a:lnTo>
                  <a:lnTo>
                    <a:pt x="1147" y="119"/>
                  </a:lnTo>
                  <a:lnTo>
                    <a:pt x="1151" y="118"/>
                  </a:lnTo>
                  <a:lnTo>
                    <a:pt x="1160" y="113"/>
                  </a:lnTo>
                  <a:lnTo>
                    <a:pt x="1167" y="107"/>
                  </a:lnTo>
                  <a:lnTo>
                    <a:pt x="1174" y="100"/>
                  </a:lnTo>
                  <a:lnTo>
                    <a:pt x="1179" y="91"/>
                  </a:lnTo>
                  <a:lnTo>
                    <a:pt x="1185" y="82"/>
                  </a:lnTo>
                  <a:lnTo>
                    <a:pt x="1190" y="73"/>
                  </a:lnTo>
                  <a:lnTo>
                    <a:pt x="1201" y="53"/>
                  </a:lnTo>
                  <a:lnTo>
                    <a:pt x="1213" y="35"/>
                  </a:lnTo>
                  <a:lnTo>
                    <a:pt x="1219" y="27"/>
                  </a:lnTo>
                  <a:lnTo>
                    <a:pt x="1227" y="20"/>
                  </a:lnTo>
                  <a:lnTo>
                    <a:pt x="1236" y="14"/>
                  </a:lnTo>
                  <a:lnTo>
                    <a:pt x="1246" y="10"/>
                  </a:lnTo>
                  <a:lnTo>
                    <a:pt x="1258" y="7"/>
                  </a:lnTo>
                  <a:lnTo>
                    <a:pt x="1269" y="6"/>
                  </a:lnTo>
                  <a:lnTo>
                    <a:pt x="1280" y="6"/>
                  </a:lnTo>
                  <a:lnTo>
                    <a:pt x="1289" y="7"/>
                  </a:lnTo>
                  <a:lnTo>
                    <a:pt x="1310" y="9"/>
                  </a:lnTo>
                  <a:lnTo>
                    <a:pt x="1334" y="10"/>
                  </a:lnTo>
                  <a:lnTo>
                    <a:pt x="1347" y="8"/>
                  </a:lnTo>
                  <a:lnTo>
                    <a:pt x="1360" y="6"/>
                  </a:lnTo>
                  <a:lnTo>
                    <a:pt x="1371" y="2"/>
                  </a:lnTo>
                  <a:lnTo>
                    <a:pt x="1384" y="1"/>
                  </a:lnTo>
                  <a:lnTo>
                    <a:pt x="1422" y="1"/>
                  </a:lnTo>
                  <a:lnTo>
                    <a:pt x="1455" y="1"/>
                  </a:lnTo>
                  <a:lnTo>
                    <a:pt x="1487" y="0"/>
                  </a:lnTo>
                  <a:lnTo>
                    <a:pt x="1524" y="0"/>
                  </a:lnTo>
                  <a:lnTo>
                    <a:pt x="1527" y="8"/>
                  </a:lnTo>
                  <a:lnTo>
                    <a:pt x="1529" y="14"/>
                  </a:lnTo>
                  <a:lnTo>
                    <a:pt x="1532" y="21"/>
                  </a:lnTo>
                  <a:lnTo>
                    <a:pt x="1537" y="27"/>
                  </a:lnTo>
                  <a:lnTo>
                    <a:pt x="1541" y="33"/>
                  </a:lnTo>
                  <a:lnTo>
                    <a:pt x="1545" y="37"/>
                  </a:lnTo>
                  <a:lnTo>
                    <a:pt x="1551" y="41"/>
                  </a:lnTo>
                  <a:lnTo>
                    <a:pt x="1556" y="46"/>
                  </a:lnTo>
                  <a:lnTo>
                    <a:pt x="1563" y="49"/>
                  </a:lnTo>
                  <a:lnTo>
                    <a:pt x="1568" y="52"/>
                  </a:lnTo>
                  <a:lnTo>
                    <a:pt x="1574" y="54"/>
                  </a:lnTo>
                  <a:lnTo>
                    <a:pt x="1582" y="56"/>
                  </a:lnTo>
                  <a:lnTo>
                    <a:pt x="1596" y="60"/>
                  </a:lnTo>
                  <a:lnTo>
                    <a:pt x="1611" y="61"/>
                  </a:lnTo>
                  <a:lnTo>
                    <a:pt x="1640" y="60"/>
                  </a:lnTo>
                  <a:lnTo>
                    <a:pt x="1667" y="56"/>
                  </a:lnTo>
                  <a:lnTo>
                    <a:pt x="1692" y="53"/>
                  </a:lnTo>
                  <a:lnTo>
                    <a:pt x="1716" y="49"/>
                  </a:lnTo>
                  <a:lnTo>
                    <a:pt x="1741" y="45"/>
                  </a:lnTo>
                  <a:lnTo>
                    <a:pt x="1766" y="41"/>
                  </a:lnTo>
                  <a:lnTo>
                    <a:pt x="1792" y="39"/>
                  </a:lnTo>
                  <a:lnTo>
                    <a:pt x="1821" y="38"/>
                  </a:lnTo>
                  <a:lnTo>
                    <a:pt x="1840" y="37"/>
                  </a:lnTo>
                  <a:lnTo>
                    <a:pt x="1859" y="38"/>
                  </a:lnTo>
                  <a:lnTo>
                    <a:pt x="1867" y="39"/>
                  </a:lnTo>
                  <a:lnTo>
                    <a:pt x="1875" y="42"/>
                  </a:lnTo>
                  <a:lnTo>
                    <a:pt x="1878" y="45"/>
                  </a:lnTo>
                  <a:lnTo>
                    <a:pt x="1880" y="48"/>
                  </a:lnTo>
                  <a:lnTo>
                    <a:pt x="1883" y="51"/>
                  </a:lnTo>
                  <a:lnTo>
                    <a:pt x="1886" y="54"/>
                  </a:lnTo>
                  <a:lnTo>
                    <a:pt x="1890" y="64"/>
                  </a:lnTo>
                  <a:lnTo>
                    <a:pt x="1891" y="74"/>
                  </a:lnTo>
                  <a:lnTo>
                    <a:pt x="1892" y="83"/>
                  </a:lnTo>
                  <a:lnTo>
                    <a:pt x="1893" y="93"/>
                  </a:lnTo>
                  <a:lnTo>
                    <a:pt x="1893" y="102"/>
                  </a:lnTo>
                  <a:lnTo>
                    <a:pt x="1895" y="110"/>
                  </a:lnTo>
                  <a:lnTo>
                    <a:pt x="1896" y="115"/>
                  </a:lnTo>
                  <a:lnTo>
                    <a:pt x="1898" y="119"/>
                  </a:lnTo>
                  <a:lnTo>
                    <a:pt x="1902" y="123"/>
                  </a:lnTo>
                  <a:lnTo>
                    <a:pt x="1905" y="128"/>
                  </a:lnTo>
                  <a:lnTo>
                    <a:pt x="1910" y="132"/>
                  </a:lnTo>
                  <a:lnTo>
                    <a:pt x="1916" y="135"/>
                  </a:lnTo>
                  <a:lnTo>
                    <a:pt x="1922" y="137"/>
                  </a:lnTo>
                  <a:lnTo>
                    <a:pt x="1928" y="140"/>
                  </a:lnTo>
                  <a:lnTo>
                    <a:pt x="1941" y="142"/>
                  </a:lnTo>
                  <a:lnTo>
                    <a:pt x="1952" y="147"/>
                  </a:lnTo>
                  <a:lnTo>
                    <a:pt x="1972" y="159"/>
                  </a:lnTo>
                  <a:lnTo>
                    <a:pt x="1989" y="170"/>
                  </a:lnTo>
                  <a:lnTo>
                    <a:pt x="1998" y="174"/>
                  </a:lnTo>
                  <a:lnTo>
                    <a:pt x="2008" y="177"/>
                  </a:lnTo>
                  <a:lnTo>
                    <a:pt x="2017" y="180"/>
                  </a:lnTo>
                  <a:lnTo>
                    <a:pt x="2028" y="181"/>
                  </a:lnTo>
                  <a:lnTo>
                    <a:pt x="2028" y="181"/>
                  </a:lnTo>
                  <a:lnTo>
                    <a:pt x="2026" y="196"/>
                  </a:lnTo>
                  <a:lnTo>
                    <a:pt x="2024" y="211"/>
                  </a:lnTo>
                  <a:lnTo>
                    <a:pt x="2022" y="225"/>
                  </a:lnTo>
                  <a:lnTo>
                    <a:pt x="2021" y="239"/>
                  </a:lnTo>
                  <a:lnTo>
                    <a:pt x="2019" y="268"/>
                  </a:lnTo>
                  <a:lnTo>
                    <a:pt x="2017" y="298"/>
                  </a:lnTo>
                  <a:lnTo>
                    <a:pt x="2016" y="311"/>
                  </a:lnTo>
                  <a:lnTo>
                    <a:pt x="2013" y="323"/>
                  </a:lnTo>
                  <a:lnTo>
                    <a:pt x="2010" y="334"/>
                  </a:lnTo>
                  <a:lnTo>
                    <a:pt x="2006" y="345"/>
                  </a:lnTo>
                  <a:lnTo>
                    <a:pt x="2003" y="354"/>
                  </a:lnTo>
                  <a:lnTo>
                    <a:pt x="2000" y="365"/>
                  </a:lnTo>
                  <a:lnTo>
                    <a:pt x="1999" y="377"/>
                  </a:lnTo>
                  <a:lnTo>
                    <a:pt x="1998" y="390"/>
                  </a:lnTo>
                  <a:lnTo>
                    <a:pt x="1998" y="402"/>
                  </a:lnTo>
                  <a:lnTo>
                    <a:pt x="1998" y="413"/>
                  </a:lnTo>
                  <a:lnTo>
                    <a:pt x="2018" y="416"/>
                  </a:lnTo>
                  <a:lnTo>
                    <a:pt x="2038" y="417"/>
                  </a:lnTo>
                  <a:lnTo>
                    <a:pt x="2046" y="418"/>
                  </a:lnTo>
                  <a:lnTo>
                    <a:pt x="2056" y="419"/>
                  </a:lnTo>
                  <a:lnTo>
                    <a:pt x="2066" y="421"/>
                  </a:lnTo>
                  <a:lnTo>
                    <a:pt x="2077" y="425"/>
                  </a:lnTo>
                  <a:lnTo>
                    <a:pt x="2092" y="431"/>
                  </a:lnTo>
                  <a:lnTo>
                    <a:pt x="2106" y="440"/>
                  </a:lnTo>
                  <a:lnTo>
                    <a:pt x="2118" y="448"/>
                  </a:lnTo>
                  <a:lnTo>
                    <a:pt x="2130" y="458"/>
                  </a:lnTo>
                  <a:lnTo>
                    <a:pt x="2149" y="482"/>
                  </a:lnTo>
                  <a:lnTo>
                    <a:pt x="2172" y="509"/>
                  </a:lnTo>
                  <a:lnTo>
                    <a:pt x="2180" y="519"/>
                  </a:lnTo>
                  <a:lnTo>
                    <a:pt x="2189" y="526"/>
                  </a:lnTo>
                  <a:lnTo>
                    <a:pt x="2198" y="534"/>
                  </a:lnTo>
                  <a:lnTo>
                    <a:pt x="2207" y="540"/>
                  </a:lnTo>
                  <a:lnTo>
                    <a:pt x="2227" y="553"/>
                  </a:lnTo>
                  <a:lnTo>
                    <a:pt x="2247" y="567"/>
                  </a:lnTo>
                  <a:lnTo>
                    <a:pt x="2272" y="587"/>
                  </a:lnTo>
                  <a:lnTo>
                    <a:pt x="2295" y="605"/>
                  </a:lnTo>
                  <a:lnTo>
                    <a:pt x="2315" y="622"/>
                  </a:lnTo>
                  <a:lnTo>
                    <a:pt x="2336" y="640"/>
                  </a:lnTo>
                  <a:lnTo>
                    <a:pt x="2356" y="656"/>
                  </a:lnTo>
                  <a:lnTo>
                    <a:pt x="2378" y="673"/>
                  </a:lnTo>
                  <a:lnTo>
                    <a:pt x="2403" y="690"/>
                  </a:lnTo>
                  <a:lnTo>
                    <a:pt x="2430" y="708"/>
                  </a:lnTo>
                  <a:lnTo>
                    <a:pt x="2463" y="729"/>
                  </a:lnTo>
                  <a:lnTo>
                    <a:pt x="2494" y="750"/>
                  </a:lnTo>
                  <a:lnTo>
                    <a:pt x="2524" y="770"/>
                  </a:lnTo>
                  <a:lnTo>
                    <a:pt x="2558" y="792"/>
                  </a:lnTo>
                  <a:lnTo>
                    <a:pt x="2590" y="808"/>
                  </a:lnTo>
                  <a:lnTo>
                    <a:pt x="2618" y="821"/>
                  </a:lnTo>
                  <a:lnTo>
                    <a:pt x="2631" y="830"/>
                  </a:lnTo>
                  <a:lnTo>
                    <a:pt x="2643" y="838"/>
                  </a:lnTo>
                  <a:lnTo>
                    <a:pt x="2649" y="844"/>
                  </a:lnTo>
                  <a:lnTo>
                    <a:pt x="2655" y="850"/>
                  </a:lnTo>
                  <a:lnTo>
                    <a:pt x="2660" y="857"/>
                  </a:lnTo>
                  <a:lnTo>
                    <a:pt x="2665" y="864"/>
                  </a:lnTo>
                  <a:lnTo>
                    <a:pt x="2672" y="875"/>
                  </a:lnTo>
                  <a:lnTo>
                    <a:pt x="2679" y="885"/>
                  </a:lnTo>
                  <a:lnTo>
                    <a:pt x="2687" y="893"/>
                  </a:lnTo>
                  <a:lnTo>
                    <a:pt x="2694" y="901"/>
                  </a:lnTo>
                  <a:lnTo>
                    <a:pt x="2703" y="909"/>
                  </a:lnTo>
                  <a:lnTo>
                    <a:pt x="2711" y="915"/>
                  </a:lnTo>
                  <a:lnTo>
                    <a:pt x="2719" y="921"/>
                  </a:lnTo>
                  <a:lnTo>
                    <a:pt x="2729" y="927"/>
                  </a:lnTo>
                  <a:lnTo>
                    <a:pt x="2747" y="937"/>
                  </a:lnTo>
                  <a:lnTo>
                    <a:pt x="2768" y="946"/>
                  </a:lnTo>
                  <a:lnTo>
                    <a:pt x="2790" y="955"/>
                  </a:lnTo>
                  <a:lnTo>
                    <a:pt x="2813" y="966"/>
                  </a:lnTo>
                  <a:lnTo>
                    <a:pt x="2829" y="972"/>
                  </a:lnTo>
                  <a:lnTo>
                    <a:pt x="2845" y="978"/>
                  </a:lnTo>
                  <a:lnTo>
                    <a:pt x="2852" y="981"/>
                  </a:lnTo>
                  <a:lnTo>
                    <a:pt x="2859" y="985"/>
                  </a:lnTo>
                  <a:lnTo>
                    <a:pt x="2865" y="991"/>
                  </a:lnTo>
                  <a:lnTo>
                    <a:pt x="2873" y="996"/>
                  </a:lnTo>
                  <a:lnTo>
                    <a:pt x="2873" y="996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61">
              <a:extLst>
                <a:ext uri="{FF2B5EF4-FFF2-40B4-BE49-F238E27FC236}">
                  <a16:creationId xmlns:a16="http://schemas.microsoft.com/office/drawing/2014/main" id="{F5C64D2D-3724-4A97-9D9E-2A4B61E97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1825" y="5559426"/>
              <a:ext cx="1150938" cy="1100138"/>
            </a:xfrm>
            <a:custGeom>
              <a:avLst/>
              <a:gdLst>
                <a:gd name="T0" fmla="*/ 1571 w 2899"/>
                <a:gd name="T1" fmla="*/ 15 h 2774"/>
                <a:gd name="T2" fmla="*/ 1681 w 2899"/>
                <a:gd name="T3" fmla="*/ 42 h 2774"/>
                <a:gd name="T4" fmla="*/ 1786 w 2899"/>
                <a:gd name="T5" fmla="*/ 6 h 2774"/>
                <a:gd name="T6" fmla="*/ 1994 w 2899"/>
                <a:gd name="T7" fmla="*/ 46 h 2774"/>
                <a:gd name="T8" fmla="*/ 2149 w 2899"/>
                <a:gd name="T9" fmla="*/ 151 h 2774"/>
                <a:gd name="T10" fmla="*/ 2277 w 2899"/>
                <a:gd name="T11" fmla="*/ 172 h 2774"/>
                <a:gd name="T12" fmla="*/ 2464 w 2899"/>
                <a:gd name="T13" fmla="*/ 403 h 2774"/>
                <a:gd name="T14" fmla="*/ 2634 w 2899"/>
                <a:gd name="T15" fmla="*/ 590 h 2774"/>
                <a:gd name="T16" fmla="*/ 2765 w 2899"/>
                <a:gd name="T17" fmla="*/ 636 h 2774"/>
                <a:gd name="T18" fmla="*/ 2787 w 2899"/>
                <a:gd name="T19" fmla="*/ 852 h 2774"/>
                <a:gd name="T20" fmla="*/ 2795 w 2899"/>
                <a:gd name="T21" fmla="*/ 981 h 2774"/>
                <a:gd name="T22" fmla="*/ 2738 w 2899"/>
                <a:gd name="T23" fmla="*/ 1203 h 2774"/>
                <a:gd name="T24" fmla="*/ 2583 w 2899"/>
                <a:gd name="T25" fmla="*/ 1514 h 2774"/>
                <a:gd name="T26" fmla="*/ 2352 w 2899"/>
                <a:gd name="T27" fmla="*/ 1825 h 2774"/>
                <a:gd name="T28" fmla="*/ 1983 w 2899"/>
                <a:gd name="T29" fmla="*/ 2074 h 2774"/>
                <a:gd name="T30" fmla="*/ 1963 w 2899"/>
                <a:gd name="T31" fmla="*/ 2014 h 2774"/>
                <a:gd name="T32" fmla="*/ 2109 w 2899"/>
                <a:gd name="T33" fmla="*/ 1934 h 2774"/>
                <a:gd name="T34" fmla="*/ 2211 w 2899"/>
                <a:gd name="T35" fmla="*/ 1869 h 2774"/>
                <a:gd name="T36" fmla="*/ 2239 w 2899"/>
                <a:gd name="T37" fmla="*/ 1743 h 2774"/>
                <a:gd name="T38" fmla="*/ 2322 w 2899"/>
                <a:gd name="T39" fmla="*/ 1713 h 2774"/>
                <a:gd name="T40" fmla="*/ 2425 w 2899"/>
                <a:gd name="T41" fmla="*/ 1582 h 2774"/>
                <a:gd name="T42" fmla="*/ 2498 w 2899"/>
                <a:gd name="T43" fmla="*/ 1456 h 2774"/>
                <a:gd name="T44" fmla="*/ 2498 w 2899"/>
                <a:gd name="T45" fmla="*/ 1379 h 2774"/>
                <a:gd name="T46" fmla="*/ 2320 w 2899"/>
                <a:gd name="T47" fmla="*/ 1341 h 2774"/>
                <a:gd name="T48" fmla="*/ 2271 w 2899"/>
                <a:gd name="T49" fmla="*/ 1436 h 2774"/>
                <a:gd name="T50" fmla="*/ 2190 w 2899"/>
                <a:gd name="T51" fmla="*/ 1549 h 2774"/>
                <a:gd name="T52" fmla="*/ 2118 w 2899"/>
                <a:gd name="T53" fmla="*/ 1719 h 2774"/>
                <a:gd name="T54" fmla="*/ 1946 w 2899"/>
                <a:gd name="T55" fmla="*/ 1841 h 2774"/>
                <a:gd name="T56" fmla="*/ 1825 w 2899"/>
                <a:gd name="T57" fmla="*/ 2014 h 2774"/>
                <a:gd name="T58" fmla="*/ 1870 w 2899"/>
                <a:gd name="T59" fmla="*/ 2172 h 2774"/>
                <a:gd name="T60" fmla="*/ 1757 w 2899"/>
                <a:gd name="T61" fmla="*/ 2377 h 2774"/>
                <a:gd name="T62" fmla="*/ 1667 w 2899"/>
                <a:gd name="T63" fmla="*/ 2573 h 2774"/>
                <a:gd name="T64" fmla="*/ 1394 w 2899"/>
                <a:gd name="T65" fmla="*/ 2774 h 2774"/>
                <a:gd name="T66" fmla="*/ 1378 w 2899"/>
                <a:gd name="T67" fmla="*/ 2504 h 2774"/>
                <a:gd name="T68" fmla="*/ 1455 w 2899"/>
                <a:gd name="T69" fmla="*/ 2409 h 2774"/>
                <a:gd name="T70" fmla="*/ 1442 w 2899"/>
                <a:gd name="T71" fmla="*/ 2296 h 2774"/>
                <a:gd name="T72" fmla="*/ 1333 w 2899"/>
                <a:gd name="T73" fmla="*/ 2138 h 2774"/>
                <a:gd name="T74" fmla="*/ 1150 w 2899"/>
                <a:gd name="T75" fmla="*/ 2006 h 2774"/>
                <a:gd name="T76" fmla="*/ 1012 w 2899"/>
                <a:gd name="T77" fmla="*/ 1827 h 2774"/>
                <a:gd name="T78" fmla="*/ 829 w 2899"/>
                <a:gd name="T79" fmla="*/ 1771 h 2774"/>
                <a:gd name="T80" fmla="*/ 752 w 2899"/>
                <a:gd name="T81" fmla="*/ 1653 h 2774"/>
                <a:gd name="T82" fmla="*/ 640 w 2899"/>
                <a:gd name="T83" fmla="*/ 1588 h 2774"/>
                <a:gd name="T84" fmla="*/ 517 w 2899"/>
                <a:gd name="T85" fmla="*/ 1589 h 2774"/>
                <a:gd name="T86" fmla="*/ 372 w 2899"/>
                <a:gd name="T87" fmla="*/ 1345 h 2774"/>
                <a:gd name="T88" fmla="*/ 268 w 2899"/>
                <a:gd name="T89" fmla="*/ 1225 h 2774"/>
                <a:gd name="T90" fmla="*/ 106 w 2899"/>
                <a:gd name="T91" fmla="*/ 1254 h 2774"/>
                <a:gd name="T92" fmla="*/ 21 w 2899"/>
                <a:gd name="T93" fmla="*/ 1156 h 2774"/>
                <a:gd name="T94" fmla="*/ 169 w 2899"/>
                <a:gd name="T95" fmla="*/ 995 h 2774"/>
                <a:gd name="T96" fmla="*/ 346 w 2899"/>
                <a:gd name="T97" fmla="*/ 870 h 2774"/>
                <a:gd name="T98" fmla="*/ 402 w 2899"/>
                <a:gd name="T99" fmla="*/ 766 h 2774"/>
                <a:gd name="T100" fmla="*/ 549 w 2899"/>
                <a:gd name="T101" fmla="*/ 680 h 2774"/>
                <a:gd name="T102" fmla="*/ 636 w 2899"/>
                <a:gd name="T103" fmla="*/ 546 h 2774"/>
                <a:gd name="T104" fmla="*/ 721 w 2899"/>
                <a:gd name="T105" fmla="*/ 488 h 2774"/>
                <a:gd name="T106" fmla="*/ 792 w 2899"/>
                <a:gd name="T107" fmla="*/ 511 h 2774"/>
                <a:gd name="T108" fmla="*/ 805 w 2899"/>
                <a:gd name="T109" fmla="*/ 385 h 2774"/>
                <a:gd name="T110" fmla="*/ 931 w 2899"/>
                <a:gd name="T111" fmla="*/ 288 h 2774"/>
                <a:gd name="T112" fmla="*/ 1002 w 2899"/>
                <a:gd name="T113" fmla="*/ 184 h 2774"/>
                <a:gd name="T114" fmla="*/ 1115 w 2899"/>
                <a:gd name="T115" fmla="*/ 117 h 2774"/>
                <a:gd name="T116" fmla="*/ 1241 w 2899"/>
                <a:gd name="T117" fmla="*/ 84 h 2774"/>
                <a:gd name="T118" fmla="*/ 1403 w 2899"/>
                <a:gd name="T119" fmla="*/ 12 h 2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99" h="2774">
                  <a:moveTo>
                    <a:pt x="1430" y="10"/>
                  </a:moveTo>
                  <a:lnTo>
                    <a:pt x="1440" y="11"/>
                  </a:lnTo>
                  <a:lnTo>
                    <a:pt x="1450" y="14"/>
                  </a:lnTo>
                  <a:lnTo>
                    <a:pt x="1459" y="18"/>
                  </a:lnTo>
                  <a:lnTo>
                    <a:pt x="1467" y="22"/>
                  </a:lnTo>
                  <a:lnTo>
                    <a:pt x="1476" y="27"/>
                  </a:lnTo>
                  <a:lnTo>
                    <a:pt x="1484" y="30"/>
                  </a:lnTo>
                  <a:lnTo>
                    <a:pt x="1493" y="33"/>
                  </a:lnTo>
                  <a:lnTo>
                    <a:pt x="1503" y="34"/>
                  </a:lnTo>
                  <a:lnTo>
                    <a:pt x="1516" y="33"/>
                  </a:lnTo>
                  <a:lnTo>
                    <a:pt x="1528" y="30"/>
                  </a:lnTo>
                  <a:lnTo>
                    <a:pt x="1538" y="27"/>
                  </a:lnTo>
                  <a:lnTo>
                    <a:pt x="1549" y="22"/>
                  </a:lnTo>
                  <a:lnTo>
                    <a:pt x="1559" y="18"/>
                  </a:lnTo>
                  <a:lnTo>
                    <a:pt x="1571" y="15"/>
                  </a:lnTo>
                  <a:lnTo>
                    <a:pt x="1582" y="12"/>
                  </a:lnTo>
                  <a:lnTo>
                    <a:pt x="1596" y="11"/>
                  </a:lnTo>
                  <a:lnTo>
                    <a:pt x="1601" y="11"/>
                  </a:lnTo>
                  <a:lnTo>
                    <a:pt x="1607" y="12"/>
                  </a:lnTo>
                  <a:lnTo>
                    <a:pt x="1612" y="14"/>
                  </a:lnTo>
                  <a:lnTo>
                    <a:pt x="1617" y="16"/>
                  </a:lnTo>
                  <a:lnTo>
                    <a:pt x="1626" y="21"/>
                  </a:lnTo>
                  <a:lnTo>
                    <a:pt x="1635" y="27"/>
                  </a:lnTo>
                  <a:lnTo>
                    <a:pt x="1643" y="32"/>
                  </a:lnTo>
                  <a:lnTo>
                    <a:pt x="1652" y="37"/>
                  </a:lnTo>
                  <a:lnTo>
                    <a:pt x="1657" y="39"/>
                  </a:lnTo>
                  <a:lnTo>
                    <a:pt x="1663" y="41"/>
                  </a:lnTo>
                  <a:lnTo>
                    <a:pt x="1668" y="42"/>
                  </a:lnTo>
                  <a:lnTo>
                    <a:pt x="1673" y="42"/>
                  </a:lnTo>
                  <a:lnTo>
                    <a:pt x="1681" y="42"/>
                  </a:lnTo>
                  <a:lnTo>
                    <a:pt x="1688" y="41"/>
                  </a:lnTo>
                  <a:lnTo>
                    <a:pt x="1693" y="38"/>
                  </a:lnTo>
                  <a:lnTo>
                    <a:pt x="1699" y="35"/>
                  </a:lnTo>
                  <a:lnTo>
                    <a:pt x="1709" y="29"/>
                  </a:lnTo>
                  <a:lnTo>
                    <a:pt x="1719" y="21"/>
                  </a:lnTo>
                  <a:lnTo>
                    <a:pt x="1730" y="14"/>
                  </a:lnTo>
                  <a:lnTo>
                    <a:pt x="1739" y="6"/>
                  </a:lnTo>
                  <a:lnTo>
                    <a:pt x="1745" y="4"/>
                  </a:lnTo>
                  <a:lnTo>
                    <a:pt x="1751" y="2"/>
                  </a:lnTo>
                  <a:lnTo>
                    <a:pt x="1758" y="1"/>
                  </a:lnTo>
                  <a:lnTo>
                    <a:pt x="1765" y="0"/>
                  </a:lnTo>
                  <a:lnTo>
                    <a:pt x="1771" y="1"/>
                  </a:lnTo>
                  <a:lnTo>
                    <a:pt x="1776" y="2"/>
                  </a:lnTo>
                  <a:lnTo>
                    <a:pt x="1782" y="4"/>
                  </a:lnTo>
                  <a:lnTo>
                    <a:pt x="1786" y="6"/>
                  </a:lnTo>
                  <a:lnTo>
                    <a:pt x="1794" y="14"/>
                  </a:lnTo>
                  <a:lnTo>
                    <a:pt x="1802" y="21"/>
                  </a:lnTo>
                  <a:lnTo>
                    <a:pt x="1811" y="29"/>
                  </a:lnTo>
                  <a:lnTo>
                    <a:pt x="1818" y="35"/>
                  </a:lnTo>
                  <a:lnTo>
                    <a:pt x="1824" y="38"/>
                  </a:lnTo>
                  <a:lnTo>
                    <a:pt x="1828" y="41"/>
                  </a:lnTo>
                  <a:lnTo>
                    <a:pt x="1833" y="42"/>
                  </a:lnTo>
                  <a:lnTo>
                    <a:pt x="1840" y="42"/>
                  </a:lnTo>
                  <a:lnTo>
                    <a:pt x="1866" y="42"/>
                  </a:lnTo>
                  <a:lnTo>
                    <a:pt x="1890" y="42"/>
                  </a:lnTo>
                  <a:lnTo>
                    <a:pt x="1913" y="42"/>
                  </a:lnTo>
                  <a:lnTo>
                    <a:pt x="1939" y="42"/>
                  </a:lnTo>
                  <a:lnTo>
                    <a:pt x="1959" y="43"/>
                  </a:lnTo>
                  <a:lnTo>
                    <a:pt x="1977" y="44"/>
                  </a:lnTo>
                  <a:lnTo>
                    <a:pt x="1994" y="46"/>
                  </a:lnTo>
                  <a:lnTo>
                    <a:pt x="2010" y="49"/>
                  </a:lnTo>
                  <a:lnTo>
                    <a:pt x="2043" y="56"/>
                  </a:lnTo>
                  <a:lnTo>
                    <a:pt x="2081" y="64"/>
                  </a:lnTo>
                  <a:lnTo>
                    <a:pt x="2097" y="68"/>
                  </a:lnTo>
                  <a:lnTo>
                    <a:pt x="2113" y="72"/>
                  </a:lnTo>
                  <a:lnTo>
                    <a:pt x="2120" y="75"/>
                  </a:lnTo>
                  <a:lnTo>
                    <a:pt x="2126" y="79"/>
                  </a:lnTo>
                  <a:lnTo>
                    <a:pt x="2130" y="85"/>
                  </a:lnTo>
                  <a:lnTo>
                    <a:pt x="2134" y="92"/>
                  </a:lnTo>
                  <a:lnTo>
                    <a:pt x="2137" y="111"/>
                  </a:lnTo>
                  <a:lnTo>
                    <a:pt x="2138" y="129"/>
                  </a:lnTo>
                  <a:lnTo>
                    <a:pt x="2140" y="138"/>
                  </a:lnTo>
                  <a:lnTo>
                    <a:pt x="2143" y="145"/>
                  </a:lnTo>
                  <a:lnTo>
                    <a:pt x="2145" y="147"/>
                  </a:lnTo>
                  <a:lnTo>
                    <a:pt x="2149" y="151"/>
                  </a:lnTo>
                  <a:lnTo>
                    <a:pt x="2152" y="153"/>
                  </a:lnTo>
                  <a:lnTo>
                    <a:pt x="2156" y="154"/>
                  </a:lnTo>
                  <a:lnTo>
                    <a:pt x="2170" y="157"/>
                  </a:lnTo>
                  <a:lnTo>
                    <a:pt x="2183" y="158"/>
                  </a:lnTo>
                  <a:lnTo>
                    <a:pt x="2196" y="157"/>
                  </a:lnTo>
                  <a:lnTo>
                    <a:pt x="2208" y="157"/>
                  </a:lnTo>
                  <a:lnTo>
                    <a:pt x="2221" y="156"/>
                  </a:lnTo>
                  <a:lnTo>
                    <a:pt x="2233" y="156"/>
                  </a:lnTo>
                  <a:lnTo>
                    <a:pt x="2239" y="157"/>
                  </a:lnTo>
                  <a:lnTo>
                    <a:pt x="2246" y="158"/>
                  </a:lnTo>
                  <a:lnTo>
                    <a:pt x="2252" y="160"/>
                  </a:lnTo>
                  <a:lnTo>
                    <a:pt x="2260" y="163"/>
                  </a:lnTo>
                  <a:lnTo>
                    <a:pt x="2266" y="166"/>
                  </a:lnTo>
                  <a:lnTo>
                    <a:pt x="2272" y="169"/>
                  </a:lnTo>
                  <a:lnTo>
                    <a:pt x="2277" y="172"/>
                  </a:lnTo>
                  <a:lnTo>
                    <a:pt x="2283" y="177"/>
                  </a:lnTo>
                  <a:lnTo>
                    <a:pt x="2291" y="185"/>
                  </a:lnTo>
                  <a:lnTo>
                    <a:pt x="2302" y="196"/>
                  </a:lnTo>
                  <a:lnTo>
                    <a:pt x="2330" y="224"/>
                  </a:lnTo>
                  <a:lnTo>
                    <a:pt x="2355" y="250"/>
                  </a:lnTo>
                  <a:lnTo>
                    <a:pt x="2366" y="264"/>
                  </a:lnTo>
                  <a:lnTo>
                    <a:pt x="2377" y="278"/>
                  </a:lnTo>
                  <a:lnTo>
                    <a:pt x="2385" y="295"/>
                  </a:lnTo>
                  <a:lnTo>
                    <a:pt x="2394" y="314"/>
                  </a:lnTo>
                  <a:lnTo>
                    <a:pt x="2404" y="333"/>
                  </a:lnTo>
                  <a:lnTo>
                    <a:pt x="2413" y="351"/>
                  </a:lnTo>
                  <a:lnTo>
                    <a:pt x="2425" y="366"/>
                  </a:lnTo>
                  <a:lnTo>
                    <a:pt x="2437" y="380"/>
                  </a:lnTo>
                  <a:lnTo>
                    <a:pt x="2450" y="392"/>
                  </a:lnTo>
                  <a:lnTo>
                    <a:pt x="2464" y="403"/>
                  </a:lnTo>
                  <a:lnTo>
                    <a:pt x="2478" y="414"/>
                  </a:lnTo>
                  <a:lnTo>
                    <a:pt x="2492" y="425"/>
                  </a:lnTo>
                  <a:lnTo>
                    <a:pt x="2507" y="436"/>
                  </a:lnTo>
                  <a:lnTo>
                    <a:pt x="2521" y="447"/>
                  </a:lnTo>
                  <a:lnTo>
                    <a:pt x="2535" y="459"/>
                  </a:lnTo>
                  <a:lnTo>
                    <a:pt x="2549" y="471"/>
                  </a:lnTo>
                  <a:lnTo>
                    <a:pt x="2562" y="484"/>
                  </a:lnTo>
                  <a:lnTo>
                    <a:pt x="2574" y="500"/>
                  </a:lnTo>
                  <a:lnTo>
                    <a:pt x="2586" y="517"/>
                  </a:lnTo>
                  <a:lnTo>
                    <a:pt x="2596" y="535"/>
                  </a:lnTo>
                  <a:lnTo>
                    <a:pt x="2605" y="555"/>
                  </a:lnTo>
                  <a:lnTo>
                    <a:pt x="2614" y="571"/>
                  </a:lnTo>
                  <a:lnTo>
                    <a:pt x="2620" y="578"/>
                  </a:lnTo>
                  <a:lnTo>
                    <a:pt x="2626" y="585"/>
                  </a:lnTo>
                  <a:lnTo>
                    <a:pt x="2634" y="590"/>
                  </a:lnTo>
                  <a:lnTo>
                    <a:pt x="2643" y="594"/>
                  </a:lnTo>
                  <a:lnTo>
                    <a:pt x="2655" y="598"/>
                  </a:lnTo>
                  <a:lnTo>
                    <a:pt x="2666" y="600"/>
                  </a:lnTo>
                  <a:lnTo>
                    <a:pt x="2677" y="601"/>
                  </a:lnTo>
                  <a:lnTo>
                    <a:pt x="2688" y="602"/>
                  </a:lnTo>
                  <a:lnTo>
                    <a:pt x="2697" y="603"/>
                  </a:lnTo>
                  <a:lnTo>
                    <a:pt x="2708" y="604"/>
                  </a:lnTo>
                  <a:lnTo>
                    <a:pt x="2719" y="606"/>
                  </a:lnTo>
                  <a:lnTo>
                    <a:pt x="2731" y="611"/>
                  </a:lnTo>
                  <a:lnTo>
                    <a:pt x="2737" y="614"/>
                  </a:lnTo>
                  <a:lnTo>
                    <a:pt x="2744" y="617"/>
                  </a:lnTo>
                  <a:lnTo>
                    <a:pt x="2750" y="622"/>
                  </a:lnTo>
                  <a:lnTo>
                    <a:pt x="2756" y="626"/>
                  </a:lnTo>
                  <a:lnTo>
                    <a:pt x="2761" y="630"/>
                  </a:lnTo>
                  <a:lnTo>
                    <a:pt x="2765" y="636"/>
                  </a:lnTo>
                  <a:lnTo>
                    <a:pt x="2770" y="641"/>
                  </a:lnTo>
                  <a:lnTo>
                    <a:pt x="2773" y="646"/>
                  </a:lnTo>
                  <a:lnTo>
                    <a:pt x="2779" y="659"/>
                  </a:lnTo>
                  <a:lnTo>
                    <a:pt x="2784" y="672"/>
                  </a:lnTo>
                  <a:lnTo>
                    <a:pt x="2786" y="687"/>
                  </a:lnTo>
                  <a:lnTo>
                    <a:pt x="2787" y="703"/>
                  </a:lnTo>
                  <a:lnTo>
                    <a:pt x="2787" y="729"/>
                  </a:lnTo>
                  <a:lnTo>
                    <a:pt x="2787" y="752"/>
                  </a:lnTo>
                  <a:lnTo>
                    <a:pt x="2787" y="776"/>
                  </a:lnTo>
                  <a:lnTo>
                    <a:pt x="2787" y="802"/>
                  </a:lnTo>
                  <a:lnTo>
                    <a:pt x="2788" y="816"/>
                  </a:lnTo>
                  <a:lnTo>
                    <a:pt x="2789" y="829"/>
                  </a:lnTo>
                  <a:lnTo>
                    <a:pt x="2789" y="838"/>
                  </a:lnTo>
                  <a:lnTo>
                    <a:pt x="2788" y="845"/>
                  </a:lnTo>
                  <a:lnTo>
                    <a:pt x="2787" y="852"/>
                  </a:lnTo>
                  <a:lnTo>
                    <a:pt x="2785" y="858"/>
                  </a:lnTo>
                  <a:lnTo>
                    <a:pt x="2779" y="870"/>
                  </a:lnTo>
                  <a:lnTo>
                    <a:pt x="2773" y="882"/>
                  </a:lnTo>
                  <a:lnTo>
                    <a:pt x="2757" y="905"/>
                  </a:lnTo>
                  <a:lnTo>
                    <a:pt x="2742" y="930"/>
                  </a:lnTo>
                  <a:lnTo>
                    <a:pt x="2736" y="943"/>
                  </a:lnTo>
                  <a:lnTo>
                    <a:pt x="2732" y="956"/>
                  </a:lnTo>
                  <a:lnTo>
                    <a:pt x="2728" y="969"/>
                  </a:lnTo>
                  <a:lnTo>
                    <a:pt x="2722" y="983"/>
                  </a:lnTo>
                  <a:lnTo>
                    <a:pt x="2732" y="984"/>
                  </a:lnTo>
                  <a:lnTo>
                    <a:pt x="2742" y="984"/>
                  </a:lnTo>
                  <a:lnTo>
                    <a:pt x="2750" y="984"/>
                  </a:lnTo>
                  <a:lnTo>
                    <a:pt x="2758" y="983"/>
                  </a:lnTo>
                  <a:lnTo>
                    <a:pt x="2775" y="981"/>
                  </a:lnTo>
                  <a:lnTo>
                    <a:pt x="2795" y="981"/>
                  </a:lnTo>
                  <a:lnTo>
                    <a:pt x="2809" y="981"/>
                  </a:lnTo>
                  <a:lnTo>
                    <a:pt x="2823" y="983"/>
                  </a:lnTo>
                  <a:lnTo>
                    <a:pt x="2836" y="987"/>
                  </a:lnTo>
                  <a:lnTo>
                    <a:pt x="2849" y="991"/>
                  </a:lnTo>
                  <a:lnTo>
                    <a:pt x="2873" y="1001"/>
                  </a:lnTo>
                  <a:lnTo>
                    <a:pt x="2899" y="1014"/>
                  </a:lnTo>
                  <a:lnTo>
                    <a:pt x="2899" y="1014"/>
                  </a:lnTo>
                  <a:lnTo>
                    <a:pt x="2886" y="1032"/>
                  </a:lnTo>
                  <a:lnTo>
                    <a:pt x="2872" y="1050"/>
                  </a:lnTo>
                  <a:lnTo>
                    <a:pt x="2857" y="1070"/>
                  </a:lnTo>
                  <a:lnTo>
                    <a:pt x="2840" y="1090"/>
                  </a:lnTo>
                  <a:lnTo>
                    <a:pt x="2813" y="1121"/>
                  </a:lnTo>
                  <a:lnTo>
                    <a:pt x="2790" y="1148"/>
                  </a:lnTo>
                  <a:lnTo>
                    <a:pt x="2767" y="1173"/>
                  </a:lnTo>
                  <a:lnTo>
                    <a:pt x="2738" y="1203"/>
                  </a:lnTo>
                  <a:lnTo>
                    <a:pt x="2723" y="1216"/>
                  </a:lnTo>
                  <a:lnTo>
                    <a:pt x="2709" y="1227"/>
                  </a:lnTo>
                  <a:lnTo>
                    <a:pt x="2703" y="1233"/>
                  </a:lnTo>
                  <a:lnTo>
                    <a:pt x="2697" y="1239"/>
                  </a:lnTo>
                  <a:lnTo>
                    <a:pt x="2691" y="1247"/>
                  </a:lnTo>
                  <a:lnTo>
                    <a:pt x="2686" y="1256"/>
                  </a:lnTo>
                  <a:lnTo>
                    <a:pt x="2668" y="1287"/>
                  </a:lnTo>
                  <a:lnTo>
                    <a:pt x="2654" y="1315"/>
                  </a:lnTo>
                  <a:lnTo>
                    <a:pt x="2641" y="1343"/>
                  </a:lnTo>
                  <a:lnTo>
                    <a:pt x="2630" y="1370"/>
                  </a:lnTo>
                  <a:lnTo>
                    <a:pt x="2620" y="1397"/>
                  </a:lnTo>
                  <a:lnTo>
                    <a:pt x="2610" y="1426"/>
                  </a:lnTo>
                  <a:lnTo>
                    <a:pt x="2600" y="1458"/>
                  </a:lnTo>
                  <a:lnTo>
                    <a:pt x="2590" y="1491"/>
                  </a:lnTo>
                  <a:lnTo>
                    <a:pt x="2583" y="1514"/>
                  </a:lnTo>
                  <a:lnTo>
                    <a:pt x="2575" y="1535"/>
                  </a:lnTo>
                  <a:lnTo>
                    <a:pt x="2568" y="1556"/>
                  </a:lnTo>
                  <a:lnTo>
                    <a:pt x="2559" y="1575"/>
                  </a:lnTo>
                  <a:lnTo>
                    <a:pt x="2551" y="1594"/>
                  </a:lnTo>
                  <a:lnTo>
                    <a:pt x="2541" y="1611"/>
                  </a:lnTo>
                  <a:lnTo>
                    <a:pt x="2530" y="1628"/>
                  </a:lnTo>
                  <a:lnTo>
                    <a:pt x="2519" y="1644"/>
                  </a:lnTo>
                  <a:lnTo>
                    <a:pt x="2507" y="1661"/>
                  </a:lnTo>
                  <a:lnTo>
                    <a:pt x="2495" y="1677"/>
                  </a:lnTo>
                  <a:lnTo>
                    <a:pt x="2482" y="1692"/>
                  </a:lnTo>
                  <a:lnTo>
                    <a:pt x="2468" y="1708"/>
                  </a:lnTo>
                  <a:lnTo>
                    <a:pt x="2438" y="1740"/>
                  </a:lnTo>
                  <a:lnTo>
                    <a:pt x="2406" y="1774"/>
                  </a:lnTo>
                  <a:lnTo>
                    <a:pt x="2378" y="1801"/>
                  </a:lnTo>
                  <a:lnTo>
                    <a:pt x="2352" y="1825"/>
                  </a:lnTo>
                  <a:lnTo>
                    <a:pt x="2339" y="1836"/>
                  </a:lnTo>
                  <a:lnTo>
                    <a:pt x="2325" y="1846"/>
                  </a:lnTo>
                  <a:lnTo>
                    <a:pt x="2310" y="1857"/>
                  </a:lnTo>
                  <a:lnTo>
                    <a:pt x="2293" y="1869"/>
                  </a:lnTo>
                  <a:lnTo>
                    <a:pt x="2258" y="1894"/>
                  </a:lnTo>
                  <a:lnTo>
                    <a:pt x="2226" y="1917"/>
                  </a:lnTo>
                  <a:lnTo>
                    <a:pt x="2196" y="1938"/>
                  </a:lnTo>
                  <a:lnTo>
                    <a:pt x="2167" y="1959"/>
                  </a:lnTo>
                  <a:lnTo>
                    <a:pt x="2139" y="1980"/>
                  </a:lnTo>
                  <a:lnTo>
                    <a:pt x="2109" y="2001"/>
                  </a:lnTo>
                  <a:lnTo>
                    <a:pt x="2076" y="2022"/>
                  </a:lnTo>
                  <a:lnTo>
                    <a:pt x="2041" y="2046"/>
                  </a:lnTo>
                  <a:lnTo>
                    <a:pt x="2021" y="2057"/>
                  </a:lnTo>
                  <a:lnTo>
                    <a:pt x="2002" y="2067"/>
                  </a:lnTo>
                  <a:lnTo>
                    <a:pt x="1983" y="2074"/>
                  </a:lnTo>
                  <a:lnTo>
                    <a:pt x="1966" y="2083"/>
                  </a:lnTo>
                  <a:lnTo>
                    <a:pt x="1949" y="2091"/>
                  </a:lnTo>
                  <a:lnTo>
                    <a:pt x="1932" y="2101"/>
                  </a:lnTo>
                  <a:lnTo>
                    <a:pt x="1923" y="2107"/>
                  </a:lnTo>
                  <a:lnTo>
                    <a:pt x="1915" y="2114"/>
                  </a:lnTo>
                  <a:lnTo>
                    <a:pt x="1908" y="2122"/>
                  </a:lnTo>
                  <a:lnTo>
                    <a:pt x="1899" y="2129"/>
                  </a:lnTo>
                  <a:lnTo>
                    <a:pt x="1899" y="2129"/>
                  </a:lnTo>
                  <a:lnTo>
                    <a:pt x="1899" y="1987"/>
                  </a:lnTo>
                  <a:lnTo>
                    <a:pt x="1899" y="1987"/>
                  </a:lnTo>
                  <a:lnTo>
                    <a:pt x="1918" y="1998"/>
                  </a:lnTo>
                  <a:lnTo>
                    <a:pt x="1935" y="2006"/>
                  </a:lnTo>
                  <a:lnTo>
                    <a:pt x="1944" y="2009"/>
                  </a:lnTo>
                  <a:lnTo>
                    <a:pt x="1953" y="2012"/>
                  </a:lnTo>
                  <a:lnTo>
                    <a:pt x="1963" y="2014"/>
                  </a:lnTo>
                  <a:lnTo>
                    <a:pt x="1974" y="2015"/>
                  </a:lnTo>
                  <a:lnTo>
                    <a:pt x="1980" y="2013"/>
                  </a:lnTo>
                  <a:lnTo>
                    <a:pt x="1986" y="2010"/>
                  </a:lnTo>
                  <a:lnTo>
                    <a:pt x="1991" y="2008"/>
                  </a:lnTo>
                  <a:lnTo>
                    <a:pt x="1996" y="2005"/>
                  </a:lnTo>
                  <a:lnTo>
                    <a:pt x="2005" y="1998"/>
                  </a:lnTo>
                  <a:lnTo>
                    <a:pt x="2014" y="1990"/>
                  </a:lnTo>
                  <a:lnTo>
                    <a:pt x="2022" y="1981"/>
                  </a:lnTo>
                  <a:lnTo>
                    <a:pt x="2031" y="1973"/>
                  </a:lnTo>
                  <a:lnTo>
                    <a:pt x="2041" y="1965"/>
                  </a:lnTo>
                  <a:lnTo>
                    <a:pt x="2053" y="1959"/>
                  </a:lnTo>
                  <a:lnTo>
                    <a:pt x="2067" y="1952"/>
                  </a:lnTo>
                  <a:lnTo>
                    <a:pt x="2081" y="1947"/>
                  </a:lnTo>
                  <a:lnTo>
                    <a:pt x="2094" y="1940"/>
                  </a:lnTo>
                  <a:lnTo>
                    <a:pt x="2109" y="1934"/>
                  </a:lnTo>
                  <a:lnTo>
                    <a:pt x="2114" y="1929"/>
                  </a:lnTo>
                  <a:lnTo>
                    <a:pt x="2118" y="1925"/>
                  </a:lnTo>
                  <a:lnTo>
                    <a:pt x="2123" y="1921"/>
                  </a:lnTo>
                  <a:lnTo>
                    <a:pt x="2127" y="1917"/>
                  </a:lnTo>
                  <a:lnTo>
                    <a:pt x="2131" y="1911"/>
                  </a:lnTo>
                  <a:lnTo>
                    <a:pt x="2136" y="1907"/>
                  </a:lnTo>
                  <a:lnTo>
                    <a:pt x="2141" y="1904"/>
                  </a:lnTo>
                  <a:lnTo>
                    <a:pt x="2148" y="1900"/>
                  </a:lnTo>
                  <a:lnTo>
                    <a:pt x="2170" y="1893"/>
                  </a:lnTo>
                  <a:lnTo>
                    <a:pt x="2192" y="1885"/>
                  </a:lnTo>
                  <a:lnTo>
                    <a:pt x="2197" y="1882"/>
                  </a:lnTo>
                  <a:lnTo>
                    <a:pt x="2202" y="1880"/>
                  </a:lnTo>
                  <a:lnTo>
                    <a:pt x="2205" y="1877"/>
                  </a:lnTo>
                  <a:lnTo>
                    <a:pt x="2208" y="1873"/>
                  </a:lnTo>
                  <a:lnTo>
                    <a:pt x="2211" y="1869"/>
                  </a:lnTo>
                  <a:lnTo>
                    <a:pt x="2214" y="1865"/>
                  </a:lnTo>
                  <a:lnTo>
                    <a:pt x="2215" y="1860"/>
                  </a:lnTo>
                  <a:lnTo>
                    <a:pt x="2215" y="1855"/>
                  </a:lnTo>
                  <a:lnTo>
                    <a:pt x="2215" y="1844"/>
                  </a:lnTo>
                  <a:lnTo>
                    <a:pt x="2215" y="1836"/>
                  </a:lnTo>
                  <a:lnTo>
                    <a:pt x="2215" y="1827"/>
                  </a:lnTo>
                  <a:lnTo>
                    <a:pt x="2215" y="1817"/>
                  </a:lnTo>
                  <a:lnTo>
                    <a:pt x="2215" y="1805"/>
                  </a:lnTo>
                  <a:lnTo>
                    <a:pt x="2216" y="1796"/>
                  </a:lnTo>
                  <a:lnTo>
                    <a:pt x="2218" y="1786"/>
                  </a:lnTo>
                  <a:lnTo>
                    <a:pt x="2220" y="1777"/>
                  </a:lnTo>
                  <a:lnTo>
                    <a:pt x="2223" y="1769"/>
                  </a:lnTo>
                  <a:lnTo>
                    <a:pt x="2228" y="1760"/>
                  </a:lnTo>
                  <a:lnTo>
                    <a:pt x="2233" y="1751"/>
                  </a:lnTo>
                  <a:lnTo>
                    <a:pt x="2239" y="1743"/>
                  </a:lnTo>
                  <a:lnTo>
                    <a:pt x="2244" y="1739"/>
                  </a:lnTo>
                  <a:lnTo>
                    <a:pt x="2247" y="1737"/>
                  </a:lnTo>
                  <a:lnTo>
                    <a:pt x="2251" y="1735"/>
                  </a:lnTo>
                  <a:lnTo>
                    <a:pt x="2256" y="1734"/>
                  </a:lnTo>
                  <a:lnTo>
                    <a:pt x="2264" y="1734"/>
                  </a:lnTo>
                  <a:lnTo>
                    <a:pt x="2273" y="1734"/>
                  </a:lnTo>
                  <a:lnTo>
                    <a:pt x="2283" y="1735"/>
                  </a:lnTo>
                  <a:lnTo>
                    <a:pt x="2292" y="1735"/>
                  </a:lnTo>
                  <a:lnTo>
                    <a:pt x="2297" y="1734"/>
                  </a:lnTo>
                  <a:lnTo>
                    <a:pt x="2301" y="1733"/>
                  </a:lnTo>
                  <a:lnTo>
                    <a:pt x="2305" y="1732"/>
                  </a:lnTo>
                  <a:lnTo>
                    <a:pt x="2310" y="1729"/>
                  </a:lnTo>
                  <a:lnTo>
                    <a:pt x="2315" y="1724"/>
                  </a:lnTo>
                  <a:lnTo>
                    <a:pt x="2319" y="1719"/>
                  </a:lnTo>
                  <a:lnTo>
                    <a:pt x="2322" y="1713"/>
                  </a:lnTo>
                  <a:lnTo>
                    <a:pt x="2324" y="1708"/>
                  </a:lnTo>
                  <a:lnTo>
                    <a:pt x="2327" y="1695"/>
                  </a:lnTo>
                  <a:lnTo>
                    <a:pt x="2332" y="1681"/>
                  </a:lnTo>
                  <a:lnTo>
                    <a:pt x="2340" y="1670"/>
                  </a:lnTo>
                  <a:lnTo>
                    <a:pt x="2349" y="1661"/>
                  </a:lnTo>
                  <a:lnTo>
                    <a:pt x="2357" y="1652"/>
                  </a:lnTo>
                  <a:lnTo>
                    <a:pt x="2366" y="1642"/>
                  </a:lnTo>
                  <a:lnTo>
                    <a:pt x="2376" y="1632"/>
                  </a:lnTo>
                  <a:lnTo>
                    <a:pt x="2385" y="1624"/>
                  </a:lnTo>
                  <a:lnTo>
                    <a:pt x="2394" y="1616"/>
                  </a:lnTo>
                  <a:lnTo>
                    <a:pt x="2404" y="1609"/>
                  </a:lnTo>
                  <a:lnTo>
                    <a:pt x="2412" y="1601"/>
                  </a:lnTo>
                  <a:lnTo>
                    <a:pt x="2420" y="1593"/>
                  </a:lnTo>
                  <a:lnTo>
                    <a:pt x="2423" y="1587"/>
                  </a:lnTo>
                  <a:lnTo>
                    <a:pt x="2425" y="1582"/>
                  </a:lnTo>
                  <a:lnTo>
                    <a:pt x="2428" y="1576"/>
                  </a:lnTo>
                  <a:lnTo>
                    <a:pt x="2431" y="1570"/>
                  </a:lnTo>
                  <a:lnTo>
                    <a:pt x="2436" y="1551"/>
                  </a:lnTo>
                  <a:lnTo>
                    <a:pt x="2441" y="1535"/>
                  </a:lnTo>
                  <a:lnTo>
                    <a:pt x="2447" y="1519"/>
                  </a:lnTo>
                  <a:lnTo>
                    <a:pt x="2453" y="1502"/>
                  </a:lnTo>
                  <a:lnTo>
                    <a:pt x="2459" y="1486"/>
                  </a:lnTo>
                  <a:lnTo>
                    <a:pt x="2464" y="1470"/>
                  </a:lnTo>
                  <a:lnTo>
                    <a:pt x="2468" y="1464"/>
                  </a:lnTo>
                  <a:lnTo>
                    <a:pt x="2473" y="1459"/>
                  </a:lnTo>
                  <a:lnTo>
                    <a:pt x="2476" y="1458"/>
                  </a:lnTo>
                  <a:lnTo>
                    <a:pt x="2479" y="1455"/>
                  </a:lnTo>
                  <a:lnTo>
                    <a:pt x="2482" y="1454"/>
                  </a:lnTo>
                  <a:lnTo>
                    <a:pt x="2487" y="1454"/>
                  </a:lnTo>
                  <a:lnTo>
                    <a:pt x="2498" y="1456"/>
                  </a:lnTo>
                  <a:lnTo>
                    <a:pt x="2509" y="1460"/>
                  </a:lnTo>
                  <a:lnTo>
                    <a:pt x="2515" y="1448"/>
                  </a:lnTo>
                  <a:lnTo>
                    <a:pt x="2519" y="1437"/>
                  </a:lnTo>
                  <a:lnTo>
                    <a:pt x="2521" y="1425"/>
                  </a:lnTo>
                  <a:lnTo>
                    <a:pt x="2521" y="1412"/>
                  </a:lnTo>
                  <a:lnTo>
                    <a:pt x="2521" y="1404"/>
                  </a:lnTo>
                  <a:lnTo>
                    <a:pt x="2521" y="1395"/>
                  </a:lnTo>
                  <a:lnTo>
                    <a:pt x="2521" y="1387"/>
                  </a:lnTo>
                  <a:lnTo>
                    <a:pt x="2521" y="1379"/>
                  </a:lnTo>
                  <a:lnTo>
                    <a:pt x="2515" y="1375"/>
                  </a:lnTo>
                  <a:lnTo>
                    <a:pt x="2509" y="1373"/>
                  </a:lnTo>
                  <a:lnTo>
                    <a:pt x="2505" y="1373"/>
                  </a:lnTo>
                  <a:lnTo>
                    <a:pt x="2503" y="1374"/>
                  </a:lnTo>
                  <a:lnTo>
                    <a:pt x="2500" y="1377"/>
                  </a:lnTo>
                  <a:lnTo>
                    <a:pt x="2498" y="1379"/>
                  </a:lnTo>
                  <a:lnTo>
                    <a:pt x="2492" y="1383"/>
                  </a:lnTo>
                  <a:lnTo>
                    <a:pt x="2487" y="1387"/>
                  </a:lnTo>
                  <a:lnTo>
                    <a:pt x="2471" y="1394"/>
                  </a:lnTo>
                  <a:lnTo>
                    <a:pt x="2454" y="1398"/>
                  </a:lnTo>
                  <a:lnTo>
                    <a:pt x="2438" y="1400"/>
                  </a:lnTo>
                  <a:lnTo>
                    <a:pt x="2421" y="1401"/>
                  </a:lnTo>
                  <a:lnTo>
                    <a:pt x="2409" y="1400"/>
                  </a:lnTo>
                  <a:lnTo>
                    <a:pt x="2399" y="1398"/>
                  </a:lnTo>
                  <a:lnTo>
                    <a:pt x="2391" y="1394"/>
                  </a:lnTo>
                  <a:lnTo>
                    <a:pt x="2382" y="1389"/>
                  </a:lnTo>
                  <a:lnTo>
                    <a:pt x="2366" y="1377"/>
                  </a:lnTo>
                  <a:lnTo>
                    <a:pt x="2350" y="1362"/>
                  </a:lnTo>
                  <a:lnTo>
                    <a:pt x="2340" y="1354"/>
                  </a:lnTo>
                  <a:lnTo>
                    <a:pt x="2330" y="1347"/>
                  </a:lnTo>
                  <a:lnTo>
                    <a:pt x="2320" y="1341"/>
                  </a:lnTo>
                  <a:lnTo>
                    <a:pt x="2311" y="1337"/>
                  </a:lnTo>
                  <a:lnTo>
                    <a:pt x="2290" y="1327"/>
                  </a:lnTo>
                  <a:lnTo>
                    <a:pt x="2268" y="1314"/>
                  </a:lnTo>
                  <a:lnTo>
                    <a:pt x="2268" y="1326"/>
                  </a:lnTo>
                  <a:lnTo>
                    <a:pt x="2268" y="1335"/>
                  </a:lnTo>
                  <a:lnTo>
                    <a:pt x="2268" y="1344"/>
                  </a:lnTo>
                  <a:lnTo>
                    <a:pt x="2268" y="1356"/>
                  </a:lnTo>
                  <a:lnTo>
                    <a:pt x="2270" y="1372"/>
                  </a:lnTo>
                  <a:lnTo>
                    <a:pt x="2272" y="1387"/>
                  </a:lnTo>
                  <a:lnTo>
                    <a:pt x="2275" y="1402"/>
                  </a:lnTo>
                  <a:lnTo>
                    <a:pt x="2276" y="1420"/>
                  </a:lnTo>
                  <a:lnTo>
                    <a:pt x="2276" y="1424"/>
                  </a:lnTo>
                  <a:lnTo>
                    <a:pt x="2275" y="1428"/>
                  </a:lnTo>
                  <a:lnTo>
                    <a:pt x="2273" y="1433"/>
                  </a:lnTo>
                  <a:lnTo>
                    <a:pt x="2271" y="1436"/>
                  </a:lnTo>
                  <a:lnTo>
                    <a:pt x="2265" y="1442"/>
                  </a:lnTo>
                  <a:lnTo>
                    <a:pt x="2259" y="1448"/>
                  </a:lnTo>
                  <a:lnTo>
                    <a:pt x="2251" y="1453"/>
                  </a:lnTo>
                  <a:lnTo>
                    <a:pt x="2244" y="1459"/>
                  </a:lnTo>
                  <a:lnTo>
                    <a:pt x="2235" y="1464"/>
                  </a:lnTo>
                  <a:lnTo>
                    <a:pt x="2229" y="1472"/>
                  </a:lnTo>
                  <a:lnTo>
                    <a:pt x="2223" y="1479"/>
                  </a:lnTo>
                  <a:lnTo>
                    <a:pt x="2219" y="1486"/>
                  </a:lnTo>
                  <a:lnTo>
                    <a:pt x="2217" y="1493"/>
                  </a:lnTo>
                  <a:lnTo>
                    <a:pt x="2215" y="1501"/>
                  </a:lnTo>
                  <a:lnTo>
                    <a:pt x="2210" y="1517"/>
                  </a:lnTo>
                  <a:lnTo>
                    <a:pt x="2204" y="1533"/>
                  </a:lnTo>
                  <a:lnTo>
                    <a:pt x="2199" y="1540"/>
                  </a:lnTo>
                  <a:lnTo>
                    <a:pt x="2194" y="1545"/>
                  </a:lnTo>
                  <a:lnTo>
                    <a:pt x="2190" y="1549"/>
                  </a:lnTo>
                  <a:lnTo>
                    <a:pt x="2184" y="1554"/>
                  </a:lnTo>
                  <a:lnTo>
                    <a:pt x="2179" y="1558"/>
                  </a:lnTo>
                  <a:lnTo>
                    <a:pt x="2174" y="1563"/>
                  </a:lnTo>
                  <a:lnTo>
                    <a:pt x="2168" y="1569"/>
                  </a:lnTo>
                  <a:lnTo>
                    <a:pt x="2164" y="1575"/>
                  </a:lnTo>
                  <a:lnTo>
                    <a:pt x="2158" y="1586"/>
                  </a:lnTo>
                  <a:lnTo>
                    <a:pt x="2154" y="1597"/>
                  </a:lnTo>
                  <a:lnTo>
                    <a:pt x="2150" y="1607"/>
                  </a:lnTo>
                  <a:lnTo>
                    <a:pt x="2147" y="1617"/>
                  </a:lnTo>
                  <a:lnTo>
                    <a:pt x="2140" y="1638"/>
                  </a:lnTo>
                  <a:lnTo>
                    <a:pt x="2136" y="1657"/>
                  </a:lnTo>
                  <a:lnTo>
                    <a:pt x="2131" y="1677"/>
                  </a:lnTo>
                  <a:lnTo>
                    <a:pt x="2126" y="1697"/>
                  </a:lnTo>
                  <a:lnTo>
                    <a:pt x="2123" y="1708"/>
                  </a:lnTo>
                  <a:lnTo>
                    <a:pt x="2118" y="1719"/>
                  </a:lnTo>
                  <a:lnTo>
                    <a:pt x="2114" y="1730"/>
                  </a:lnTo>
                  <a:lnTo>
                    <a:pt x="2109" y="1740"/>
                  </a:lnTo>
                  <a:lnTo>
                    <a:pt x="2103" y="1748"/>
                  </a:lnTo>
                  <a:lnTo>
                    <a:pt x="2099" y="1755"/>
                  </a:lnTo>
                  <a:lnTo>
                    <a:pt x="2094" y="1761"/>
                  </a:lnTo>
                  <a:lnTo>
                    <a:pt x="2088" y="1766"/>
                  </a:lnTo>
                  <a:lnTo>
                    <a:pt x="2075" y="1775"/>
                  </a:lnTo>
                  <a:lnTo>
                    <a:pt x="2062" y="1783"/>
                  </a:lnTo>
                  <a:lnTo>
                    <a:pt x="2032" y="1794"/>
                  </a:lnTo>
                  <a:lnTo>
                    <a:pt x="1999" y="1807"/>
                  </a:lnTo>
                  <a:lnTo>
                    <a:pt x="1988" y="1813"/>
                  </a:lnTo>
                  <a:lnTo>
                    <a:pt x="1978" y="1818"/>
                  </a:lnTo>
                  <a:lnTo>
                    <a:pt x="1969" y="1824"/>
                  </a:lnTo>
                  <a:lnTo>
                    <a:pt x="1961" y="1829"/>
                  </a:lnTo>
                  <a:lnTo>
                    <a:pt x="1946" y="1841"/>
                  </a:lnTo>
                  <a:lnTo>
                    <a:pt x="1932" y="1854"/>
                  </a:lnTo>
                  <a:lnTo>
                    <a:pt x="1904" y="1883"/>
                  </a:lnTo>
                  <a:lnTo>
                    <a:pt x="1873" y="1914"/>
                  </a:lnTo>
                  <a:lnTo>
                    <a:pt x="1853" y="1931"/>
                  </a:lnTo>
                  <a:lnTo>
                    <a:pt x="1833" y="1945"/>
                  </a:lnTo>
                  <a:lnTo>
                    <a:pt x="1826" y="1952"/>
                  </a:lnTo>
                  <a:lnTo>
                    <a:pt x="1819" y="1962"/>
                  </a:lnTo>
                  <a:lnTo>
                    <a:pt x="1817" y="1966"/>
                  </a:lnTo>
                  <a:lnTo>
                    <a:pt x="1815" y="1972"/>
                  </a:lnTo>
                  <a:lnTo>
                    <a:pt x="1814" y="1978"/>
                  </a:lnTo>
                  <a:lnTo>
                    <a:pt x="1814" y="1985"/>
                  </a:lnTo>
                  <a:lnTo>
                    <a:pt x="1815" y="1993"/>
                  </a:lnTo>
                  <a:lnTo>
                    <a:pt x="1817" y="2001"/>
                  </a:lnTo>
                  <a:lnTo>
                    <a:pt x="1820" y="2007"/>
                  </a:lnTo>
                  <a:lnTo>
                    <a:pt x="1825" y="2014"/>
                  </a:lnTo>
                  <a:lnTo>
                    <a:pt x="1829" y="2020"/>
                  </a:lnTo>
                  <a:lnTo>
                    <a:pt x="1833" y="2027"/>
                  </a:lnTo>
                  <a:lnTo>
                    <a:pt x="1837" y="2034"/>
                  </a:lnTo>
                  <a:lnTo>
                    <a:pt x="1839" y="2043"/>
                  </a:lnTo>
                  <a:lnTo>
                    <a:pt x="1843" y="2077"/>
                  </a:lnTo>
                  <a:lnTo>
                    <a:pt x="1845" y="2110"/>
                  </a:lnTo>
                  <a:lnTo>
                    <a:pt x="1846" y="2117"/>
                  </a:lnTo>
                  <a:lnTo>
                    <a:pt x="1848" y="2125"/>
                  </a:lnTo>
                  <a:lnTo>
                    <a:pt x="1851" y="2133"/>
                  </a:lnTo>
                  <a:lnTo>
                    <a:pt x="1854" y="2140"/>
                  </a:lnTo>
                  <a:lnTo>
                    <a:pt x="1857" y="2147"/>
                  </a:lnTo>
                  <a:lnTo>
                    <a:pt x="1861" y="2153"/>
                  </a:lnTo>
                  <a:lnTo>
                    <a:pt x="1867" y="2160"/>
                  </a:lnTo>
                  <a:lnTo>
                    <a:pt x="1873" y="2166"/>
                  </a:lnTo>
                  <a:lnTo>
                    <a:pt x="1870" y="2172"/>
                  </a:lnTo>
                  <a:lnTo>
                    <a:pt x="1867" y="2178"/>
                  </a:lnTo>
                  <a:lnTo>
                    <a:pt x="1864" y="2183"/>
                  </a:lnTo>
                  <a:lnTo>
                    <a:pt x="1859" y="2189"/>
                  </a:lnTo>
                  <a:lnTo>
                    <a:pt x="1851" y="2197"/>
                  </a:lnTo>
                  <a:lnTo>
                    <a:pt x="1842" y="2205"/>
                  </a:lnTo>
                  <a:lnTo>
                    <a:pt x="1832" y="2212"/>
                  </a:lnTo>
                  <a:lnTo>
                    <a:pt x="1824" y="2221"/>
                  </a:lnTo>
                  <a:lnTo>
                    <a:pt x="1816" y="2230"/>
                  </a:lnTo>
                  <a:lnTo>
                    <a:pt x="1809" y="2242"/>
                  </a:lnTo>
                  <a:lnTo>
                    <a:pt x="1799" y="2260"/>
                  </a:lnTo>
                  <a:lnTo>
                    <a:pt x="1791" y="2278"/>
                  </a:lnTo>
                  <a:lnTo>
                    <a:pt x="1784" y="2296"/>
                  </a:lnTo>
                  <a:lnTo>
                    <a:pt x="1778" y="2312"/>
                  </a:lnTo>
                  <a:lnTo>
                    <a:pt x="1766" y="2344"/>
                  </a:lnTo>
                  <a:lnTo>
                    <a:pt x="1757" y="2377"/>
                  </a:lnTo>
                  <a:lnTo>
                    <a:pt x="1746" y="2408"/>
                  </a:lnTo>
                  <a:lnTo>
                    <a:pt x="1734" y="2440"/>
                  </a:lnTo>
                  <a:lnTo>
                    <a:pt x="1726" y="2457"/>
                  </a:lnTo>
                  <a:lnTo>
                    <a:pt x="1719" y="2474"/>
                  </a:lnTo>
                  <a:lnTo>
                    <a:pt x="1709" y="2490"/>
                  </a:lnTo>
                  <a:lnTo>
                    <a:pt x="1699" y="2508"/>
                  </a:lnTo>
                  <a:lnTo>
                    <a:pt x="1692" y="2519"/>
                  </a:lnTo>
                  <a:lnTo>
                    <a:pt x="1684" y="2529"/>
                  </a:lnTo>
                  <a:lnTo>
                    <a:pt x="1677" y="2539"/>
                  </a:lnTo>
                  <a:lnTo>
                    <a:pt x="1671" y="2550"/>
                  </a:lnTo>
                  <a:lnTo>
                    <a:pt x="1669" y="2557"/>
                  </a:lnTo>
                  <a:lnTo>
                    <a:pt x="1669" y="2563"/>
                  </a:lnTo>
                  <a:lnTo>
                    <a:pt x="1669" y="2567"/>
                  </a:lnTo>
                  <a:lnTo>
                    <a:pt x="1669" y="2570"/>
                  </a:lnTo>
                  <a:lnTo>
                    <a:pt x="1667" y="2573"/>
                  </a:lnTo>
                  <a:lnTo>
                    <a:pt x="1666" y="2575"/>
                  </a:lnTo>
                  <a:lnTo>
                    <a:pt x="1641" y="2596"/>
                  </a:lnTo>
                  <a:lnTo>
                    <a:pt x="1621" y="2615"/>
                  </a:lnTo>
                  <a:lnTo>
                    <a:pt x="1600" y="2634"/>
                  </a:lnTo>
                  <a:lnTo>
                    <a:pt x="1581" y="2651"/>
                  </a:lnTo>
                  <a:lnTo>
                    <a:pt x="1560" y="2667"/>
                  </a:lnTo>
                  <a:lnTo>
                    <a:pt x="1538" y="2682"/>
                  </a:lnTo>
                  <a:lnTo>
                    <a:pt x="1514" y="2698"/>
                  </a:lnTo>
                  <a:lnTo>
                    <a:pt x="1486" y="2712"/>
                  </a:lnTo>
                  <a:lnTo>
                    <a:pt x="1460" y="2727"/>
                  </a:lnTo>
                  <a:lnTo>
                    <a:pt x="1437" y="2739"/>
                  </a:lnTo>
                  <a:lnTo>
                    <a:pt x="1426" y="2747"/>
                  </a:lnTo>
                  <a:lnTo>
                    <a:pt x="1415" y="2756"/>
                  </a:lnTo>
                  <a:lnTo>
                    <a:pt x="1405" y="2764"/>
                  </a:lnTo>
                  <a:lnTo>
                    <a:pt x="1394" y="2774"/>
                  </a:lnTo>
                  <a:lnTo>
                    <a:pt x="1394" y="2774"/>
                  </a:lnTo>
                  <a:lnTo>
                    <a:pt x="1358" y="2671"/>
                  </a:lnTo>
                  <a:lnTo>
                    <a:pt x="1356" y="2658"/>
                  </a:lnTo>
                  <a:lnTo>
                    <a:pt x="1353" y="2647"/>
                  </a:lnTo>
                  <a:lnTo>
                    <a:pt x="1351" y="2635"/>
                  </a:lnTo>
                  <a:lnTo>
                    <a:pt x="1349" y="2621"/>
                  </a:lnTo>
                  <a:lnTo>
                    <a:pt x="1351" y="2604"/>
                  </a:lnTo>
                  <a:lnTo>
                    <a:pt x="1354" y="2589"/>
                  </a:lnTo>
                  <a:lnTo>
                    <a:pt x="1355" y="2575"/>
                  </a:lnTo>
                  <a:lnTo>
                    <a:pt x="1358" y="2562"/>
                  </a:lnTo>
                  <a:lnTo>
                    <a:pt x="1361" y="2548"/>
                  </a:lnTo>
                  <a:lnTo>
                    <a:pt x="1366" y="2536"/>
                  </a:lnTo>
                  <a:lnTo>
                    <a:pt x="1369" y="2525"/>
                  </a:lnTo>
                  <a:lnTo>
                    <a:pt x="1374" y="2512"/>
                  </a:lnTo>
                  <a:lnTo>
                    <a:pt x="1378" y="2504"/>
                  </a:lnTo>
                  <a:lnTo>
                    <a:pt x="1382" y="2496"/>
                  </a:lnTo>
                  <a:lnTo>
                    <a:pt x="1394" y="2484"/>
                  </a:lnTo>
                  <a:lnTo>
                    <a:pt x="1405" y="2471"/>
                  </a:lnTo>
                  <a:lnTo>
                    <a:pt x="1407" y="2467"/>
                  </a:lnTo>
                  <a:lnTo>
                    <a:pt x="1410" y="2464"/>
                  </a:lnTo>
                  <a:lnTo>
                    <a:pt x="1414" y="2461"/>
                  </a:lnTo>
                  <a:lnTo>
                    <a:pt x="1420" y="2458"/>
                  </a:lnTo>
                  <a:lnTo>
                    <a:pt x="1424" y="2454"/>
                  </a:lnTo>
                  <a:lnTo>
                    <a:pt x="1429" y="2450"/>
                  </a:lnTo>
                  <a:lnTo>
                    <a:pt x="1439" y="2435"/>
                  </a:lnTo>
                  <a:lnTo>
                    <a:pt x="1449" y="2420"/>
                  </a:lnTo>
                  <a:lnTo>
                    <a:pt x="1452" y="2417"/>
                  </a:lnTo>
                  <a:lnTo>
                    <a:pt x="1455" y="2413"/>
                  </a:lnTo>
                  <a:lnTo>
                    <a:pt x="1455" y="2411"/>
                  </a:lnTo>
                  <a:lnTo>
                    <a:pt x="1455" y="2409"/>
                  </a:lnTo>
                  <a:lnTo>
                    <a:pt x="1456" y="2408"/>
                  </a:lnTo>
                  <a:lnTo>
                    <a:pt x="1457" y="2407"/>
                  </a:lnTo>
                  <a:lnTo>
                    <a:pt x="1459" y="2404"/>
                  </a:lnTo>
                  <a:lnTo>
                    <a:pt x="1460" y="2399"/>
                  </a:lnTo>
                  <a:lnTo>
                    <a:pt x="1463" y="2390"/>
                  </a:lnTo>
                  <a:lnTo>
                    <a:pt x="1464" y="2380"/>
                  </a:lnTo>
                  <a:lnTo>
                    <a:pt x="1462" y="2367"/>
                  </a:lnTo>
                  <a:lnTo>
                    <a:pt x="1459" y="2357"/>
                  </a:lnTo>
                  <a:lnTo>
                    <a:pt x="1455" y="2346"/>
                  </a:lnTo>
                  <a:lnTo>
                    <a:pt x="1454" y="2333"/>
                  </a:lnTo>
                  <a:lnTo>
                    <a:pt x="1453" y="2325"/>
                  </a:lnTo>
                  <a:lnTo>
                    <a:pt x="1452" y="2316"/>
                  </a:lnTo>
                  <a:lnTo>
                    <a:pt x="1450" y="2309"/>
                  </a:lnTo>
                  <a:lnTo>
                    <a:pt x="1446" y="2302"/>
                  </a:lnTo>
                  <a:lnTo>
                    <a:pt x="1442" y="2296"/>
                  </a:lnTo>
                  <a:lnTo>
                    <a:pt x="1437" y="2289"/>
                  </a:lnTo>
                  <a:lnTo>
                    <a:pt x="1432" y="2284"/>
                  </a:lnTo>
                  <a:lnTo>
                    <a:pt x="1426" y="2277"/>
                  </a:lnTo>
                  <a:lnTo>
                    <a:pt x="1413" y="2266"/>
                  </a:lnTo>
                  <a:lnTo>
                    <a:pt x="1400" y="2256"/>
                  </a:lnTo>
                  <a:lnTo>
                    <a:pt x="1386" y="2244"/>
                  </a:lnTo>
                  <a:lnTo>
                    <a:pt x="1374" y="2231"/>
                  </a:lnTo>
                  <a:lnTo>
                    <a:pt x="1368" y="2223"/>
                  </a:lnTo>
                  <a:lnTo>
                    <a:pt x="1364" y="2216"/>
                  </a:lnTo>
                  <a:lnTo>
                    <a:pt x="1359" y="2208"/>
                  </a:lnTo>
                  <a:lnTo>
                    <a:pt x="1356" y="2199"/>
                  </a:lnTo>
                  <a:lnTo>
                    <a:pt x="1351" y="2183"/>
                  </a:lnTo>
                  <a:lnTo>
                    <a:pt x="1346" y="2167"/>
                  </a:lnTo>
                  <a:lnTo>
                    <a:pt x="1341" y="2152"/>
                  </a:lnTo>
                  <a:lnTo>
                    <a:pt x="1333" y="2138"/>
                  </a:lnTo>
                  <a:lnTo>
                    <a:pt x="1329" y="2130"/>
                  </a:lnTo>
                  <a:lnTo>
                    <a:pt x="1324" y="2124"/>
                  </a:lnTo>
                  <a:lnTo>
                    <a:pt x="1317" y="2118"/>
                  </a:lnTo>
                  <a:lnTo>
                    <a:pt x="1310" y="2113"/>
                  </a:lnTo>
                  <a:lnTo>
                    <a:pt x="1291" y="2103"/>
                  </a:lnTo>
                  <a:lnTo>
                    <a:pt x="1274" y="2095"/>
                  </a:lnTo>
                  <a:lnTo>
                    <a:pt x="1258" y="2088"/>
                  </a:lnTo>
                  <a:lnTo>
                    <a:pt x="1241" y="2081"/>
                  </a:lnTo>
                  <a:lnTo>
                    <a:pt x="1225" y="2074"/>
                  </a:lnTo>
                  <a:lnTo>
                    <a:pt x="1210" y="2064"/>
                  </a:lnTo>
                  <a:lnTo>
                    <a:pt x="1203" y="2060"/>
                  </a:lnTo>
                  <a:lnTo>
                    <a:pt x="1195" y="2054"/>
                  </a:lnTo>
                  <a:lnTo>
                    <a:pt x="1187" y="2047"/>
                  </a:lnTo>
                  <a:lnTo>
                    <a:pt x="1181" y="2040"/>
                  </a:lnTo>
                  <a:lnTo>
                    <a:pt x="1150" y="2006"/>
                  </a:lnTo>
                  <a:lnTo>
                    <a:pt x="1122" y="1977"/>
                  </a:lnTo>
                  <a:lnTo>
                    <a:pt x="1093" y="1950"/>
                  </a:lnTo>
                  <a:lnTo>
                    <a:pt x="1060" y="1920"/>
                  </a:lnTo>
                  <a:lnTo>
                    <a:pt x="1055" y="1914"/>
                  </a:lnTo>
                  <a:lnTo>
                    <a:pt x="1050" y="1909"/>
                  </a:lnTo>
                  <a:lnTo>
                    <a:pt x="1047" y="1904"/>
                  </a:lnTo>
                  <a:lnTo>
                    <a:pt x="1045" y="1897"/>
                  </a:lnTo>
                  <a:lnTo>
                    <a:pt x="1041" y="1885"/>
                  </a:lnTo>
                  <a:lnTo>
                    <a:pt x="1037" y="1872"/>
                  </a:lnTo>
                  <a:lnTo>
                    <a:pt x="1034" y="1859"/>
                  </a:lnTo>
                  <a:lnTo>
                    <a:pt x="1030" y="1847"/>
                  </a:lnTo>
                  <a:lnTo>
                    <a:pt x="1027" y="1842"/>
                  </a:lnTo>
                  <a:lnTo>
                    <a:pt x="1023" y="1837"/>
                  </a:lnTo>
                  <a:lnTo>
                    <a:pt x="1018" y="1831"/>
                  </a:lnTo>
                  <a:lnTo>
                    <a:pt x="1012" y="1827"/>
                  </a:lnTo>
                  <a:lnTo>
                    <a:pt x="988" y="1813"/>
                  </a:lnTo>
                  <a:lnTo>
                    <a:pt x="965" y="1801"/>
                  </a:lnTo>
                  <a:lnTo>
                    <a:pt x="941" y="1791"/>
                  </a:lnTo>
                  <a:lnTo>
                    <a:pt x="914" y="1779"/>
                  </a:lnTo>
                  <a:lnTo>
                    <a:pt x="907" y="1777"/>
                  </a:lnTo>
                  <a:lnTo>
                    <a:pt x="900" y="1776"/>
                  </a:lnTo>
                  <a:lnTo>
                    <a:pt x="894" y="1776"/>
                  </a:lnTo>
                  <a:lnTo>
                    <a:pt x="886" y="1777"/>
                  </a:lnTo>
                  <a:lnTo>
                    <a:pt x="880" y="1778"/>
                  </a:lnTo>
                  <a:lnTo>
                    <a:pt x="873" y="1778"/>
                  </a:lnTo>
                  <a:lnTo>
                    <a:pt x="866" y="1778"/>
                  </a:lnTo>
                  <a:lnTo>
                    <a:pt x="858" y="1777"/>
                  </a:lnTo>
                  <a:lnTo>
                    <a:pt x="846" y="1774"/>
                  </a:lnTo>
                  <a:lnTo>
                    <a:pt x="834" y="1772"/>
                  </a:lnTo>
                  <a:lnTo>
                    <a:pt x="829" y="1771"/>
                  </a:lnTo>
                  <a:lnTo>
                    <a:pt x="823" y="1769"/>
                  </a:lnTo>
                  <a:lnTo>
                    <a:pt x="819" y="1766"/>
                  </a:lnTo>
                  <a:lnTo>
                    <a:pt x="814" y="1763"/>
                  </a:lnTo>
                  <a:lnTo>
                    <a:pt x="809" y="1758"/>
                  </a:lnTo>
                  <a:lnTo>
                    <a:pt x="806" y="1753"/>
                  </a:lnTo>
                  <a:lnTo>
                    <a:pt x="804" y="1748"/>
                  </a:lnTo>
                  <a:lnTo>
                    <a:pt x="803" y="1743"/>
                  </a:lnTo>
                  <a:lnTo>
                    <a:pt x="802" y="1731"/>
                  </a:lnTo>
                  <a:lnTo>
                    <a:pt x="800" y="1718"/>
                  </a:lnTo>
                  <a:lnTo>
                    <a:pt x="795" y="1708"/>
                  </a:lnTo>
                  <a:lnTo>
                    <a:pt x="790" y="1699"/>
                  </a:lnTo>
                  <a:lnTo>
                    <a:pt x="785" y="1691"/>
                  </a:lnTo>
                  <a:lnTo>
                    <a:pt x="779" y="1684"/>
                  </a:lnTo>
                  <a:lnTo>
                    <a:pt x="765" y="1670"/>
                  </a:lnTo>
                  <a:lnTo>
                    <a:pt x="752" y="1653"/>
                  </a:lnTo>
                  <a:lnTo>
                    <a:pt x="742" y="1640"/>
                  </a:lnTo>
                  <a:lnTo>
                    <a:pt x="734" y="1628"/>
                  </a:lnTo>
                  <a:lnTo>
                    <a:pt x="725" y="1616"/>
                  </a:lnTo>
                  <a:lnTo>
                    <a:pt x="715" y="1605"/>
                  </a:lnTo>
                  <a:lnTo>
                    <a:pt x="711" y="1601"/>
                  </a:lnTo>
                  <a:lnTo>
                    <a:pt x="706" y="1597"/>
                  </a:lnTo>
                  <a:lnTo>
                    <a:pt x="700" y="1593"/>
                  </a:lnTo>
                  <a:lnTo>
                    <a:pt x="694" y="1589"/>
                  </a:lnTo>
                  <a:lnTo>
                    <a:pt x="687" y="1587"/>
                  </a:lnTo>
                  <a:lnTo>
                    <a:pt x="681" y="1585"/>
                  </a:lnTo>
                  <a:lnTo>
                    <a:pt x="674" y="1584"/>
                  </a:lnTo>
                  <a:lnTo>
                    <a:pt x="666" y="1584"/>
                  </a:lnTo>
                  <a:lnTo>
                    <a:pt x="657" y="1584"/>
                  </a:lnTo>
                  <a:lnTo>
                    <a:pt x="649" y="1585"/>
                  </a:lnTo>
                  <a:lnTo>
                    <a:pt x="640" y="1588"/>
                  </a:lnTo>
                  <a:lnTo>
                    <a:pt x="632" y="1590"/>
                  </a:lnTo>
                  <a:lnTo>
                    <a:pt x="618" y="1598"/>
                  </a:lnTo>
                  <a:lnTo>
                    <a:pt x="605" y="1608"/>
                  </a:lnTo>
                  <a:lnTo>
                    <a:pt x="592" y="1616"/>
                  </a:lnTo>
                  <a:lnTo>
                    <a:pt x="577" y="1624"/>
                  </a:lnTo>
                  <a:lnTo>
                    <a:pt x="570" y="1627"/>
                  </a:lnTo>
                  <a:lnTo>
                    <a:pt x="562" y="1629"/>
                  </a:lnTo>
                  <a:lnTo>
                    <a:pt x="553" y="1630"/>
                  </a:lnTo>
                  <a:lnTo>
                    <a:pt x="544" y="1631"/>
                  </a:lnTo>
                  <a:lnTo>
                    <a:pt x="537" y="1630"/>
                  </a:lnTo>
                  <a:lnTo>
                    <a:pt x="532" y="1627"/>
                  </a:lnTo>
                  <a:lnTo>
                    <a:pt x="528" y="1623"/>
                  </a:lnTo>
                  <a:lnTo>
                    <a:pt x="524" y="1617"/>
                  </a:lnTo>
                  <a:lnTo>
                    <a:pt x="520" y="1603"/>
                  </a:lnTo>
                  <a:lnTo>
                    <a:pt x="517" y="1589"/>
                  </a:lnTo>
                  <a:lnTo>
                    <a:pt x="512" y="1576"/>
                  </a:lnTo>
                  <a:lnTo>
                    <a:pt x="507" y="1566"/>
                  </a:lnTo>
                  <a:lnTo>
                    <a:pt x="503" y="1554"/>
                  </a:lnTo>
                  <a:lnTo>
                    <a:pt x="499" y="1542"/>
                  </a:lnTo>
                  <a:lnTo>
                    <a:pt x="496" y="1522"/>
                  </a:lnTo>
                  <a:lnTo>
                    <a:pt x="492" y="1505"/>
                  </a:lnTo>
                  <a:lnTo>
                    <a:pt x="488" y="1490"/>
                  </a:lnTo>
                  <a:lnTo>
                    <a:pt x="481" y="1475"/>
                  </a:lnTo>
                  <a:lnTo>
                    <a:pt x="475" y="1460"/>
                  </a:lnTo>
                  <a:lnTo>
                    <a:pt x="466" y="1446"/>
                  </a:lnTo>
                  <a:lnTo>
                    <a:pt x="455" y="1432"/>
                  </a:lnTo>
                  <a:lnTo>
                    <a:pt x="443" y="1418"/>
                  </a:lnTo>
                  <a:lnTo>
                    <a:pt x="418" y="1392"/>
                  </a:lnTo>
                  <a:lnTo>
                    <a:pt x="395" y="1368"/>
                  </a:lnTo>
                  <a:lnTo>
                    <a:pt x="372" y="1345"/>
                  </a:lnTo>
                  <a:lnTo>
                    <a:pt x="345" y="1320"/>
                  </a:lnTo>
                  <a:lnTo>
                    <a:pt x="334" y="1311"/>
                  </a:lnTo>
                  <a:lnTo>
                    <a:pt x="323" y="1301"/>
                  </a:lnTo>
                  <a:lnTo>
                    <a:pt x="319" y="1297"/>
                  </a:lnTo>
                  <a:lnTo>
                    <a:pt x="316" y="1291"/>
                  </a:lnTo>
                  <a:lnTo>
                    <a:pt x="312" y="1285"/>
                  </a:lnTo>
                  <a:lnTo>
                    <a:pt x="309" y="1278"/>
                  </a:lnTo>
                  <a:lnTo>
                    <a:pt x="305" y="1267"/>
                  </a:lnTo>
                  <a:lnTo>
                    <a:pt x="301" y="1259"/>
                  </a:lnTo>
                  <a:lnTo>
                    <a:pt x="296" y="1249"/>
                  </a:lnTo>
                  <a:lnTo>
                    <a:pt x="291" y="1242"/>
                  </a:lnTo>
                  <a:lnTo>
                    <a:pt x="285" y="1234"/>
                  </a:lnTo>
                  <a:lnTo>
                    <a:pt x="277" y="1230"/>
                  </a:lnTo>
                  <a:lnTo>
                    <a:pt x="273" y="1227"/>
                  </a:lnTo>
                  <a:lnTo>
                    <a:pt x="268" y="1225"/>
                  </a:lnTo>
                  <a:lnTo>
                    <a:pt x="264" y="1225"/>
                  </a:lnTo>
                  <a:lnTo>
                    <a:pt x="259" y="1224"/>
                  </a:lnTo>
                  <a:lnTo>
                    <a:pt x="249" y="1225"/>
                  </a:lnTo>
                  <a:lnTo>
                    <a:pt x="239" y="1226"/>
                  </a:lnTo>
                  <a:lnTo>
                    <a:pt x="231" y="1227"/>
                  </a:lnTo>
                  <a:lnTo>
                    <a:pt x="222" y="1230"/>
                  </a:lnTo>
                  <a:lnTo>
                    <a:pt x="207" y="1234"/>
                  </a:lnTo>
                  <a:lnTo>
                    <a:pt x="192" y="1240"/>
                  </a:lnTo>
                  <a:lnTo>
                    <a:pt x="175" y="1246"/>
                  </a:lnTo>
                  <a:lnTo>
                    <a:pt x="160" y="1250"/>
                  </a:lnTo>
                  <a:lnTo>
                    <a:pt x="152" y="1252"/>
                  </a:lnTo>
                  <a:lnTo>
                    <a:pt x="143" y="1254"/>
                  </a:lnTo>
                  <a:lnTo>
                    <a:pt x="133" y="1256"/>
                  </a:lnTo>
                  <a:lnTo>
                    <a:pt x="124" y="1256"/>
                  </a:lnTo>
                  <a:lnTo>
                    <a:pt x="106" y="1254"/>
                  </a:lnTo>
                  <a:lnTo>
                    <a:pt x="90" y="1252"/>
                  </a:lnTo>
                  <a:lnTo>
                    <a:pt x="75" y="1248"/>
                  </a:lnTo>
                  <a:lnTo>
                    <a:pt x="61" y="1243"/>
                  </a:lnTo>
                  <a:lnTo>
                    <a:pt x="34" y="1229"/>
                  </a:lnTo>
                  <a:lnTo>
                    <a:pt x="5" y="1211"/>
                  </a:lnTo>
                  <a:lnTo>
                    <a:pt x="5" y="1211"/>
                  </a:lnTo>
                  <a:lnTo>
                    <a:pt x="3" y="1199"/>
                  </a:lnTo>
                  <a:lnTo>
                    <a:pt x="0" y="1188"/>
                  </a:lnTo>
                  <a:lnTo>
                    <a:pt x="2" y="1181"/>
                  </a:lnTo>
                  <a:lnTo>
                    <a:pt x="3" y="1176"/>
                  </a:lnTo>
                  <a:lnTo>
                    <a:pt x="5" y="1171"/>
                  </a:lnTo>
                  <a:lnTo>
                    <a:pt x="8" y="1167"/>
                  </a:lnTo>
                  <a:lnTo>
                    <a:pt x="11" y="1163"/>
                  </a:lnTo>
                  <a:lnTo>
                    <a:pt x="16" y="1159"/>
                  </a:lnTo>
                  <a:lnTo>
                    <a:pt x="21" y="1156"/>
                  </a:lnTo>
                  <a:lnTo>
                    <a:pt x="26" y="1154"/>
                  </a:lnTo>
                  <a:lnTo>
                    <a:pt x="50" y="1144"/>
                  </a:lnTo>
                  <a:lnTo>
                    <a:pt x="74" y="1132"/>
                  </a:lnTo>
                  <a:lnTo>
                    <a:pt x="84" y="1125"/>
                  </a:lnTo>
                  <a:lnTo>
                    <a:pt x="92" y="1117"/>
                  </a:lnTo>
                  <a:lnTo>
                    <a:pt x="99" y="1109"/>
                  </a:lnTo>
                  <a:lnTo>
                    <a:pt x="105" y="1100"/>
                  </a:lnTo>
                  <a:lnTo>
                    <a:pt x="117" y="1081"/>
                  </a:lnTo>
                  <a:lnTo>
                    <a:pt x="129" y="1059"/>
                  </a:lnTo>
                  <a:lnTo>
                    <a:pt x="139" y="1041"/>
                  </a:lnTo>
                  <a:lnTo>
                    <a:pt x="145" y="1023"/>
                  </a:lnTo>
                  <a:lnTo>
                    <a:pt x="150" y="1015"/>
                  </a:lnTo>
                  <a:lnTo>
                    <a:pt x="154" y="1007"/>
                  </a:lnTo>
                  <a:lnTo>
                    <a:pt x="160" y="1001"/>
                  </a:lnTo>
                  <a:lnTo>
                    <a:pt x="169" y="995"/>
                  </a:lnTo>
                  <a:lnTo>
                    <a:pt x="194" y="983"/>
                  </a:lnTo>
                  <a:lnTo>
                    <a:pt x="218" y="973"/>
                  </a:lnTo>
                  <a:lnTo>
                    <a:pt x="227" y="967"/>
                  </a:lnTo>
                  <a:lnTo>
                    <a:pt x="237" y="960"/>
                  </a:lnTo>
                  <a:lnTo>
                    <a:pt x="241" y="955"/>
                  </a:lnTo>
                  <a:lnTo>
                    <a:pt x="246" y="950"/>
                  </a:lnTo>
                  <a:lnTo>
                    <a:pt x="249" y="945"/>
                  </a:lnTo>
                  <a:lnTo>
                    <a:pt x="253" y="939"/>
                  </a:lnTo>
                  <a:lnTo>
                    <a:pt x="265" y="933"/>
                  </a:lnTo>
                  <a:lnTo>
                    <a:pt x="276" y="926"/>
                  </a:lnTo>
                  <a:lnTo>
                    <a:pt x="285" y="919"/>
                  </a:lnTo>
                  <a:lnTo>
                    <a:pt x="294" y="911"/>
                  </a:lnTo>
                  <a:lnTo>
                    <a:pt x="312" y="896"/>
                  </a:lnTo>
                  <a:lnTo>
                    <a:pt x="331" y="880"/>
                  </a:lnTo>
                  <a:lnTo>
                    <a:pt x="346" y="870"/>
                  </a:lnTo>
                  <a:lnTo>
                    <a:pt x="361" y="862"/>
                  </a:lnTo>
                  <a:lnTo>
                    <a:pt x="368" y="857"/>
                  </a:lnTo>
                  <a:lnTo>
                    <a:pt x="373" y="852"/>
                  </a:lnTo>
                  <a:lnTo>
                    <a:pt x="378" y="846"/>
                  </a:lnTo>
                  <a:lnTo>
                    <a:pt x="382" y="838"/>
                  </a:lnTo>
                  <a:lnTo>
                    <a:pt x="384" y="830"/>
                  </a:lnTo>
                  <a:lnTo>
                    <a:pt x="385" y="821"/>
                  </a:lnTo>
                  <a:lnTo>
                    <a:pt x="385" y="814"/>
                  </a:lnTo>
                  <a:lnTo>
                    <a:pt x="385" y="806"/>
                  </a:lnTo>
                  <a:lnTo>
                    <a:pt x="385" y="799"/>
                  </a:lnTo>
                  <a:lnTo>
                    <a:pt x="386" y="791"/>
                  </a:lnTo>
                  <a:lnTo>
                    <a:pt x="389" y="784"/>
                  </a:lnTo>
                  <a:lnTo>
                    <a:pt x="393" y="776"/>
                  </a:lnTo>
                  <a:lnTo>
                    <a:pt x="397" y="771"/>
                  </a:lnTo>
                  <a:lnTo>
                    <a:pt x="402" y="766"/>
                  </a:lnTo>
                  <a:lnTo>
                    <a:pt x="407" y="763"/>
                  </a:lnTo>
                  <a:lnTo>
                    <a:pt x="412" y="761"/>
                  </a:lnTo>
                  <a:lnTo>
                    <a:pt x="424" y="757"/>
                  </a:lnTo>
                  <a:lnTo>
                    <a:pt x="436" y="754"/>
                  </a:lnTo>
                  <a:lnTo>
                    <a:pt x="448" y="752"/>
                  </a:lnTo>
                  <a:lnTo>
                    <a:pt x="461" y="749"/>
                  </a:lnTo>
                  <a:lnTo>
                    <a:pt x="466" y="747"/>
                  </a:lnTo>
                  <a:lnTo>
                    <a:pt x="471" y="745"/>
                  </a:lnTo>
                  <a:lnTo>
                    <a:pt x="478" y="741"/>
                  </a:lnTo>
                  <a:lnTo>
                    <a:pt x="482" y="737"/>
                  </a:lnTo>
                  <a:lnTo>
                    <a:pt x="503" y="720"/>
                  </a:lnTo>
                  <a:lnTo>
                    <a:pt x="522" y="705"/>
                  </a:lnTo>
                  <a:lnTo>
                    <a:pt x="531" y="697"/>
                  </a:lnTo>
                  <a:lnTo>
                    <a:pt x="541" y="690"/>
                  </a:lnTo>
                  <a:lnTo>
                    <a:pt x="549" y="680"/>
                  </a:lnTo>
                  <a:lnTo>
                    <a:pt x="558" y="670"/>
                  </a:lnTo>
                  <a:lnTo>
                    <a:pt x="571" y="652"/>
                  </a:lnTo>
                  <a:lnTo>
                    <a:pt x="580" y="633"/>
                  </a:lnTo>
                  <a:lnTo>
                    <a:pt x="585" y="625"/>
                  </a:lnTo>
                  <a:lnTo>
                    <a:pt x="590" y="617"/>
                  </a:lnTo>
                  <a:lnTo>
                    <a:pt x="596" y="609"/>
                  </a:lnTo>
                  <a:lnTo>
                    <a:pt x="603" y="600"/>
                  </a:lnTo>
                  <a:lnTo>
                    <a:pt x="612" y="592"/>
                  </a:lnTo>
                  <a:lnTo>
                    <a:pt x="622" y="586"/>
                  </a:lnTo>
                  <a:lnTo>
                    <a:pt x="626" y="583"/>
                  </a:lnTo>
                  <a:lnTo>
                    <a:pt x="629" y="578"/>
                  </a:lnTo>
                  <a:lnTo>
                    <a:pt x="632" y="574"/>
                  </a:lnTo>
                  <a:lnTo>
                    <a:pt x="634" y="569"/>
                  </a:lnTo>
                  <a:lnTo>
                    <a:pt x="636" y="557"/>
                  </a:lnTo>
                  <a:lnTo>
                    <a:pt x="636" y="546"/>
                  </a:lnTo>
                  <a:lnTo>
                    <a:pt x="636" y="541"/>
                  </a:lnTo>
                  <a:lnTo>
                    <a:pt x="636" y="535"/>
                  </a:lnTo>
                  <a:lnTo>
                    <a:pt x="638" y="530"/>
                  </a:lnTo>
                  <a:lnTo>
                    <a:pt x="640" y="524"/>
                  </a:lnTo>
                  <a:lnTo>
                    <a:pt x="652" y="518"/>
                  </a:lnTo>
                  <a:lnTo>
                    <a:pt x="665" y="513"/>
                  </a:lnTo>
                  <a:lnTo>
                    <a:pt x="674" y="502"/>
                  </a:lnTo>
                  <a:lnTo>
                    <a:pt x="684" y="493"/>
                  </a:lnTo>
                  <a:lnTo>
                    <a:pt x="690" y="490"/>
                  </a:lnTo>
                  <a:lnTo>
                    <a:pt x="696" y="487"/>
                  </a:lnTo>
                  <a:lnTo>
                    <a:pt x="703" y="486"/>
                  </a:lnTo>
                  <a:lnTo>
                    <a:pt x="710" y="484"/>
                  </a:lnTo>
                  <a:lnTo>
                    <a:pt x="713" y="486"/>
                  </a:lnTo>
                  <a:lnTo>
                    <a:pt x="718" y="487"/>
                  </a:lnTo>
                  <a:lnTo>
                    <a:pt x="721" y="488"/>
                  </a:lnTo>
                  <a:lnTo>
                    <a:pt x="723" y="490"/>
                  </a:lnTo>
                  <a:lnTo>
                    <a:pt x="728" y="495"/>
                  </a:lnTo>
                  <a:lnTo>
                    <a:pt x="733" y="501"/>
                  </a:lnTo>
                  <a:lnTo>
                    <a:pt x="737" y="508"/>
                  </a:lnTo>
                  <a:lnTo>
                    <a:pt x="742" y="515"/>
                  </a:lnTo>
                  <a:lnTo>
                    <a:pt x="748" y="520"/>
                  </a:lnTo>
                  <a:lnTo>
                    <a:pt x="754" y="524"/>
                  </a:lnTo>
                  <a:lnTo>
                    <a:pt x="760" y="525"/>
                  </a:lnTo>
                  <a:lnTo>
                    <a:pt x="765" y="527"/>
                  </a:lnTo>
                  <a:lnTo>
                    <a:pt x="769" y="525"/>
                  </a:lnTo>
                  <a:lnTo>
                    <a:pt x="775" y="524"/>
                  </a:lnTo>
                  <a:lnTo>
                    <a:pt x="779" y="522"/>
                  </a:lnTo>
                  <a:lnTo>
                    <a:pt x="784" y="519"/>
                  </a:lnTo>
                  <a:lnTo>
                    <a:pt x="788" y="516"/>
                  </a:lnTo>
                  <a:lnTo>
                    <a:pt x="792" y="511"/>
                  </a:lnTo>
                  <a:lnTo>
                    <a:pt x="799" y="502"/>
                  </a:lnTo>
                  <a:lnTo>
                    <a:pt x="803" y="491"/>
                  </a:lnTo>
                  <a:lnTo>
                    <a:pt x="806" y="479"/>
                  </a:lnTo>
                  <a:lnTo>
                    <a:pt x="807" y="468"/>
                  </a:lnTo>
                  <a:lnTo>
                    <a:pt x="806" y="456"/>
                  </a:lnTo>
                  <a:lnTo>
                    <a:pt x="804" y="446"/>
                  </a:lnTo>
                  <a:lnTo>
                    <a:pt x="801" y="436"/>
                  </a:lnTo>
                  <a:lnTo>
                    <a:pt x="800" y="424"/>
                  </a:lnTo>
                  <a:lnTo>
                    <a:pt x="798" y="413"/>
                  </a:lnTo>
                  <a:lnTo>
                    <a:pt x="795" y="403"/>
                  </a:lnTo>
                  <a:lnTo>
                    <a:pt x="794" y="399"/>
                  </a:lnTo>
                  <a:lnTo>
                    <a:pt x="794" y="396"/>
                  </a:lnTo>
                  <a:lnTo>
                    <a:pt x="796" y="392"/>
                  </a:lnTo>
                  <a:lnTo>
                    <a:pt x="800" y="388"/>
                  </a:lnTo>
                  <a:lnTo>
                    <a:pt x="805" y="385"/>
                  </a:lnTo>
                  <a:lnTo>
                    <a:pt x="812" y="384"/>
                  </a:lnTo>
                  <a:lnTo>
                    <a:pt x="817" y="384"/>
                  </a:lnTo>
                  <a:lnTo>
                    <a:pt x="823" y="386"/>
                  </a:lnTo>
                  <a:lnTo>
                    <a:pt x="830" y="387"/>
                  </a:lnTo>
                  <a:lnTo>
                    <a:pt x="836" y="388"/>
                  </a:lnTo>
                  <a:lnTo>
                    <a:pt x="843" y="388"/>
                  </a:lnTo>
                  <a:lnTo>
                    <a:pt x="849" y="386"/>
                  </a:lnTo>
                  <a:lnTo>
                    <a:pt x="861" y="380"/>
                  </a:lnTo>
                  <a:lnTo>
                    <a:pt x="872" y="371"/>
                  </a:lnTo>
                  <a:lnTo>
                    <a:pt x="882" y="361"/>
                  </a:lnTo>
                  <a:lnTo>
                    <a:pt x="889" y="352"/>
                  </a:lnTo>
                  <a:lnTo>
                    <a:pt x="904" y="330"/>
                  </a:lnTo>
                  <a:lnTo>
                    <a:pt x="917" y="308"/>
                  </a:lnTo>
                  <a:lnTo>
                    <a:pt x="924" y="299"/>
                  </a:lnTo>
                  <a:lnTo>
                    <a:pt x="931" y="288"/>
                  </a:lnTo>
                  <a:lnTo>
                    <a:pt x="939" y="278"/>
                  </a:lnTo>
                  <a:lnTo>
                    <a:pt x="948" y="270"/>
                  </a:lnTo>
                  <a:lnTo>
                    <a:pt x="956" y="262"/>
                  </a:lnTo>
                  <a:lnTo>
                    <a:pt x="967" y="255"/>
                  </a:lnTo>
                  <a:lnTo>
                    <a:pt x="979" y="250"/>
                  </a:lnTo>
                  <a:lnTo>
                    <a:pt x="993" y="247"/>
                  </a:lnTo>
                  <a:lnTo>
                    <a:pt x="993" y="239"/>
                  </a:lnTo>
                  <a:lnTo>
                    <a:pt x="993" y="232"/>
                  </a:lnTo>
                  <a:lnTo>
                    <a:pt x="992" y="220"/>
                  </a:lnTo>
                  <a:lnTo>
                    <a:pt x="991" y="208"/>
                  </a:lnTo>
                  <a:lnTo>
                    <a:pt x="992" y="203"/>
                  </a:lnTo>
                  <a:lnTo>
                    <a:pt x="993" y="197"/>
                  </a:lnTo>
                  <a:lnTo>
                    <a:pt x="995" y="193"/>
                  </a:lnTo>
                  <a:lnTo>
                    <a:pt x="998" y="187"/>
                  </a:lnTo>
                  <a:lnTo>
                    <a:pt x="1002" y="184"/>
                  </a:lnTo>
                  <a:lnTo>
                    <a:pt x="1006" y="182"/>
                  </a:lnTo>
                  <a:lnTo>
                    <a:pt x="1009" y="180"/>
                  </a:lnTo>
                  <a:lnTo>
                    <a:pt x="1014" y="179"/>
                  </a:lnTo>
                  <a:lnTo>
                    <a:pt x="1022" y="177"/>
                  </a:lnTo>
                  <a:lnTo>
                    <a:pt x="1031" y="177"/>
                  </a:lnTo>
                  <a:lnTo>
                    <a:pt x="1041" y="177"/>
                  </a:lnTo>
                  <a:lnTo>
                    <a:pt x="1050" y="176"/>
                  </a:lnTo>
                  <a:lnTo>
                    <a:pt x="1059" y="174"/>
                  </a:lnTo>
                  <a:lnTo>
                    <a:pt x="1069" y="171"/>
                  </a:lnTo>
                  <a:lnTo>
                    <a:pt x="1076" y="166"/>
                  </a:lnTo>
                  <a:lnTo>
                    <a:pt x="1084" y="160"/>
                  </a:lnTo>
                  <a:lnTo>
                    <a:pt x="1090" y="154"/>
                  </a:lnTo>
                  <a:lnTo>
                    <a:pt x="1096" y="146"/>
                  </a:lnTo>
                  <a:lnTo>
                    <a:pt x="1106" y="132"/>
                  </a:lnTo>
                  <a:lnTo>
                    <a:pt x="1115" y="117"/>
                  </a:lnTo>
                  <a:lnTo>
                    <a:pt x="1121" y="110"/>
                  </a:lnTo>
                  <a:lnTo>
                    <a:pt x="1125" y="103"/>
                  </a:lnTo>
                  <a:lnTo>
                    <a:pt x="1130" y="97"/>
                  </a:lnTo>
                  <a:lnTo>
                    <a:pt x="1136" y="92"/>
                  </a:lnTo>
                  <a:lnTo>
                    <a:pt x="1142" y="87"/>
                  </a:lnTo>
                  <a:lnTo>
                    <a:pt x="1150" y="84"/>
                  </a:lnTo>
                  <a:lnTo>
                    <a:pt x="1157" y="82"/>
                  </a:lnTo>
                  <a:lnTo>
                    <a:pt x="1167" y="82"/>
                  </a:lnTo>
                  <a:lnTo>
                    <a:pt x="1183" y="83"/>
                  </a:lnTo>
                  <a:lnTo>
                    <a:pt x="1197" y="86"/>
                  </a:lnTo>
                  <a:lnTo>
                    <a:pt x="1212" y="88"/>
                  </a:lnTo>
                  <a:lnTo>
                    <a:pt x="1229" y="89"/>
                  </a:lnTo>
                  <a:lnTo>
                    <a:pt x="1234" y="89"/>
                  </a:lnTo>
                  <a:lnTo>
                    <a:pt x="1238" y="87"/>
                  </a:lnTo>
                  <a:lnTo>
                    <a:pt x="1241" y="84"/>
                  </a:lnTo>
                  <a:lnTo>
                    <a:pt x="1245" y="81"/>
                  </a:lnTo>
                  <a:lnTo>
                    <a:pt x="1251" y="72"/>
                  </a:lnTo>
                  <a:lnTo>
                    <a:pt x="1259" y="64"/>
                  </a:lnTo>
                  <a:lnTo>
                    <a:pt x="1279" y="51"/>
                  </a:lnTo>
                  <a:lnTo>
                    <a:pt x="1297" y="41"/>
                  </a:lnTo>
                  <a:lnTo>
                    <a:pt x="1316" y="32"/>
                  </a:lnTo>
                  <a:lnTo>
                    <a:pt x="1338" y="22"/>
                  </a:lnTo>
                  <a:lnTo>
                    <a:pt x="1347" y="19"/>
                  </a:lnTo>
                  <a:lnTo>
                    <a:pt x="1357" y="16"/>
                  </a:lnTo>
                  <a:lnTo>
                    <a:pt x="1367" y="11"/>
                  </a:lnTo>
                  <a:lnTo>
                    <a:pt x="1378" y="9"/>
                  </a:lnTo>
                  <a:lnTo>
                    <a:pt x="1381" y="8"/>
                  </a:lnTo>
                  <a:lnTo>
                    <a:pt x="1385" y="8"/>
                  </a:lnTo>
                  <a:lnTo>
                    <a:pt x="1395" y="9"/>
                  </a:lnTo>
                  <a:lnTo>
                    <a:pt x="1403" y="12"/>
                  </a:lnTo>
                  <a:lnTo>
                    <a:pt x="1411" y="15"/>
                  </a:lnTo>
                  <a:lnTo>
                    <a:pt x="1422" y="17"/>
                  </a:lnTo>
                  <a:lnTo>
                    <a:pt x="1426" y="14"/>
                  </a:lnTo>
                  <a:lnTo>
                    <a:pt x="1430" y="10"/>
                  </a:lnTo>
                  <a:lnTo>
                    <a:pt x="1430" y="10"/>
                  </a:lnTo>
                  <a:close/>
                </a:path>
              </a:pathLst>
            </a:custGeom>
            <a:solidFill>
              <a:srgbClr val="73B84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62">
              <a:extLst>
                <a:ext uri="{FF2B5EF4-FFF2-40B4-BE49-F238E27FC236}">
                  <a16:creationId xmlns:a16="http://schemas.microsoft.com/office/drawing/2014/main" id="{22A93CF4-160F-48F3-B54E-D7F2D76B2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1825" y="5559426"/>
              <a:ext cx="1150938" cy="1100138"/>
            </a:xfrm>
            <a:custGeom>
              <a:avLst/>
              <a:gdLst>
                <a:gd name="T0" fmla="*/ 1571 w 2899"/>
                <a:gd name="T1" fmla="*/ 15 h 2774"/>
                <a:gd name="T2" fmla="*/ 1681 w 2899"/>
                <a:gd name="T3" fmla="*/ 42 h 2774"/>
                <a:gd name="T4" fmla="*/ 1786 w 2899"/>
                <a:gd name="T5" fmla="*/ 6 h 2774"/>
                <a:gd name="T6" fmla="*/ 1994 w 2899"/>
                <a:gd name="T7" fmla="*/ 46 h 2774"/>
                <a:gd name="T8" fmla="*/ 2149 w 2899"/>
                <a:gd name="T9" fmla="*/ 151 h 2774"/>
                <a:gd name="T10" fmla="*/ 2277 w 2899"/>
                <a:gd name="T11" fmla="*/ 172 h 2774"/>
                <a:gd name="T12" fmla="*/ 2464 w 2899"/>
                <a:gd name="T13" fmla="*/ 403 h 2774"/>
                <a:gd name="T14" fmla="*/ 2634 w 2899"/>
                <a:gd name="T15" fmla="*/ 590 h 2774"/>
                <a:gd name="T16" fmla="*/ 2765 w 2899"/>
                <a:gd name="T17" fmla="*/ 636 h 2774"/>
                <a:gd name="T18" fmla="*/ 2787 w 2899"/>
                <a:gd name="T19" fmla="*/ 852 h 2774"/>
                <a:gd name="T20" fmla="*/ 2795 w 2899"/>
                <a:gd name="T21" fmla="*/ 981 h 2774"/>
                <a:gd name="T22" fmla="*/ 2738 w 2899"/>
                <a:gd name="T23" fmla="*/ 1203 h 2774"/>
                <a:gd name="T24" fmla="*/ 2583 w 2899"/>
                <a:gd name="T25" fmla="*/ 1514 h 2774"/>
                <a:gd name="T26" fmla="*/ 2352 w 2899"/>
                <a:gd name="T27" fmla="*/ 1825 h 2774"/>
                <a:gd name="T28" fmla="*/ 1983 w 2899"/>
                <a:gd name="T29" fmla="*/ 2074 h 2774"/>
                <a:gd name="T30" fmla="*/ 1963 w 2899"/>
                <a:gd name="T31" fmla="*/ 2014 h 2774"/>
                <a:gd name="T32" fmla="*/ 2109 w 2899"/>
                <a:gd name="T33" fmla="*/ 1934 h 2774"/>
                <a:gd name="T34" fmla="*/ 2211 w 2899"/>
                <a:gd name="T35" fmla="*/ 1869 h 2774"/>
                <a:gd name="T36" fmla="*/ 2239 w 2899"/>
                <a:gd name="T37" fmla="*/ 1743 h 2774"/>
                <a:gd name="T38" fmla="*/ 2322 w 2899"/>
                <a:gd name="T39" fmla="*/ 1713 h 2774"/>
                <a:gd name="T40" fmla="*/ 2425 w 2899"/>
                <a:gd name="T41" fmla="*/ 1582 h 2774"/>
                <a:gd name="T42" fmla="*/ 2498 w 2899"/>
                <a:gd name="T43" fmla="*/ 1456 h 2774"/>
                <a:gd name="T44" fmla="*/ 2498 w 2899"/>
                <a:gd name="T45" fmla="*/ 1379 h 2774"/>
                <a:gd name="T46" fmla="*/ 2320 w 2899"/>
                <a:gd name="T47" fmla="*/ 1341 h 2774"/>
                <a:gd name="T48" fmla="*/ 2271 w 2899"/>
                <a:gd name="T49" fmla="*/ 1436 h 2774"/>
                <a:gd name="T50" fmla="*/ 2190 w 2899"/>
                <a:gd name="T51" fmla="*/ 1549 h 2774"/>
                <a:gd name="T52" fmla="*/ 2118 w 2899"/>
                <a:gd name="T53" fmla="*/ 1719 h 2774"/>
                <a:gd name="T54" fmla="*/ 1946 w 2899"/>
                <a:gd name="T55" fmla="*/ 1841 h 2774"/>
                <a:gd name="T56" fmla="*/ 1825 w 2899"/>
                <a:gd name="T57" fmla="*/ 2014 h 2774"/>
                <a:gd name="T58" fmla="*/ 1870 w 2899"/>
                <a:gd name="T59" fmla="*/ 2172 h 2774"/>
                <a:gd name="T60" fmla="*/ 1757 w 2899"/>
                <a:gd name="T61" fmla="*/ 2377 h 2774"/>
                <a:gd name="T62" fmla="*/ 1667 w 2899"/>
                <a:gd name="T63" fmla="*/ 2573 h 2774"/>
                <a:gd name="T64" fmla="*/ 1394 w 2899"/>
                <a:gd name="T65" fmla="*/ 2774 h 2774"/>
                <a:gd name="T66" fmla="*/ 1378 w 2899"/>
                <a:gd name="T67" fmla="*/ 2504 h 2774"/>
                <a:gd name="T68" fmla="*/ 1455 w 2899"/>
                <a:gd name="T69" fmla="*/ 2409 h 2774"/>
                <a:gd name="T70" fmla="*/ 1442 w 2899"/>
                <a:gd name="T71" fmla="*/ 2296 h 2774"/>
                <a:gd name="T72" fmla="*/ 1333 w 2899"/>
                <a:gd name="T73" fmla="*/ 2138 h 2774"/>
                <a:gd name="T74" fmla="*/ 1150 w 2899"/>
                <a:gd name="T75" fmla="*/ 2006 h 2774"/>
                <a:gd name="T76" fmla="*/ 1012 w 2899"/>
                <a:gd name="T77" fmla="*/ 1827 h 2774"/>
                <a:gd name="T78" fmla="*/ 829 w 2899"/>
                <a:gd name="T79" fmla="*/ 1771 h 2774"/>
                <a:gd name="T80" fmla="*/ 752 w 2899"/>
                <a:gd name="T81" fmla="*/ 1653 h 2774"/>
                <a:gd name="T82" fmla="*/ 640 w 2899"/>
                <a:gd name="T83" fmla="*/ 1588 h 2774"/>
                <a:gd name="T84" fmla="*/ 517 w 2899"/>
                <a:gd name="T85" fmla="*/ 1589 h 2774"/>
                <a:gd name="T86" fmla="*/ 372 w 2899"/>
                <a:gd name="T87" fmla="*/ 1345 h 2774"/>
                <a:gd name="T88" fmla="*/ 268 w 2899"/>
                <a:gd name="T89" fmla="*/ 1225 h 2774"/>
                <a:gd name="T90" fmla="*/ 106 w 2899"/>
                <a:gd name="T91" fmla="*/ 1254 h 2774"/>
                <a:gd name="T92" fmla="*/ 21 w 2899"/>
                <a:gd name="T93" fmla="*/ 1156 h 2774"/>
                <a:gd name="T94" fmla="*/ 169 w 2899"/>
                <a:gd name="T95" fmla="*/ 995 h 2774"/>
                <a:gd name="T96" fmla="*/ 346 w 2899"/>
                <a:gd name="T97" fmla="*/ 870 h 2774"/>
                <a:gd name="T98" fmla="*/ 402 w 2899"/>
                <a:gd name="T99" fmla="*/ 766 h 2774"/>
                <a:gd name="T100" fmla="*/ 549 w 2899"/>
                <a:gd name="T101" fmla="*/ 680 h 2774"/>
                <a:gd name="T102" fmla="*/ 636 w 2899"/>
                <a:gd name="T103" fmla="*/ 546 h 2774"/>
                <a:gd name="T104" fmla="*/ 721 w 2899"/>
                <a:gd name="T105" fmla="*/ 488 h 2774"/>
                <a:gd name="T106" fmla="*/ 792 w 2899"/>
                <a:gd name="T107" fmla="*/ 511 h 2774"/>
                <a:gd name="T108" fmla="*/ 805 w 2899"/>
                <a:gd name="T109" fmla="*/ 385 h 2774"/>
                <a:gd name="T110" fmla="*/ 931 w 2899"/>
                <a:gd name="T111" fmla="*/ 288 h 2774"/>
                <a:gd name="T112" fmla="*/ 1002 w 2899"/>
                <a:gd name="T113" fmla="*/ 184 h 2774"/>
                <a:gd name="T114" fmla="*/ 1115 w 2899"/>
                <a:gd name="T115" fmla="*/ 117 h 2774"/>
                <a:gd name="T116" fmla="*/ 1241 w 2899"/>
                <a:gd name="T117" fmla="*/ 84 h 2774"/>
                <a:gd name="T118" fmla="*/ 1403 w 2899"/>
                <a:gd name="T119" fmla="*/ 12 h 2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99" h="2774">
                  <a:moveTo>
                    <a:pt x="1430" y="10"/>
                  </a:moveTo>
                  <a:lnTo>
                    <a:pt x="1440" y="11"/>
                  </a:lnTo>
                  <a:lnTo>
                    <a:pt x="1450" y="14"/>
                  </a:lnTo>
                  <a:lnTo>
                    <a:pt x="1459" y="18"/>
                  </a:lnTo>
                  <a:lnTo>
                    <a:pt x="1467" y="22"/>
                  </a:lnTo>
                  <a:lnTo>
                    <a:pt x="1476" y="27"/>
                  </a:lnTo>
                  <a:lnTo>
                    <a:pt x="1484" y="30"/>
                  </a:lnTo>
                  <a:lnTo>
                    <a:pt x="1493" y="33"/>
                  </a:lnTo>
                  <a:lnTo>
                    <a:pt x="1503" y="34"/>
                  </a:lnTo>
                  <a:lnTo>
                    <a:pt x="1516" y="33"/>
                  </a:lnTo>
                  <a:lnTo>
                    <a:pt x="1528" y="30"/>
                  </a:lnTo>
                  <a:lnTo>
                    <a:pt x="1538" y="27"/>
                  </a:lnTo>
                  <a:lnTo>
                    <a:pt x="1549" y="22"/>
                  </a:lnTo>
                  <a:lnTo>
                    <a:pt x="1559" y="18"/>
                  </a:lnTo>
                  <a:lnTo>
                    <a:pt x="1571" y="15"/>
                  </a:lnTo>
                  <a:lnTo>
                    <a:pt x="1582" y="12"/>
                  </a:lnTo>
                  <a:lnTo>
                    <a:pt x="1596" y="11"/>
                  </a:lnTo>
                  <a:lnTo>
                    <a:pt x="1601" y="11"/>
                  </a:lnTo>
                  <a:lnTo>
                    <a:pt x="1607" y="12"/>
                  </a:lnTo>
                  <a:lnTo>
                    <a:pt x="1612" y="14"/>
                  </a:lnTo>
                  <a:lnTo>
                    <a:pt x="1617" y="16"/>
                  </a:lnTo>
                  <a:lnTo>
                    <a:pt x="1626" y="21"/>
                  </a:lnTo>
                  <a:lnTo>
                    <a:pt x="1635" y="27"/>
                  </a:lnTo>
                  <a:lnTo>
                    <a:pt x="1643" y="32"/>
                  </a:lnTo>
                  <a:lnTo>
                    <a:pt x="1652" y="37"/>
                  </a:lnTo>
                  <a:lnTo>
                    <a:pt x="1657" y="39"/>
                  </a:lnTo>
                  <a:lnTo>
                    <a:pt x="1663" y="41"/>
                  </a:lnTo>
                  <a:lnTo>
                    <a:pt x="1668" y="42"/>
                  </a:lnTo>
                  <a:lnTo>
                    <a:pt x="1673" y="42"/>
                  </a:lnTo>
                  <a:lnTo>
                    <a:pt x="1681" y="42"/>
                  </a:lnTo>
                  <a:lnTo>
                    <a:pt x="1688" y="41"/>
                  </a:lnTo>
                  <a:lnTo>
                    <a:pt x="1693" y="38"/>
                  </a:lnTo>
                  <a:lnTo>
                    <a:pt x="1699" y="35"/>
                  </a:lnTo>
                  <a:lnTo>
                    <a:pt x="1709" y="29"/>
                  </a:lnTo>
                  <a:lnTo>
                    <a:pt x="1719" y="21"/>
                  </a:lnTo>
                  <a:lnTo>
                    <a:pt x="1730" y="14"/>
                  </a:lnTo>
                  <a:lnTo>
                    <a:pt x="1739" y="6"/>
                  </a:lnTo>
                  <a:lnTo>
                    <a:pt x="1745" y="4"/>
                  </a:lnTo>
                  <a:lnTo>
                    <a:pt x="1751" y="2"/>
                  </a:lnTo>
                  <a:lnTo>
                    <a:pt x="1758" y="1"/>
                  </a:lnTo>
                  <a:lnTo>
                    <a:pt x="1765" y="0"/>
                  </a:lnTo>
                  <a:lnTo>
                    <a:pt x="1771" y="1"/>
                  </a:lnTo>
                  <a:lnTo>
                    <a:pt x="1776" y="2"/>
                  </a:lnTo>
                  <a:lnTo>
                    <a:pt x="1782" y="4"/>
                  </a:lnTo>
                  <a:lnTo>
                    <a:pt x="1786" y="6"/>
                  </a:lnTo>
                  <a:lnTo>
                    <a:pt x="1794" y="14"/>
                  </a:lnTo>
                  <a:lnTo>
                    <a:pt x="1802" y="21"/>
                  </a:lnTo>
                  <a:lnTo>
                    <a:pt x="1811" y="29"/>
                  </a:lnTo>
                  <a:lnTo>
                    <a:pt x="1818" y="35"/>
                  </a:lnTo>
                  <a:lnTo>
                    <a:pt x="1824" y="38"/>
                  </a:lnTo>
                  <a:lnTo>
                    <a:pt x="1828" y="41"/>
                  </a:lnTo>
                  <a:lnTo>
                    <a:pt x="1833" y="42"/>
                  </a:lnTo>
                  <a:lnTo>
                    <a:pt x="1840" y="42"/>
                  </a:lnTo>
                  <a:lnTo>
                    <a:pt x="1866" y="42"/>
                  </a:lnTo>
                  <a:lnTo>
                    <a:pt x="1890" y="42"/>
                  </a:lnTo>
                  <a:lnTo>
                    <a:pt x="1913" y="42"/>
                  </a:lnTo>
                  <a:lnTo>
                    <a:pt x="1939" y="42"/>
                  </a:lnTo>
                  <a:lnTo>
                    <a:pt x="1959" y="43"/>
                  </a:lnTo>
                  <a:lnTo>
                    <a:pt x="1977" y="44"/>
                  </a:lnTo>
                  <a:lnTo>
                    <a:pt x="1994" y="46"/>
                  </a:lnTo>
                  <a:lnTo>
                    <a:pt x="2010" y="49"/>
                  </a:lnTo>
                  <a:lnTo>
                    <a:pt x="2043" y="56"/>
                  </a:lnTo>
                  <a:lnTo>
                    <a:pt x="2081" y="64"/>
                  </a:lnTo>
                  <a:lnTo>
                    <a:pt x="2097" y="68"/>
                  </a:lnTo>
                  <a:lnTo>
                    <a:pt x="2113" y="72"/>
                  </a:lnTo>
                  <a:lnTo>
                    <a:pt x="2120" y="75"/>
                  </a:lnTo>
                  <a:lnTo>
                    <a:pt x="2126" y="79"/>
                  </a:lnTo>
                  <a:lnTo>
                    <a:pt x="2130" y="85"/>
                  </a:lnTo>
                  <a:lnTo>
                    <a:pt x="2134" y="92"/>
                  </a:lnTo>
                  <a:lnTo>
                    <a:pt x="2137" y="111"/>
                  </a:lnTo>
                  <a:lnTo>
                    <a:pt x="2138" y="129"/>
                  </a:lnTo>
                  <a:lnTo>
                    <a:pt x="2140" y="138"/>
                  </a:lnTo>
                  <a:lnTo>
                    <a:pt x="2143" y="145"/>
                  </a:lnTo>
                  <a:lnTo>
                    <a:pt x="2145" y="147"/>
                  </a:lnTo>
                  <a:lnTo>
                    <a:pt x="2149" y="151"/>
                  </a:lnTo>
                  <a:lnTo>
                    <a:pt x="2152" y="153"/>
                  </a:lnTo>
                  <a:lnTo>
                    <a:pt x="2156" y="154"/>
                  </a:lnTo>
                  <a:lnTo>
                    <a:pt x="2170" y="157"/>
                  </a:lnTo>
                  <a:lnTo>
                    <a:pt x="2183" y="158"/>
                  </a:lnTo>
                  <a:lnTo>
                    <a:pt x="2196" y="157"/>
                  </a:lnTo>
                  <a:lnTo>
                    <a:pt x="2208" y="157"/>
                  </a:lnTo>
                  <a:lnTo>
                    <a:pt x="2221" y="156"/>
                  </a:lnTo>
                  <a:lnTo>
                    <a:pt x="2233" y="156"/>
                  </a:lnTo>
                  <a:lnTo>
                    <a:pt x="2239" y="157"/>
                  </a:lnTo>
                  <a:lnTo>
                    <a:pt x="2246" y="158"/>
                  </a:lnTo>
                  <a:lnTo>
                    <a:pt x="2252" y="160"/>
                  </a:lnTo>
                  <a:lnTo>
                    <a:pt x="2260" y="163"/>
                  </a:lnTo>
                  <a:lnTo>
                    <a:pt x="2266" y="166"/>
                  </a:lnTo>
                  <a:lnTo>
                    <a:pt x="2272" y="169"/>
                  </a:lnTo>
                  <a:lnTo>
                    <a:pt x="2277" y="172"/>
                  </a:lnTo>
                  <a:lnTo>
                    <a:pt x="2283" y="177"/>
                  </a:lnTo>
                  <a:lnTo>
                    <a:pt x="2291" y="185"/>
                  </a:lnTo>
                  <a:lnTo>
                    <a:pt x="2302" y="196"/>
                  </a:lnTo>
                  <a:lnTo>
                    <a:pt x="2330" y="224"/>
                  </a:lnTo>
                  <a:lnTo>
                    <a:pt x="2355" y="250"/>
                  </a:lnTo>
                  <a:lnTo>
                    <a:pt x="2366" y="264"/>
                  </a:lnTo>
                  <a:lnTo>
                    <a:pt x="2377" y="278"/>
                  </a:lnTo>
                  <a:lnTo>
                    <a:pt x="2385" y="295"/>
                  </a:lnTo>
                  <a:lnTo>
                    <a:pt x="2394" y="314"/>
                  </a:lnTo>
                  <a:lnTo>
                    <a:pt x="2404" y="333"/>
                  </a:lnTo>
                  <a:lnTo>
                    <a:pt x="2413" y="351"/>
                  </a:lnTo>
                  <a:lnTo>
                    <a:pt x="2425" y="366"/>
                  </a:lnTo>
                  <a:lnTo>
                    <a:pt x="2437" y="380"/>
                  </a:lnTo>
                  <a:lnTo>
                    <a:pt x="2450" y="392"/>
                  </a:lnTo>
                  <a:lnTo>
                    <a:pt x="2464" y="403"/>
                  </a:lnTo>
                  <a:lnTo>
                    <a:pt x="2478" y="414"/>
                  </a:lnTo>
                  <a:lnTo>
                    <a:pt x="2492" y="425"/>
                  </a:lnTo>
                  <a:lnTo>
                    <a:pt x="2507" y="436"/>
                  </a:lnTo>
                  <a:lnTo>
                    <a:pt x="2521" y="447"/>
                  </a:lnTo>
                  <a:lnTo>
                    <a:pt x="2535" y="459"/>
                  </a:lnTo>
                  <a:lnTo>
                    <a:pt x="2549" y="471"/>
                  </a:lnTo>
                  <a:lnTo>
                    <a:pt x="2562" y="484"/>
                  </a:lnTo>
                  <a:lnTo>
                    <a:pt x="2574" y="500"/>
                  </a:lnTo>
                  <a:lnTo>
                    <a:pt x="2586" y="517"/>
                  </a:lnTo>
                  <a:lnTo>
                    <a:pt x="2596" y="535"/>
                  </a:lnTo>
                  <a:lnTo>
                    <a:pt x="2605" y="555"/>
                  </a:lnTo>
                  <a:lnTo>
                    <a:pt x="2614" y="571"/>
                  </a:lnTo>
                  <a:lnTo>
                    <a:pt x="2620" y="578"/>
                  </a:lnTo>
                  <a:lnTo>
                    <a:pt x="2626" y="585"/>
                  </a:lnTo>
                  <a:lnTo>
                    <a:pt x="2634" y="590"/>
                  </a:lnTo>
                  <a:lnTo>
                    <a:pt x="2643" y="594"/>
                  </a:lnTo>
                  <a:lnTo>
                    <a:pt x="2655" y="598"/>
                  </a:lnTo>
                  <a:lnTo>
                    <a:pt x="2666" y="600"/>
                  </a:lnTo>
                  <a:lnTo>
                    <a:pt x="2677" y="601"/>
                  </a:lnTo>
                  <a:lnTo>
                    <a:pt x="2688" y="602"/>
                  </a:lnTo>
                  <a:lnTo>
                    <a:pt x="2697" y="603"/>
                  </a:lnTo>
                  <a:lnTo>
                    <a:pt x="2708" y="604"/>
                  </a:lnTo>
                  <a:lnTo>
                    <a:pt x="2719" y="606"/>
                  </a:lnTo>
                  <a:lnTo>
                    <a:pt x="2731" y="611"/>
                  </a:lnTo>
                  <a:lnTo>
                    <a:pt x="2737" y="614"/>
                  </a:lnTo>
                  <a:lnTo>
                    <a:pt x="2744" y="617"/>
                  </a:lnTo>
                  <a:lnTo>
                    <a:pt x="2750" y="622"/>
                  </a:lnTo>
                  <a:lnTo>
                    <a:pt x="2756" y="626"/>
                  </a:lnTo>
                  <a:lnTo>
                    <a:pt x="2761" y="630"/>
                  </a:lnTo>
                  <a:lnTo>
                    <a:pt x="2765" y="636"/>
                  </a:lnTo>
                  <a:lnTo>
                    <a:pt x="2770" y="641"/>
                  </a:lnTo>
                  <a:lnTo>
                    <a:pt x="2773" y="646"/>
                  </a:lnTo>
                  <a:lnTo>
                    <a:pt x="2779" y="659"/>
                  </a:lnTo>
                  <a:lnTo>
                    <a:pt x="2784" y="672"/>
                  </a:lnTo>
                  <a:lnTo>
                    <a:pt x="2786" y="687"/>
                  </a:lnTo>
                  <a:lnTo>
                    <a:pt x="2787" y="703"/>
                  </a:lnTo>
                  <a:lnTo>
                    <a:pt x="2787" y="729"/>
                  </a:lnTo>
                  <a:lnTo>
                    <a:pt x="2787" y="752"/>
                  </a:lnTo>
                  <a:lnTo>
                    <a:pt x="2787" y="776"/>
                  </a:lnTo>
                  <a:lnTo>
                    <a:pt x="2787" y="802"/>
                  </a:lnTo>
                  <a:lnTo>
                    <a:pt x="2788" y="816"/>
                  </a:lnTo>
                  <a:lnTo>
                    <a:pt x="2789" y="829"/>
                  </a:lnTo>
                  <a:lnTo>
                    <a:pt x="2789" y="838"/>
                  </a:lnTo>
                  <a:lnTo>
                    <a:pt x="2788" y="845"/>
                  </a:lnTo>
                  <a:lnTo>
                    <a:pt x="2787" y="852"/>
                  </a:lnTo>
                  <a:lnTo>
                    <a:pt x="2785" y="858"/>
                  </a:lnTo>
                  <a:lnTo>
                    <a:pt x="2779" y="870"/>
                  </a:lnTo>
                  <a:lnTo>
                    <a:pt x="2773" y="882"/>
                  </a:lnTo>
                  <a:lnTo>
                    <a:pt x="2757" y="905"/>
                  </a:lnTo>
                  <a:lnTo>
                    <a:pt x="2742" y="930"/>
                  </a:lnTo>
                  <a:lnTo>
                    <a:pt x="2736" y="943"/>
                  </a:lnTo>
                  <a:lnTo>
                    <a:pt x="2732" y="956"/>
                  </a:lnTo>
                  <a:lnTo>
                    <a:pt x="2728" y="969"/>
                  </a:lnTo>
                  <a:lnTo>
                    <a:pt x="2722" y="983"/>
                  </a:lnTo>
                  <a:lnTo>
                    <a:pt x="2732" y="984"/>
                  </a:lnTo>
                  <a:lnTo>
                    <a:pt x="2742" y="984"/>
                  </a:lnTo>
                  <a:lnTo>
                    <a:pt x="2750" y="984"/>
                  </a:lnTo>
                  <a:lnTo>
                    <a:pt x="2758" y="983"/>
                  </a:lnTo>
                  <a:lnTo>
                    <a:pt x="2775" y="981"/>
                  </a:lnTo>
                  <a:lnTo>
                    <a:pt x="2795" y="981"/>
                  </a:lnTo>
                  <a:lnTo>
                    <a:pt x="2809" y="981"/>
                  </a:lnTo>
                  <a:lnTo>
                    <a:pt x="2823" y="983"/>
                  </a:lnTo>
                  <a:lnTo>
                    <a:pt x="2836" y="987"/>
                  </a:lnTo>
                  <a:lnTo>
                    <a:pt x="2849" y="991"/>
                  </a:lnTo>
                  <a:lnTo>
                    <a:pt x="2873" y="1001"/>
                  </a:lnTo>
                  <a:lnTo>
                    <a:pt x="2899" y="1014"/>
                  </a:lnTo>
                  <a:lnTo>
                    <a:pt x="2899" y="1014"/>
                  </a:lnTo>
                  <a:lnTo>
                    <a:pt x="2886" y="1032"/>
                  </a:lnTo>
                  <a:lnTo>
                    <a:pt x="2872" y="1050"/>
                  </a:lnTo>
                  <a:lnTo>
                    <a:pt x="2857" y="1070"/>
                  </a:lnTo>
                  <a:lnTo>
                    <a:pt x="2840" y="1090"/>
                  </a:lnTo>
                  <a:lnTo>
                    <a:pt x="2813" y="1121"/>
                  </a:lnTo>
                  <a:lnTo>
                    <a:pt x="2790" y="1148"/>
                  </a:lnTo>
                  <a:lnTo>
                    <a:pt x="2767" y="1173"/>
                  </a:lnTo>
                  <a:lnTo>
                    <a:pt x="2738" y="1203"/>
                  </a:lnTo>
                  <a:lnTo>
                    <a:pt x="2723" y="1216"/>
                  </a:lnTo>
                  <a:lnTo>
                    <a:pt x="2709" y="1227"/>
                  </a:lnTo>
                  <a:lnTo>
                    <a:pt x="2703" y="1233"/>
                  </a:lnTo>
                  <a:lnTo>
                    <a:pt x="2697" y="1239"/>
                  </a:lnTo>
                  <a:lnTo>
                    <a:pt x="2691" y="1247"/>
                  </a:lnTo>
                  <a:lnTo>
                    <a:pt x="2686" y="1256"/>
                  </a:lnTo>
                  <a:lnTo>
                    <a:pt x="2668" y="1287"/>
                  </a:lnTo>
                  <a:lnTo>
                    <a:pt x="2654" y="1315"/>
                  </a:lnTo>
                  <a:lnTo>
                    <a:pt x="2641" y="1343"/>
                  </a:lnTo>
                  <a:lnTo>
                    <a:pt x="2630" y="1370"/>
                  </a:lnTo>
                  <a:lnTo>
                    <a:pt x="2620" y="1397"/>
                  </a:lnTo>
                  <a:lnTo>
                    <a:pt x="2610" y="1426"/>
                  </a:lnTo>
                  <a:lnTo>
                    <a:pt x="2600" y="1458"/>
                  </a:lnTo>
                  <a:lnTo>
                    <a:pt x="2590" y="1491"/>
                  </a:lnTo>
                  <a:lnTo>
                    <a:pt x="2583" y="1514"/>
                  </a:lnTo>
                  <a:lnTo>
                    <a:pt x="2575" y="1535"/>
                  </a:lnTo>
                  <a:lnTo>
                    <a:pt x="2568" y="1556"/>
                  </a:lnTo>
                  <a:lnTo>
                    <a:pt x="2559" y="1575"/>
                  </a:lnTo>
                  <a:lnTo>
                    <a:pt x="2551" y="1594"/>
                  </a:lnTo>
                  <a:lnTo>
                    <a:pt x="2541" y="1611"/>
                  </a:lnTo>
                  <a:lnTo>
                    <a:pt x="2530" y="1628"/>
                  </a:lnTo>
                  <a:lnTo>
                    <a:pt x="2519" y="1644"/>
                  </a:lnTo>
                  <a:lnTo>
                    <a:pt x="2507" y="1661"/>
                  </a:lnTo>
                  <a:lnTo>
                    <a:pt x="2495" y="1677"/>
                  </a:lnTo>
                  <a:lnTo>
                    <a:pt x="2482" y="1692"/>
                  </a:lnTo>
                  <a:lnTo>
                    <a:pt x="2468" y="1708"/>
                  </a:lnTo>
                  <a:lnTo>
                    <a:pt x="2438" y="1740"/>
                  </a:lnTo>
                  <a:lnTo>
                    <a:pt x="2406" y="1774"/>
                  </a:lnTo>
                  <a:lnTo>
                    <a:pt x="2378" y="1801"/>
                  </a:lnTo>
                  <a:lnTo>
                    <a:pt x="2352" y="1825"/>
                  </a:lnTo>
                  <a:lnTo>
                    <a:pt x="2339" y="1836"/>
                  </a:lnTo>
                  <a:lnTo>
                    <a:pt x="2325" y="1846"/>
                  </a:lnTo>
                  <a:lnTo>
                    <a:pt x="2310" y="1857"/>
                  </a:lnTo>
                  <a:lnTo>
                    <a:pt x="2293" y="1869"/>
                  </a:lnTo>
                  <a:lnTo>
                    <a:pt x="2258" y="1894"/>
                  </a:lnTo>
                  <a:lnTo>
                    <a:pt x="2226" y="1917"/>
                  </a:lnTo>
                  <a:lnTo>
                    <a:pt x="2196" y="1938"/>
                  </a:lnTo>
                  <a:lnTo>
                    <a:pt x="2167" y="1959"/>
                  </a:lnTo>
                  <a:lnTo>
                    <a:pt x="2139" y="1980"/>
                  </a:lnTo>
                  <a:lnTo>
                    <a:pt x="2109" y="2001"/>
                  </a:lnTo>
                  <a:lnTo>
                    <a:pt x="2076" y="2022"/>
                  </a:lnTo>
                  <a:lnTo>
                    <a:pt x="2041" y="2046"/>
                  </a:lnTo>
                  <a:lnTo>
                    <a:pt x="2021" y="2057"/>
                  </a:lnTo>
                  <a:lnTo>
                    <a:pt x="2002" y="2067"/>
                  </a:lnTo>
                  <a:lnTo>
                    <a:pt x="1983" y="2074"/>
                  </a:lnTo>
                  <a:lnTo>
                    <a:pt x="1966" y="2083"/>
                  </a:lnTo>
                  <a:lnTo>
                    <a:pt x="1949" y="2091"/>
                  </a:lnTo>
                  <a:lnTo>
                    <a:pt x="1932" y="2101"/>
                  </a:lnTo>
                  <a:lnTo>
                    <a:pt x="1923" y="2107"/>
                  </a:lnTo>
                  <a:lnTo>
                    <a:pt x="1915" y="2114"/>
                  </a:lnTo>
                  <a:lnTo>
                    <a:pt x="1908" y="2122"/>
                  </a:lnTo>
                  <a:lnTo>
                    <a:pt x="1899" y="2129"/>
                  </a:lnTo>
                  <a:lnTo>
                    <a:pt x="1899" y="2129"/>
                  </a:lnTo>
                  <a:lnTo>
                    <a:pt x="1899" y="1987"/>
                  </a:lnTo>
                  <a:lnTo>
                    <a:pt x="1899" y="1987"/>
                  </a:lnTo>
                  <a:lnTo>
                    <a:pt x="1918" y="1998"/>
                  </a:lnTo>
                  <a:lnTo>
                    <a:pt x="1935" y="2006"/>
                  </a:lnTo>
                  <a:lnTo>
                    <a:pt x="1944" y="2009"/>
                  </a:lnTo>
                  <a:lnTo>
                    <a:pt x="1953" y="2012"/>
                  </a:lnTo>
                  <a:lnTo>
                    <a:pt x="1963" y="2014"/>
                  </a:lnTo>
                  <a:lnTo>
                    <a:pt x="1974" y="2015"/>
                  </a:lnTo>
                  <a:lnTo>
                    <a:pt x="1980" y="2013"/>
                  </a:lnTo>
                  <a:lnTo>
                    <a:pt x="1986" y="2010"/>
                  </a:lnTo>
                  <a:lnTo>
                    <a:pt x="1991" y="2008"/>
                  </a:lnTo>
                  <a:lnTo>
                    <a:pt x="1996" y="2005"/>
                  </a:lnTo>
                  <a:lnTo>
                    <a:pt x="2005" y="1998"/>
                  </a:lnTo>
                  <a:lnTo>
                    <a:pt x="2014" y="1990"/>
                  </a:lnTo>
                  <a:lnTo>
                    <a:pt x="2022" y="1981"/>
                  </a:lnTo>
                  <a:lnTo>
                    <a:pt x="2031" y="1973"/>
                  </a:lnTo>
                  <a:lnTo>
                    <a:pt x="2041" y="1965"/>
                  </a:lnTo>
                  <a:lnTo>
                    <a:pt x="2053" y="1959"/>
                  </a:lnTo>
                  <a:lnTo>
                    <a:pt x="2067" y="1952"/>
                  </a:lnTo>
                  <a:lnTo>
                    <a:pt x="2081" y="1947"/>
                  </a:lnTo>
                  <a:lnTo>
                    <a:pt x="2094" y="1940"/>
                  </a:lnTo>
                  <a:lnTo>
                    <a:pt x="2109" y="1934"/>
                  </a:lnTo>
                  <a:lnTo>
                    <a:pt x="2114" y="1929"/>
                  </a:lnTo>
                  <a:lnTo>
                    <a:pt x="2118" y="1925"/>
                  </a:lnTo>
                  <a:lnTo>
                    <a:pt x="2123" y="1921"/>
                  </a:lnTo>
                  <a:lnTo>
                    <a:pt x="2127" y="1917"/>
                  </a:lnTo>
                  <a:lnTo>
                    <a:pt x="2131" y="1911"/>
                  </a:lnTo>
                  <a:lnTo>
                    <a:pt x="2136" y="1907"/>
                  </a:lnTo>
                  <a:lnTo>
                    <a:pt x="2141" y="1904"/>
                  </a:lnTo>
                  <a:lnTo>
                    <a:pt x="2148" y="1900"/>
                  </a:lnTo>
                  <a:lnTo>
                    <a:pt x="2170" y="1893"/>
                  </a:lnTo>
                  <a:lnTo>
                    <a:pt x="2192" y="1885"/>
                  </a:lnTo>
                  <a:lnTo>
                    <a:pt x="2197" y="1882"/>
                  </a:lnTo>
                  <a:lnTo>
                    <a:pt x="2202" y="1880"/>
                  </a:lnTo>
                  <a:lnTo>
                    <a:pt x="2205" y="1877"/>
                  </a:lnTo>
                  <a:lnTo>
                    <a:pt x="2208" y="1873"/>
                  </a:lnTo>
                  <a:lnTo>
                    <a:pt x="2211" y="1869"/>
                  </a:lnTo>
                  <a:lnTo>
                    <a:pt x="2214" y="1865"/>
                  </a:lnTo>
                  <a:lnTo>
                    <a:pt x="2215" y="1860"/>
                  </a:lnTo>
                  <a:lnTo>
                    <a:pt x="2215" y="1855"/>
                  </a:lnTo>
                  <a:lnTo>
                    <a:pt x="2215" y="1844"/>
                  </a:lnTo>
                  <a:lnTo>
                    <a:pt x="2215" y="1836"/>
                  </a:lnTo>
                  <a:lnTo>
                    <a:pt x="2215" y="1827"/>
                  </a:lnTo>
                  <a:lnTo>
                    <a:pt x="2215" y="1817"/>
                  </a:lnTo>
                  <a:lnTo>
                    <a:pt x="2215" y="1805"/>
                  </a:lnTo>
                  <a:lnTo>
                    <a:pt x="2216" y="1796"/>
                  </a:lnTo>
                  <a:lnTo>
                    <a:pt x="2218" y="1786"/>
                  </a:lnTo>
                  <a:lnTo>
                    <a:pt x="2220" y="1777"/>
                  </a:lnTo>
                  <a:lnTo>
                    <a:pt x="2223" y="1769"/>
                  </a:lnTo>
                  <a:lnTo>
                    <a:pt x="2228" y="1760"/>
                  </a:lnTo>
                  <a:lnTo>
                    <a:pt x="2233" y="1751"/>
                  </a:lnTo>
                  <a:lnTo>
                    <a:pt x="2239" y="1743"/>
                  </a:lnTo>
                  <a:lnTo>
                    <a:pt x="2244" y="1739"/>
                  </a:lnTo>
                  <a:lnTo>
                    <a:pt x="2247" y="1737"/>
                  </a:lnTo>
                  <a:lnTo>
                    <a:pt x="2251" y="1735"/>
                  </a:lnTo>
                  <a:lnTo>
                    <a:pt x="2256" y="1734"/>
                  </a:lnTo>
                  <a:lnTo>
                    <a:pt x="2264" y="1734"/>
                  </a:lnTo>
                  <a:lnTo>
                    <a:pt x="2273" y="1734"/>
                  </a:lnTo>
                  <a:lnTo>
                    <a:pt x="2283" y="1735"/>
                  </a:lnTo>
                  <a:lnTo>
                    <a:pt x="2292" y="1735"/>
                  </a:lnTo>
                  <a:lnTo>
                    <a:pt x="2297" y="1734"/>
                  </a:lnTo>
                  <a:lnTo>
                    <a:pt x="2301" y="1733"/>
                  </a:lnTo>
                  <a:lnTo>
                    <a:pt x="2305" y="1732"/>
                  </a:lnTo>
                  <a:lnTo>
                    <a:pt x="2310" y="1729"/>
                  </a:lnTo>
                  <a:lnTo>
                    <a:pt x="2315" y="1724"/>
                  </a:lnTo>
                  <a:lnTo>
                    <a:pt x="2319" y="1719"/>
                  </a:lnTo>
                  <a:lnTo>
                    <a:pt x="2322" y="1713"/>
                  </a:lnTo>
                  <a:lnTo>
                    <a:pt x="2324" y="1708"/>
                  </a:lnTo>
                  <a:lnTo>
                    <a:pt x="2327" y="1695"/>
                  </a:lnTo>
                  <a:lnTo>
                    <a:pt x="2332" y="1681"/>
                  </a:lnTo>
                  <a:lnTo>
                    <a:pt x="2340" y="1670"/>
                  </a:lnTo>
                  <a:lnTo>
                    <a:pt x="2349" y="1661"/>
                  </a:lnTo>
                  <a:lnTo>
                    <a:pt x="2357" y="1652"/>
                  </a:lnTo>
                  <a:lnTo>
                    <a:pt x="2366" y="1642"/>
                  </a:lnTo>
                  <a:lnTo>
                    <a:pt x="2376" y="1632"/>
                  </a:lnTo>
                  <a:lnTo>
                    <a:pt x="2385" y="1624"/>
                  </a:lnTo>
                  <a:lnTo>
                    <a:pt x="2394" y="1616"/>
                  </a:lnTo>
                  <a:lnTo>
                    <a:pt x="2404" y="1609"/>
                  </a:lnTo>
                  <a:lnTo>
                    <a:pt x="2412" y="1601"/>
                  </a:lnTo>
                  <a:lnTo>
                    <a:pt x="2420" y="1593"/>
                  </a:lnTo>
                  <a:lnTo>
                    <a:pt x="2423" y="1587"/>
                  </a:lnTo>
                  <a:lnTo>
                    <a:pt x="2425" y="1582"/>
                  </a:lnTo>
                  <a:lnTo>
                    <a:pt x="2428" y="1576"/>
                  </a:lnTo>
                  <a:lnTo>
                    <a:pt x="2431" y="1570"/>
                  </a:lnTo>
                  <a:lnTo>
                    <a:pt x="2436" y="1551"/>
                  </a:lnTo>
                  <a:lnTo>
                    <a:pt x="2441" y="1535"/>
                  </a:lnTo>
                  <a:lnTo>
                    <a:pt x="2447" y="1519"/>
                  </a:lnTo>
                  <a:lnTo>
                    <a:pt x="2453" y="1502"/>
                  </a:lnTo>
                  <a:lnTo>
                    <a:pt x="2459" y="1486"/>
                  </a:lnTo>
                  <a:lnTo>
                    <a:pt x="2464" y="1470"/>
                  </a:lnTo>
                  <a:lnTo>
                    <a:pt x="2468" y="1464"/>
                  </a:lnTo>
                  <a:lnTo>
                    <a:pt x="2473" y="1459"/>
                  </a:lnTo>
                  <a:lnTo>
                    <a:pt x="2476" y="1458"/>
                  </a:lnTo>
                  <a:lnTo>
                    <a:pt x="2479" y="1455"/>
                  </a:lnTo>
                  <a:lnTo>
                    <a:pt x="2482" y="1454"/>
                  </a:lnTo>
                  <a:lnTo>
                    <a:pt x="2487" y="1454"/>
                  </a:lnTo>
                  <a:lnTo>
                    <a:pt x="2498" y="1456"/>
                  </a:lnTo>
                  <a:lnTo>
                    <a:pt x="2509" y="1460"/>
                  </a:lnTo>
                  <a:lnTo>
                    <a:pt x="2515" y="1448"/>
                  </a:lnTo>
                  <a:lnTo>
                    <a:pt x="2519" y="1437"/>
                  </a:lnTo>
                  <a:lnTo>
                    <a:pt x="2521" y="1425"/>
                  </a:lnTo>
                  <a:lnTo>
                    <a:pt x="2521" y="1412"/>
                  </a:lnTo>
                  <a:lnTo>
                    <a:pt x="2521" y="1404"/>
                  </a:lnTo>
                  <a:lnTo>
                    <a:pt x="2521" y="1395"/>
                  </a:lnTo>
                  <a:lnTo>
                    <a:pt x="2521" y="1387"/>
                  </a:lnTo>
                  <a:lnTo>
                    <a:pt x="2521" y="1379"/>
                  </a:lnTo>
                  <a:lnTo>
                    <a:pt x="2515" y="1375"/>
                  </a:lnTo>
                  <a:lnTo>
                    <a:pt x="2509" y="1373"/>
                  </a:lnTo>
                  <a:lnTo>
                    <a:pt x="2505" y="1373"/>
                  </a:lnTo>
                  <a:lnTo>
                    <a:pt x="2503" y="1374"/>
                  </a:lnTo>
                  <a:lnTo>
                    <a:pt x="2500" y="1377"/>
                  </a:lnTo>
                  <a:lnTo>
                    <a:pt x="2498" y="1379"/>
                  </a:lnTo>
                  <a:lnTo>
                    <a:pt x="2492" y="1383"/>
                  </a:lnTo>
                  <a:lnTo>
                    <a:pt x="2487" y="1387"/>
                  </a:lnTo>
                  <a:lnTo>
                    <a:pt x="2471" y="1394"/>
                  </a:lnTo>
                  <a:lnTo>
                    <a:pt x="2454" y="1398"/>
                  </a:lnTo>
                  <a:lnTo>
                    <a:pt x="2438" y="1400"/>
                  </a:lnTo>
                  <a:lnTo>
                    <a:pt x="2421" y="1401"/>
                  </a:lnTo>
                  <a:lnTo>
                    <a:pt x="2409" y="1400"/>
                  </a:lnTo>
                  <a:lnTo>
                    <a:pt x="2399" y="1398"/>
                  </a:lnTo>
                  <a:lnTo>
                    <a:pt x="2391" y="1394"/>
                  </a:lnTo>
                  <a:lnTo>
                    <a:pt x="2382" y="1389"/>
                  </a:lnTo>
                  <a:lnTo>
                    <a:pt x="2366" y="1377"/>
                  </a:lnTo>
                  <a:lnTo>
                    <a:pt x="2350" y="1362"/>
                  </a:lnTo>
                  <a:lnTo>
                    <a:pt x="2340" y="1354"/>
                  </a:lnTo>
                  <a:lnTo>
                    <a:pt x="2330" y="1347"/>
                  </a:lnTo>
                  <a:lnTo>
                    <a:pt x="2320" y="1341"/>
                  </a:lnTo>
                  <a:lnTo>
                    <a:pt x="2311" y="1337"/>
                  </a:lnTo>
                  <a:lnTo>
                    <a:pt x="2290" y="1327"/>
                  </a:lnTo>
                  <a:lnTo>
                    <a:pt x="2268" y="1314"/>
                  </a:lnTo>
                  <a:lnTo>
                    <a:pt x="2268" y="1326"/>
                  </a:lnTo>
                  <a:lnTo>
                    <a:pt x="2268" y="1335"/>
                  </a:lnTo>
                  <a:lnTo>
                    <a:pt x="2268" y="1344"/>
                  </a:lnTo>
                  <a:lnTo>
                    <a:pt x="2268" y="1356"/>
                  </a:lnTo>
                  <a:lnTo>
                    <a:pt x="2270" y="1372"/>
                  </a:lnTo>
                  <a:lnTo>
                    <a:pt x="2272" y="1387"/>
                  </a:lnTo>
                  <a:lnTo>
                    <a:pt x="2275" y="1402"/>
                  </a:lnTo>
                  <a:lnTo>
                    <a:pt x="2276" y="1420"/>
                  </a:lnTo>
                  <a:lnTo>
                    <a:pt x="2276" y="1424"/>
                  </a:lnTo>
                  <a:lnTo>
                    <a:pt x="2275" y="1428"/>
                  </a:lnTo>
                  <a:lnTo>
                    <a:pt x="2273" y="1433"/>
                  </a:lnTo>
                  <a:lnTo>
                    <a:pt x="2271" y="1436"/>
                  </a:lnTo>
                  <a:lnTo>
                    <a:pt x="2265" y="1442"/>
                  </a:lnTo>
                  <a:lnTo>
                    <a:pt x="2259" y="1448"/>
                  </a:lnTo>
                  <a:lnTo>
                    <a:pt x="2251" y="1453"/>
                  </a:lnTo>
                  <a:lnTo>
                    <a:pt x="2244" y="1459"/>
                  </a:lnTo>
                  <a:lnTo>
                    <a:pt x="2235" y="1464"/>
                  </a:lnTo>
                  <a:lnTo>
                    <a:pt x="2229" y="1472"/>
                  </a:lnTo>
                  <a:lnTo>
                    <a:pt x="2223" y="1479"/>
                  </a:lnTo>
                  <a:lnTo>
                    <a:pt x="2219" y="1486"/>
                  </a:lnTo>
                  <a:lnTo>
                    <a:pt x="2217" y="1493"/>
                  </a:lnTo>
                  <a:lnTo>
                    <a:pt x="2215" y="1501"/>
                  </a:lnTo>
                  <a:lnTo>
                    <a:pt x="2210" y="1517"/>
                  </a:lnTo>
                  <a:lnTo>
                    <a:pt x="2204" y="1533"/>
                  </a:lnTo>
                  <a:lnTo>
                    <a:pt x="2199" y="1540"/>
                  </a:lnTo>
                  <a:lnTo>
                    <a:pt x="2194" y="1545"/>
                  </a:lnTo>
                  <a:lnTo>
                    <a:pt x="2190" y="1549"/>
                  </a:lnTo>
                  <a:lnTo>
                    <a:pt x="2184" y="1554"/>
                  </a:lnTo>
                  <a:lnTo>
                    <a:pt x="2179" y="1558"/>
                  </a:lnTo>
                  <a:lnTo>
                    <a:pt x="2174" y="1563"/>
                  </a:lnTo>
                  <a:lnTo>
                    <a:pt x="2168" y="1569"/>
                  </a:lnTo>
                  <a:lnTo>
                    <a:pt x="2164" y="1575"/>
                  </a:lnTo>
                  <a:lnTo>
                    <a:pt x="2158" y="1586"/>
                  </a:lnTo>
                  <a:lnTo>
                    <a:pt x="2154" y="1597"/>
                  </a:lnTo>
                  <a:lnTo>
                    <a:pt x="2150" y="1607"/>
                  </a:lnTo>
                  <a:lnTo>
                    <a:pt x="2147" y="1617"/>
                  </a:lnTo>
                  <a:lnTo>
                    <a:pt x="2140" y="1638"/>
                  </a:lnTo>
                  <a:lnTo>
                    <a:pt x="2136" y="1657"/>
                  </a:lnTo>
                  <a:lnTo>
                    <a:pt x="2131" y="1677"/>
                  </a:lnTo>
                  <a:lnTo>
                    <a:pt x="2126" y="1697"/>
                  </a:lnTo>
                  <a:lnTo>
                    <a:pt x="2123" y="1708"/>
                  </a:lnTo>
                  <a:lnTo>
                    <a:pt x="2118" y="1719"/>
                  </a:lnTo>
                  <a:lnTo>
                    <a:pt x="2114" y="1730"/>
                  </a:lnTo>
                  <a:lnTo>
                    <a:pt x="2109" y="1740"/>
                  </a:lnTo>
                  <a:lnTo>
                    <a:pt x="2103" y="1748"/>
                  </a:lnTo>
                  <a:lnTo>
                    <a:pt x="2099" y="1755"/>
                  </a:lnTo>
                  <a:lnTo>
                    <a:pt x="2094" y="1761"/>
                  </a:lnTo>
                  <a:lnTo>
                    <a:pt x="2088" y="1766"/>
                  </a:lnTo>
                  <a:lnTo>
                    <a:pt x="2075" y="1775"/>
                  </a:lnTo>
                  <a:lnTo>
                    <a:pt x="2062" y="1783"/>
                  </a:lnTo>
                  <a:lnTo>
                    <a:pt x="2032" y="1794"/>
                  </a:lnTo>
                  <a:lnTo>
                    <a:pt x="1999" y="1807"/>
                  </a:lnTo>
                  <a:lnTo>
                    <a:pt x="1988" y="1813"/>
                  </a:lnTo>
                  <a:lnTo>
                    <a:pt x="1978" y="1818"/>
                  </a:lnTo>
                  <a:lnTo>
                    <a:pt x="1969" y="1824"/>
                  </a:lnTo>
                  <a:lnTo>
                    <a:pt x="1961" y="1829"/>
                  </a:lnTo>
                  <a:lnTo>
                    <a:pt x="1946" y="1841"/>
                  </a:lnTo>
                  <a:lnTo>
                    <a:pt x="1932" y="1854"/>
                  </a:lnTo>
                  <a:lnTo>
                    <a:pt x="1904" y="1883"/>
                  </a:lnTo>
                  <a:lnTo>
                    <a:pt x="1873" y="1914"/>
                  </a:lnTo>
                  <a:lnTo>
                    <a:pt x="1853" y="1931"/>
                  </a:lnTo>
                  <a:lnTo>
                    <a:pt x="1833" y="1945"/>
                  </a:lnTo>
                  <a:lnTo>
                    <a:pt x="1826" y="1952"/>
                  </a:lnTo>
                  <a:lnTo>
                    <a:pt x="1819" y="1962"/>
                  </a:lnTo>
                  <a:lnTo>
                    <a:pt x="1817" y="1966"/>
                  </a:lnTo>
                  <a:lnTo>
                    <a:pt x="1815" y="1972"/>
                  </a:lnTo>
                  <a:lnTo>
                    <a:pt x="1814" y="1978"/>
                  </a:lnTo>
                  <a:lnTo>
                    <a:pt x="1814" y="1985"/>
                  </a:lnTo>
                  <a:lnTo>
                    <a:pt x="1815" y="1993"/>
                  </a:lnTo>
                  <a:lnTo>
                    <a:pt x="1817" y="2001"/>
                  </a:lnTo>
                  <a:lnTo>
                    <a:pt x="1820" y="2007"/>
                  </a:lnTo>
                  <a:lnTo>
                    <a:pt x="1825" y="2014"/>
                  </a:lnTo>
                  <a:lnTo>
                    <a:pt x="1829" y="2020"/>
                  </a:lnTo>
                  <a:lnTo>
                    <a:pt x="1833" y="2027"/>
                  </a:lnTo>
                  <a:lnTo>
                    <a:pt x="1837" y="2034"/>
                  </a:lnTo>
                  <a:lnTo>
                    <a:pt x="1839" y="2043"/>
                  </a:lnTo>
                  <a:lnTo>
                    <a:pt x="1843" y="2077"/>
                  </a:lnTo>
                  <a:lnTo>
                    <a:pt x="1845" y="2110"/>
                  </a:lnTo>
                  <a:lnTo>
                    <a:pt x="1846" y="2117"/>
                  </a:lnTo>
                  <a:lnTo>
                    <a:pt x="1848" y="2125"/>
                  </a:lnTo>
                  <a:lnTo>
                    <a:pt x="1851" y="2133"/>
                  </a:lnTo>
                  <a:lnTo>
                    <a:pt x="1854" y="2140"/>
                  </a:lnTo>
                  <a:lnTo>
                    <a:pt x="1857" y="2147"/>
                  </a:lnTo>
                  <a:lnTo>
                    <a:pt x="1861" y="2153"/>
                  </a:lnTo>
                  <a:lnTo>
                    <a:pt x="1867" y="2160"/>
                  </a:lnTo>
                  <a:lnTo>
                    <a:pt x="1873" y="2166"/>
                  </a:lnTo>
                  <a:lnTo>
                    <a:pt x="1870" y="2172"/>
                  </a:lnTo>
                  <a:lnTo>
                    <a:pt x="1867" y="2178"/>
                  </a:lnTo>
                  <a:lnTo>
                    <a:pt x="1864" y="2183"/>
                  </a:lnTo>
                  <a:lnTo>
                    <a:pt x="1859" y="2189"/>
                  </a:lnTo>
                  <a:lnTo>
                    <a:pt x="1851" y="2197"/>
                  </a:lnTo>
                  <a:lnTo>
                    <a:pt x="1842" y="2205"/>
                  </a:lnTo>
                  <a:lnTo>
                    <a:pt x="1832" y="2212"/>
                  </a:lnTo>
                  <a:lnTo>
                    <a:pt x="1824" y="2221"/>
                  </a:lnTo>
                  <a:lnTo>
                    <a:pt x="1816" y="2230"/>
                  </a:lnTo>
                  <a:lnTo>
                    <a:pt x="1809" y="2242"/>
                  </a:lnTo>
                  <a:lnTo>
                    <a:pt x="1799" y="2260"/>
                  </a:lnTo>
                  <a:lnTo>
                    <a:pt x="1791" y="2278"/>
                  </a:lnTo>
                  <a:lnTo>
                    <a:pt x="1784" y="2296"/>
                  </a:lnTo>
                  <a:lnTo>
                    <a:pt x="1778" y="2312"/>
                  </a:lnTo>
                  <a:lnTo>
                    <a:pt x="1766" y="2344"/>
                  </a:lnTo>
                  <a:lnTo>
                    <a:pt x="1757" y="2377"/>
                  </a:lnTo>
                  <a:lnTo>
                    <a:pt x="1746" y="2408"/>
                  </a:lnTo>
                  <a:lnTo>
                    <a:pt x="1734" y="2440"/>
                  </a:lnTo>
                  <a:lnTo>
                    <a:pt x="1726" y="2457"/>
                  </a:lnTo>
                  <a:lnTo>
                    <a:pt x="1719" y="2474"/>
                  </a:lnTo>
                  <a:lnTo>
                    <a:pt x="1709" y="2490"/>
                  </a:lnTo>
                  <a:lnTo>
                    <a:pt x="1699" y="2508"/>
                  </a:lnTo>
                  <a:lnTo>
                    <a:pt x="1692" y="2519"/>
                  </a:lnTo>
                  <a:lnTo>
                    <a:pt x="1684" y="2529"/>
                  </a:lnTo>
                  <a:lnTo>
                    <a:pt x="1677" y="2539"/>
                  </a:lnTo>
                  <a:lnTo>
                    <a:pt x="1671" y="2550"/>
                  </a:lnTo>
                  <a:lnTo>
                    <a:pt x="1669" y="2557"/>
                  </a:lnTo>
                  <a:lnTo>
                    <a:pt x="1669" y="2563"/>
                  </a:lnTo>
                  <a:lnTo>
                    <a:pt x="1669" y="2567"/>
                  </a:lnTo>
                  <a:lnTo>
                    <a:pt x="1669" y="2570"/>
                  </a:lnTo>
                  <a:lnTo>
                    <a:pt x="1667" y="2573"/>
                  </a:lnTo>
                  <a:lnTo>
                    <a:pt x="1666" y="2575"/>
                  </a:lnTo>
                  <a:lnTo>
                    <a:pt x="1641" y="2596"/>
                  </a:lnTo>
                  <a:lnTo>
                    <a:pt x="1621" y="2615"/>
                  </a:lnTo>
                  <a:lnTo>
                    <a:pt x="1600" y="2634"/>
                  </a:lnTo>
                  <a:lnTo>
                    <a:pt x="1581" y="2651"/>
                  </a:lnTo>
                  <a:lnTo>
                    <a:pt x="1560" y="2667"/>
                  </a:lnTo>
                  <a:lnTo>
                    <a:pt x="1538" y="2682"/>
                  </a:lnTo>
                  <a:lnTo>
                    <a:pt x="1514" y="2698"/>
                  </a:lnTo>
                  <a:lnTo>
                    <a:pt x="1486" y="2712"/>
                  </a:lnTo>
                  <a:lnTo>
                    <a:pt x="1460" y="2727"/>
                  </a:lnTo>
                  <a:lnTo>
                    <a:pt x="1437" y="2739"/>
                  </a:lnTo>
                  <a:lnTo>
                    <a:pt x="1426" y="2747"/>
                  </a:lnTo>
                  <a:lnTo>
                    <a:pt x="1415" y="2756"/>
                  </a:lnTo>
                  <a:lnTo>
                    <a:pt x="1405" y="2764"/>
                  </a:lnTo>
                  <a:lnTo>
                    <a:pt x="1394" y="2774"/>
                  </a:lnTo>
                  <a:lnTo>
                    <a:pt x="1394" y="2774"/>
                  </a:lnTo>
                  <a:lnTo>
                    <a:pt x="1358" y="2671"/>
                  </a:lnTo>
                  <a:lnTo>
                    <a:pt x="1356" y="2658"/>
                  </a:lnTo>
                  <a:lnTo>
                    <a:pt x="1353" y="2647"/>
                  </a:lnTo>
                  <a:lnTo>
                    <a:pt x="1351" y="2635"/>
                  </a:lnTo>
                  <a:lnTo>
                    <a:pt x="1349" y="2621"/>
                  </a:lnTo>
                  <a:lnTo>
                    <a:pt x="1351" y="2604"/>
                  </a:lnTo>
                  <a:lnTo>
                    <a:pt x="1354" y="2589"/>
                  </a:lnTo>
                  <a:lnTo>
                    <a:pt x="1355" y="2575"/>
                  </a:lnTo>
                  <a:lnTo>
                    <a:pt x="1358" y="2562"/>
                  </a:lnTo>
                  <a:lnTo>
                    <a:pt x="1361" y="2548"/>
                  </a:lnTo>
                  <a:lnTo>
                    <a:pt x="1366" y="2536"/>
                  </a:lnTo>
                  <a:lnTo>
                    <a:pt x="1369" y="2525"/>
                  </a:lnTo>
                  <a:lnTo>
                    <a:pt x="1374" y="2512"/>
                  </a:lnTo>
                  <a:lnTo>
                    <a:pt x="1378" y="2504"/>
                  </a:lnTo>
                  <a:lnTo>
                    <a:pt x="1382" y="2496"/>
                  </a:lnTo>
                  <a:lnTo>
                    <a:pt x="1394" y="2484"/>
                  </a:lnTo>
                  <a:lnTo>
                    <a:pt x="1405" y="2471"/>
                  </a:lnTo>
                  <a:lnTo>
                    <a:pt x="1407" y="2467"/>
                  </a:lnTo>
                  <a:lnTo>
                    <a:pt x="1410" y="2464"/>
                  </a:lnTo>
                  <a:lnTo>
                    <a:pt x="1414" y="2461"/>
                  </a:lnTo>
                  <a:lnTo>
                    <a:pt x="1420" y="2458"/>
                  </a:lnTo>
                  <a:lnTo>
                    <a:pt x="1424" y="2454"/>
                  </a:lnTo>
                  <a:lnTo>
                    <a:pt x="1429" y="2450"/>
                  </a:lnTo>
                  <a:lnTo>
                    <a:pt x="1439" y="2435"/>
                  </a:lnTo>
                  <a:lnTo>
                    <a:pt x="1449" y="2420"/>
                  </a:lnTo>
                  <a:lnTo>
                    <a:pt x="1452" y="2417"/>
                  </a:lnTo>
                  <a:lnTo>
                    <a:pt x="1455" y="2413"/>
                  </a:lnTo>
                  <a:lnTo>
                    <a:pt x="1455" y="2411"/>
                  </a:lnTo>
                  <a:lnTo>
                    <a:pt x="1455" y="2409"/>
                  </a:lnTo>
                  <a:lnTo>
                    <a:pt x="1456" y="2408"/>
                  </a:lnTo>
                  <a:lnTo>
                    <a:pt x="1457" y="2407"/>
                  </a:lnTo>
                  <a:lnTo>
                    <a:pt x="1459" y="2404"/>
                  </a:lnTo>
                  <a:lnTo>
                    <a:pt x="1460" y="2399"/>
                  </a:lnTo>
                  <a:lnTo>
                    <a:pt x="1463" y="2390"/>
                  </a:lnTo>
                  <a:lnTo>
                    <a:pt x="1464" y="2380"/>
                  </a:lnTo>
                  <a:lnTo>
                    <a:pt x="1462" y="2367"/>
                  </a:lnTo>
                  <a:lnTo>
                    <a:pt x="1459" y="2357"/>
                  </a:lnTo>
                  <a:lnTo>
                    <a:pt x="1455" y="2346"/>
                  </a:lnTo>
                  <a:lnTo>
                    <a:pt x="1454" y="2333"/>
                  </a:lnTo>
                  <a:lnTo>
                    <a:pt x="1453" y="2325"/>
                  </a:lnTo>
                  <a:lnTo>
                    <a:pt x="1452" y="2316"/>
                  </a:lnTo>
                  <a:lnTo>
                    <a:pt x="1450" y="2309"/>
                  </a:lnTo>
                  <a:lnTo>
                    <a:pt x="1446" y="2302"/>
                  </a:lnTo>
                  <a:lnTo>
                    <a:pt x="1442" y="2296"/>
                  </a:lnTo>
                  <a:lnTo>
                    <a:pt x="1437" y="2289"/>
                  </a:lnTo>
                  <a:lnTo>
                    <a:pt x="1432" y="2284"/>
                  </a:lnTo>
                  <a:lnTo>
                    <a:pt x="1426" y="2277"/>
                  </a:lnTo>
                  <a:lnTo>
                    <a:pt x="1413" y="2266"/>
                  </a:lnTo>
                  <a:lnTo>
                    <a:pt x="1400" y="2256"/>
                  </a:lnTo>
                  <a:lnTo>
                    <a:pt x="1386" y="2244"/>
                  </a:lnTo>
                  <a:lnTo>
                    <a:pt x="1374" y="2231"/>
                  </a:lnTo>
                  <a:lnTo>
                    <a:pt x="1368" y="2223"/>
                  </a:lnTo>
                  <a:lnTo>
                    <a:pt x="1364" y="2216"/>
                  </a:lnTo>
                  <a:lnTo>
                    <a:pt x="1359" y="2208"/>
                  </a:lnTo>
                  <a:lnTo>
                    <a:pt x="1356" y="2199"/>
                  </a:lnTo>
                  <a:lnTo>
                    <a:pt x="1351" y="2183"/>
                  </a:lnTo>
                  <a:lnTo>
                    <a:pt x="1346" y="2167"/>
                  </a:lnTo>
                  <a:lnTo>
                    <a:pt x="1341" y="2152"/>
                  </a:lnTo>
                  <a:lnTo>
                    <a:pt x="1333" y="2138"/>
                  </a:lnTo>
                  <a:lnTo>
                    <a:pt x="1329" y="2130"/>
                  </a:lnTo>
                  <a:lnTo>
                    <a:pt x="1324" y="2124"/>
                  </a:lnTo>
                  <a:lnTo>
                    <a:pt x="1317" y="2118"/>
                  </a:lnTo>
                  <a:lnTo>
                    <a:pt x="1310" y="2113"/>
                  </a:lnTo>
                  <a:lnTo>
                    <a:pt x="1291" y="2103"/>
                  </a:lnTo>
                  <a:lnTo>
                    <a:pt x="1274" y="2095"/>
                  </a:lnTo>
                  <a:lnTo>
                    <a:pt x="1258" y="2088"/>
                  </a:lnTo>
                  <a:lnTo>
                    <a:pt x="1241" y="2081"/>
                  </a:lnTo>
                  <a:lnTo>
                    <a:pt x="1225" y="2074"/>
                  </a:lnTo>
                  <a:lnTo>
                    <a:pt x="1210" y="2064"/>
                  </a:lnTo>
                  <a:lnTo>
                    <a:pt x="1203" y="2060"/>
                  </a:lnTo>
                  <a:lnTo>
                    <a:pt x="1195" y="2054"/>
                  </a:lnTo>
                  <a:lnTo>
                    <a:pt x="1187" y="2047"/>
                  </a:lnTo>
                  <a:lnTo>
                    <a:pt x="1181" y="2040"/>
                  </a:lnTo>
                  <a:lnTo>
                    <a:pt x="1150" y="2006"/>
                  </a:lnTo>
                  <a:lnTo>
                    <a:pt x="1122" y="1977"/>
                  </a:lnTo>
                  <a:lnTo>
                    <a:pt x="1093" y="1950"/>
                  </a:lnTo>
                  <a:lnTo>
                    <a:pt x="1060" y="1920"/>
                  </a:lnTo>
                  <a:lnTo>
                    <a:pt x="1055" y="1914"/>
                  </a:lnTo>
                  <a:lnTo>
                    <a:pt x="1050" y="1909"/>
                  </a:lnTo>
                  <a:lnTo>
                    <a:pt x="1047" y="1904"/>
                  </a:lnTo>
                  <a:lnTo>
                    <a:pt x="1045" y="1897"/>
                  </a:lnTo>
                  <a:lnTo>
                    <a:pt x="1041" y="1885"/>
                  </a:lnTo>
                  <a:lnTo>
                    <a:pt x="1037" y="1872"/>
                  </a:lnTo>
                  <a:lnTo>
                    <a:pt x="1034" y="1859"/>
                  </a:lnTo>
                  <a:lnTo>
                    <a:pt x="1030" y="1847"/>
                  </a:lnTo>
                  <a:lnTo>
                    <a:pt x="1027" y="1842"/>
                  </a:lnTo>
                  <a:lnTo>
                    <a:pt x="1023" y="1837"/>
                  </a:lnTo>
                  <a:lnTo>
                    <a:pt x="1018" y="1831"/>
                  </a:lnTo>
                  <a:lnTo>
                    <a:pt x="1012" y="1827"/>
                  </a:lnTo>
                  <a:lnTo>
                    <a:pt x="988" y="1813"/>
                  </a:lnTo>
                  <a:lnTo>
                    <a:pt x="965" y="1801"/>
                  </a:lnTo>
                  <a:lnTo>
                    <a:pt x="941" y="1791"/>
                  </a:lnTo>
                  <a:lnTo>
                    <a:pt x="914" y="1779"/>
                  </a:lnTo>
                  <a:lnTo>
                    <a:pt x="907" y="1777"/>
                  </a:lnTo>
                  <a:lnTo>
                    <a:pt x="900" y="1776"/>
                  </a:lnTo>
                  <a:lnTo>
                    <a:pt x="894" y="1776"/>
                  </a:lnTo>
                  <a:lnTo>
                    <a:pt x="886" y="1777"/>
                  </a:lnTo>
                  <a:lnTo>
                    <a:pt x="880" y="1778"/>
                  </a:lnTo>
                  <a:lnTo>
                    <a:pt x="873" y="1778"/>
                  </a:lnTo>
                  <a:lnTo>
                    <a:pt x="866" y="1778"/>
                  </a:lnTo>
                  <a:lnTo>
                    <a:pt x="858" y="1777"/>
                  </a:lnTo>
                  <a:lnTo>
                    <a:pt x="846" y="1774"/>
                  </a:lnTo>
                  <a:lnTo>
                    <a:pt x="834" y="1772"/>
                  </a:lnTo>
                  <a:lnTo>
                    <a:pt x="829" y="1771"/>
                  </a:lnTo>
                  <a:lnTo>
                    <a:pt x="823" y="1769"/>
                  </a:lnTo>
                  <a:lnTo>
                    <a:pt x="819" y="1766"/>
                  </a:lnTo>
                  <a:lnTo>
                    <a:pt x="814" y="1763"/>
                  </a:lnTo>
                  <a:lnTo>
                    <a:pt x="809" y="1758"/>
                  </a:lnTo>
                  <a:lnTo>
                    <a:pt x="806" y="1753"/>
                  </a:lnTo>
                  <a:lnTo>
                    <a:pt x="804" y="1748"/>
                  </a:lnTo>
                  <a:lnTo>
                    <a:pt x="803" y="1743"/>
                  </a:lnTo>
                  <a:lnTo>
                    <a:pt x="802" y="1731"/>
                  </a:lnTo>
                  <a:lnTo>
                    <a:pt x="800" y="1718"/>
                  </a:lnTo>
                  <a:lnTo>
                    <a:pt x="795" y="1708"/>
                  </a:lnTo>
                  <a:lnTo>
                    <a:pt x="790" y="1699"/>
                  </a:lnTo>
                  <a:lnTo>
                    <a:pt x="785" y="1691"/>
                  </a:lnTo>
                  <a:lnTo>
                    <a:pt x="779" y="1684"/>
                  </a:lnTo>
                  <a:lnTo>
                    <a:pt x="765" y="1670"/>
                  </a:lnTo>
                  <a:lnTo>
                    <a:pt x="752" y="1653"/>
                  </a:lnTo>
                  <a:lnTo>
                    <a:pt x="742" y="1640"/>
                  </a:lnTo>
                  <a:lnTo>
                    <a:pt x="734" y="1628"/>
                  </a:lnTo>
                  <a:lnTo>
                    <a:pt x="725" y="1616"/>
                  </a:lnTo>
                  <a:lnTo>
                    <a:pt x="715" y="1605"/>
                  </a:lnTo>
                  <a:lnTo>
                    <a:pt x="711" y="1601"/>
                  </a:lnTo>
                  <a:lnTo>
                    <a:pt x="706" y="1597"/>
                  </a:lnTo>
                  <a:lnTo>
                    <a:pt x="700" y="1593"/>
                  </a:lnTo>
                  <a:lnTo>
                    <a:pt x="694" y="1589"/>
                  </a:lnTo>
                  <a:lnTo>
                    <a:pt x="687" y="1587"/>
                  </a:lnTo>
                  <a:lnTo>
                    <a:pt x="681" y="1585"/>
                  </a:lnTo>
                  <a:lnTo>
                    <a:pt x="674" y="1584"/>
                  </a:lnTo>
                  <a:lnTo>
                    <a:pt x="666" y="1584"/>
                  </a:lnTo>
                  <a:lnTo>
                    <a:pt x="657" y="1584"/>
                  </a:lnTo>
                  <a:lnTo>
                    <a:pt x="649" y="1585"/>
                  </a:lnTo>
                  <a:lnTo>
                    <a:pt x="640" y="1588"/>
                  </a:lnTo>
                  <a:lnTo>
                    <a:pt x="632" y="1590"/>
                  </a:lnTo>
                  <a:lnTo>
                    <a:pt x="618" y="1598"/>
                  </a:lnTo>
                  <a:lnTo>
                    <a:pt x="605" y="1608"/>
                  </a:lnTo>
                  <a:lnTo>
                    <a:pt x="592" y="1616"/>
                  </a:lnTo>
                  <a:lnTo>
                    <a:pt x="577" y="1624"/>
                  </a:lnTo>
                  <a:lnTo>
                    <a:pt x="570" y="1627"/>
                  </a:lnTo>
                  <a:lnTo>
                    <a:pt x="562" y="1629"/>
                  </a:lnTo>
                  <a:lnTo>
                    <a:pt x="553" y="1630"/>
                  </a:lnTo>
                  <a:lnTo>
                    <a:pt x="544" y="1631"/>
                  </a:lnTo>
                  <a:lnTo>
                    <a:pt x="537" y="1630"/>
                  </a:lnTo>
                  <a:lnTo>
                    <a:pt x="532" y="1627"/>
                  </a:lnTo>
                  <a:lnTo>
                    <a:pt x="528" y="1623"/>
                  </a:lnTo>
                  <a:lnTo>
                    <a:pt x="524" y="1617"/>
                  </a:lnTo>
                  <a:lnTo>
                    <a:pt x="520" y="1603"/>
                  </a:lnTo>
                  <a:lnTo>
                    <a:pt x="517" y="1589"/>
                  </a:lnTo>
                  <a:lnTo>
                    <a:pt x="512" y="1576"/>
                  </a:lnTo>
                  <a:lnTo>
                    <a:pt x="507" y="1566"/>
                  </a:lnTo>
                  <a:lnTo>
                    <a:pt x="503" y="1554"/>
                  </a:lnTo>
                  <a:lnTo>
                    <a:pt x="499" y="1542"/>
                  </a:lnTo>
                  <a:lnTo>
                    <a:pt x="496" y="1522"/>
                  </a:lnTo>
                  <a:lnTo>
                    <a:pt x="492" y="1505"/>
                  </a:lnTo>
                  <a:lnTo>
                    <a:pt x="488" y="1490"/>
                  </a:lnTo>
                  <a:lnTo>
                    <a:pt x="481" y="1475"/>
                  </a:lnTo>
                  <a:lnTo>
                    <a:pt x="475" y="1460"/>
                  </a:lnTo>
                  <a:lnTo>
                    <a:pt x="466" y="1446"/>
                  </a:lnTo>
                  <a:lnTo>
                    <a:pt x="455" y="1432"/>
                  </a:lnTo>
                  <a:lnTo>
                    <a:pt x="443" y="1418"/>
                  </a:lnTo>
                  <a:lnTo>
                    <a:pt x="418" y="1392"/>
                  </a:lnTo>
                  <a:lnTo>
                    <a:pt x="395" y="1368"/>
                  </a:lnTo>
                  <a:lnTo>
                    <a:pt x="372" y="1345"/>
                  </a:lnTo>
                  <a:lnTo>
                    <a:pt x="345" y="1320"/>
                  </a:lnTo>
                  <a:lnTo>
                    <a:pt x="334" y="1311"/>
                  </a:lnTo>
                  <a:lnTo>
                    <a:pt x="323" y="1301"/>
                  </a:lnTo>
                  <a:lnTo>
                    <a:pt x="319" y="1297"/>
                  </a:lnTo>
                  <a:lnTo>
                    <a:pt x="316" y="1291"/>
                  </a:lnTo>
                  <a:lnTo>
                    <a:pt x="312" y="1285"/>
                  </a:lnTo>
                  <a:lnTo>
                    <a:pt x="309" y="1278"/>
                  </a:lnTo>
                  <a:lnTo>
                    <a:pt x="305" y="1267"/>
                  </a:lnTo>
                  <a:lnTo>
                    <a:pt x="301" y="1259"/>
                  </a:lnTo>
                  <a:lnTo>
                    <a:pt x="296" y="1249"/>
                  </a:lnTo>
                  <a:lnTo>
                    <a:pt x="291" y="1242"/>
                  </a:lnTo>
                  <a:lnTo>
                    <a:pt x="285" y="1234"/>
                  </a:lnTo>
                  <a:lnTo>
                    <a:pt x="277" y="1230"/>
                  </a:lnTo>
                  <a:lnTo>
                    <a:pt x="273" y="1227"/>
                  </a:lnTo>
                  <a:lnTo>
                    <a:pt x="268" y="1225"/>
                  </a:lnTo>
                  <a:lnTo>
                    <a:pt x="264" y="1225"/>
                  </a:lnTo>
                  <a:lnTo>
                    <a:pt x="259" y="1224"/>
                  </a:lnTo>
                  <a:lnTo>
                    <a:pt x="249" y="1225"/>
                  </a:lnTo>
                  <a:lnTo>
                    <a:pt x="239" y="1226"/>
                  </a:lnTo>
                  <a:lnTo>
                    <a:pt x="231" y="1227"/>
                  </a:lnTo>
                  <a:lnTo>
                    <a:pt x="222" y="1230"/>
                  </a:lnTo>
                  <a:lnTo>
                    <a:pt x="207" y="1234"/>
                  </a:lnTo>
                  <a:lnTo>
                    <a:pt x="192" y="1240"/>
                  </a:lnTo>
                  <a:lnTo>
                    <a:pt x="175" y="1246"/>
                  </a:lnTo>
                  <a:lnTo>
                    <a:pt x="160" y="1250"/>
                  </a:lnTo>
                  <a:lnTo>
                    <a:pt x="152" y="1252"/>
                  </a:lnTo>
                  <a:lnTo>
                    <a:pt x="143" y="1254"/>
                  </a:lnTo>
                  <a:lnTo>
                    <a:pt x="133" y="1256"/>
                  </a:lnTo>
                  <a:lnTo>
                    <a:pt x="124" y="1256"/>
                  </a:lnTo>
                  <a:lnTo>
                    <a:pt x="106" y="1254"/>
                  </a:lnTo>
                  <a:lnTo>
                    <a:pt x="90" y="1252"/>
                  </a:lnTo>
                  <a:lnTo>
                    <a:pt x="75" y="1248"/>
                  </a:lnTo>
                  <a:lnTo>
                    <a:pt x="61" y="1243"/>
                  </a:lnTo>
                  <a:lnTo>
                    <a:pt x="34" y="1229"/>
                  </a:lnTo>
                  <a:lnTo>
                    <a:pt x="5" y="1211"/>
                  </a:lnTo>
                  <a:lnTo>
                    <a:pt x="5" y="1211"/>
                  </a:lnTo>
                  <a:lnTo>
                    <a:pt x="3" y="1199"/>
                  </a:lnTo>
                  <a:lnTo>
                    <a:pt x="0" y="1188"/>
                  </a:lnTo>
                  <a:lnTo>
                    <a:pt x="2" y="1181"/>
                  </a:lnTo>
                  <a:lnTo>
                    <a:pt x="3" y="1176"/>
                  </a:lnTo>
                  <a:lnTo>
                    <a:pt x="5" y="1171"/>
                  </a:lnTo>
                  <a:lnTo>
                    <a:pt x="8" y="1167"/>
                  </a:lnTo>
                  <a:lnTo>
                    <a:pt x="11" y="1163"/>
                  </a:lnTo>
                  <a:lnTo>
                    <a:pt x="16" y="1159"/>
                  </a:lnTo>
                  <a:lnTo>
                    <a:pt x="21" y="1156"/>
                  </a:lnTo>
                  <a:lnTo>
                    <a:pt x="26" y="1154"/>
                  </a:lnTo>
                  <a:lnTo>
                    <a:pt x="50" y="1144"/>
                  </a:lnTo>
                  <a:lnTo>
                    <a:pt x="74" y="1132"/>
                  </a:lnTo>
                  <a:lnTo>
                    <a:pt x="84" y="1125"/>
                  </a:lnTo>
                  <a:lnTo>
                    <a:pt x="92" y="1117"/>
                  </a:lnTo>
                  <a:lnTo>
                    <a:pt x="99" y="1109"/>
                  </a:lnTo>
                  <a:lnTo>
                    <a:pt x="105" y="1100"/>
                  </a:lnTo>
                  <a:lnTo>
                    <a:pt x="117" y="1081"/>
                  </a:lnTo>
                  <a:lnTo>
                    <a:pt x="129" y="1059"/>
                  </a:lnTo>
                  <a:lnTo>
                    <a:pt x="139" y="1041"/>
                  </a:lnTo>
                  <a:lnTo>
                    <a:pt x="145" y="1023"/>
                  </a:lnTo>
                  <a:lnTo>
                    <a:pt x="150" y="1015"/>
                  </a:lnTo>
                  <a:lnTo>
                    <a:pt x="154" y="1007"/>
                  </a:lnTo>
                  <a:lnTo>
                    <a:pt x="160" y="1001"/>
                  </a:lnTo>
                  <a:lnTo>
                    <a:pt x="169" y="995"/>
                  </a:lnTo>
                  <a:lnTo>
                    <a:pt x="194" y="983"/>
                  </a:lnTo>
                  <a:lnTo>
                    <a:pt x="218" y="973"/>
                  </a:lnTo>
                  <a:lnTo>
                    <a:pt x="227" y="967"/>
                  </a:lnTo>
                  <a:lnTo>
                    <a:pt x="237" y="960"/>
                  </a:lnTo>
                  <a:lnTo>
                    <a:pt x="241" y="955"/>
                  </a:lnTo>
                  <a:lnTo>
                    <a:pt x="246" y="950"/>
                  </a:lnTo>
                  <a:lnTo>
                    <a:pt x="249" y="945"/>
                  </a:lnTo>
                  <a:lnTo>
                    <a:pt x="253" y="939"/>
                  </a:lnTo>
                  <a:lnTo>
                    <a:pt x="265" y="933"/>
                  </a:lnTo>
                  <a:lnTo>
                    <a:pt x="276" y="926"/>
                  </a:lnTo>
                  <a:lnTo>
                    <a:pt x="285" y="919"/>
                  </a:lnTo>
                  <a:lnTo>
                    <a:pt x="294" y="911"/>
                  </a:lnTo>
                  <a:lnTo>
                    <a:pt x="312" y="896"/>
                  </a:lnTo>
                  <a:lnTo>
                    <a:pt x="331" y="880"/>
                  </a:lnTo>
                  <a:lnTo>
                    <a:pt x="346" y="870"/>
                  </a:lnTo>
                  <a:lnTo>
                    <a:pt x="361" y="862"/>
                  </a:lnTo>
                  <a:lnTo>
                    <a:pt x="368" y="857"/>
                  </a:lnTo>
                  <a:lnTo>
                    <a:pt x="373" y="852"/>
                  </a:lnTo>
                  <a:lnTo>
                    <a:pt x="378" y="846"/>
                  </a:lnTo>
                  <a:lnTo>
                    <a:pt x="382" y="838"/>
                  </a:lnTo>
                  <a:lnTo>
                    <a:pt x="384" y="830"/>
                  </a:lnTo>
                  <a:lnTo>
                    <a:pt x="385" y="821"/>
                  </a:lnTo>
                  <a:lnTo>
                    <a:pt x="385" y="814"/>
                  </a:lnTo>
                  <a:lnTo>
                    <a:pt x="385" y="806"/>
                  </a:lnTo>
                  <a:lnTo>
                    <a:pt x="385" y="799"/>
                  </a:lnTo>
                  <a:lnTo>
                    <a:pt x="386" y="791"/>
                  </a:lnTo>
                  <a:lnTo>
                    <a:pt x="389" y="784"/>
                  </a:lnTo>
                  <a:lnTo>
                    <a:pt x="393" y="776"/>
                  </a:lnTo>
                  <a:lnTo>
                    <a:pt x="397" y="771"/>
                  </a:lnTo>
                  <a:lnTo>
                    <a:pt x="402" y="766"/>
                  </a:lnTo>
                  <a:lnTo>
                    <a:pt x="407" y="763"/>
                  </a:lnTo>
                  <a:lnTo>
                    <a:pt x="412" y="761"/>
                  </a:lnTo>
                  <a:lnTo>
                    <a:pt x="424" y="757"/>
                  </a:lnTo>
                  <a:lnTo>
                    <a:pt x="436" y="754"/>
                  </a:lnTo>
                  <a:lnTo>
                    <a:pt x="448" y="752"/>
                  </a:lnTo>
                  <a:lnTo>
                    <a:pt x="461" y="749"/>
                  </a:lnTo>
                  <a:lnTo>
                    <a:pt x="466" y="747"/>
                  </a:lnTo>
                  <a:lnTo>
                    <a:pt x="471" y="745"/>
                  </a:lnTo>
                  <a:lnTo>
                    <a:pt x="478" y="741"/>
                  </a:lnTo>
                  <a:lnTo>
                    <a:pt x="482" y="737"/>
                  </a:lnTo>
                  <a:lnTo>
                    <a:pt x="503" y="720"/>
                  </a:lnTo>
                  <a:lnTo>
                    <a:pt x="522" y="705"/>
                  </a:lnTo>
                  <a:lnTo>
                    <a:pt x="531" y="697"/>
                  </a:lnTo>
                  <a:lnTo>
                    <a:pt x="541" y="690"/>
                  </a:lnTo>
                  <a:lnTo>
                    <a:pt x="549" y="680"/>
                  </a:lnTo>
                  <a:lnTo>
                    <a:pt x="558" y="670"/>
                  </a:lnTo>
                  <a:lnTo>
                    <a:pt x="571" y="652"/>
                  </a:lnTo>
                  <a:lnTo>
                    <a:pt x="580" y="633"/>
                  </a:lnTo>
                  <a:lnTo>
                    <a:pt x="585" y="625"/>
                  </a:lnTo>
                  <a:lnTo>
                    <a:pt x="590" y="617"/>
                  </a:lnTo>
                  <a:lnTo>
                    <a:pt x="596" y="609"/>
                  </a:lnTo>
                  <a:lnTo>
                    <a:pt x="603" y="600"/>
                  </a:lnTo>
                  <a:lnTo>
                    <a:pt x="612" y="592"/>
                  </a:lnTo>
                  <a:lnTo>
                    <a:pt x="622" y="586"/>
                  </a:lnTo>
                  <a:lnTo>
                    <a:pt x="626" y="583"/>
                  </a:lnTo>
                  <a:lnTo>
                    <a:pt x="629" y="578"/>
                  </a:lnTo>
                  <a:lnTo>
                    <a:pt x="632" y="574"/>
                  </a:lnTo>
                  <a:lnTo>
                    <a:pt x="634" y="569"/>
                  </a:lnTo>
                  <a:lnTo>
                    <a:pt x="636" y="557"/>
                  </a:lnTo>
                  <a:lnTo>
                    <a:pt x="636" y="546"/>
                  </a:lnTo>
                  <a:lnTo>
                    <a:pt x="636" y="541"/>
                  </a:lnTo>
                  <a:lnTo>
                    <a:pt x="636" y="535"/>
                  </a:lnTo>
                  <a:lnTo>
                    <a:pt x="638" y="530"/>
                  </a:lnTo>
                  <a:lnTo>
                    <a:pt x="640" y="524"/>
                  </a:lnTo>
                  <a:lnTo>
                    <a:pt x="652" y="518"/>
                  </a:lnTo>
                  <a:lnTo>
                    <a:pt x="665" y="513"/>
                  </a:lnTo>
                  <a:lnTo>
                    <a:pt x="674" y="502"/>
                  </a:lnTo>
                  <a:lnTo>
                    <a:pt x="684" y="493"/>
                  </a:lnTo>
                  <a:lnTo>
                    <a:pt x="690" y="490"/>
                  </a:lnTo>
                  <a:lnTo>
                    <a:pt x="696" y="487"/>
                  </a:lnTo>
                  <a:lnTo>
                    <a:pt x="703" y="486"/>
                  </a:lnTo>
                  <a:lnTo>
                    <a:pt x="710" y="484"/>
                  </a:lnTo>
                  <a:lnTo>
                    <a:pt x="713" y="486"/>
                  </a:lnTo>
                  <a:lnTo>
                    <a:pt x="718" y="487"/>
                  </a:lnTo>
                  <a:lnTo>
                    <a:pt x="721" y="488"/>
                  </a:lnTo>
                  <a:lnTo>
                    <a:pt x="723" y="490"/>
                  </a:lnTo>
                  <a:lnTo>
                    <a:pt x="728" y="495"/>
                  </a:lnTo>
                  <a:lnTo>
                    <a:pt x="733" y="501"/>
                  </a:lnTo>
                  <a:lnTo>
                    <a:pt x="737" y="508"/>
                  </a:lnTo>
                  <a:lnTo>
                    <a:pt x="742" y="515"/>
                  </a:lnTo>
                  <a:lnTo>
                    <a:pt x="748" y="520"/>
                  </a:lnTo>
                  <a:lnTo>
                    <a:pt x="754" y="524"/>
                  </a:lnTo>
                  <a:lnTo>
                    <a:pt x="760" y="525"/>
                  </a:lnTo>
                  <a:lnTo>
                    <a:pt x="765" y="527"/>
                  </a:lnTo>
                  <a:lnTo>
                    <a:pt x="769" y="525"/>
                  </a:lnTo>
                  <a:lnTo>
                    <a:pt x="775" y="524"/>
                  </a:lnTo>
                  <a:lnTo>
                    <a:pt x="779" y="522"/>
                  </a:lnTo>
                  <a:lnTo>
                    <a:pt x="784" y="519"/>
                  </a:lnTo>
                  <a:lnTo>
                    <a:pt x="788" y="516"/>
                  </a:lnTo>
                  <a:lnTo>
                    <a:pt x="792" y="511"/>
                  </a:lnTo>
                  <a:lnTo>
                    <a:pt x="799" y="502"/>
                  </a:lnTo>
                  <a:lnTo>
                    <a:pt x="803" y="491"/>
                  </a:lnTo>
                  <a:lnTo>
                    <a:pt x="806" y="479"/>
                  </a:lnTo>
                  <a:lnTo>
                    <a:pt x="807" y="468"/>
                  </a:lnTo>
                  <a:lnTo>
                    <a:pt x="806" y="456"/>
                  </a:lnTo>
                  <a:lnTo>
                    <a:pt x="804" y="446"/>
                  </a:lnTo>
                  <a:lnTo>
                    <a:pt x="801" y="436"/>
                  </a:lnTo>
                  <a:lnTo>
                    <a:pt x="800" y="424"/>
                  </a:lnTo>
                  <a:lnTo>
                    <a:pt x="798" y="413"/>
                  </a:lnTo>
                  <a:lnTo>
                    <a:pt x="795" y="403"/>
                  </a:lnTo>
                  <a:lnTo>
                    <a:pt x="794" y="399"/>
                  </a:lnTo>
                  <a:lnTo>
                    <a:pt x="794" y="396"/>
                  </a:lnTo>
                  <a:lnTo>
                    <a:pt x="796" y="392"/>
                  </a:lnTo>
                  <a:lnTo>
                    <a:pt x="800" y="388"/>
                  </a:lnTo>
                  <a:lnTo>
                    <a:pt x="805" y="385"/>
                  </a:lnTo>
                  <a:lnTo>
                    <a:pt x="812" y="384"/>
                  </a:lnTo>
                  <a:lnTo>
                    <a:pt x="817" y="384"/>
                  </a:lnTo>
                  <a:lnTo>
                    <a:pt x="823" y="386"/>
                  </a:lnTo>
                  <a:lnTo>
                    <a:pt x="830" y="387"/>
                  </a:lnTo>
                  <a:lnTo>
                    <a:pt x="836" y="388"/>
                  </a:lnTo>
                  <a:lnTo>
                    <a:pt x="843" y="388"/>
                  </a:lnTo>
                  <a:lnTo>
                    <a:pt x="849" y="386"/>
                  </a:lnTo>
                  <a:lnTo>
                    <a:pt x="861" y="380"/>
                  </a:lnTo>
                  <a:lnTo>
                    <a:pt x="872" y="371"/>
                  </a:lnTo>
                  <a:lnTo>
                    <a:pt x="882" y="361"/>
                  </a:lnTo>
                  <a:lnTo>
                    <a:pt x="889" y="352"/>
                  </a:lnTo>
                  <a:lnTo>
                    <a:pt x="904" y="330"/>
                  </a:lnTo>
                  <a:lnTo>
                    <a:pt x="917" y="308"/>
                  </a:lnTo>
                  <a:lnTo>
                    <a:pt x="924" y="299"/>
                  </a:lnTo>
                  <a:lnTo>
                    <a:pt x="931" y="288"/>
                  </a:lnTo>
                  <a:lnTo>
                    <a:pt x="939" y="278"/>
                  </a:lnTo>
                  <a:lnTo>
                    <a:pt x="948" y="270"/>
                  </a:lnTo>
                  <a:lnTo>
                    <a:pt x="956" y="262"/>
                  </a:lnTo>
                  <a:lnTo>
                    <a:pt x="967" y="255"/>
                  </a:lnTo>
                  <a:lnTo>
                    <a:pt x="979" y="250"/>
                  </a:lnTo>
                  <a:lnTo>
                    <a:pt x="993" y="247"/>
                  </a:lnTo>
                  <a:lnTo>
                    <a:pt x="993" y="239"/>
                  </a:lnTo>
                  <a:lnTo>
                    <a:pt x="993" y="232"/>
                  </a:lnTo>
                  <a:lnTo>
                    <a:pt x="992" y="220"/>
                  </a:lnTo>
                  <a:lnTo>
                    <a:pt x="991" y="208"/>
                  </a:lnTo>
                  <a:lnTo>
                    <a:pt x="992" y="203"/>
                  </a:lnTo>
                  <a:lnTo>
                    <a:pt x="993" y="197"/>
                  </a:lnTo>
                  <a:lnTo>
                    <a:pt x="995" y="193"/>
                  </a:lnTo>
                  <a:lnTo>
                    <a:pt x="998" y="187"/>
                  </a:lnTo>
                  <a:lnTo>
                    <a:pt x="1002" y="184"/>
                  </a:lnTo>
                  <a:lnTo>
                    <a:pt x="1006" y="182"/>
                  </a:lnTo>
                  <a:lnTo>
                    <a:pt x="1009" y="180"/>
                  </a:lnTo>
                  <a:lnTo>
                    <a:pt x="1014" y="179"/>
                  </a:lnTo>
                  <a:lnTo>
                    <a:pt x="1022" y="177"/>
                  </a:lnTo>
                  <a:lnTo>
                    <a:pt x="1031" y="177"/>
                  </a:lnTo>
                  <a:lnTo>
                    <a:pt x="1041" y="177"/>
                  </a:lnTo>
                  <a:lnTo>
                    <a:pt x="1050" y="176"/>
                  </a:lnTo>
                  <a:lnTo>
                    <a:pt x="1059" y="174"/>
                  </a:lnTo>
                  <a:lnTo>
                    <a:pt x="1069" y="171"/>
                  </a:lnTo>
                  <a:lnTo>
                    <a:pt x="1076" y="166"/>
                  </a:lnTo>
                  <a:lnTo>
                    <a:pt x="1084" y="160"/>
                  </a:lnTo>
                  <a:lnTo>
                    <a:pt x="1090" y="154"/>
                  </a:lnTo>
                  <a:lnTo>
                    <a:pt x="1096" y="146"/>
                  </a:lnTo>
                  <a:lnTo>
                    <a:pt x="1106" y="132"/>
                  </a:lnTo>
                  <a:lnTo>
                    <a:pt x="1115" y="117"/>
                  </a:lnTo>
                  <a:lnTo>
                    <a:pt x="1121" y="110"/>
                  </a:lnTo>
                  <a:lnTo>
                    <a:pt x="1125" y="103"/>
                  </a:lnTo>
                  <a:lnTo>
                    <a:pt x="1130" y="97"/>
                  </a:lnTo>
                  <a:lnTo>
                    <a:pt x="1136" y="92"/>
                  </a:lnTo>
                  <a:lnTo>
                    <a:pt x="1142" y="87"/>
                  </a:lnTo>
                  <a:lnTo>
                    <a:pt x="1150" y="84"/>
                  </a:lnTo>
                  <a:lnTo>
                    <a:pt x="1157" y="82"/>
                  </a:lnTo>
                  <a:lnTo>
                    <a:pt x="1167" y="82"/>
                  </a:lnTo>
                  <a:lnTo>
                    <a:pt x="1183" y="83"/>
                  </a:lnTo>
                  <a:lnTo>
                    <a:pt x="1197" y="86"/>
                  </a:lnTo>
                  <a:lnTo>
                    <a:pt x="1212" y="88"/>
                  </a:lnTo>
                  <a:lnTo>
                    <a:pt x="1229" y="89"/>
                  </a:lnTo>
                  <a:lnTo>
                    <a:pt x="1234" y="89"/>
                  </a:lnTo>
                  <a:lnTo>
                    <a:pt x="1238" y="87"/>
                  </a:lnTo>
                  <a:lnTo>
                    <a:pt x="1241" y="84"/>
                  </a:lnTo>
                  <a:lnTo>
                    <a:pt x="1245" y="81"/>
                  </a:lnTo>
                  <a:lnTo>
                    <a:pt x="1251" y="72"/>
                  </a:lnTo>
                  <a:lnTo>
                    <a:pt x="1259" y="64"/>
                  </a:lnTo>
                  <a:lnTo>
                    <a:pt x="1279" y="51"/>
                  </a:lnTo>
                  <a:lnTo>
                    <a:pt x="1297" y="41"/>
                  </a:lnTo>
                  <a:lnTo>
                    <a:pt x="1316" y="32"/>
                  </a:lnTo>
                  <a:lnTo>
                    <a:pt x="1338" y="22"/>
                  </a:lnTo>
                  <a:lnTo>
                    <a:pt x="1347" y="19"/>
                  </a:lnTo>
                  <a:lnTo>
                    <a:pt x="1357" y="16"/>
                  </a:lnTo>
                  <a:lnTo>
                    <a:pt x="1367" y="11"/>
                  </a:lnTo>
                  <a:lnTo>
                    <a:pt x="1378" y="9"/>
                  </a:lnTo>
                  <a:lnTo>
                    <a:pt x="1381" y="8"/>
                  </a:lnTo>
                  <a:lnTo>
                    <a:pt x="1385" y="8"/>
                  </a:lnTo>
                  <a:lnTo>
                    <a:pt x="1395" y="9"/>
                  </a:lnTo>
                  <a:lnTo>
                    <a:pt x="1403" y="12"/>
                  </a:lnTo>
                  <a:lnTo>
                    <a:pt x="1411" y="15"/>
                  </a:lnTo>
                  <a:lnTo>
                    <a:pt x="1422" y="17"/>
                  </a:lnTo>
                  <a:lnTo>
                    <a:pt x="1426" y="14"/>
                  </a:lnTo>
                  <a:lnTo>
                    <a:pt x="1430" y="10"/>
                  </a:lnTo>
                  <a:lnTo>
                    <a:pt x="1430" y="1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63">
              <a:extLst>
                <a:ext uri="{FF2B5EF4-FFF2-40B4-BE49-F238E27FC236}">
                  <a16:creationId xmlns:a16="http://schemas.microsoft.com/office/drawing/2014/main" id="{BF2F1346-7F3B-4F6E-9346-038CB2E64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73500" y="5399088"/>
              <a:ext cx="803275" cy="561975"/>
            </a:xfrm>
            <a:custGeom>
              <a:avLst/>
              <a:gdLst>
                <a:gd name="T0" fmla="*/ 42 w 2027"/>
                <a:gd name="T1" fmla="*/ 344 h 1415"/>
                <a:gd name="T2" fmla="*/ 126 w 2027"/>
                <a:gd name="T3" fmla="*/ 206 h 1415"/>
                <a:gd name="T4" fmla="*/ 112 w 2027"/>
                <a:gd name="T5" fmla="*/ 126 h 1415"/>
                <a:gd name="T6" fmla="*/ 113 w 2027"/>
                <a:gd name="T7" fmla="*/ 41 h 1415"/>
                <a:gd name="T8" fmla="*/ 215 w 2027"/>
                <a:gd name="T9" fmla="*/ 47 h 1415"/>
                <a:gd name="T10" fmla="*/ 290 w 2027"/>
                <a:gd name="T11" fmla="*/ 23 h 1415"/>
                <a:gd name="T12" fmla="*/ 343 w 2027"/>
                <a:gd name="T13" fmla="*/ 54 h 1415"/>
                <a:gd name="T14" fmla="*/ 448 w 2027"/>
                <a:gd name="T15" fmla="*/ 94 h 1415"/>
                <a:gd name="T16" fmla="*/ 574 w 2027"/>
                <a:gd name="T17" fmla="*/ 99 h 1415"/>
                <a:gd name="T18" fmla="*/ 751 w 2027"/>
                <a:gd name="T19" fmla="*/ 167 h 1415"/>
                <a:gd name="T20" fmla="*/ 908 w 2027"/>
                <a:gd name="T21" fmla="*/ 241 h 1415"/>
                <a:gd name="T22" fmla="*/ 974 w 2027"/>
                <a:gd name="T23" fmla="*/ 273 h 1415"/>
                <a:gd name="T24" fmla="*/ 1021 w 2027"/>
                <a:gd name="T25" fmla="*/ 233 h 1415"/>
                <a:gd name="T26" fmla="*/ 1038 w 2027"/>
                <a:gd name="T27" fmla="*/ 154 h 1415"/>
                <a:gd name="T28" fmla="*/ 1090 w 2027"/>
                <a:gd name="T29" fmla="*/ 118 h 1415"/>
                <a:gd name="T30" fmla="*/ 1197 w 2027"/>
                <a:gd name="T31" fmla="*/ 30 h 1415"/>
                <a:gd name="T32" fmla="*/ 1317 w 2027"/>
                <a:gd name="T33" fmla="*/ 1 h 1415"/>
                <a:gd name="T34" fmla="*/ 1605 w 2027"/>
                <a:gd name="T35" fmla="*/ 61 h 1415"/>
                <a:gd name="T36" fmla="*/ 1769 w 2027"/>
                <a:gd name="T37" fmla="*/ 93 h 1415"/>
                <a:gd name="T38" fmla="*/ 1866 w 2027"/>
                <a:gd name="T39" fmla="*/ 82 h 1415"/>
                <a:gd name="T40" fmla="*/ 1993 w 2027"/>
                <a:gd name="T41" fmla="*/ 114 h 1415"/>
                <a:gd name="T42" fmla="*/ 1976 w 2027"/>
                <a:gd name="T43" fmla="*/ 162 h 1415"/>
                <a:gd name="T44" fmla="*/ 2009 w 2027"/>
                <a:gd name="T45" fmla="*/ 251 h 1415"/>
                <a:gd name="T46" fmla="*/ 2011 w 2027"/>
                <a:gd name="T47" fmla="*/ 409 h 1415"/>
                <a:gd name="T48" fmla="*/ 2026 w 2027"/>
                <a:gd name="T49" fmla="*/ 541 h 1415"/>
                <a:gd name="T50" fmla="*/ 2002 w 2027"/>
                <a:gd name="T51" fmla="*/ 584 h 1415"/>
                <a:gd name="T52" fmla="*/ 1991 w 2027"/>
                <a:gd name="T53" fmla="*/ 641 h 1415"/>
                <a:gd name="T54" fmla="*/ 1955 w 2027"/>
                <a:gd name="T55" fmla="*/ 749 h 1415"/>
                <a:gd name="T56" fmla="*/ 1908 w 2027"/>
                <a:gd name="T57" fmla="*/ 904 h 1415"/>
                <a:gd name="T58" fmla="*/ 1879 w 2027"/>
                <a:gd name="T59" fmla="*/ 1037 h 1415"/>
                <a:gd name="T60" fmla="*/ 1843 w 2027"/>
                <a:gd name="T61" fmla="*/ 1079 h 1415"/>
                <a:gd name="T62" fmla="*/ 1801 w 2027"/>
                <a:gd name="T63" fmla="*/ 1077 h 1415"/>
                <a:gd name="T64" fmla="*/ 1815 w 2027"/>
                <a:gd name="T65" fmla="*/ 1130 h 1415"/>
                <a:gd name="T66" fmla="*/ 1769 w 2027"/>
                <a:gd name="T67" fmla="*/ 1144 h 1415"/>
                <a:gd name="T68" fmla="*/ 1717 w 2027"/>
                <a:gd name="T69" fmla="*/ 1175 h 1415"/>
                <a:gd name="T70" fmla="*/ 1585 w 2027"/>
                <a:gd name="T71" fmla="*/ 1281 h 1415"/>
                <a:gd name="T72" fmla="*/ 1469 w 2027"/>
                <a:gd name="T73" fmla="*/ 1415 h 1415"/>
                <a:gd name="T74" fmla="*/ 1328 w 2027"/>
                <a:gd name="T75" fmla="*/ 1384 h 1415"/>
                <a:gd name="T76" fmla="*/ 1312 w 2027"/>
                <a:gd name="T77" fmla="*/ 1331 h 1415"/>
                <a:gd name="T78" fmla="*/ 1359 w 2027"/>
                <a:gd name="T79" fmla="*/ 1230 h 1415"/>
                <a:gd name="T80" fmla="*/ 1354 w 2027"/>
                <a:gd name="T81" fmla="*/ 1073 h 1415"/>
                <a:gd name="T82" fmla="*/ 1314 w 2027"/>
                <a:gd name="T83" fmla="*/ 1018 h 1415"/>
                <a:gd name="T84" fmla="*/ 1236 w 2027"/>
                <a:gd name="T85" fmla="*/ 1001 h 1415"/>
                <a:gd name="T86" fmla="*/ 1166 w 2027"/>
                <a:gd name="T87" fmla="*/ 936 h 1415"/>
                <a:gd name="T88" fmla="*/ 1062 w 2027"/>
                <a:gd name="T89" fmla="*/ 826 h 1415"/>
                <a:gd name="T90" fmla="*/ 964 w 2027"/>
                <a:gd name="T91" fmla="*/ 715 h 1415"/>
                <a:gd name="T92" fmla="*/ 853 w 2027"/>
                <a:gd name="T93" fmla="*/ 578 h 1415"/>
                <a:gd name="T94" fmla="*/ 803 w 2027"/>
                <a:gd name="T95" fmla="*/ 557 h 1415"/>
                <a:gd name="T96" fmla="*/ 719 w 2027"/>
                <a:gd name="T97" fmla="*/ 552 h 1415"/>
                <a:gd name="T98" fmla="*/ 696 w 2027"/>
                <a:gd name="T99" fmla="*/ 480 h 1415"/>
                <a:gd name="T100" fmla="*/ 547 w 2027"/>
                <a:gd name="T101" fmla="*/ 445 h 1415"/>
                <a:gd name="T102" fmla="*/ 398 w 2027"/>
                <a:gd name="T103" fmla="*/ 442 h 1415"/>
                <a:gd name="T104" fmla="*/ 346 w 2027"/>
                <a:gd name="T105" fmla="*/ 403 h 1415"/>
                <a:gd name="T106" fmla="*/ 289 w 2027"/>
                <a:gd name="T107" fmla="*/ 422 h 1415"/>
                <a:gd name="T108" fmla="*/ 233 w 2027"/>
                <a:gd name="T109" fmla="*/ 442 h 1415"/>
                <a:gd name="T110" fmla="*/ 177 w 2027"/>
                <a:gd name="T111" fmla="*/ 413 h 1415"/>
                <a:gd name="T112" fmla="*/ 98 w 2027"/>
                <a:gd name="T113" fmla="*/ 431 h 1415"/>
                <a:gd name="T114" fmla="*/ 20 w 2027"/>
                <a:gd name="T115" fmla="*/ 415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27" h="1415">
                  <a:moveTo>
                    <a:pt x="0" y="411"/>
                  </a:moveTo>
                  <a:lnTo>
                    <a:pt x="6" y="407"/>
                  </a:lnTo>
                  <a:lnTo>
                    <a:pt x="10" y="402"/>
                  </a:lnTo>
                  <a:lnTo>
                    <a:pt x="15" y="395"/>
                  </a:lnTo>
                  <a:lnTo>
                    <a:pt x="18" y="390"/>
                  </a:lnTo>
                  <a:lnTo>
                    <a:pt x="24" y="377"/>
                  </a:lnTo>
                  <a:lnTo>
                    <a:pt x="31" y="365"/>
                  </a:lnTo>
                  <a:lnTo>
                    <a:pt x="42" y="344"/>
                  </a:lnTo>
                  <a:lnTo>
                    <a:pt x="53" y="328"/>
                  </a:lnTo>
                  <a:lnTo>
                    <a:pt x="64" y="311"/>
                  </a:lnTo>
                  <a:lnTo>
                    <a:pt x="76" y="291"/>
                  </a:lnTo>
                  <a:lnTo>
                    <a:pt x="93" y="263"/>
                  </a:lnTo>
                  <a:lnTo>
                    <a:pt x="111" y="240"/>
                  </a:lnTo>
                  <a:lnTo>
                    <a:pt x="118" y="227"/>
                  </a:lnTo>
                  <a:lnTo>
                    <a:pt x="124" y="214"/>
                  </a:lnTo>
                  <a:lnTo>
                    <a:pt x="126" y="206"/>
                  </a:lnTo>
                  <a:lnTo>
                    <a:pt x="128" y="199"/>
                  </a:lnTo>
                  <a:lnTo>
                    <a:pt x="129" y="191"/>
                  </a:lnTo>
                  <a:lnTo>
                    <a:pt x="129" y="182"/>
                  </a:lnTo>
                  <a:lnTo>
                    <a:pt x="128" y="169"/>
                  </a:lnTo>
                  <a:lnTo>
                    <a:pt x="125" y="158"/>
                  </a:lnTo>
                  <a:lnTo>
                    <a:pt x="121" y="147"/>
                  </a:lnTo>
                  <a:lnTo>
                    <a:pt x="116" y="137"/>
                  </a:lnTo>
                  <a:lnTo>
                    <a:pt x="112" y="126"/>
                  </a:lnTo>
                  <a:lnTo>
                    <a:pt x="107" y="115"/>
                  </a:lnTo>
                  <a:lnTo>
                    <a:pt x="105" y="105"/>
                  </a:lnTo>
                  <a:lnTo>
                    <a:pt x="104" y="92"/>
                  </a:lnTo>
                  <a:lnTo>
                    <a:pt x="104" y="78"/>
                  </a:lnTo>
                  <a:lnTo>
                    <a:pt x="106" y="65"/>
                  </a:lnTo>
                  <a:lnTo>
                    <a:pt x="110" y="52"/>
                  </a:lnTo>
                  <a:lnTo>
                    <a:pt x="113" y="41"/>
                  </a:lnTo>
                  <a:lnTo>
                    <a:pt x="113" y="41"/>
                  </a:lnTo>
                  <a:lnTo>
                    <a:pt x="123" y="43"/>
                  </a:lnTo>
                  <a:lnTo>
                    <a:pt x="132" y="45"/>
                  </a:lnTo>
                  <a:lnTo>
                    <a:pt x="142" y="47"/>
                  </a:lnTo>
                  <a:lnTo>
                    <a:pt x="152" y="47"/>
                  </a:lnTo>
                  <a:lnTo>
                    <a:pt x="169" y="47"/>
                  </a:lnTo>
                  <a:lnTo>
                    <a:pt x="183" y="47"/>
                  </a:lnTo>
                  <a:lnTo>
                    <a:pt x="198" y="47"/>
                  </a:lnTo>
                  <a:lnTo>
                    <a:pt x="215" y="47"/>
                  </a:lnTo>
                  <a:lnTo>
                    <a:pt x="226" y="46"/>
                  </a:lnTo>
                  <a:lnTo>
                    <a:pt x="236" y="44"/>
                  </a:lnTo>
                  <a:lnTo>
                    <a:pt x="245" y="40"/>
                  </a:lnTo>
                  <a:lnTo>
                    <a:pt x="252" y="35"/>
                  </a:lnTo>
                  <a:lnTo>
                    <a:pt x="261" y="30"/>
                  </a:lnTo>
                  <a:lnTo>
                    <a:pt x="269" y="27"/>
                  </a:lnTo>
                  <a:lnTo>
                    <a:pt x="279" y="24"/>
                  </a:lnTo>
                  <a:lnTo>
                    <a:pt x="290" y="23"/>
                  </a:lnTo>
                  <a:lnTo>
                    <a:pt x="296" y="23"/>
                  </a:lnTo>
                  <a:lnTo>
                    <a:pt x="302" y="24"/>
                  </a:lnTo>
                  <a:lnTo>
                    <a:pt x="306" y="26"/>
                  </a:lnTo>
                  <a:lnTo>
                    <a:pt x="310" y="28"/>
                  </a:lnTo>
                  <a:lnTo>
                    <a:pt x="319" y="33"/>
                  </a:lnTo>
                  <a:lnTo>
                    <a:pt x="327" y="40"/>
                  </a:lnTo>
                  <a:lnTo>
                    <a:pt x="334" y="46"/>
                  </a:lnTo>
                  <a:lnTo>
                    <a:pt x="343" y="54"/>
                  </a:lnTo>
                  <a:lnTo>
                    <a:pt x="352" y="61"/>
                  </a:lnTo>
                  <a:lnTo>
                    <a:pt x="361" y="68"/>
                  </a:lnTo>
                  <a:lnTo>
                    <a:pt x="376" y="74"/>
                  </a:lnTo>
                  <a:lnTo>
                    <a:pt x="391" y="81"/>
                  </a:lnTo>
                  <a:lnTo>
                    <a:pt x="406" y="85"/>
                  </a:lnTo>
                  <a:lnTo>
                    <a:pt x="418" y="89"/>
                  </a:lnTo>
                  <a:lnTo>
                    <a:pt x="433" y="92"/>
                  </a:lnTo>
                  <a:lnTo>
                    <a:pt x="448" y="94"/>
                  </a:lnTo>
                  <a:lnTo>
                    <a:pt x="463" y="95"/>
                  </a:lnTo>
                  <a:lnTo>
                    <a:pt x="480" y="96"/>
                  </a:lnTo>
                  <a:lnTo>
                    <a:pt x="497" y="96"/>
                  </a:lnTo>
                  <a:lnTo>
                    <a:pt x="512" y="96"/>
                  </a:lnTo>
                  <a:lnTo>
                    <a:pt x="529" y="96"/>
                  </a:lnTo>
                  <a:lnTo>
                    <a:pt x="546" y="96"/>
                  </a:lnTo>
                  <a:lnTo>
                    <a:pt x="560" y="96"/>
                  </a:lnTo>
                  <a:lnTo>
                    <a:pt x="574" y="99"/>
                  </a:lnTo>
                  <a:lnTo>
                    <a:pt x="586" y="102"/>
                  </a:lnTo>
                  <a:lnTo>
                    <a:pt x="598" y="108"/>
                  </a:lnTo>
                  <a:lnTo>
                    <a:pt x="620" y="119"/>
                  </a:lnTo>
                  <a:lnTo>
                    <a:pt x="647" y="129"/>
                  </a:lnTo>
                  <a:lnTo>
                    <a:pt x="677" y="138"/>
                  </a:lnTo>
                  <a:lnTo>
                    <a:pt x="704" y="148"/>
                  </a:lnTo>
                  <a:lnTo>
                    <a:pt x="727" y="158"/>
                  </a:lnTo>
                  <a:lnTo>
                    <a:pt x="751" y="167"/>
                  </a:lnTo>
                  <a:lnTo>
                    <a:pt x="775" y="178"/>
                  </a:lnTo>
                  <a:lnTo>
                    <a:pt x="799" y="189"/>
                  </a:lnTo>
                  <a:lnTo>
                    <a:pt x="825" y="201"/>
                  </a:lnTo>
                  <a:lnTo>
                    <a:pt x="852" y="214"/>
                  </a:lnTo>
                  <a:lnTo>
                    <a:pt x="868" y="220"/>
                  </a:lnTo>
                  <a:lnTo>
                    <a:pt x="881" y="226"/>
                  </a:lnTo>
                  <a:lnTo>
                    <a:pt x="894" y="233"/>
                  </a:lnTo>
                  <a:lnTo>
                    <a:pt x="908" y="241"/>
                  </a:lnTo>
                  <a:lnTo>
                    <a:pt x="921" y="251"/>
                  </a:lnTo>
                  <a:lnTo>
                    <a:pt x="933" y="262"/>
                  </a:lnTo>
                  <a:lnTo>
                    <a:pt x="938" y="268"/>
                  </a:lnTo>
                  <a:lnTo>
                    <a:pt x="944" y="271"/>
                  </a:lnTo>
                  <a:lnTo>
                    <a:pt x="952" y="274"/>
                  </a:lnTo>
                  <a:lnTo>
                    <a:pt x="960" y="275"/>
                  </a:lnTo>
                  <a:lnTo>
                    <a:pt x="967" y="274"/>
                  </a:lnTo>
                  <a:lnTo>
                    <a:pt x="974" y="273"/>
                  </a:lnTo>
                  <a:lnTo>
                    <a:pt x="980" y="272"/>
                  </a:lnTo>
                  <a:lnTo>
                    <a:pt x="986" y="270"/>
                  </a:lnTo>
                  <a:lnTo>
                    <a:pt x="991" y="267"/>
                  </a:lnTo>
                  <a:lnTo>
                    <a:pt x="996" y="263"/>
                  </a:lnTo>
                  <a:lnTo>
                    <a:pt x="1001" y="259"/>
                  </a:lnTo>
                  <a:lnTo>
                    <a:pt x="1006" y="255"/>
                  </a:lnTo>
                  <a:lnTo>
                    <a:pt x="1014" y="245"/>
                  </a:lnTo>
                  <a:lnTo>
                    <a:pt x="1021" y="233"/>
                  </a:lnTo>
                  <a:lnTo>
                    <a:pt x="1027" y="221"/>
                  </a:lnTo>
                  <a:lnTo>
                    <a:pt x="1031" y="207"/>
                  </a:lnTo>
                  <a:lnTo>
                    <a:pt x="1034" y="197"/>
                  </a:lnTo>
                  <a:lnTo>
                    <a:pt x="1035" y="189"/>
                  </a:lnTo>
                  <a:lnTo>
                    <a:pt x="1035" y="180"/>
                  </a:lnTo>
                  <a:lnTo>
                    <a:pt x="1036" y="170"/>
                  </a:lnTo>
                  <a:lnTo>
                    <a:pt x="1036" y="163"/>
                  </a:lnTo>
                  <a:lnTo>
                    <a:pt x="1038" y="154"/>
                  </a:lnTo>
                  <a:lnTo>
                    <a:pt x="1041" y="146"/>
                  </a:lnTo>
                  <a:lnTo>
                    <a:pt x="1045" y="137"/>
                  </a:lnTo>
                  <a:lnTo>
                    <a:pt x="1049" y="133"/>
                  </a:lnTo>
                  <a:lnTo>
                    <a:pt x="1055" y="129"/>
                  </a:lnTo>
                  <a:lnTo>
                    <a:pt x="1060" y="126"/>
                  </a:lnTo>
                  <a:lnTo>
                    <a:pt x="1065" y="124"/>
                  </a:lnTo>
                  <a:lnTo>
                    <a:pt x="1077" y="121"/>
                  </a:lnTo>
                  <a:lnTo>
                    <a:pt x="1090" y="118"/>
                  </a:lnTo>
                  <a:lnTo>
                    <a:pt x="1104" y="112"/>
                  </a:lnTo>
                  <a:lnTo>
                    <a:pt x="1117" y="106"/>
                  </a:lnTo>
                  <a:lnTo>
                    <a:pt x="1129" y="97"/>
                  </a:lnTo>
                  <a:lnTo>
                    <a:pt x="1140" y="88"/>
                  </a:lnTo>
                  <a:lnTo>
                    <a:pt x="1159" y="69"/>
                  </a:lnTo>
                  <a:lnTo>
                    <a:pt x="1179" y="50"/>
                  </a:lnTo>
                  <a:lnTo>
                    <a:pt x="1187" y="40"/>
                  </a:lnTo>
                  <a:lnTo>
                    <a:pt x="1197" y="30"/>
                  </a:lnTo>
                  <a:lnTo>
                    <a:pt x="1207" y="23"/>
                  </a:lnTo>
                  <a:lnTo>
                    <a:pt x="1218" y="15"/>
                  </a:lnTo>
                  <a:lnTo>
                    <a:pt x="1229" y="8"/>
                  </a:lnTo>
                  <a:lnTo>
                    <a:pt x="1241" y="4"/>
                  </a:lnTo>
                  <a:lnTo>
                    <a:pt x="1254" y="1"/>
                  </a:lnTo>
                  <a:lnTo>
                    <a:pt x="1270" y="0"/>
                  </a:lnTo>
                  <a:lnTo>
                    <a:pt x="1294" y="1"/>
                  </a:lnTo>
                  <a:lnTo>
                    <a:pt x="1317" y="1"/>
                  </a:lnTo>
                  <a:lnTo>
                    <a:pt x="1339" y="3"/>
                  </a:lnTo>
                  <a:lnTo>
                    <a:pt x="1360" y="5"/>
                  </a:lnTo>
                  <a:lnTo>
                    <a:pt x="1400" y="11"/>
                  </a:lnTo>
                  <a:lnTo>
                    <a:pt x="1439" y="17"/>
                  </a:lnTo>
                  <a:lnTo>
                    <a:pt x="1478" y="27"/>
                  </a:lnTo>
                  <a:lnTo>
                    <a:pt x="1518" y="38"/>
                  </a:lnTo>
                  <a:lnTo>
                    <a:pt x="1560" y="48"/>
                  </a:lnTo>
                  <a:lnTo>
                    <a:pt x="1605" y="61"/>
                  </a:lnTo>
                  <a:lnTo>
                    <a:pt x="1644" y="73"/>
                  </a:lnTo>
                  <a:lnTo>
                    <a:pt x="1678" y="84"/>
                  </a:lnTo>
                  <a:lnTo>
                    <a:pt x="1695" y="88"/>
                  </a:lnTo>
                  <a:lnTo>
                    <a:pt x="1712" y="93"/>
                  </a:lnTo>
                  <a:lnTo>
                    <a:pt x="1731" y="95"/>
                  </a:lnTo>
                  <a:lnTo>
                    <a:pt x="1751" y="96"/>
                  </a:lnTo>
                  <a:lnTo>
                    <a:pt x="1760" y="95"/>
                  </a:lnTo>
                  <a:lnTo>
                    <a:pt x="1769" y="93"/>
                  </a:lnTo>
                  <a:lnTo>
                    <a:pt x="1775" y="91"/>
                  </a:lnTo>
                  <a:lnTo>
                    <a:pt x="1783" y="87"/>
                  </a:lnTo>
                  <a:lnTo>
                    <a:pt x="1789" y="84"/>
                  </a:lnTo>
                  <a:lnTo>
                    <a:pt x="1797" y="81"/>
                  </a:lnTo>
                  <a:lnTo>
                    <a:pt x="1804" y="80"/>
                  </a:lnTo>
                  <a:lnTo>
                    <a:pt x="1813" y="79"/>
                  </a:lnTo>
                  <a:lnTo>
                    <a:pt x="1841" y="80"/>
                  </a:lnTo>
                  <a:lnTo>
                    <a:pt x="1866" y="82"/>
                  </a:lnTo>
                  <a:lnTo>
                    <a:pt x="1888" y="85"/>
                  </a:lnTo>
                  <a:lnTo>
                    <a:pt x="1910" y="89"/>
                  </a:lnTo>
                  <a:lnTo>
                    <a:pt x="1932" y="94"/>
                  </a:lnTo>
                  <a:lnTo>
                    <a:pt x="1954" y="98"/>
                  </a:lnTo>
                  <a:lnTo>
                    <a:pt x="1978" y="102"/>
                  </a:lnTo>
                  <a:lnTo>
                    <a:pt x="2006" y="106"/>
                  </a:lnTo>
                  <a:lnTo>
                    <a:pt x="2006" y="106"/>
                  </a:lnTo>
                  <a:lnTo>
                    <a:pt x="1993" y="114"/>
                  </a:lnTo>
                  <a:lnTo>
                    <a:pt x="1981" y="123"/>
                  </a:lnTo>
                  <a:lnTo>
                    <a:pt x="1977" y="128"/>
                  </a:lnTo>
                  <a:lnTo>
                    <a:pt x="1974" y="134"/>
                  </a:lnTo>
                  <a:lnTo>
                    <a:pt x="1972" y="141"/>
                  </a:lnTo>
                  <a:lnTo>
                    <a:pt x="1971" y="149"/>
                  </a:lnTo>
                  <a:lnTo>
                    <a:pt x="1971" y="154"/>
                  </a:lnTo>
                  <a:lnTo>
                    <a:pt x="1973" y="159"/>
                  </a:lnTo>
                  <a:lnTo>
                    <a:pt x="1976" y="162"/>
                  </a:lnTo>
                  <a:lnTo>
                    <a:pt x="1978" y="166"/>
                  </a:lnTo>
                  <a:lnTo>
                    <a:pt x="1985" y="174"/>
                  </a:lnTo>
                  <a:lnTo>
                    <a:pt x="1990" y="182"/>
                  </a:lnTo>
                  <a:lnTo>
                    <a:pt x="1998" y="203"/>
                  </a:lnTo>
                  <a:lnTo>
                    <a:pt x="2004" y="222"/>
                  </a:lnTo>
                  <a:lnTo>
                    <a:pt x="2006" y="231"/>
                  </a:lnTo>
                  <a:lnTo>
                    <a:pt x="2008" y="241"/>
                  </a:lnTo>
                  <a:lnTo>
                    <a:pt x="2009" y="251"/>
                  </a:lnTo>
                  <a:lnTo>
                    <a:pt x="2011" y="263"/>
                  </a:lnTo>
                  <a:lnTo>
                    <a:pt x="2011" y="286"/>
                  </a:lnTo>
                  <a:lnTo>
                    <a:pt x="2011" y="308"/>
                  </a:lnTo>
                  <a:lnTo>
                    <a:pt x="2011" y="328"/>
                  </a:lnTo>
                  <a:lnTo>
                    <a:pt x="2011" y="348"/>
                  </a:lnTo>
                  <a:lnTo>
                    <a:pt x="2011" y="367"/>
                  </a:lnTo>
                  <a:lnTo>
                    <a:pt x="2011" y="388"/>
                  </a:lnTo>
                  <a:lnTo>
                    <a:pt x="2011" y="409"/>
                  </a:lnTo>
                  <a:lnTo>
                    <a:pt x="2011" y="433"/>
                  </a:lnTo>
                  <a:lnTo>
                    <a:pt x="2011" y="450"/>
                  </a:lnTo>
                  <a:lnTo>
                    <a:pt x="2013" y="466"/>
                  </a:lnTo>
                  <a:lnTo>
                    <a:pt x="2016" y="480"/>
                  </a:lnTo>
                  <a:lnTo>
                    <a:pt x="2018" y="496"/>
                  </a:lnTo>
                  <a:lnTo>
                    <a:pt x="2021" y="510"/>
                  </a:lnTo>
                  <a:lnTo>
                    <a:pt x="2023" y="525"/>
                  </a:lnTo>
                  <a:lnTo>
                    <a:pt x="2026" y="541"/>
                  </a:lnTo>
                  <a:lnTo>
                    <a:pt x="2027" y="558"/>
                  </a:lnTo>
                  <a:lnTo>
                    <a:pt x="2026" y="561"/>
                  </a:lnTo>
                  <a:lnTo>
                    <a:pt x="2025" y="566"/>
                  </a:lnTo>
                  <a:lnTo>
                    <a:pt x="2023" y="568"/>
                  </a:lnTo>
                  <a:lnTo>
                    <a:pt x="2020" y="571"/>
                  </a:lnTo>
                  <a:lnTo>
                    <a:pt x="2015" y="575"/>
                  </a:lnTo>
                  <a:lnTo>
                    <a:pt x="2008" y="580"/>
                  </a:lnTo>
                  <a:lnTo>
                    <a:pt x="2002" y="584"/>
                  </a:lnTo>
                  <a:lnTo>
                    <a:pt x="1995" y="590"/>
                  </a:lnTo>
                  <a:lnTo>
                    <a:pt x="1993" y="592"/>
                  </a:lnTo>
                  <a:lnTo>
                    <a:pt x="1991" y="595"/>
                  </a:lnTo>
                  <a:lnTo>
                    <a:pt x="1990" y="599"/>
                  </a:lnTo>
                  <a:lnTo>
                    <a:pt x="1990" y="602"/>
                  </a:lnTo>
                  <a:lnTo>
                    <a:pt x="1991" y="617"/>
                  </a:lnTo>
                  <a:lnTo>
                    <a:pt x="1993" y="631"/>
                  </a:lnTo>
                  <a:lnTo>
                    <a:pt x="1991" y="641"/>
                  </a:lnTo>
                  <a:lnTo>
                    <a:pt x="1989" y="651"/>
                  </a:lnTo>
                  <a:lnTo>
                    <a:pt x="1987" y="660"/>
                  </a:lnTo>
                  <a:lnTo>
                    <a:pt x="1982" y="668"/>
                  </a:lnTo>
                  <a:lnTo>
                    <a:pt x="1975" y="685"/>
                  </a:lnTo>
                  <a:lnTo>
                    <a:pt x="1967" y="704"/>
                  </a:lnTo>
                  <a:lnTo>
                    <a:pt x="1963" y="720"/>
                  </a:lnTo>
                  <a:lnTo>
                    <a:pt x="1959" y="735"/>
                  </a:lnTo>
                  <a:lnTo>
                    <a:pt x="1955" y="749"/>
                  </a:lnTo>
                  <a:lnTo>
                    <a:pt x="1953" y="763"/>
                  </a:lnTo>
                  <a:lnTo>
                    <a:pt x="1948" y="793"/>
                  </a:lnTo>
                  <a:lnTo>
                    <a:pt x="1939" y="824"/>
                  </a:lnTo>
                  <a:lnTo>
                    <a:pt x="1934" y="837"/>
                  </a:lnTo>
                  <a:lnTo>
                    <a:pt x="1928" y="848"/>
                  </a:lnTo>
                  <a:lnTo>
                    <a:pt x="1922" y="858"/>
                  </a:lnTo>
                  <a:lnTo>
                    <a:pt x="1918" y="871"/>
                  </a:lnTo>
                  <a:lnTo>
                    <a:pt x="1908" y="904"/>
                  </a:lnTo>
                  <a:lnTo>
                    <a:pt x="1899" y="932"/>
                  </a:lnTo>
                  <a:lnTo>
                    <a:pt x="1895" y="945"/>
                  </a:lnTo>
                  <a:lnTo>
                    <a:pt x="1892" y="960"/>
                  </a:lnTo>
                  <a:lnTo>
                    <a:pt x="1888" y="975"/>
                  </a:lnTo>
                  <a:lnTo>
                    <a:pt x="1886" y="992"/>
                  </a:lnTo>
                  <a:lnTo>
                    <a:pt x="1884" y="1007"/>
                  </a:lnTo>
                  <a:lnTo>
                    <a:pt x="1882" y="1023"/>
                  </a:lnTo>
                  <a:lnTo>
                    <a:pt x="1879" y="1037"/>
                  </a:lnTo>
                  <a:lnTo>
                    <a:pt x="1874" y="1051"/>
                  </a:lnTo>
                  <a:lnTo>
                    <a:pt x="1871" y="1056"/>
                  </a:lnTo>
                  <a:lnTo>
                    <a:pt x="1868" y="1061"/>
                  </a:lnTo>
                  <a:lnTo>
                    <a:pt x="1864" y="1067"/>
                  </a:lnTo>
                  <a:lnTo>
                    <a:pt x="1859" y="1071"/>
                  </a:lnTo>
                  <a:lnTo>
                    <a:pt x="1855" y="1074"/>
                  </a:lnTo>
                  <a:lnTo>
                    <a:pt x="1850" y="1077"/>
                  </a:lnTo>
                  <a:lnTo>
                    <a:pt x="1843" y="1079"/>
                  </a:lnTo>
                  <a:lnTo>
                    <a:pt x="1836" y="1079"/>
                  </a:lnTo>
                  <a:lnTo>
                    <a:pt x="1831" y="1079"/>
                  </a:lnTo>
                  <a:lnTo>
                    <a:pt x="1827" y="1078"/>
                  </a:lnTo>
                  <a:lnTo>
                    <a:pt x="1823" y="1077"/>
                  </a:lnTo>
                  <a:lnTo>
                    <a:pt x="1819" y="1074"/>
                  </a:lnTo>
                  <a:lnTo>
                    <a:pt x="1812" y="1070"/>
                  </a:lnTo>
                  <a:lnTo>
                    <a:pt x="1802" y="1068"/>
                  </a:lnTo>
                  <a:lnTo>
                    <a:pt x="1801" y="1077"/>
                  </a:lnTo>
                  <a:lnTo>
                    <a:pt x="1800" y="1085"/>
                  </a:lnTo>
                  <a:lnTo>
                    <a:pt x="1800" y="1092"/>
                  </a:lnTo>
                  <a:lnTo>
                    <a:pt x="1802" y="1099"/>
                  </a:lnTo>
                  <a:lnTo>
                    <a:pt x="1804" y="1105"/>
                  </a:lnTo>
                  <a:lnTo>
                    <a:pt x="1807" y="1111"/>
                  </a:lnTo>
                  <a:lnTo>
                    <a:pt x="1811" y="1117"/>
                  </a:lnTo>
                  <a:lnTo>
                    <a:pt x="1814" y="1123"/>
                  </a:lnTo>
                  <a:lnTo>
                    <a:pt x="1815" y="1130"/>
                  </a:lnTo>
                  <a:lnTo>
                    <a:pt x="1816" y="1137"/>
                  </a:lnTo>
                  <a:lnTo>
                    <a:pt x="1816" y="1149"/>
                  </a:lnTo>
                  <a:lnTo>
                    <a:pt x="1816" y="1161"/>
                  </a:lnTo>
                  <a:lnTo>
                    <a:pt x="1802" y="1154"/>
                  </a:lnTo>
                  <a:lnTo>
                    <a:pt x="1789" y="1149"/>
                  </a:lnTo>
                  <a:lnTo>
                    <a:pt x="1783" y="1147"/>
                  </a:lnTo>
                  <a:lnTo>
                    <a:pt x="1775" y="1145"/>
                  </a:lnTo>
                  <a:lnTo>
                    <a:pt x="1769" y="1144"/>
                  </a:lnTo>
                  <a:lnTo>
                    <a:pt x="1760" y="1144"/>
                  </a:lnTo>
                  <a:lnTo>
                    <a:pt x="1753" y="1144"/>
                  </a:lnTo>
                  <a:lnTo>
                    <a:pt x="1748" y="1146"/>
                  </a:lnTo>
                  <a:lnTo>
                    <a:pt x="1744" y="1147"/>
                  </a:lnTo>
                  <a:lnTo>
                    <a:pt x="1738" y="1150"/>
                  </a:lnTo>
                  <a:lnTo>
                    <a:pt x="1731" y="1157"/>
                  </a:lnTo>
                  <a:lnTo>
                    <a:pt x="1723" y="1165"/>
                  </a:lnTo>
                  <a:lnTo>
                    <a:pt x="1717" y="1175"/>
                  </a:lnTo>
                  <a:lnTo>
                    <a:pt x="1710" y="1185"/>
                  </a:lnTo>
                  <a:lnTo>
                    <a:pt x="1703" y="1194"/>
                  </a:lnTo>
                  <a:lnTo>
                    <a:pt x="1693" y="1203"/>
                  </a:lnTo>
                  <a:lnTo>
                    <a:pt x="1659" y="1227"/>
                  </a:lnTo>
                  <a:lnTo>
                    <a:pt x="1629" y="1247"/>
                  </a:lnTo>
                  <a:lnTo>
                    <a:pt x="1615" y="1258"/>
                  </a:lnTo>
                  <a:lnTo>
                    <a:pt x="1600" y="1269"/>
                  </a:lnTo>
                  <a:lnTo>
                    <a:pt x="1585" y="1281"/>
                  </a:lnTo>
                  <a:lnTo>
                    <a:pt x="1570" y="1295"/>
                  </a:lnTo>
                  <a:lnTo>
                    <a:pt x="1554" y="1311"/>
                  </a:lnTo>
                  <a:lnTo>
                    <a:pt x="1539" y="1326"/>
                  </a:lnTo>
                  <a:lnTo>
                    <a:pt x="1526" y="1341"/>
                  </a:lnTo>
                  <a:lnTo>
                    <a:pt x="1514" y="1355"/>
                  </a:lnTo>
                  <a:lnTo>
                    <a:pt x="1491" y="1385"/>
                  </a:lnTo>
                  <a:lnTo>
                    <a:pt x="1469" y="1415"/>
                  </a:lnTo>
                  <a:lnTo>
                    <a:pt x="1469" y="1415"/>
                  </a:lnTo>
                  <a:lnTo>
                    <a:pt x="1443" y="1402"/>
                  </a:lnTo>
                  <a:lnTo>
                    <a:pt x="1419" y="1392"/>
                  </a:lnTo>
                  <a:lnTo>
                    <a:pt x="1406" y="1388"/>
                  </a:lnTo>
                  <a:lnTo>
                    <a:pt x="1393" y="1384"/>
                  </a:lnTo>
                  <a:lnTo>
                    <a:pt x="1379" y="1382"/>
                  </a:lnTo>
                  <a:lnTo>
                    <a:pt x="1365" y="1382"/>
                  </a:lnTo>
                  <a:lnTo>
                    <a:pt x="1345" y="1382"/>
                  </a:lnTo>
                  <a:lnTo>
                    <a:pt x="1328" y="1384"/>
                  </a:lnTo>
                  <a:lnTo>
                    <a:pt x="1320" y="1385"/>
                  </a:lnTo>
                  <a:lnTo>
                    <a:pt x="1312" y="1385"/>
                  </a:lnTo>
                  <a:lnTo>
                    <a:pt x="1302" y="1385"/>
                  </a:lnTo>
                  <a:lnTo>
                    <a:pt x="1292" y="1384"/>
                  </a:lnTo>
                  <a:lnTo>
                    <a:pt x="1298" y="1370"/>
                  </a:lnTo>
                  <a:lnTo>
                    <a:pt x="1302" y="1357"/>
                  </a:lnTo>
                  <a:lnTo>
                    <a:pt x="1306" y="1344"/>
                  </a:lnTo>
                  <a:lnTo>
                    <a:pt x="1312" y="1331"/>
                  </a:lnTo>
                  <a:lnTo>
                    <a:pt x="1327" y="1306"/>
                  </a:lnTo>
                  <a:lnTo>
                    <a:pt x="1343" y="1283"/>
                  </a:lnTo>
                  <a:lnTo>
                    <a:pt x="1349" y="1271"/>
                  </a:lnTo>
                  <a:lnTo>
                    <a:pt x="1355" y="1259"/>
                  </a:lnTo>
                  <a:lnTo>
                    <a:pt x="1357" y="1253"/>
                  </a:lnTo>
                  <a:lnTo>
                    <a:pt x="1358" y="1246"/>
                  </a:lnTo>
                  <a:lnTo>
                    <a:pt x="1359" y="1239"/>
                  </a:lnTo>
                  <a:lnTo>
                    <a:pt x="1359" y="1230"/>
                  </a:lnTo>
                  <a:lnTo>
                    <a:pt x="1358" y="1217"/>
                  </a:lnTo>
                  <a:lnTo>
                    <a:pt x="1357" y="1203"/>
                  </a:lnTo>
                  <a:lnTo>
                    <a:pt x="1357" y="1177"/>
                  </a:lnTo>
                  <a:lnTo>
                    <a:pt x="1357" y="1153"/>
                  </a:lnTo>
                  <a:lnTo>
                    <a:pt x="1357" y="1130"/>
                  </a:lnTo>
                  <a:lnTo>
                    <a:pt x="1357" y="1104"/>
                  </a:lnTo>
                  <a:lnTo>
                    <a:pt x="1356" y="1088"/>
                  </a:lnTo>
                  <a:lnTo>
                    <a:pt x="1354" y="1073"/>
                  </a:lnTo>
                  <a:lnTo>
                    <a:pt x="1349" y="1060"/>
                  </a:lnTo>
                  <a:lnTo>
                    <a:pt x="1343" y="1047"/>
                  </a:lnTo>
                  <a:lnTo>
                    <a:pt x="1340" y="1042"/>
                  </a:lnTo>
                  <a:lnTo>
                    <a:pt x="1335" y="1037"/>
                  </a:lnTo>
                  <a:lnTo>
                    <a:pt x="1331" y="1031"/>
                  </a:lnTo>
                  <a:lnTo>
                    <a:pt x="1326" y="1027"/>
                  </a:lnTo>
                  <a:lnTo>
                    <a:pt x="1320" y="1023"/>
                  </a:lnTo>
                  <a:lnTo>
                    <a:pt x="1314" y="1018"/>
                  </a:lnTo>
                  <a:lnTo>
                    <a:pt x="1307" y="1015"/>
                  </a:lnTo>
                  <a:lnTo>
                    <a:pt x="1301" y="1012"/>
                  </a:lnTo>
                  <a:lnTo>
                    <a:pt x="1289" y="1007"/>
                  </a:lnTo>
                  <a:lnTo>
                    <a:pt x="1278" y="1005"/>
                  </a:lnTo>
                  <a:lnTo>
                    <a:pt x="1267" y="1004"/>
                  </a:lnTo>
                  <a:lnTo>
                    <a:pt x="1258" y="1003"/>
                  </a:lnTo>
                  <a:lnTo>
                    <a:pt x="1247" y="1002"/>
                  </a:lnTo>
                  <a:lnTo>
                    <a:pt x="1236" y="1001"/>
                  </a:lnTo>
                  <a:lnTo>
                    <a:pt x="1225" y="999"/>
                  </a:lnTo>
                  <a:lnTo>
                    <a:pt x="1213" y="995"/>
                  </a:lnTo>
                  <a:lnTo>
                    <a:pt x="1204" y="991"/>
                  </a:lnTo>
                  <a:lnTo>
                    <a:pt x="1196" y="986"/>
                  </a:lnTo>
                  <a:lnTo>
                    <a:pt x="1190" y="979"/>
                  </a:lnTo>
                  <a:lnTo>
                    <a:pt x="1184" y="972"/>
                  </a:lnTo>
                  <a:lnTo>
                    <a:pt x="1175" y="956"/>
                  </a:lnTo>
                  <a:lnTo>
                    <a:pt x="1166" y="936"/>
                  </a:lnTo>
                  <a:lnTo>
                    <a:pt x="1156" y="918"/>
                  </a:lnTo>
                  <a:lnTo>
                    <a:pt x="1144" y="901"/>
                  </a:lnTo>
                  <a:lnTo>
                    <a:pt x="1132" y="885"/>
                  </a:lnTo>
                  <a:lnTo>
                    <a:pt x="1119" y="872"/>
                  </a:lnTo>
                  <a:lnTo>
                    <a:pt x="1105" y="860"/>
                  </a:lnTo>
                  <a:lnTo>
                    <a:pt x="1091" y="848"/>
                  </a:lnTo>
                  <a:lnTo>
                    <a:pt x="1077" y="837"/>
                  </a:lnTo>
                  <a:lnTo>
                    <a:pt x="1062" y="826"/>
                  </a:lnTo>
                  <a:lnTo>
                    <a:pt x="1048" y="815"/>
                  </a:lnTo>
                  <a:lnTo>
                    <a:pt x="1034" y="804"/>
                  </a:lnTo>
                  <a:lnTo>
                    <a:pt x="1020" y="793"/>
                  </a:lnTo>
                  <a:lnTo>
                    <a:pt x="1007" y="781"/>
                  </a:lnTo>
                  <a:lnTo>
                    <a:pt x="995" y="767"/>
                  </a:lnTo>
                  <a:lnTo>
                    <a:pt x="983" y="752"/>
                  </a:lnTo>
                  <a:lnTo>
                    <a:pt x="974" y="734"/>
                  </a:lnTo>
                  <a:lnTo>
                    <a:pt x="964" y="715"/>
                  </a:lnTo>
                  <a:lnTo>
                    <a:pt x="955" y="696"/>
                  </a:lnTo>
                  <a:lnTo>
                    <a:pt x="947" y="679"/>
                  </a:lnTo>
                  <a:lnTo>
                    <a:pt x="936" y="665"/>
                  </a:lnTo>
                  <a:lnTo>
                    <a:pt x="925" y="651"/>
                  </a:lnTo>
                  <a:lnTo>
                    <a:pt x="900" y="625"/>
                  </a:lnTo>
                  <a:lnTo>
                    <a:pt x="872" y="597"/>
                  </a:lnTo>
                  <a:lnTo>
                    <a:pt x="861" y="586"/>
                  </a:lnTo>
                  <a:lnTo>
                    <a:pt x="853" y="578"/>
                  </a:lnTo>
                  <a:lnTo>
                    <a:pt x="847" y="573"/>
                  </a:lnTo>
                  <a:lnTo>
                    <a:pt x="842" y="570"/>
                  </a:lnTo>
                  <a:lnTo>
                    <a:pt x="836" y="567"/>
                  </a:lnTo>
                  <a:lnTo>
                    <a:pt x="830" y="564"/>
                  </a:lnTo>
                  <a:lnTo>
                    <a:pt x="822" y="561"/>
                  </a:lnTo>
                  <a:lnTo>
                    <a:pt x="816" y="559"/>
                  </a:lnTo>
                  <a:lnTo>
                    <a:pt x="809" y="558"/>
                  </a:lnTo>
                  <a:lnTo>
                    <a:pt x="803" y="557"/>
                  </a:lnTo>
                  <a:lnTo>
                    <a:pt x="791" y="557"/>
                  </a:lnTo>
                  <a:lnTo>
                    <a:pt x="778" y="558"/>
                  </a:lnTo>
                  <a:lnTo>
                    <a:pt x="766" y="558"/>
                  </a:lnTo>
                  <a:lnTo>
                    <a:pt x="753" y="559"/>
                  </a:lnTo>
                  <a:lnTo>
                    <a:pt x="740" y="558"/>
                  </a:lnTo>
                  <a:lnTo>
                    <a:pt x="726" y="555"/>
                  </a:lnTo>
                  <a:lnTo>
                    <a:pt x="722" y="554"/>
                  </a:lnTo>
                  <a:lnTo>
                    <a:pt x="719" y="552"/>
                  </a:lnTo>
                  <a:lnTo>
                    <a:pt x="715" y="548"/>
                  </a:lnTo>
                  <a:lnTo>
                    <a:pt x="713" y="546"/>
                  </a:lnTo>
                  <a:lnTo>
                    <a:pt x="710" y="539"/>
                  </a:lnTo>
                  <a:lnTo>
                    <a:pt x="708" y="530"/>
                  </a:lnTo>
                  <a:lnTo>
                    <a:pt x="707" y="512"/>
                  </a:lnTo>
                  <a:lnTo>
                    <a:pt x="704" y="493"/>
                  </a:lnTo>
                  <a:lnTo>
                    <a:pt x="700" y="486"/>
                  </a:lnTo>
                  <a:lnTo>
                    <a:pt x="696" y="480"/>
                  </a:lnTo>
                  <a:lnTo>
                    <a:pt x="690" y="476"/>
                  </a:lnTo>
                  <a:lnTo>
                    <a:pt x="683" y="473"/>
                  </a:lnTo>
                  <a:lnTo>
                    <a:pt x="667" y="469"/>
                  </a:lnTo>
                  <a:lnTo>
                    <a:pt x="651" y="465"/>
                  </a:lnTo>
                  <a:lnTo>
                    <a:pt x="613" y="457"/>
                  </a:lnTo>
                  <a:lnTo>
                    <a:pt x="580" y="450"/>
                  </a:lnTo>
                  <a:lnTo>
                    <a:pt x="564" y="447"/>
                  </a:lnTo>
                  <a:lnTo>
                    <a:pt x="547" y="445"/>
                  </a:lnTo>
                  <a:lnTo>
                    <a:pt x="529" y="444"/>
                  </a:lnTo>
                  <a:lnTo>
                    <a:pt x="509" y="443"/>
                  </a:lnTo>
                  <a:lnTo>
                    <a:pt x="483" y="443"/>
                  </a:lnTo>
                  <a:lnTo>
                    <a:pt x="460" y="443"/>
                  </a:lnTo>
                  <a:lnTo>
                    <a:pt x="436" y="443"/>
                  </a:lnTo>
                  <a:lnTo>
                    <a:pt x="410" y="443"/>
                  </a:lnTo>
                  <a:lnTo>
                    <a:pt x="403" y="443"/>
                  </a:lnTo>
                  <a:lnTo>
                    <a:pt x="398" y="442"/>
                  </a:lnTo>
                  <a:lnTo>
                    <a:pt x="394" y="439"/>
                  </a:lnTo>
                  <a:lnTo>
                    <a:pt x="388" y="436"/>
                  </a:lnTo>
                  <a:lnTo>
                    <a:pt x="381" y="430"/>
                  </a:lnTo>
                  <a:lnTo>
                    <a:pt x="372" y="422"/>
                  </a:lnTo>
                  <a:lnTo>
                    <a:pt x="364" y="415"/>
                  </a:lnTo>
                  <a:lnTo>
                    <a:pt x="356" y="407"/>
                  </a:lnTo>
                  <a:lnTo>
                    <a:pt x="352" y="405"/>
                  </a:lnTo>
                  <a:lnTo>
                    <a:pt x="346" y="403"/>
                  </a:lnTo>
                  <a:lnTo>
                    <a:pt x="341" y="402"/>
                  </a:lnTo>
                  <a:lnTo>
                    <a:pt x="335" y="401"/>
                  </a:lnTo>
                  <a:lnTo>
                    <a:pt x="328" y="402"/>
                  </a:lnTo>
                  <a:lnTo>
                    <a:pt x="321" y="403"/>
                  </a:lnTo>
                  <a:lnTo>
                    <a:pt x="315" y="405"/>
                  </a:lnTo>
                  <a:lnTo>
                    <a:pt x="309" y="407"/>
                  </a:lnTo>
                  <a:lnTo>
                    <a:pt x="300" y="415"/>
                  </a:lnTo>
                  <a:lnTo>
                    <a:pt x="289" y="422"/>
                  </a:lnTo>
                  <a:lnTo>
                    <a:pt x="279" y="430"/>
                  </a:lnTo>
                  <a:lnTo>
                    <a:pt x="269" y="436"/>
                  </a:lnTo>
                  <a:lnTo>
                    <a:pt x="263" y="439"/>
                  </a:lnTo>
                  <a:lnTo>
                    <a:pt x="258" y="442"/>
                  </a:lnTo>
                  <a:lnTo>
                    <a:pt x="251" y="443"/>
                  </a:lnTo>
                  <a:lnTo>
                    <a:pt x="243" y="443"/>
                  </a:lnTo>
                  <a:lnTo>
                    <a:pt x="238" y="443"/>
                  </a:lnTo>
                  <a:lnTo>
                    <a:pt x="233" y="442"/>
                  </a:lnTo>
                  <a:lnTo>
                    <a:pt x="227" y="440"/>
                  </a:lnTo>
                  <a:lnTo>
                    <a:pt x="222" y="438"/>
                  </a:lnTo>
                  <a:lnTo>
                    <a:pt x="213" y="433"/>
                  </a:lnTo>
                  <a:lnTo>
                    <a:pt x="205" y="428"/>
                  </a:lnTo>
                  <a:lnTo>
                    <a:pt x="196" y="422"/>
                  </a:lnTo>
                  <a:lnTo>
                    <a:pt x="187" y="417"/>
                  </a:lnTo>
                  <a:lnTo>
                    <a:pt x="182" y="415"/>
                  </a:lnTo>
                  <a:lnTo>
                    <a:pt x="177" y="413"/>
                  </a:lnTo>
                  <a:lnTo>
                    <a:pt x="171" y="412"/>
                  </a:lnTo>
                  <a:lnTo>
                    <a:pt x="166" y="412"/>
                  </a:lnTo>
                  <a:lnTo>
                    <a:pt x="152" y="413"/>
                  </a:lnTo>
                  <a:lnTo>
                    <a:pt x="141" y="416"/>
                  </a:lnTo>
                  <a:lnTo>
                    <a:pt x="129" y="419"/>
                  </a:lnTo>
                  <a:lnTo>
                    <a:pt x="119" y="423"/>
                  </a:lnTo>
                  <a:lnTo>
                    <a:pt x="108" y="428"/>
                  </a:lnTo>
                  <a:lnTo>
                    <a:pt x="98" y="431"/>
                  </a:lnTo>
                  <a:lnTo>
                    <a:pt x="86" y="434"/>
                  </a:lnTo>
                  <a:lnTo>
                    <a:pt x="73" y="435"/>
                  </a:lnTo>
                  <a:lnTo>
                    <a:pt x="63" y="434"/>
                  </a:lnTo>
                  <a:lnTo>
                    <a:pt x="54" y="431"/>
                  </a:lnTo>
                  <a:lnTo>
                    <a:pt x="46" y="428"/>
                  </a:lnTo>
                  <a:lnTo>
                    <a:pt x="37" y="423"/>
                  </a:lnTo>
                  <a:lnTo>
                    <a:pt x="29" y="419"/>
                  </a:lnTo>
                  <a:lnTo>
                    <a:pt x="20" y="415"/>
                  </a:lnTo>
                  <a:lnTo>
                    <a:pt x="10" y="412"/>
                  </a:lnTo>
                  <a:lnTo>
                    <a:pt x="0" y="411"/>
                  </a:lnTo>
                  <a:lnTo>
                    <a:pt x="0" y="411"/>
                  </a:lnTo>
                  <a:close/>
                </a:path>
              </a:pathLst>
            </a:custGeom>
            <a:solidFill>
              <a:srgbClr val="FEFEFE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64">
              <a:extLst>
                <a:ext uri="{FF2B5EF4-FFF2-40B4-BE49-F238E27FC236}">
                  <a16:creationId xmlns:a16="http://schemas.microsoft.com/office/drawing/2014/main" id="{97B28A9E-7A37-4FFC-991E-A6100ED5D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73500" y="5399088"/>
              <a:ext cx="803275" cy="561975"/>
            </a:xfrm>
            <a:custGeom>
              <a:avLst/>
              <a:gdLst>
                <a:gd name="T0" fmla="*/ 42 w 2027"/>
                <a:gd name="T1" fmla="*/ 344 h 1415"/>
                <a:gd name="T2" fmla="*/ 126 w 2027"/>
                <a:gd name="T3" fmla="*/ 206 h 1415"/>
                <a:gd name="T4" fmla="*/ 112 w 2027"/>
                <a:gd name="T5" fmla="*/ 126 h 1415"/>
                <a:gd name="T6" fmla="*/ 113 w 2027"/>
                <a:gd name="T7" fmla="*/ 41 h 1415"/>
                <a:gd name="T8" fmla="*/ 215 w 2027"/>
                <a:gd name="T9" fmla="*/ 47 h 1415"/>
                <a:gd name="T10" fmla="*/ 290 w 2027"/>
                <a:gd name="T11" fmla="*/ 23 h 1415"/>
                <a:gd name="T12" fmla="*/ 343 w 2027"/>
                <a:gd name="T13" fmla="*/ 54 h 1415"/>
                <a:gd name="T14" fmla="*/ 448 w 2027"/>
                <a:gd name="T15" fmla="*/ 94 h 1415"/>
                <a:gd name="T16" fmla="*/ 574 w 2027"/>
                <a:gd name="T17" fmla="*/ 99 h 1415"/>
                <a:gd name="T18" fmla="*/ 751 w 2027"/>
                <a:gd name="T19" fmla="*/ 167 h 1415"/>
                <a:gd name="T20" fmla="*/ 908 w 2027"/>
                <a:gd name="T21" fmla="*/ 241 h 1415"/>
                <a:gd name="T22" fmla="*/ 974 w 2027"/>
                <a:gd name="T23" fmla="*/ 273 h 1415"/>
                <a:gd name="T24" fmla="*/ 1021 w 2027"/>
                <a:gd name="T25" fmla="*/ 233 h 1415"/>
                <a:gd name="T26" fmla="*/ 1038 w 2027"/>
                <a:gd name="T27" fmla="*/ 154 h 1415"/>
                <a:gd name="T28" fmla="*/ 1090 w 2027"/>
                <a:gd name="T29" fmla="*/ 118 h 1415"/>
                <a:gd name="T30" fmla="*/ 1197 w 2027"/>
                <a:gd name="T31" fmla="*/ 30 h 1415"/>
                <a:gd name="T32" fmla="*/ 1317 w 2027"/>
                <a:gd name="T33" fmla="*/ 1 h 1415"/>
                <a:gd name="T34" fmla="*/ 1605 w 2027"/>
                <a:gd name="T35" fmla="*/ 61 h 1415"/>
                <a:gd name="T36" fmla="*/ 1769 w 2027"/>
                <a:gd name="T37" fmla="*/ 93 h 1415"/>
                <a:gd name="T38" fmla="*/ 1866 w 2027"/>
                <a:gd name="T39" fmla="*/ 82 h 1415"/>
                <a:gd name="T40" fmla="*/ 1993 w 2027"/>
                <a:gd name="T41" fmla="*/ 114 h 1415"/>
                <a:gd name="T42" fmla="*/ 1976 w 2027"/>
                <a:gd name="T43" fmla="*/ 162 h 1415"/>
                <a:gd name="T44" fmla="*/ 2009 w 2027"/>
                <a:gd name="T45" fmla="*/ 251 h 1415"/>
                <a:gd name="T46" fmla="*/ 2011 w 2027"/>
                <a:gd name="T47" fmla="*/ 409 h 1415"/>
                <a:gd name="T48" fmla="*/ 2026 w 2027"/>
                <a:gd name="T49" fmla="*/ 541 h 1415"/>
                <a:gd name="T50" fmla="*/ 2002 w 2027"/>
                <a:gd name="T51" fmla="*/ 584 h 1415"/>
                <a:gd name="T52" fmla="*/ 1991 w 2027"/>
                <a:gd name="T53" fmla="*/ 641 h 1415"/>
                <a:gd name="T54" fmla="*/ 1955 w 2027"/>
                <a:gd name="T55" fmla="*/ 749 h 1415"/>
                <a:gd name="T56" fmla="*/ 1908 w 2027"/>
                <a:gd name="T57" fmla="*/ 904 h 1415"/>
                <a:gd name="T58" fmla="*/ 1879 w 2027"/>
                <a:gd name="T59" fmla="*/ 1037 h 1415"/>
                <a:gd name="T60" fmla="*/ 1843 w 2027"/>
                <a:gd name="T61" fmla="*/ 1079 h 1415"/>
                <a:gd name="T62" fmla="*/ 1801 w 2027"/>
                <a:gd name="T63" fmla="*/ 1077 h 1415"/>
                <a:gd name="T64" fmla="*/ 1815 w 2027"/>
                <a:gd name="T65" fmla="*/ 1130 h 1415"/>
                <a:gd name="T66" fmla="*/ 1769 w 2027"/>
                <a:gd name="T67" fmla="*/ 1144 h 1415"/>
                <a:gd name="T68" fmla="*/ 1717 w 2027"/>
                <a:gd name="T69" fmla="*/ 1175 h 1415"/>
                <a:gd name="T70" fmla="*/ 1585 w 2027"/>
                <a:gd name="T71" fmla="*/ 1281 h 1415"/>
                <a:gd name="T72" fmla="*/ 1469 w 2027"/>
                <a:gd name="T73" fmla="*/ 1415 h 1415"/>
                <a:gd name="T74" fmla="*/ 1328 w 2027"/>
                <a:gd name="T75" fmla="*/ 1384 h 1415"/>
                <a:gd name="T76" fmla="*/ 1312 w 2027"/>
                <a:gd name="T77" fmla="*/ 1331 h 1415"/>
                <a:gd name="T78" fmla="*/ 1359 w 2027"/>
                <a:gd name="T79" fmla="*/ 1230 h 1415"/>
                <a:gd name="T80" fmla="*/ 1354 w 2027"/>
                <a:gd name="T81" fmla="*/ 1073 h 1415"/>
                <a:gd name="T82" fmla="*/ 1314 w 2027"/>
                <a:gd name="T83" fmla="*/ 1018 h 1415"/>
                <a:gd name="T84" fmla="*/ 1236 w 2027"/>
                <a:gd name="T85" fmla="*/ 1001 h 1415"/>
                <a:gd name="T86" fmla="*/ 1166 w 2027"/>
                <a:gd name="T87" fmla="*/ 936 h 1415"/>
                <a:gd name="T88" fmla="*/ 1062 w 2027"/>
                <a:gd name="T89" fmla="*/ 826 h 1415"/>
                <a:gd name="T90" fmla="*/ 964 w 2027"/>
                <a:gd name="T91" fmla="*/ 715 h 1415"/>
                <a:gd name="T92" fmla="*/ 853 w 2027"/>
                <a:gd name="T93" fmla="*/ 578 h 1415"/>
                <a:gd name="T94" fmla="*/ 803 w 2027"/>
                <a:gd name="T95" fmla="*/ 557 h 1415"/>
                <a:gd name="T96" fmla="*/ 719 w 2027"/>
                <a:gd name="T97" fmla="*/ 552 h 1415"/>
                <a:gd name="T98" fmla="*/ 696 w 2027"/>
                <a:gd name="T99" fmla="*/ 480 h 1415"/>
                <a:gd name="T100" fmla="*/ 547 w 2027"/>
                <a:gd name="T101" fmla="*/ 445 h 1415"/>
                <a:gd name="T102" fmla="*/ 398 w 2027"/>
                <a:gd name="T103" fmla="*/ 442 h 1415"/>
                <a:gd name="T104" fmla="*/ 346 w 2027"/>
                <a:gd name="T105" fmla="*/ 403 h 1415"/>
                <a:gd name="T106" fmla="*/ 289 w 2027"/>
                <a:gd name="T107" fmla="*/ 422 h 1415"/>
                <a:gd name="T108" fmla="*/ 233 w 2027"/>
                <a:gd name="T109" fmla="*/ 442 h 1415"/>
                <a:gd name="T110" fmla="*/ 177 w 2027"/>
                <a:gd name="T111" fmla="*/ 413 h 1415"/>
                <a:gd name="T112" fmla="*/ 98 w 2027"/>
                <a:gd name="T113" fmla="*/ 431 h 1415"/>
                <a:gd name="T114" fmla="*/ 20 w 2027"/>
                <a:gd name="T115" fmla="*/ 415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27" h="1415">
                  <a:moveTo>
                    <a:pt x="0" y="411"/>
                  </a:moveTo>
                  <a:lnTo>
                    <a:pt x="6" y="407"/>
                  </a:lnTo>
                  <a:lnTo>
                    <a:pt x="10" y="402"/>
                  </a:lnTo>
                  <a:lnTo>
                    <a:pt x="15" y="395"/>
                  </a:lnTo>
                  <a:lnTo>
                    <a:pt x="18" y="390"/>
                  </a:lnTo>
                  <a:lnTo>
                    <a:pt x="24" y="377"/>
                  </a:lnTo>
                  <a:lnTo>
                    <a:pt x="31" y="365"/>
                  </a:lnTo>
                  <a:lnTo>
                    <a:pt x="42" y="344"/>
                  </a:lnTo>
                  <a:lnTo>
                    <a:pt x="53" y="328"/>
                  </a:lnTo>
                  <a:lnTo>
                    <a:pt x="64" y="311"/>
                  </a:lnTo>
                  <a:lnTo>
                    <a:pt x="76" y="291"/>
                  </a:lnTo>
                  <a:lnTo>
                    <a:pt x="93" y="263"/>
                  </a:lnTo>
                  <a:lnTo>
                    <a:pt x="111" y="240"/>
                  </a:lnTo>
                  <a:lnTo>
                    <a:pt x="118" y="227"/>
                  </a:lnTo>
                  <a:lnTo>
                    <a:pt x="124" y="214"/>
                  </a:lnTo>
                  <a:lnTo>
                    <a:pt x="126" y="206"/>
                  </a:lnTo>
                  <a:lnTo>
                    <a:pt x="128" y="199"/>
                  </a:lnTo>
                  <a:lnTo>
                    <a:pt x="129" y="191"/>
                  </a:lnTo>
                  <a:lnTo>
                    <a:pt x="129" y="182"/>
                  </a:lnTo>
                  <a:lnTo>
                    <a:pt x="128" y="169"/>
                  </a:lnTo>
                  <a:lnTo>
                    <a:pt x="125" y="158"/>
                  </a:lnTo>
                  <a:lnTo>
                    <a:pt x="121" y="147"/>
                  </a:lnTo>
                  <a:lnTo>
                    <a:pt x="116" y="137"/>
                  </a:lnTo>
                  <a:lnTo>
                    <a:pt x="112" y="126"/>
                  </a:lnTo>
                  <a:lnTo>
                    <a:pt x="107" y="115"/>
                  </a:lnTo>
                  <a:lnTo>
                    <a:pt x="105" y="105"/>
                  </a:lnTo>
                  <a:lnTo>
                    <a:pt x="104" y="92"/>
                  </a:lnTo>
                  <a:lnTo>
                    <a:pt x="104" y="78"/>
                  </a:lnTo>
                  <a:lnTo>
                    <a:pt x="106" y="65"/>
                  </a:lnTo>
                  <a:lnTo>
                    <a:pt x="110" y="52"/>
                  </a:lnTo>
                  <a:lnTo>
                    <a:pt x="113" y="41"/>
                  </a:lnTo>
                  <a:lnTo>
                    <a:pt x="113" y="41"/>
                  </a:lnTo>
                  <a:lnTo>
                    <a:pt x="123" y="43"/>
                  </a:lnTo>
                  <a:lnTo>
                    <a:pt x="132" y="45"/>
                  </a:lnTo>
                  <a:lnTo>
                    <a:pt x="142" y="47"/>
                  </a:lnTo>
                  <a:lnTo>
                    <a:pt x="152" y="47"/>
                  </a:lnTo>
                  <a:lnTo>
                    <a:pt x="169" y="47"/>
                  </a:lnTo>
                  <a:lnTo>
                    <a:pt x="183" y="47"/>
                  </a:lnTo>
                  <a:lnTo>
                    <a:pt x="198" y="47"/>
                  </a:lnTo>
                  <a:lnTo>
                    <a:pt x="215" y="47"/>
                  </a:lnTo>
                  <a:lnTo>
                    <a:pt x="226" y="46"/>
                  </a:lnTo>
                  <a:lnTo>
                    <a:pt x="236" y="44"/>
                  </a:lnTo>
                  <a:lnTo>
                    <a:pt x="245" y="40"/>
                  </a:lnTo>
                  <a:lnTo>
                    <a:pt x="252" y="35"/>
                  </a:lnTo>
                  <a:lnTo>
                    <a:pt x="261" y="30"/>
                  </a:lnTo>
                  <a:lnTo>
                    <a:pt x="269" y="27"/>
                  </a:lnTo>
                  <a:lnTo>
                    <a:pt x="279" y="24"/>
                  </a:lnTo>
                  <a:lnTo>
                    <a:pt x="290" y="23"/>
                  </a:lnTo>
                  <a:lnTo>
                    <a:pt x="296" y="23"/>
                  </a:lnTo>
                  <a:lnTo>
                    <a:pt x="302" y="24"/>
                  </a:lnTo>
                  <a:lnTo>
                    <a:pt x="306" y="26"/>
                  </a:lnTo>
                  <a:lnTo>
                    <a:pt x="310" y="28"/>
                  </a:lnTo>
                  <a:lnTo>
                    <a:pt x="319" y="33"/>
                  </a:lnTo>
                  <a:lnTo>
                    <a:pt x="327" y="40"/>
                  </a:lnTo>
                  <a:lnTo>
                    <a:pt x="334" y="46"/>
                  </a:lnTo>
                  <a:lnTo>
                    <a:pt x="343" y="54"/>
                  </a:lnTo>
                  <a:lnTo>
                    <a:pt x="352" y="61"/>
                  </a:lnTo>
                  <a:lnTo>
                    <a:pt x="361" y="68"/>
                  </a:lnTo>
                  <a:lnTo>
                    <a:pt x="376" y="74"/>
                  </a:lnTo>
                  <a:lnTo>
                    <a:pt x="391" y="81"/>
                  </a:lnTo>
                  <a:lnTo>
                    <a:pt x="406" y="85"/>
                  </a:lnTo>
                  <a:lnTo>
                    <a:pt x="418" y="89"/>
                  </a:lnTo>
                  <a:lnTo>
                    <a:pt x="433" y="92"/>
                  </a:lnTo>
                  <a:lnTo>
                    <a:pt x="448" y="94"/>
                  </a:lnTo>
                  <a:lnTo>
                    <a:pt x="463" y="95"/>
                  </a:lnTo>
                  <a:lnTo>
                    <a:pt x="480" y="96"/>
                  </a:lnTo>
                  <a:lnTo>
                    <a:pt x="497" y="96"/>
                  </a:lnTo>
                  <a:lnTo>
                    <a:pt x="512" y="96"/>
                  </a:lnTo>
                  <a:lnTo>
                    <a:pt x="529" y="96"/>
                  </a:lnTo>
                  <a:lnTo>
                    <a:pt x="546" y="96"/>
                  </a:lnTo>
                  <a:lnTo>
                    <a:pt x="560" y="96"/>
                  </a:lnTo>
                  <a:lnTo>
                    <a:pt x="574" y="99"/>
                  </a:lnTo>
                  <a:lnTo>
                    <a:pt x="586" y="102"/>
                  </a:lnTo>
                  <a:lnTo>
                    <a:pt x="598" y="108"/>
                  </a:lnTo>
                  <a:lnTo>
                    <a:pt x="620" y="119"/>
                  </a:lnTo>
                  <a:lnTo>
                    <a:pt x="647" y="129"/>
                  </a:lnTo>
                  <a:lnTo>
                    <a:pt x="677" y="138"/>
                  </a:lnTo>
                  <a:lnTo>
                    <a:pt x="704" y="148"/>
                  </a:lnTo>
                  <a:lnTo>
                    <a:pt x="727" y="158"/>
                  </a:lnTo>
                  <a:lnTo>
                    <a:pt x="751" y="167"/>
                  </a:lnTo>
                  <a:lnTo>
                    <a:pt x="775" y="178"/>
                  </a:lnTo>
                  <a:lnTo>
                    <a:pt x="799" y="189"/>
                  </a:lnTo>
                  <a:lnTo>
                    <a:pt x="825" y="201"/>
                  </a:lnTo>
                  <a:lnTo>
                    <a:pt x="852" y="214"/>
                  </a:lnTo>
                  <a:lnTo>
                    <a:pt x="868" y="220"/>
                  </a:lnTo>
                  <a:lnTo>
                    <a:pt x="881" y="226"/>
                  </a:lnTo>
                  <a:lnTo>
                    <a:pt x="894" y="233"/>
                  </a:lnTo>
                  <a:lnTo>
                    <a:pt x="908" y="241"/>
                  </a:lnTo>
                  <a:lnTo>
                    <a:pt x="921" y="251"/>
                  </a:lnTo>
                  <a:lnTo>
                    <a:pt x="933" y="262"/>
                  </a:lnTo>
                  <a:lnTo>
                    <a:pt x="938" y="268"/>
                  </a:lnTo>
                  <a:lnTo>
                    <a:pt x="944" y="271"/>
                  </a:lnTo>
                  <a:lnTo>
                    <a:pt x="952" y="274"/>
                  </a:lnTo>
                  <a:lnTo>
                    <a:pt x="960" y="275"/>
                  </a:lnTo>
                  <a:lnTo>
                    <a:pt x="967" y="274"/>
                  </a:lnTo>
                  <a:lnTo>
                    <a:pt x="974" y="273"/>
                  </a:lnTo>
                  <a:lnTo>
                    <a:pt x="980" y="272"/>
                  </a:lnTo>
                  <a:lnTo>
                    <a:pt x="986" y="270"/>
                  </a:lnTo>
                  <a:lnTo>
                    <a:pt x="991" y="267"/>
                  </a:lnTo>
                  <a:lnTo>
                    <a:pt x="996" y="263"/>
                  </a:lnTo>
                  <a:lnTo>
                    <a:pt x="1001" y="259"/>
                  </a:lnTo>
                  <a:lnTo>
                    <a:pt x="1006" y="255"/>
                  </a:lnTo>
                  <a:lnTo>
                    <a:pt x="1014" y="245"/>
                  </a:lnTo>
                  <a:lnTo>
                    <a:pt x="1021" y="233"/>
                  </a:lnTo>
                  <a:lnTo>
                    <a:pt x="1027" y="221"/>
                  </a:lnTo>
                  <a:lnTo>
                    <a:pt x="1031" y="207"/>
                  </a:lnTo>
                  <a:lnTo>
                    <a:pt x="1034" y="197"/>
                  </a:lnTo>
                  <a:lnTo>
                    <a:pt x="1035" y="189"/>
                  </a:lnTo>
                  <a:lnTo>
                    <a:pt x="1035" y="180"/>
                  </a:lnTo>
                  <a:lnTo>
                    <a:pt x="1036" y="170"/>
                  </a:lnTo>
                  <a:lnTo>
                    <a:pt x="1036" y="163"/>
                  </a:lnTo>
                  <a:lnTo>
                    <a:pt x="1038" y="154"/>
                  </a:lnTo>
                  <a:lnTo>
                    <a:pt x="1041" y="146"/>
                  </a:lnTo>
                  <a:lnTo>
                    <a:pt x="1045" y="137"/>
                  </a:lnTo>
                  <a:lnTo>
                    <a:pt x="1049" y="133"/>
                  </a:lnTo>
                  <a:lnTo>
                    <a:pt x="1055" y="129"/>
                  </a:lnTo>
                  <a:lnTo>
                    <a:pt x="1060" y="126"/>
                  </a:lnTo>
                  <a:lnTo>
                    <a:pt x="1065" y="124"/>
                  </a:lnTo>
                  <a:lnTo>
                    <a:pt x="1077" y="121"/>
                  </a:lnTo>
                  <a:lnTo>
                    <a:pt x="1090" y="118"/>
                  </a:lnTo>
                  <a:lnTo>
                    <a:pt x="1104" y="112"/>
                  </a:lnTo>
                  <a:lnTo>
                    <a:pt x="1117" y="106"/>
                  </a:lnTo>
                  <a:lnTo>
                    <a:pt x="1129" y="97"/>
                  </a:lnTo>
                  <a:lnTo>
                    <a:pt x="1140" y="88"/>
                  </a:lnTo>
                  <a:lnTo>
                    <a:pt x="1159" y="69"/>
                  </a:lnTo>
                  <a:lnTo>
                    <a:pt x="1179" y="50"/>
                  </a:lnTo>
                  <a:lnTo>
                    <a:pt x="1187" y="40"/>
                  </a:lnTo>
                  <a:lnTo>
                    <a:pt x="1197" y="30"/>
                  </a:lnTo>
                  <a:lnTo>
                    <a:pt x="1207" y="23"/>
                  </a:lnTo>
                  <a:lnTo>
                    <a:pt x="1218" y="15"/>
                  </a:lnTo>
                  <a:lnTo>
                    <a:pt x="1229" y="8"/>
                  </a:lnTo>
                  <a:lnTo>
                    <a:pt x="1241" y="4"/>
                  </a:lnTo>
                  <a:lnTo>
                    <a:pt x="1254" y="1"/>
                  </a:lnTo>
                  <a:lnTo>
                    <a:pt x="1270" y="0"/>
                  </a:lnTo>
                  <a:lnTo>
                    <a:pt x="1294" y="1"/>
                  </a:lnTo>
                  <a:lnTo>
                    <a:pt x="1317" y="1"/>
                  </a:lnTo>
                  <a:lnTo>
                    <a:pt x="1339" y="3"/>
                  </a:lnTo>
                  <a:lnTo>
                    <a:pt x="1360" y="5"/>
                  </a:lnTo>
                  <a:lnTo>
                    <a:pt x="1400" y="11"/>
                  </a:lnTo>
                  <a:lnTo>
                    <a:pt x="1439" y="17"/>
                  </a:lnTo>
                  <a:lnTo>
                    <a:pt x="1478" y="27"/>
                  </a:lnTo>
                  <a:lnTo>
                    <a:pt x="1518" y="38"/>
                  </a:lnTo>
                  <a:lnTo>
                    <a:pt x="1560" y="48"/>
                  </a:lnTo>
                  <a:lnTo>
                    <a:pt x="1605" y="61"/>
                  </a:lnTo>
                  <a:lnTo>
                    <a:pt x="1644" y="73"/>
                  </a:lnTo>
                  <a:lnTo>
                    <a:pt x="1678" y="84"/>
                  </a:lnTo>
                  <a:lnTo>
                    <a:pt x="1695" y="88"/>
                  </a:lnTo>
                  <a:lnTo>
                    <a:pt x="1712" y="93"/>
                  </a:lnTo>
                  <a:lnTo>
                    <a:pt x="1731" y="95"/>
                  </a:lnTo>
                  <a:lnTo>
                    <a:pt x="1751" y="96"/>
                  </a:lnTo>
                  <a:lnTo>
                    <a:pt x="1760" y="95"/>
                  </a:lnTo>
                  <a:lnTo>
                    <a:pt x="1769" y="93"/>
                  </a:lnTo>
                  <a:lnTo>
                    <a:pt x="1775" y="91"/>
                  </a:lnTo>
                  <a:lnTo>
                    <a:pt x="1783" y="87"/>
                  </a:lnTo>
                  <a:lnTo>
                    <a:pt x="1789" y="84"/>
                  </a:lnTo>
                  <a:lnTo>
                    <a:pt x="1797" y="81"/>
                  </a:lnTo>
                  <a:lnTo>
                    <a:pt x="1804" y="80"/>
                  </a:lnTo>
                  <a:lnTo>
                    <a:pt x="1813" y="79"/>
                  </a:lnTo>
                  <a:lnTo>
                    <a:pt x="1841" y="80"/>
                  </a:lnTo>
                  <a:lnTo>
                    <a:pt x="1866" y="82"/>
                  </a:lnTo>
                  <a:lnTo>
                    <a:pt x="1888" y="85"/>
                  </a:lnTo>
                  <a:lnTo>
                    <a:pt x="1910" y="89"/>
                  </a:lnTo>
                  <a:lnTo>
                    <a:pt x="1932" y="94"/>
                  </a:lnTo>
                  <a:lnTo>
                    <a:pt x="1954" y="98"/>
                  </a:lnTo>
                  <a:lnTo>
                    <a:pt x="1978" y="102"/>
                  </a:lnTo>
                  <a:lnTo>
                    <a:pt x="2006" y="106"/>
                  </a:lnTo>
                  <a:lnTo>
                    <a:pt x="2006" y="106"/>
                  </a:lnTo>
                  <a:lnTo>
                    <a:pt x="1993" y="114"/>
                  </a:lnTo>
                  <a:lnTo>
                    <a:pt x="1981" y="123"/>
                  </a:lnTo>
                  <a:lnTo>
                    <a:pt x="1977" y="128"/>
                  </a:lnTo>
                  <a:lnTo>
                    <a:pt x="1974" y="134"/>
                  </a:lnTo>
                  <a:lnTo>
                    <a:pt x="1972" y="141"/>
                  </a:lnTo>
                  <a:lnTo>
                    <a:pt x="1971" y="149"/>
                  </a:lnTo>
                  <a:lnTo>
                    <a:pt x="1971" y="154"/>
                  </a:lnTo>
                  <a:lnTo>
                    <a:pt x="1973" y="159"/>
                  </a:lnTo>
                  <a:lnTo>
                    <a:pt x="1976" y="162"/>
                  </a:lnTo>
                  <a:lnTo>
                    <a:pt x="1978" y="166"/>
                  </a:lnTo>
                  <a:lnTo>
                    <a:pt x="1985" y="174"/>
                  </a:lnTo>
                  <a:lnTo>
                    <a:pt x="1990" y="182"/>
                  </a:lnTo>
                  <a:lnTo>
                    <a:pt x="1998" y="203"/>
                  </a:lnTo>
                  <a:lnTo>
                    <a:pt x="2004" y="222"/>
                  </a:lnTo>
                  <a:lnTo>
                    <a:pt x="2006" y="231"/>
                  </a:lnTo>
                  <a:lnTo>
                    <a:pt x="2008" y="241"/>
                  </a:lnTo>
                  <a:lnTo>
                    <a:pt x="2009" y="251"/>
                  </a:lnTo>
                  <a:lnTo>
                    <a:pt x="2011" y="263"/>
                  </a:lnTo>
                  <a:lnTo>
                    <a:pt x="2011" y="286"/>
                  </a:lnTo>
                  <a:lnTo>
                    <a:pt x="2011" y="308"/>
                  </a:lnTo>
                  <a:lnTo>
                    <a:pt x="2011" y="328"/>
                  </a:lnTo>
                  <a:lnTo>
                    <a:pt x="2011" y="348"/>
                  </a:lnTo>
                  <a:lnTo>
                    <a:pt x="2011" y="367"/>
                  </a:lnTo>
                  <a:lnTo>
                    <a:pt x="2011" y="388"/>
                  </a:lnTo>
                  <a:lnTo>
                    <a:pt x="2011" y="409"/>
                  </a:lnTo>
                  <a:lnTo>
                    <a:pt x="2011" y="433"/>
                  </a:lnTo>
                  <a:lnTo>
                    <a:pt x="2011" y="450"/>
                  </a:lnTo>
                  <a:lnTo>
                    <a:pt x="2013" y="466"/>
                  </a:lnTo>
                  <a:lnTo>
                    <a:pt x="2016" y="480"/>
                  </a:lnTo>
                  <a:lnTo>
                    <a:pt x="2018" y="496"/>
                  </a:lnTo>
                  <a:lnTo>
                    <a:pt x="2021" y="510"/>
                  </a:lnTo>
                  <a:lnTo>
                    <a:pt x="2023" y="525"/>
                  </a:lnTo>
                  <a:lnTo>
                    <a:pt x="2026" y="541"/>
                  </a:lnTo>
                  <a:lnTo>
                    <a:pt x="2027" y="558"/>
                  </a:lnTo>
                  <a:lnTo>
                    <a:pt x="2026" y="561"/>
                  </a:lnTo>
                  <a:lnTo>
                    <a:pt x="2025" y="566"/>
                  </a:lnTo>
                  <a:lnTo>
                    <a:pt x="2023" y="568"/>
                  </a:lnTo>
                  <a:lnTo>
                    <a:pt x="2020" y="571"/>
                  </a:lnTo>
                  <a:lnTo>
                    <a:pt x="2015" y="575"/>
                  </a:lnTo>
                  <a:lnTo>
                    <a:pt x="2008" y="580"/>
                  </a:lnTo>
                  <a:lnTo>
                    <a:pt x="2002" y="584"/>
                  </a:lnTo>
                  <a:lnTo>
                    <a:pt x="1995" y="590"/>
                  </a:lnTo>
                  <a:lnTo>
                    <a:pt x="1993" y="592"/>
                  </a:lnTo>
                  <a:lnTo>
                    <a:pt x="1991" y="595"/>
                  </a:lnTo>
                  <a:lnTo>
                    <a:pt x="1990" y="599"/>
                  </a:lnTo>
                  <a:lnTo>
                    <a:pt x="1990" y="602"/>
                  </a:lnTo>
                  <a:lnTo>
                    <a:pt x="1991" y="617"/>
                  </a:lnTo>
                  <a:lnTo>
                    <a:pt x="1993" y="631"/>
                  </a:lnTo>
                  <a:lnTo>
                    <a:pt x="1991" y="641"/>
                  </a:lnTo>
                  <a:lnTo>
                    <a:pt x="1989" y="651"/>
                  </a:lnTo>
                  <a:lnTo>
                    <a:pt x="1987" y="660"/>
                  </a:lnTo>
                  <a:lnTo>
                    <a:pt x="1982" y="668"/>
                  </a:lnTo>
                  <a:lnTo>
                    <a:pt x="1975" y="685"/>
                  </a:lnTo>
                  <a:lnTo>
                    <a:pt x="1967" y="704"/>
                  </a:lnTo>
                  <a:lnTo>
                    <a:pt x="1963" y="720"/>
                  </a:lnTo>
                  <a:lnTo>
                    <a:pt x="1959" y="735"/>
                  </a:lnTo>
                  <a:lnTo>
                    <a:pt x="1955" y="749"/>
                  </a:lnTo>
                  <a:lnTo>
                    <a:pt x="1953" y="763"/>
                  </a:lnTo>
                  <a:lnTo>
                    <a:pt x="1948" y="793"/>
                  </a:lnTo>
                  <a:lnTo>
                    <a:pt x="1939" y="824"/>
                  </a:lnTo>
                  <a:lnTo>
                    <a:pt x="1934" y="837"/>
                  </a:lnTo>
                  <a:lnTo>
                    <a:pt x="1928" y="848"/>
                  </a:lnTo>
                  <a:lnTo>
                    <a:pt x="1922" y="858"/>
                  </a:lnTo>
                  <a:lnTo>
                    <a:pt x="1918" y="871"/>
                  </a:lnTo>
                  <a:lnTo>
                    <a:pt x="1908" y="904"/>
                  </a:lnTo>
                  <a:lnTo>
                    <a:pt x="1899" y="932"/>
                  </a:lnTo>
                  <a:lnTo>
                    <a:pt x="1895" y="945"/>
                  </a:lnTo>
                  <a:lnTo>
                    <a:pt x="1892" y="960"/>
                  </a:lnTo>
                  <a:lnTo>
                    <a:pt x="1888" y="975"/>
                  </a:lnTo>
                  <a:lnTo>
                    <a:pt x="1886" y="992"/>
                  </a:lnTo>
                  <a:lnTo>
                    <a:pt x="1884" y="1007"/>
                  </a:lnTo>
                  <a:lnTo>
                    <a:pt x="1882" y="1023"/>
                  </a:lnTo>
                  <a:lnTo>
                    <a:pt x="1879" y="1037"/>
                  </a:lnTo>
                  <a:lnTo>
                    <a:pt x="1874" y="1051"/>
                  </a:lnTo>
                  <a:lnTo>
                    <a:pt x="1871" y="1056"/>
                  </a:lnTo>
                  <a:lnTo>
                    <a:pt x="1868" y="1061"/>
                  </a:lnTo>
                  <a:lnTo>
                    <a:pt x="1864" y="1067"/>
                  </a:lnTo>
                  <a:lnTo>
                    <a:pt x="1859" y="1071"/>
                  </a:lnTo>
                  <a:lnTo>
                    <a:pt x="1855" y="1074"/>
                  </a:lnTo>
                  <a:lnTo>
                    <a:pt x="1850" y="1077"/>
                  </a:lnTo>
                  <a:lnTo>
                    <a:pt x="1843" y="1079"/>
                  </a:lnTo>
                  <a:lnTo>
                    <a:pt x="1836" y="1079"/>
                  </a:lnTo>
                  <a:lnTo>
                    <a:pt x="1831" y="1079"/>
                  </a:lnTo>
                  <a:lnTo>
                    <a:pt x="1827" y="1078"/>
                  </a:lnTo>
                  <a:lnTo>
                    <a:pt x="1823" y="1077"/>
                  </a:lnTo>
                  <a:lnTo>
                    <a:pt x="1819" y="1074"/>
                  </a:lnTo>
                  <a:lnTo>
                    <a:pt x="1812" y="1070"/>
                  </a:lnTo>
                  <a:lnTo>
                    <a:pt x="1802" y="1068"/>
                  </a:lnTo>
                  <a:lnTo>
                    <a:pt x="1801" y="1077"/>
                  </a:lnTo>
                  <a:lnTo>
                    <a:pt x="1800" y="1085"/>
                  </a:lnTo>
                  <a:lnTo>
                    <a:pt x="1800" y="1092"/>
                  </a:lnTo>
                  <a:lnTo>
                    <a:pt x="1802" y="1099"/>
                  </a:lnTo>
                  <a:lnTo>
                    <a:pt x="1804" y="1105"/>
                  </a:lnTo>
                  <a:lnTo>
                    <a:pt x="1807" y="1111"/>
                  </a:lnTo>
                  <a:lnTo>
                    <a:pt x="1811" y="1117"/>
                  </a:lnTo>
                  <a:lnTo>
                    <a:pt x="1814" y="1123"/>
                  </a:lnTo>
                  <a:lnTo>
                    <a:pt x="1815" y="1130"/>
                  </a:lnTo>
                  <a:lnTo>
                    <a:pt x="1816" y="1137"/>
                  </a:lnTo>
                  <a:lnTo>
                    <a:pt x="1816" y="1149"/>
                  </a:lnTo>
                  <a:lnTo>
                    <a:pt x="1816" y="1161"/>
                  </a:lnTo>
                  <a:lnTo>
                    <a:pt x="1802" y="1154"/>
                  </a:lnTo>
                  <a:lnTo>
                    <a:pt x="1789" y="1149"/>
                  </a:lnTo>
                  <a:lnTo>
                    <a:pt x="1783" y="1147"/>
                  </a:lnTo>
                  <a:lnTo>
                    <a:pt x="1775" y="1145"/>
                  </a:lnTo>
                  <a:lnTo>
                    <a:pt x="1769" y="1144"/>
                  </a:lnTo>
                  <a:lnTo>
                    <a:pt x="1760" y="1144"/>
                  </a:lnTo>
                  <a:lnTo>
                    <a:pt x="1753" y="1144"/>
                  </a:lnTo>
                  <a:lnTo>
                    <a:pt x="1748" y="1146"/>
                  </a:lnTo>
                  <a:lnTo>
                    <a:pt x="1744" y="1147"/>
                  </a:lnTo>
                  <a:lnTo>
                    <a:pt x="1738" y="1150"/>
                  </a:lnTo>
                  <a:lnTo>
                    <a:pt x="1731" y="1157"/>
                  </a:lnTo>
                  <a:lnTo>
                    <a:pt x="1723" y="1165"/>
                  </a:lnTo>
                  <a:lnTo>
                    <a:pt x="1717" y="1175"/>
                  </a:lnTo>
                  <a:lnTo>
                    <a:pt x="1710" y="1185"/>
                  </a:lnTo>
                  <a:lnTo>
                    <a:pt x="1703" y="1194"/>
                  </a:lnTo>
                  <a:lnTo>
                    <a:pt x="1693" y="1203"/>
                  </a:lnTo>
                  <a:lnTo>
                    <a:pt x="1659" y="1227"/>
                  </a:lnTo>
                  <a:lnTo>
                    <a:pt x="1629" y="1247"/>
                  </a:lnTo>
                  <a:lnTo>
                    <a:pt x="1615" y="1258"/>
                  </a:lnTo>
                  <a:lnTo>
                    <a:pt x="1600" y="1269"/>
                  </a:lnTo>
                  <a:lnTo>
                    <a:pt x="1585" y="1281"/>
                  </a:lnTo>
                  <a:lnTo>
                    <a:pt x="1570" y="1295"/>
                  </a:lnTo>
                  <a:lnTo>
                    <a:pt x="1554" y="1311"/>
                  </a:lnTo>
                  <a:lnTo>
                    <a:pt x="1539" y="1326"/>
                  </a:lnTo>
                  <a:lnTo>
                    <a:pt x="1526" y="1341"/>
                  </a:lnTo>
                  <a:lnTo>
                    <a:pt x="1514" y="1355"/>
                  </a:lnTo>
                  <a:lnTo>
                    <a:pt x="1491" y="1385"/>
                  </a:lnTo>
                  <a:lnTo>
                    <a:pt x="1469" y="1415"/>
                  </a:lnTo>
                  <a:lnTo>
                    <a:pt x="1469" y="1415"/>
                  </a:lnTo>
                  <a:lnTo>
                    <a:pt x="1443" y="1402"/>
                  </a:lnTo>
                  <a:lnTo>
                    <a:pt x="1419" y="1392"/>
                  </a:lnTo>
                  <a:lnTo>
                    <a:pt x="1406" y="1388"/>
                  </a:lnTo>
                  <a:lnTo>
                    <a:pt x="1393" y="1384"/>
                  </a:lnTo>
                  <a:lnTo>
                    <a:pt x="1379" y="1382"/>
                  </a:lnTo>
                  <a:lnTo>
                    <a:pt x="1365" y="1382"/>
                  </a:lnTo>
                  <a:lnTo>
                    <a:pt x="1345" y="1382"/>
                  </a:lnTo>
                  <a:lnTo>
                    <a:pt x="1328" y="1384"/>
                  </a:lnTo>
                  <a:lnTo>
                    <a:pt x="1320" y="1385"/>
                  </a:lnTo>
                  <a:lnTo>
                    <a:pt x="1312" y="1385"/>
                  </a:lnTo>
                  <a:lnTo>
                    <a:pt x="1302" y="1385"/>
                  </a:lnTo>
                  <a:lnTo>
                    <a:pt x="1292" y="1384"/>
                  </a:lnTo>
                  <a:lnTo>
                    <a:pt x="1298" y="1370"/>
                  </a:lnTo>
                  <a:lnTo>
                    <a:pt x="1302" y="1357"/>
                  </a:lnTo>
                  <a:lnTo>
                    <a:pt x="1306" y="1344"/>
                  </a:lnTo>
                  <a:lnTo>
                    <a:pt x="1312" y="1331"/>
                  </a:lnTo>
                  <a:lnTo>
                    <a:pt x="1327" y="1306"/>
                  </a:lnTo>
                  <a:lnTo>
                    <a:pt x="1343" y="1283"/>
                  </a:lnTo>
                  <a:lnTo>
                    <a:pt x="1349" y="1271"/>
                  </a:lnTo>
                  <a:lnTo>
                    <a:pt x="1355" y="1259"/>
                  </a:lnTo>
                  <a:lnTo>
                    <a:pt x="1357" y="1253"/>
                  </a:lnTo>
                  <a:lnTo>
                    <a:pt x="1358" y="1246"/>
                  </a:lnTo>
                  <a:lnTo>
                    <a:pt x="1359" y="1239"/>
                  </a:lnTo>
                  <a:lnTo>
                    <a:pt x="1359" y="1230"/>
                  </a:lnTo>
                  <a:lnTo>
                    <a:pt x="1358" y="1217"/>
                  </a:lnTo>
                  <a:lnTo>
                    <a:pt x="1357" y="1203"/>
                  </a:lnTo>
                  <a:lnTo>
                    <a:pt x="1357" y="1177"/>
                  </a:lnTo>
                  <a:lnTo>
                    <a:pt x="1357" y="1153"/>
                  </a:lnTo>
                  <a:lnTo>
                    <a:pt x="1357" y="1130"/>
                  </a:lnTo>
                  <a:lnTo>
                    <a:pt x="1357" y="1104"/>
                  </a:lnTo>
                  <a:lnTo>
                    <a:pt x="1356" y="1088"/>
                  </a:lnTo>
                  <a:lnTo>
                    <a:pt x="1354" y="1073"/>
                  </a:lnTo>
                  <a:lnTo>
                    <a:pt x="1349" y="1060"/>
                  </a:lnTo>
                  <a:lnTo>
                    <a:pt x="1343" y="1047"/>
                  </a:lnTo>
                  <a:lnTo>
                    <a:pt x="1340" y="1042"/>
                  </a:lnTo>
                  <a:lnTo>
                    <a:pt x="1335" y="1037"/>
                  </a:lnTo>
                  <a:lnTo>
                    <a:pt x="1331" y="1031"/>
                  </a:lnTo>
                  <a:lnTo>
                    <a:pt x="1326" y="1027"/>
                  </a:lnTo>
                  <a:lnTo>
                    <a:pt x="1320" y="1023"/>
                  </a:lnTo>
                  <a:lnTo>
                    <a:pt x="1314" y="1018"/>
                  </a:lnTo>
                  <a:lnTo>
                    <a:pt x="1307" y="1015"/>
                  </a:lnTo>
                  <a:lnTo>
                    <a:pt x="1301" y="1012"/>
                  </a:lnTo>
                  <a:lnTo>
                    <a:pt x="1289" y="1007"/>
                  </a:lnTo>
                  <a:lnTo>
                    <a:pt x="1278" y="1005"/>
                  </a:lnTo>
                  <a:lnTo>
                    <a:pt x="1267" y="1004"/>
                  </a:lnTo>
                  <a:lnTo>
                    <a:pt x="1258" y="1003"/>
                  </a:lnTo>
                  <a:lnTo>
                    <a:pt x="1247" y="1002"/>
                  </a:lnTo>
                  <a:lnTo>
                    <a:pt x="1236" y="1001"/>
                  </a:lnTo>
                  <a:lnTo>
                    <a:pt x="1225" y="999"/>
                  </a:lnTo>
                  <a:lnTo>
                    <a:pt x="1213" y="995"/>
                  </a:lnTo>
                  <a:lnTo>
                    <a:pt x="1204" y="991"/>
                  </a:lnTo>
                  <a:lnTo>
                    <a:pt x="1196" y="986"/>
                  </a:lnTo>
                  <a:lnTo>
                    <a:pt x="1190" y="979"/>
                  </a:lnTo>
                  <a:lnTo>
                    <a:pt x="1184" y="972"/>
                  </a:lnTo>
                  <a:lnTo>
                    <a:pt x="1175" y="956"/>
                  </a:lnTo>
                  <a:lnTo>
                    <a:pt x="1166" y="936"/>
                  </a:lnTo>
                  <a:lnTo>
                    <a:pt x="1156" y="918"/>
                  </a:lnTo>
                  <a:lnTo>
                    <a:pt x="1144" y="901"/>
                  </a:lnTo>
                  <a:lnTo>
                    <a:pt x="1132" y="885"/>
                  </a:lnTo>
                  <a:lnTo>
                    <a:pt x="1119" y="872"/>
                  </a:lnTo>
                  <a:lnTo>
                    <a:pt x="1105" y="860"/>
                  </a:lnTo>
                  <a:lnTo>
                    <a:pt x="1091" y="848"/>
                  </a:lnTo>
                  <a:lnTo>
                    <a:pt x="1077" y="837"/>
                  </a:lnTo>
                  <a:lnTo>
                    <a:pt x="1062" y="826"/>
                  </a:lnTo>
                  <a:lnTo>
                    <a:pt x="1048" y="815"/>
                  </a:lnTo>
                  <a:lnTo>
                    <a:pt x="1034" y="804"/>
                  </a:lnTo>
                  <a:lnTo>
                    <a:pt x="1020" y="793"/>
                  </a:lnTo>
                  <a:lnTo>
                    <a:pt x="1007" y="781"/>
                  </a:lnTo>
                  <a:lnTo>
                    <a:pt x="995" y="767"/>
                  </a:lnTo>
                  <a:lnTo>
                    <a:pt x="983" y="752"/>
                  </a:lnTo>
                  <a:lnTo>
                    <a:pt x="974" y="734"/>
                  </a:lnTo>
                  <a:lnTo>
                    <a:pt x="964" y="715"/>
                  </a:lnTo>
                  <a:lnTo>
                    <a:pt x="955" y="696"/>
                  </a:lnTo>
                  <a:lnTo>
                    <a:pt x="947" y="679"/>
                  </a:lnTo>
                  <a:lnTo>
                    <a:pt x="936" y="665"/>
                  </a:lnTo>
                  <a:lnTo>
                    <a:pt x="925" y="651"/>
                  </a:lnTo>
                  <a:lnTo>
                    <a:pt x="900" y="625"/>
                  </a:lnTo>
                  <a:lnTo>
                    <a:pt x="872" y="597"/>
                  </a:lnTo>
                  <a:lnTo>
                    <a:pt x="861" y="586"/>
                  </a:lnTo>
                  <a:lnTo>
                    <a:pt x="853" y="578"/>
                  </a:lnTo>
                  <a:lnTo>
                    <a:pt x="847" y="573"/>
                  </a:lnTo>
                  <a:lnTo>
                    <a:pt x="842" y="570"/>
                  </a:lnTo>
                  <a:lnTo>
                    <a:pt x="836" y="567"/>
                  </a:lnTo>
                  <a:lnTo>
                    <a:pt x="830" y="564"/>
                  </a:lnTo>
                  <a:lnTo>
                    <a:pt x="822" y="561"/>
                  </a:lnTo>
                  <a:lnTo>
                    <a:pt x="816" y="559"/>
                  </a:lnTo>
                  <a:lnTo>
                    <a:pt x="809" y="558"/>
                  </a:lnTo>
                  <a:lnTo>
                    <a:pt x="803" y="557"/>
                  </a:lnTo>
                  <a:lnTo>
                    <a:pt x="791" y="557"/>
                  </a:lnTo>
                  <a:lnTo>
                    <a:pt x="778" y="558"/>
                  </a:lnTo>
                  <a:lnTo>
                    <a:pt x="766" y="558"/>
                  </a:lnTo>
                  <a:lnTo>
                    <a:pt x="753" y="559"/>
                  </a:lnTo>
                  <a:lnTo>
                    <a:pt x="740" y="558"/>
                  </a:lnTo>
                  <a:lnTo>
                    <a:pt x="726" y="555"/>
                  </a:lnTo>
                  <a:lnTo>
                    <a:pt x="722" y="554"/>
                  </a:lnTo>
                  <a:lnTo>
                    <a:pt x="719" y="552"/>
                  </a:lnTo>
                  <a:lnTo>
                    <a:pt x="715" y="548"/>
                  </a:lnTo>
                  <a:lnTo>
                    <a:pt x="713" y="546"/>
                  </a:lnTo>
                  <a:lnTo>
                    <a:pt x="710" y="539"/>
                  </a:lnTo>
                  <a:lnTo>
                    <a:pt x="708" y="530"/>
                  </a:lnTo>
                  <a:lnTo>
                    <a:pt x="707" y="512"/>
                  </a:lnTo>
                  <a:lnTo>
                    <a:pt x="704" y="493"/>
                  </a:lnTo>
                  <a:lnTo>
                    <a:pt x="700" y="486"/>
                  </a:lnTo>
                  <a:lnTo>
                    <a:pt x="696" y="480"/>
                  </a:lnTo>
                  <a:lnTo>
                    <a:pt x="690" y="476"/>
                  </a:lnTo>
                  <a:lnTo>
                    <a:pt x="683" y="473"/>
                  </a:lnTo>
                  <a:lnTo>
                    <a:pt x="667" y="469"/>
                  </a:lnTo>
                  <a:lnTo>
                    <a:pt x="651" y="465"/>
                  </a:lnTo>
                  <a:lnTo>
                    <a:pt x="613" y="457"/>
                  </a:lnTo>
                  <a:lnTo>
                    <a:pt x="580" y="450"/>
                  </a:lnTo>
                  <a:lnTo>
                    <a:pt x="564" y="447"/>
                  </a:lnTo>
                  <a:lnTo>
                    <a:pt x="547" y="445"/>
                  </a:lnTo>
                  <a:lnTo>
                    <a:pt x="529" y="444"/>
                  </a:lnTo>
                  <a:lnTo>
                    <a:pt x="509" y="443"/>
                  </a:lnTo>
                  <a:lnTo>
                    <a:pt x="483" y="443"/>
                  </a:lnTo>
                  <a:lnTo>
                    <a:pt x="460" y="443"/>
                  </a:lnTo>
                  <a:lnTo>
                    <a:pt x="436" y="443"/>
                  </a:lnTo>
                  <a:lnTo>
                    <a:pt x="410" y="443"/>
                  </a:lnTo>
                  <a:lnTo>
                    <a:pt x="403" y="443"/>
                  </a:lnTo>
                  <a:lnTo>
                    <a:pt x="398" y="442"/>
                  </a:lnTo>
                  <a:lnTo>
                    <a:pt x="394" y="439"/>
                  </a:lnTo>
                  <a:lnTo>
                    <a:pt x="388" y="436"/>
                  </a:lnTo>
                  <a:lnTo>
                    <a:pt x="381" y="430"/>
                  </a:lnTo>
                  <a:lnTo>
                    <a:pt x="372" y="422"/>
                  </a:lnTo>
                  <a:lnTo>
                    <a:pt x="364" y="415"/>
                  </a:lnTo>
                  <a:lnTo>
                    <a:pt x="356" y="407"/>
                  </a:lnTo>
                  <a:lnTo>
                    <a:pt x="352" y="405"/>
                  </a:lnTo>
                  <a:lnTo>
                    <a:pt x="346" y="403"/>
                  </a:lnTo>
                  <a:lnTo>
                    <a:pt x="341" y="402"/>
                  </a:lnTo>
                  <a:lnTo>
                    <a:pt x="335" y="401"/>
                  </a:lnTo>
                  <a:lnTo>
                    <a:pt x="328" y="402"/>
                  </a:lnTo>
                  <a:lnTo>
                    <a:pt x="321" y="403"/>
                  </a:lnTo>
                  <a:lnTo>
                    <a:pt x="315" y="405"/>
                  </a:lnTo>
                  <a:lnTo>
                    <a:pt x="309" y="407"/>
                  </a:lnTo>
                  <a:lnTo>
                    <a:pt x="300" y="415"/>
                  </a:lnTo>
                  <a:lnTo>
                    <a:pt x="289" y="422"/>
                  </a:lnTo>
                  <a:lnTo>
                    <a:pt x="279" y="430"/>
                  </a:lnTo>
                  <a:lnTo>
                    <a:pt x="269" y="436"/>
                  </a:lnTo>
                  <a:lnTo>
                    <a:pt x="263" y="439"/>
                  </a:lnTo>
                  <a:lnTo>
                    <a:pt x="258" y="442"/>
                  </a:lnTo>
                  <a:lnTo>
                    <a:pt x="251" y="443"/>
                  </a:lnTo>
                  <a:lnTo>
                    <a:pt x="243" y="443"/>
                  </a:lnTo>
                  <a:lnTo>
                    <a:pt x="238" y="443"/>
                  </a:lnTo>
                  <a:lnTo>
                    <a:pt x="233" y="442"/>
                  </a:lnTo>
                  <a:lnTo>
                    <a:pt x="227" y="440"/>
                  </a:lnTo>
                  <a:lnTo>
                    <a:pt x="222" y="438"/>
                  </a:lnTo>
                  <a:lnTo>
                    <a:pt x="213" y="433"/>
                  </a:lnTo>
                  <a:lnTo>
                    <a:pt x="205" y="428"/>
                  </a:lnTo>
                  <a:lnTo>
                    <a:pt x="196" y="422"/>
                  </a:lnTo>
                  <a:lnTo>
                    <a:pt x="187" y="417"/>
                  </a:lnTo>
                  <a:lnTo>
                    <a:pt x="182" y="415"/>
                  </a:lnTo>
                  <a:lnTo>
                    <a:pt x="177" y="413"/>
                  </a:lnTo>
                  <a:lnTo>
                    <a:pt x="171" y="412"/>
                  </a:lnTo>
                  <a:lnTo>
                    <a:pt x="166" y="412"/>
                  </a:lnTo>
                  <a:lnTo>
                    <a:pt x="152" y="413"/>
                  </a:lnTo>
                  <a:lnTo>
                    <a:pt x="141" y="416"/>
                  </a:lnTo>
                  <a:lnTo>
                    <a:pt x="129" y="419"/>
                  </a:lnTo>
                  <a:lnTo>
                    <a:pt x="119" y="423"/>
                  </a:lnTo>
                  <a:lnTo>
                    <a:pt x="108" y="428"/>
                  </a:lnTo>
                  <a:lnTo>
                    <a:pt x="98" y="431"/>
                  </a:lnTo>
                  <a:lnTo>
                    <a:pt x="86" y="434"/>
                  </a:lnTo>
                  <a:lnTo>
                    <a:pt x="73" y="435"/>
                  </a:lnTo>
                  <a:lnTo>
                    <a:pt x="63" y="434"/>
                  </a:lnTo>
                  <a:lnTo>
                    <a:pt x="54" y="431"/>
                  </a:lnTo>
                  <a:lnTo>
                    <a:pt x="46" y="428"/>
                  </a:lnTo>
                  <a:lnTo>
                    <a:pt x="37" y="423"/>
                  </a:lnTo>
                  <a:lnTo>
                    <a:pt x="29" y="419"/>
                  </a:lnTo>
                  <a:lnTo>
                    <a:pt x="20" y="415"/>
                  </a:lnTo>
                  <a:lnTo>
                    <a:pt x="10" y="412"/>
                  </a:lnTo>
                  <a:lnTo>
                    <a:pt x="0" y="411"/>
                  </a:lnTo>
                  <a:lnTo>
                    <a:pt x="0" y="411"/>
                  </a:lnTo>
                  <a:close/>
                </a:path>
              </a:pathLst>
            </a:custGeom>
            <a:solidFill>
              <a:srgbClr val="73B844"/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83">
              <a:extLst>
                <a:ext uri="{FF2B5EF4-FFF2-40B4-BE49-F238E27FC236}">
                  <a16:creationId xmlns:a16="http://schemas.microsoft.com/office/drawing/2014/main" id="{E09C3BC0-C258-45DE-8ABC-7EC522A8D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8800" y="652463"/>
              <a:ext cx="52388" cy="84138"/>
            </a:xfrm>
            <a:custGeom>
              <a:avLst/>
              <a:gdLst>
                <a:gd name="T0" fmla="*/ 70 w 132"/>
                <a:gd name="T1" fmla="*/ 22 h 209"/>
                <a:gd name="T2" fmla="*/ 51 w 132"/>
                <a:gd name="T3" fmla="*/ 18 h 209"/>
                <a:gd name="T4" fmla="*/ 34 w 132"/>
                <a:gd name="T5" fmla="*/ 15 h 209"/>
                <a:gd name="T6" fmla="*/ 18 w 132"/>
                <a:gd name="T7" fmla="*/ 9 h 209"/>
                <a:gd name="T8" fmla="*/ 0 w 132"/>
                <a:gd name="T9" fmla="*/ 0 h 209"/>
                <a:gd name="T10" fmla="*/ 2 w 132"/>
                <a:gd name="T11" fmla="*/ 9 h 209"/>
                <a:gd name="T12" fmla="*/ 5 w 132"/>
                <a:gd name="T13" fmla="*/ 16 h 209"/>
                <a:gd name="T14" fmla="*/ 8 w 132"/>
                <a:gd name="T15" fmla="*/ 24 h 209"/>
                <a:gd name="T16" fmla="*/ 9 w 132"/>
                <a:gd name="T17" fmla="*/ 32 h 209"/>
                <a:gd name="T18" fmla="*/ 9 w 132"/>
                <a:gd name="T19" fmla="*/ 47 h 209"/>
                <a:gd name="T20" fmla="*/ 9 w 132"/>
                <a:gd name="T21" fmla="*/ 61 h 209"/>
                <a:gd name="T22" fmla="*/ 9 w 132"/>
                <a:gd name="T23" fmla="*/ 74 h 209"/>
                <a:gd name="T24" fmla="*/ 9 w 132"/>
                <a:gd name="T25" fmla="*/ 90 h 209"/>
                <a:gd name="T26" fmla="*/ 9 w 132"/>
                <a:gd name="T27" fmla="*/ 98 h 209"/>
                <a:gd name="T28" fmla="*/ 10 w 132"/>
                <a:gd name="T29" fmla="*/ 107 h 209"/>
                <a:gd name="T30" fmla="*/ 12 w 132"/>
                <a:gd name="T31" fmla="*/ 114 h 209"/>
                <a:gd name="T32" fmla="*/ 14 w 132"/>
                <a:gd name="T33" fmla="*/ 122 h 209"/>
                <a:gd name="T34" fmla="*/ 21 w 132"/>
                <a:gd name="T35" fmla="*/ 136 h 209"/>
                <a:gd name="T36" fmla="*/ 27 w 132"/>
                <a:gd name="T37" fmla="*/ 150 h 209"/>
                <a:gd name="T38" fmla="*/ 34 w 132"/>
                <a:gd name="T39" fmla="*/ 163 h 209"/>
                <a:gd name="T40" fmla="*/ 39 w 132"/>
                <a:gd name="T41" fmla="*/ 177 h 209"/>
                <a:gd name="T42" fmla="*/ 42 w 132"/>
                <a:gd name="T43" fmla="*/ 185 h 209"/>
                <a:gd name="T44" fmla="*/ 43 w 132"/>
                <a:gd name="T45" fmla="*/ 192 h 209"/>
                <a:gd name="T46" fmla="*/ 45 w 132"/>
                <a:gd name="T47" fmla="*/ 201 h 209"/>
                <a:gd name="T48" fmla="*/ 46 w 132"/>
                <a:gd name="T49" fmla="*/ 209 h 209"/>
                <a:gd name="T50" fmla="*/ 56 w 132"/>
                <a:gd name="T51" fmla="*/ 209 h 209"/>
                <a:gd name="T52" fmla="*/ 67 w 132"/>
                <a:gd name="T53" fmla="*/ 209 h 209"/>
                <a:gd name="T54" fmla="*/ 75 w 132"/>
                <a:gd name="T55" fmla="*/ 209 h 209"/>
                <a:gd name="T56" fmla="*/ 82 w 132"/>
                <a:gd name="T57" fmla="*/ 207 h 209"/>
                <a:gd name="T58" fmla="*/ 90 w 132"/>
                <a:gd name="T59" fmla="*/ 205 h 209"/>
                <a:gd name="T60" fmla="*/ 96 w 132"/>
                <a:gd name="T61" fmla="*/ 201 h 209"/>
                <a:gd name="T62" fmla="*/ 102 w 132"/>
                <a:gd name="T63" fmla="*/ 196 h 209"/>
                <a:gd name="T64" fmla="*/ 107 w 132"/>
                <a:gd name="T65" fmla="*/ 192 h 209"/>
                <a:gd name="T66" fmla="*/ 112 w 132"/>
                <a:gd name="T67" fmla="*/ 186 h 209"/>
                <a:gd name="T68" fmla="*/ 116 w 132"/>
                <a:gd name="T69" fmla="*/ 180 h 209"/>
                <a:gd name="T70" fmla="*/ 120 w 132"/>
                <a:gd name="T71" fmla="*/ 173 h 209"/>
                <a:gd name="T72" fmla="*/ 123 w 132"/>
                <a:gd name="T73" fmla="*/ 166 h 209"/>
                <a:gd name="T74" fmla="*/ 126 w 132"/>
                <a:gd name="T75" fmla="*/ 158 h 209"/>
                <a:gd name="T76" fmla="*/ 129 w 132"/>
                <a:gd name="T77" fmla="*/ 150 h 209"/>
                <a:gd name="T78" fmla="*/ 131 w 132"/>
                <a:gd name="T79" fmla="*/ 134 h 209"/>
                <a:gd name="T80" fmla="*/ 132 w 132"/>
                <a:gd name="T81" fmla="*/ 118 h 209"/>
                <a:gd name="T82" fmla="*/ 131 w 132"/>
                <a:gd name="T83" fmla="*/ 101 h 209"/>
                <a:gd name="T84" fmla="*/ 128 w 132"/>
                <a:gd name="T85" fmla="*/ 86 h 209"/>
                <a:gd name="T86" fmla="*/ 126 w 132"/>
                <a:gd name="T87" fmla="*/ 79 h 209"/>
                <a:gd name="T88" fmla="*/ 123 w 132"/>
                <a:gd name="T89" fmla="*/ 71 h 209"/>
                <a:gd name="T90" fmla="*/ 120 w 132"/>
                <a:gd name="T91" fmla="*/ 65 h 209"/>
                <a:gd name="T92" fmla="*/ 117 w 132"/>
                <a:gd name="T93" fmla="*/ 57 h 209"/>
                <a:gd name="T94" fmla="*/ 113 w 132"/>
                <a:gd name="T95" fmla="*/ 52 h 209"/>
                <a:gd name="T96" fmla="*/ 107 w 132"/>
                <a:gd name="T97" fmla="*/ 45 h 209"/>
                <a:gd name="T98" fmla="*/ 103 w 132"/>
                <a:gd name="T99" fmla="*/ 40 h 209"/>
                <a:gd name="T100" fmla="*/ 97 w 132"/>
                <a:gd name="T101" fmla="*/ 36 h 209"/>
                <a:gd name="T102" fmla="*/ 91 w 132"/>
                <a:gd name="T103" fmla="*/ 31 h 209"/>
                <a:gd name="T104" fmla="*/ 85 w 132"/>
                <a:gd name="T105" fmla="*/ 27 h 209"/>
                <a:gd name="T106" fmla="*/ 78 w 132"/>
                <a:gd name="T107" fmla="*/ 24 h 209"/>
                <a:gd name="T108" fmla="*/ 70 w 132"/>
                <a:gd name="T109" fmla="*/ 22 h 209"/>
                <a:gd name="T110" fmla="*/ 70 w 132"/>
                <a:gd name="T111" fmla="*/ 2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209">
                  <a:moveTo>
                    <a:pt x="70" y="22"/>
                  </a:moveTo>
                  <a:lnTo>
                    <a:pt x="51" y="18"/>
                  </a:lnTo>
                  <a:lnTo>
                    <a:pt x="34" y="15"/>
                  </a:lnTo>
                  <a:lnTo>
                    <a:pt x="18" y="9"/>
                  </a:lnTo>
                  <a:lnTo>
                    <a:pt x="0" y="0"/>
                  </a:lnTo>
                  <a:lnTo>
                    <a:pt x="2" y="9"/>
                  </a:lnTo>
                  <a:lnTo>
                    <a:pt x="5" y="16"/>
                  </a:lnTo>
                  <a:lnTo>
                    <a:pt x="8" y="24"/>
                  </a:lnTo>
                  <a:lnTo>
                    <a:pt x="9" y="32"/>
                  </a:lnTo>
                  <a:lnTo>
                    <a:pt x="9" y="47"/>
                  </a:lnTo>
                  <a:lnTo>
                    <a:pt x="9" y="61"/>
                  </a:lnTo>
                  <a:lnTo>
                    <a:pt x="9" y="74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10" y="107"/>
                  </a:lnTo>
                  <a:lnTo>
                    <a:pt x="12" y="114"/>
                  </a:lnTo>
                  <a:lnTo>
                    <a:pt x="14" y="122"/>
                  </a:lnTo>
                  <a:lnTo>
                    <a:pt x="21" y="136"/>
                  </a:lnTo>
                  <a:lnTo>
                    <a:pt x="27" y="150"/>
                  </a:lnTo>
                  <a:lnTo>
                    <a:pt x="34" y="163"/>
                  </a:lnTo>
                  <a:lnTo>
                    <a:pt x="39" y="177"/>
                  </a:lnTo>
                  <a:lnTo>
                    <a:pt x="42" y="185"/>
                  </a:lnTo>
                  <a:lnTo>
                    <a:pt x="43" y="192"/>
                  </a:lnTo>
                  <a:lnTo>
                    <a:pt x="45" y="201"/>
                  </a:lnTo>
                  <a:lnTo>
                    <a:pt x="46" y="209"/>
                  </a:lnTo>
                  <a:lnTo>
                    <a:pt x="56" y="209"/>
                  </a:lnTo>
                  <a:lnTo>
                    <a:pt x="67" y="209"/>
                  </a:lnTo>
                  <a:lnTo>
                    <a:pt x="75" y="209"/>
                  </a:lnTo>
                  <a:lnTo>
                    <a:pt x="82" y="207"/>
                  </a:lnTo>
                  <a:lnTo>
                    <a:pt x="90" y="205"/>
                  </a:lnTo>
                  <a:lnTo>
                    <a:pt x="96" y="201"/>
                  </a:lnTo>
                  <a:lnTo>
                    <a:pt x="102" y="196"/>
                  </a:lnTo>
                  <a:lnTo>
                    <a:pt x="107" y="192"/>
                  </a:lnTo>
                  <a:lnTo>
                    <a:pt x="112" y="186"/>
                  </a:lnTo>
                  <a:lnTo>
                    <a:pt x="116" y="180"/>
                  </a:lnTo>
                  <a:lnTo>
                    <a:pt x="120" y="173"/>
                  </a:lnTo>
                  <a:lnTo>
                    <a:pt x="123" y="166"/>
                  </a:lnTo>
                  <a:lnTo>
                    <a:pt x="126" y="158"/>
                  </a:lnTo>
                  <a:lnTo>
                    <a:pt x="129" y="150"/>
                  </a:lnTo>
                  <a:lnTo>
                    <a:pt x="131" y="134"/>
                  </a:lnTo>
                  <a:lnTo>
                    <a:pt x="132" y="118"/>
                  </a:lnTo>
                  <a:lnTo>
                    <a:pt x="131" y="101"/>
                  </a:lnTo>
                  <a:lnTo>
                    <a:pt x="128" y="86"/>
                  </a:lnTo>
                  <a:lnTo>
                    <a:pt x="126" y="79"/>
                  </a:lnTo>
                  <a:lnTo>
                    <a:pt x="123" y="71"/>
                  </a:lnTo>
                  <a:lnTo>
                    <a:pt x="120" y="65"/>
                  </a:lnTo>
                  <a:lnTo>
                    <a:pt x="117" y="57"/>
                  </a:lnTo>
                  <a:lnTo>
                    <a:pt x="113" y="52"/>
                  </a:lnTo>
                  <a:lnTo>
                    <a:pt x="107" y="45"/>
                  </a:lnTo>
                  <a:lnTo>
                    <a:pt x="103" y="40"/>
                  </a:lnTo>
                  <a:lnTo>
                    <a:pt x="97" y="36"/>
                  </a:lnTo>
                  <a:lnTo>
                    <a:pt x="91" y="31"/>
                  </a:lnTo>
                  <a:lnTo>
                    <a:pt x="85" y="27"/>
                  </a:lnTo>
                  <a:lnTo>
                    <a:pt x="78" y="24"/>
                  </a:lnTo>
                  <a:lnTo>
                    <a:pt x="70" y="22"/>
                  </a:lnTo>
                  <a:lnTo>
                    <a:pt x="70" y="2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Line 84">
              <a:extLst>
                <a:ext uri="{FF2B5EF4-FFF2-40B4-BE49-F238E27FC236}">
                  <a16:creationId xmlns:a16="http://schemas.microsoft.com/office/drawing/2014/main" id="{44495275-E3C1-4C27-9AF3-D1C0C790F4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2990850" y="1069976"/>
              <a:ext cx="7938" cy="1588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85">
              <a:extLst>
                <a:ext uri="{FF2B5EF4-FFF2-40B4-BE49-F238E27FC236}">
                  <a16:creationId xmlns:a16="http://schemas.microsoft.com/office/drawing/2014/main" id="{BF7DAC37-4BD2-45E7-B2C1-404884EBEB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86100" y="977901"/>
              <a:ext cx="103188" cy="93663"/>
            </a:xfrm>
            <a:custGeom>
              <a:avLst/>
              <a:gdLst>
                <a:gd name="T0" fmla="*/ 257 w 258"/>
                <a:gd name="T1" fmla="*/ 216 h 236"/>
                <a:gd name="T2" fmla="*/ 257 w 258"/>
                <a:gd name="T3" fmla="*/ 185 h 236"/>
                <a:gd name="T4" fmla="*/ 258 w 258"/>
                <a:gd name="T5" fmla="*/ 154 h 236"/>
                <a:gd name="T6" fmla="*/ 258 w 258"/>
                <a:gd name="T7" fmla="*/ 133 h 236"/>
                <a:gd name="T8" fmla="*/ 254 w 258"/>
                <a:gd name="T9" fmla="*/ 121 h 236"/>
                <a:gd name="T10" fmla="*/ 242 w 258"/>
                <a:gd name="T11" fmla="*/ 110 h 236"/>
                <a:gd name="T12" fmla="*/ 227 w 258"/>
                <a:gd name="T13" fmla="*/ 101 h 236"/>
                <a:gd name="T14" fmla="*/ 201 w 258"/>
                <a:gd name="T15" fmla="*/ 94 h 236"/>
                <a:gd name="T16" fmla="*/ 170 w 258"/>
                <a:gd name="T17" fmla="*/ 81 h 236"/>
                <a:gd name="T18" fmla="*/ 150 w 258"/>
                <a:gd name="T19" fmla="*/ 65 h 236"/>
                <a:gd name="T20" fmla="*/ 130 w 258"/>
                <a:gd name="T21" fmla="*/ 48 h 236"/>
                <a:gd name="T22" fmla="*/ 110 w 258"/>
                <a:gd name="T23" fmla="*/ 33 h 236"/>
                <a:gd name="T24" fmla="*/ 98 w 258"/>
                <a:gd name="T25" fmla="*/ 26 h 236"/>
                <a:gd name="T26" fmla="*/ 78 w 258"/>
                <a:gd name="T27" fmla="*/ 9 h 236"/>
                <a:gd name="T28" fmla="*/ 67 w 258"/>
                <a:gd name="T29" fmla="*/ 3 h 236"/>
                <a:gd name="T30" fmla="*/ 54 w 258"/>
                <a:gd name="T31" fmla="*/ 0 h 236"/>
                <a:gd name="T32" fmla="*/ 44 w 258"/>
                <a:gd name="T33" fmla="*/ 4 h 236"/>
                <a:gd name="T34" fmla="*/ 39 w 258"/>
                <a:gd name="T35" fmla="*/ 11 h 236"/>
                <a:gd name="T36" fmla="*/ 28 w 258"/>
                <a:gd name="T37" fmla="*/ 32 h 236"/>
                <a:gd name="T38" fmla="*/ 11 w 258"/>
                <a:gd name="T39" fmla="*/ 51 h 236"/>
                <a:gd name="T40" fmla="*/ 3 w 258"/>
                <a:gd name="T41" fmla="*/ 61 h 236"/>
                <a:gd name="T42" fmla="*/ 0 w 258"/>
                <a:gd name="T43" fmla="*/ 74 h 236"/>
                <a:gd name="T44" fmla="*/ 4 w 258"/>
                <a:gd name="T45" fmla="*/ 89 h 236"/>
                <a:gd name="T46" fmla="*/ 13 w 258"/>
                <a:gd name="T47" fmla="*/ 102 h 236"/>
                <a:gd name="T48" fmla="*/ 22 w 258"/>
                <a:gd name="T49" fmla="*/ 115 h 236"/>
                <a:gd name="T50" fmla="*/ 31 w 258"/>
                <a:gd name="T51" fmla="*/ 130 h 236"/>
                <a:gd name="T52" fmla="*/ 41 w 258"/>
                <a:gd name="T53" fmla="*/ 165 h 236"/>
                <a:gd name="T54" fmla="*/ 47 w 258"/>
                <a:gd name="T55" fmla="*/ 180 h 236"/>
                <a:gd name="T56" fmla="*/ 59 w 258"/>
                <a:gd name="T57" fmla="*/ 194 h 236"/>
                <a:gd name="T58" fmla="*/ 69 w 258"/>
                <a:gd name="T59" fmla="*/ 201 h 236"/>
                <a:gd name="T60" fmla="*/ 79 w 258"/>
                <a:gd name="T61" fmla="*/ 207 h 236"/>
                <a:gd name="T62" fmla="*/ 100 w 258"/>
                <a:gd name="T63" fmla="*/ 212 h 236"/>
                <a:gd name="T64" fmla="*/ 149 w 258"/>
                <a:gd name="T65" fmla="*/ 216 h 236"/>
                <a:gd name="T66" fmla="*/ 193 w 258"/>
                <a:gd name="T67" fmla="*/ 227 h 236"/>
                <a:gd name="T68" fmla="*/ 238 w 258"/>
                <a:gd name="T6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8" h="236">
                  <a:moveTo>
                    <a:pt x="257" y="234"/>
                  </a:moveTo>
                  <a:lnTo>
                    <a:pt x="257" y="216"/>
                  </a:lnTo>
                  <a:lnTo>
                    <a:pt x="257" y="200"/>
                  </a:lnTo>
                  <a:lnTo>
                    <a:pt x="257" y="185"/>
                  </a:lnTo>
                  <a:lnTo>
                    <a:pt x="257" y="168"/>
                  </a:lnTo>
                  <a:lnTo>
                    <a:pt x="258" y="154"/>
                  </a:lnTo>
                  <a:lnTo>
                    <a:pt x="258" y="140"/>
                  </a:lnTo>
                  <a:lnTo>
                    <a:pt x="258" y="133"/>
                  </a:lnTo>
                  <a:lnTo>
                    <a:pt x="257" y="127"/>
                  </a:lnTo>
                  <a:lnTo>
                    <a:pt x="254" y="121"/>
                  </a:lnTo>
                  <a:lnTo>
                    <a:pt x="249" y="116"/>
                  </a:lnTo>
                  <a:lnTo>
                    <a:pt x="242" y="110"/>
                  </a:lnTo>
                  <a:lnTo>
                    <a:pt x="234" y="104"/>
                  </a:lnTo>
                  <a:lnTo>
                    <a:pt x="227" y="101"/>
                  </a:lnTo>
                  <a:lnTo>
                    <a:pt x="218" y="99"/>
                  </a:lnTo>
                  <a:lnTo>
                    <a:pt x="201" y="94"/>
                  </a:lnTo>
                  <a:lnTo>
                    <a:pt x="182" y="88"/>
                  </a:lnTo>
                  <a:lnTo>
                    <a:pt x="170" y="81"/>
                  </a:lnTo>
                  <a:lnTo>
                    <a:pt x="161" y="74"/>
                  </a:lnTo>
                  <a:lnTo>
                    <a:pt x="150" y="65"/>
                  </a:lnTo>
                  <a:lnTo>
                    <a:pt x="140" y="57"/>
                  </a:lnTo>
                  <a:lnTo>
                    <a:pt x="130" y="48"/>
                  </a:lnTo>
                  <a:lnTo>
                    <a:pt x="121" y="40"/>
                  </a:lnTo>
                  <a:lnTo>
                    <a:pt x="110" y="33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87" y="18"/>
                  </a:lnTo>
                  <a:lnTo>
                    <a:pt x="78" y="9"/>
                  </a:lnTo>
                  <a:lnTo>
                    <a:pt x="72" y="6"/>
                  </a:lnTo>
                  <a:lnTo>
                    <a:pt x="67" y="3"/>
                  </a:lnTo>
                  <a:lnTo>
                    <a:pt x="60" y="2"/>
                  </a:lnTo>
                  <a:lnTo>
                    <a:pt x="54" y="0"/>
                  </a:lnTo>
                  <a:lnTo>
                    <a:pt x="48" y="2"/>
                  </a:lnTo>
                  <a:lnTo>
                    <a:pt x="44" y="4"/>
                  </a:lnTo>
                  <a:lnTo>
                    <a:pt x="41" y="7"/>
                  </a:lnTo>
                  <a:lnTo>
                    <a:pt x="39" y="11"/>
                  </a:lnTo>
                  <a:lnTo>
                    <a:pt x="33" y="21"/>
                  </a:lnTo>
                  <a:lnTo>
                    <a:pt x="28" y="32"/>
                  </a:lnTo>
                  <a:lnTo>
                    <a:pt x="19" y="43"/>
                  </a:lnTo>
                  <a:lnTo>
                    <a:pt x="11" y="51"/>
                  </a:lnTo>
                  <a:lnTo>
                    <a:pt x="6" y="56"/>
                  </a:lnTo>
                  <a:lnTo>
                    <a:pt x="3" y="61"/>
                  </a:lnTo>
                  <a:lnTo>
                    <a:pt x="1" y="66"/>
                  </a:lnTo>
                  <a:lnTo>
                    <a:pt x="0" y="74"/>
                  </a:lnTo>
                  <a:lnTo>
                    <a:pt x="1" y="83"/>
                  </a:lnTo>
                  <a:lnTo>
                    <a:pt x="4" y="89"/>
                  </a:lnTo>
                  <a:lnTo>
                    <a:pt x="7" y="97"/>
                  </a:lnTo>
                  <a:lnTo>
                    <a:pt x="13" y="102"/>
                  </a:lnTo>
                  <a:lnTo>
                    <a:pt x="17" y="108"/>
                  </a:lnTo>
                  <a:lnTo>
                    <a:pt x="22" y="115"/>
                  </a:lnTo>
                  <a:lnTo>
                    <a:pt x="27" y="121"/>
                  </a:lnTo>
                  <a:lnTo>
                    <a:pt x="31" y="130"/>
                  </a:lnTo>
                  <a:lnTo>
                    <a:pt x="36" y="147"/>
                  </a:lnTo>
                  <a:lnTo>
                    <a:pt x="41" y="165"/>
                  </a:lnTo>
                  <a:lnTo>
                    <a:pt x="44" y="172"/>
                  </a:lnTo>
                  <a:lnTo>
                    <a:pt x="47" y="180"/>
                  </a:lnTo>
                  <a:lnTo>
                    <a:pt x="53" y="187"/>
                  </a:lnTo>
                  <a:lnTo>
                    <a:pt x="59" y="194"/>
                  </a:lnTo>
                  <a:lnTo>
                    <a:pt x="63" y="198"/>
                  </a:lnTo>
                  <a:lnTo>
                    <a:pt x="69" y="201"/>
                  </a:lnTo>
                  <a:lnTo>
                    <a:pt x="74" y="205"/>
                  </a:lnTo>
                  <a:lnTo>
                    <a:pt x="79" y="207"/>
                  </a:lnTo>
                  <a:lnTo>
                    <a:pt x="89" y="210"/>
                  </a:lnTo>
                  <a:lnTo>
                    <a:pt x="100" y="212"/>
                  </a:lnTo>
                  <a:lnTo>
                    <a:pt x="124" y="213"/>
                  </a:lnTo>
                  <a:lnTo>
                    <a:pt x="149" y="216"/>
                  </a:lnTo>
                  <a:lnTo>
                    <a:pt x="173" y="222"/>
                  </a:lnTo>
                  <a:lnTo>
                    <a:pt x="193" y="227"/>
                  </a:lnTo>
                  <a:lnTo>
                    <a:pt x="214" y="232"/>
                  </a:lnTo>
                  <a:lnTo>
                    <a:pt x="238" y="236"/>
                  </a:lnTo>
                  <a:lnTo>
                    <a:pt x="257" y="23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86">
              <a:extLst>
                <a:ext uri="{FF2B5EF4-FFF2-40B4-BE49-F238E27FC236}">
                  <a16:creationId xmlns:a16="http://schemas.microsoft.com/office/drawing/2014/main" id="{42D5E71E-ED49-4CC4-8A61-5E8306B88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65450" y="1052513"/>
              <a:ext cx="47625" cy="36513"/>
            </a:xfrm>
            <a:custGeom>
              <a:avLst/>
              <a:gdLst>
                <a:gd name="T0" fmla="*/ 50 w 120"/>
                <a:gd name="T1" fmla="*/ 0 h 93"/>
                <a:gd name="T2" fmla="*/ 45 w 120"/>
                <a:gd name="T3" fmla="*/ 1 h 93"/>
                <a:gd name="T4" fmla="*/ 39 w 120"/>
                <a:gd name="T5" fmla="*/ 4 h 93"/>
                <a:gd name="T6" fmla="*/ 35 w 120"/>
                <a:gd name="T7" fmla="*/ 7 h 93"/>
                <a:gd name="T8" fmla="*/ 32 w 120"/>
                <a:gd name="T9" fmla="*/ 10 h 93"/>
                <a:gd name="T10" fmla="*/ 24 w 120"/>
                <a:gd name="T11" fmla="*/ 20 h 93"/>
                <a:gd name="T12" fmla="*/ 16 w 120"/>
                <a:gd name="T13" fmla="*/ 28 h 93"/>
                <a:gd name="T14" fmla="*/ 11 w 120"/>
                <a:gd name="T15" fmla="*/ 33 h 93"/>
                <a:gd name="T16" fmla="*/ 6 w 120"/>
                <a:gd name="T17" fmla="*/ 37 h 93"/>
                <a:gd name="T18" fmla="*/ 3 w 120"/>
                <a:gd name="T19" fmla="*/ 39 h 93"/>
                <a:gd name="T20" fmla="*/ 1 w 120"/>
                <a:gd name="T21" fmla="*/ 41 h 93"/>
                <a:gd name="T22" fmla="*/ 0 w 120"/>
                <a:gd name="T23" fmla="*/ 45 h 93"/>
                <a:gd name="T24" fmla="*/ 0 w 120"/>
                <a:gd name="T25" fmla="*/ 48 h 93"/>
                <a:gd name="T26" fmla="*/ 0 w 120"/>
                <a:gd name="T27" fmla="*/ 53 h 93"/>
                <a:gd name="T28" fmla="*/ 1 w 120"/>
                <a:gd name="T29" fmla="*/ 58 h 93"/>
                <a:gd name="T30" fmla="*/ 2 w 120"/>
                <a:gd name="T31" fmla="*/ 62 h 93"/>
                <a:gd name="T32" fmla="*/ 5 w 120"/>
                <a:gd name="T33" fmla="*/ 66 h 93"/>
                <a:gd name="T34" fmla="*/ 9 w 120"/>
                <a:gd name="T35" fmla="*/ 74 h 93"/>
                <a:gd name="T36" fmla="*/ 15 w 120"/>
                <a:gd name="T37" fmla="*/ 80 h 93"/>
                <a:gd name="T38" fmla="*/ 23 w 120"/>
                <a:gd name="T39" fmla="*/ 86 h 93"/>
                <a:gd name="T40" fmla="*/ 32 w 120"/>
                <a:gd name="T41" fmla="*/ 90 h 93"/>
                <a:gd name="T42" fmla="*/ 40 w 120"/>
                <a:gd name="T43" fmla="*/ 92 h 93"/>
                <a:gd name="T44" fmla="*/ 50 w 120"/>
                <a:gd name="T45" fmla="*/ 93 h 93"/>
                <a:gd name="T46" fmla="*/ 57 w 120"/>
                <a:gd name="T47" fmla="*/ 92 h 93"/>
                <a:gd name="T48" fmla="*/ 63 w 120"/>
                <a:gd name="T49" fmla="*/ 90 h 93"/>
                <a:gd name="T50" fmla="*/ 68 w 120"/>
                <a:gd name="T51" fmla="*/ 88 h 93"/>
                <a:gd name="T52" fmla="*/ 74 w 120"/>
                <a:gd name="T53" fmla="*/ 85 h 93"/>
                <a:gd name="T54" fmla="*/ 83 w 120"/>
                <a:gd name="T55" fmla="*/ 77 h 93"/>
                <a:gd name="T56" fmla="*/ 95 w 120"/>
                <a:gd name="T57" fmla="*/ 71 h 93"/>
                <a:gd name="T58" fmla="*/ 104 w 120"/>
                <a:gd name="T59" fmla="*/ 67 h 93"/>
                <a:gd name="T60" fmla="*/ 113 w 120"/>
                <a:gd name="T61" fmla="*/ 62 h 93"/>
                <a:gd name="T62" fmla="*/ 116 w 120"/>
                <a:gd name="T63" fmla="*/ 60 h 93"/>
                <a:gd name="T64" fmla="*/ 118 w 120"/>
                <a:gd name="T65" fmla="*/ 57 h 93"/>
                <a:gd name="T66" fmla="*/ 120 w 120"/>
                <a:gd name="T67" fmla="*/ 52 h 93"/>
                <a:gd name="T68" fmla="*/ 120 w 120"/>
                <a:gd name="T69" fmla="*/ 48 h 93"/>
                <a:gd name="T70" fmla="*/ 120 w 120"/>
                <a:gd name="T71" fmla="*/ 43 h 93"/>
                <a:gd name="T72" fmla="*/ 119 w 120"/>
                <a:gd name="T73" fmla="*/ 37 h 93"/>
                <a:gd name="T74" fmla="*/ 117 w 120"/>
                <a:gd name="T75" fmla="*/ 32 h 93"/>
                <a:gd name="T76" fmla="*/ 114 w 120"/>
                <a:gd name="T77" fmla="*/ 26 h 93"/>
                <a:gd name="T78" fmla="*/ 110 w 120"/>
                <a:gd name="T79" fmla="*/ 22 h 93"/>
                <a:gd name="T80" fmla="*/ 107 w 120"/>
                <a:gd name="T81" fmla="*/ 19 h 93"/>
                <a:gd name="T82" fmla="*/ 103 w 120"/>
                <a:gd name="T83" fmla="*/ 16 h 93"/>
                <a:gd name="T84" fmla="*/ 97 w 120"/>
                <a:gd name="T85" fmla="*/ 12 h 93"/>
                <a:gd name="T86" fmla="*/ 87 w 120"/>
                <a:gd name="T87" fmla="*/ 7 h 93"/>
                <a:gd name="T88" fmla="*/ 75 w 120"/>
                <a:gd name="T89" fmla="*/ 4 h 93"/>
                <a:gd name="T90" fmla="*/ 63 w 120"/>
                <a:gd name="T91" fmla="*/ 1 h 93"/>
                <a:gd name="T92" fmla="*/ 50 w 120"/>
                <a:gd name="T93" fmla="*/ 0 h 93"/>
                <a:gd name="T94" fmla="*/ 50 w 120"/>
                <a:gd name="T9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93">
                  <a:moveTo>
                    <a:pt x="50" y="0"/>
                  </a:moveTo>
                  <a:lnTo>
                    <a:pt x="45" y="1"/>
                  </a:lnTo>
                  <a:lnTo>
                    <a:pt x="39" y="4"/>
                  </a:lnTo>
                  <a:lnTo>
                    <a:pt x="35" y="7"/>
                  </a:lnTo>
                  <a:lnTo>
                    <a:pt x="32" y="10"/>
                  </a:lnTo>
                  <a:lnTo>
                    <a:pt x="24" y="20"/>
                  </a:lnTo>
                  <a:lnTo>
                    <a:pt x="16" y="28"/>
                  </a:lnTo>
                  <a:lnTo>
                    <a:pt x="11" y="33"/>
                  </a:lnTo>
                  <a:lnTo>
                    <a:pt x="6" y="37"/>
                  </a:lnTo>
                  <a:lnTo>
                    <a:pt x="3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1" y="58"/>
                  </a:lnTo>
                  <a:lnTo>
                    <a:pt x="2" y="62"/>
                  </a:lnTo>
                  <a:lnTo>
                    <a:pt x="5" y="66"/>
                  </a:lnTo>
                  <a:lnTo>
                    <a:pt x="9" y="74"/>
                  </a:lnTo>
                  <a:lnTo>
                    <a:pt x="15" y="80"/>
                  </a:lnTo>
                  <a:lnTo>
                    <a:pt x="23" y="86"/>
                  </a:lnTo>
                  <a:lnTo>
                    <a:pt x="32" y="90"/>
                  </a:lnTo>
                  <a:lnTo>
                    <a:pt x="40" y="92"/>
                  </a:lnTo>
                  <a:lnTo>
                    <a:pt x="50" y="93"/>
                  </a:lnTo>
                  <a:lnTo>
                    <a:pt x="57" y="92"/>
                  </a:lnTo>
                  <a:lnTo>
                    <a:pt x="63" y="90"/>
                  </a:lnTo>
                  <a:lnTo>
                    <a:pt x="68" y="88"/>
                  </a:lnTo>
                  <a:lnTo>
                    <a:pt x="74" y="85"/>
                  </a:lnTo>
                  <a:lnTo>
                    <a:pt x="83" y="77"/>
                  </a:lnTo>
                  <a:lnTo>
                    <a:pt x="95" y="71"/>
                  </a:lnTo>
                  <a:lnTo>
                    <a:pt x="104" y="67"/>
                  </a:lnTo>
                  <a:lnTo>
                    <a:pt x="113" y="62"/>
                  </a:lnTo>
                  <a:lnTo>
                    <a:pt x="116" y="60"/>
                  </a:lnTo>
                  <a:lnTo>
                    <a:pt x="118" y="57"/>
                  </a:lnTo>
                  <a:lnTo>
                    <a:pt x="120" y="52"/>
                  </a:lnTo>
                  <a:lnTo>
                    <a:pt x="120" y="48"/>
                  </a:lnTo>
                  <a:lnTo>
                    <a:pt x="120" y="43"/>
                  </a:lnTo>
                  <a:lnTo>
                    <a:pt x="119" y="37"/>
                  </a:lnTo>
                  <a:lnTo>
                    <a:pt x="117" y="32"/>
                  </a:lnTo>
                  <a:lnTo>
                    <a:pt x="114" y="26"/>
                  </a:lnTo>
                  <a:lnTo>
                    <a:pt x="110" y="22"/>
                  </a:lnTo>
                  <a:lnTo>
                    <a:pt x="107" y="19"/>
                  </a:lnTo>
                  <a:lnTo>
                    <a:pt x="103" y="16"/>
                  </a:lnTo>
                  <a:lnTo>
                    <a:pt x="97" y="12"/>
                  </a:lnTo>
                  <a:lnTo>
                    <a:pt x="87" y="7"/>
                  </a:lnTo>
                  <a:lnTo>
                    <a:pt x="75" y="4"/>
                  </a:lnTo>
                  <a:lnTo>
                    <a:pt x="63" y="1"/>
                  </a:lnTo>
                  <a:lnTo>
                    <a:pt x="50" y="0"/>
                  </a:lnTo>
                  <a:lnTo>
                    <a:pt x="5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87">
              <a:extLst>
                <a:ext uri="{FF2B5EF4-FFF2-40B4-BE49-F238E27FC236}">
                  <a16:creationId xmlns:a16="http://schemas.microsoft.com/office/drawing/2014/main" id="{C33FE138-B881-4BDC-8FBC-69495D3F8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7700" y="1047751"/>
              <a:ext cx="84138" cy="58738"/>
            </a:xfrm>
            <a:custGeom>
              <a:avLst/>
              <a:gdLst>
                <a:gd name="T0" fmla="*/ 170 w 209"/>
                <a:gd name="T1" fmla="*/ 0 h 145"/>
                <a:gd name="T2" fmla="*/ 155 w 209"/>
                <a:gd name="T3" fmla="*/ 0 h 145"/>
                <a:gd name="T4" fmla="*/ 142 w 209"/>
                <a:gd name="T5" fmla="*/ 2 h 145"/>
                <a:gd name="T6" fmla="*/ 130 w 209"/>
                <a:gd name="T7" fmla="*/ 5 h 145"/>
                <a:gd name="T8" fmla="*/ 118 w 209"/>
                <a:gd name="T9" fmla="*/ 10 h 145"/>
                <a:gd name="T10" fmla="*/ 107 w 209"/>
                <a:gd name="T11" fmla="*/ 16 h 145"/>
                <a:gd name="T12" fmla="*/ 96 w 209"/>
                <a:gd name="T13" fmla="*/ 22 h 145"/>
                <a:gd name="T14" fmla="*/ 84 w 209"/>
                <a:gd name="T15" fmla="*/ 30 h 145"/>
                <a:gd name="T16" fmla="*/ 72 w 209"/>
                <a:gd name="T17" fmla="*/ 38 h 145"/>
                <a:gd name="T18" fmla="*/ 46 w 209"/>
                <a:gd name="T19" fmla="*/ 57 h 145"/>
                <a:gd name="T20" fmla="*/ 22 w 209"/>
                <a:gd name="T21" fmla="*/ 75 h 145"/>
                <a:gd name="T22" fmla="*/ 17 w 209"/>
                <a:gd name="T23" fmla="*/ 81 h 145"/>
                <a:gd name="T24" fmla="*/ 13 w 209"/>
                <a:gd name="T25" fmla="*/ 85 h 145"/>
                <a:gd name="T26" fmla="*/ 9 w 209"/>
                <a:gd name="T27" fmla="*/ 91 h 145"/>
                <a:gd name="T28" fmla="*/ 6 w 209"/>
                <a:gd name="T29" fmla="*/ 97 h 145"/>
                <a:gd name="T30" fmla="*/ 3 w 209"/>
                <a:gd name="T31" fmla="*/ 103 h 145"/>
                <a:gd name="T32" fmla="*/ 1 w 209"/>
                <a:gd name="T33" fmla="*/ 110 h 145"/>
                <a:gd name="T34" fmla="*/ 0 w 209"/>
                <a:gd name="T35" fmla="*/ 117 h 145"/>
                <a:gd name="T36" fmla="*/ 0 w 209"/>
                <a:gd name="T37" fmla="*/ 125 h 145"/>
                <a:gd name="T38" fmla="*/ 0 w 209"/>
                <a:gd name="T39" fmla="*/ 130 h 145"/>
                <a:gd name="T40" fmla="*/ 2 w 209"/>
                <a:gd name="T41" fmla="*/ 134 h 145"/>
                <a:gd name="T42" fmla="*/ 4 w 209"/>
                <a:gd name="T43" fmla="*/ 137 h 145"/>
                <a:gd name="T44" fmla="*/ 7 w 209"/>
                <a:gd name="T45" fmla="*/ 140 h 145"/>
                <a:gd name="T46" fmla="*/ 10 w 209"/>
                <a:gd name="T47" fmla="*/ 142 h 145"/>
                <a:gd name="T48" fmla="*/ 15 w 209"/>
                <a:gd name="T49" fmla="*/ 143 h 145"/>
                <a:gd name="T50" fmla="*/ 20 w 209"/>
                <a:gd name="T51" fmla="*/ 144 h 145"/>
                <a:gd name="T52" fmla="*/ 25 w 209"/>
                <a:gd name="T53" fmla="*/ 145 h 145"/>
                <a:gd name="T54" fmla="*/ 30 w 209"/>
                <a:gd name="T55" fmla="*/ 144 h 145"/>
                <a:gd name="T56" fmla="*/ 34 w 209"/>
                <a:gd name="T57" fmla="*/ 142 h 145"/>
                <a:gd name="T58" fmla="*/ 37 w 209"/>
                <a:gd name="T59" fmla="*/ 138 h 145"/>
                <a:gd name="T60" fmla="*/ 40 w 209"/>
                <a:gd name="T61" fmla="*/ 134 h 145"/>
                <a:gd name="T62" fmla="*/ 45 w 209"/>
                <a:gd name="T63" fmla="*/ 124 h 145"/>
                <a:gd name="T64" fmla="*/ 53 w 209"/>
                <a:gd name="T65" fmla="*/ 114 h 145"/>
                <a:gd name="T66" fmla="*/ 71 w 209"/>
                <a:gd name="T67" fmla="*/ 99 h 145"/>
                <a:gd name="T68" fmla="*/ 89 w 209"/>
                <a:gd name="T69" fmla="*/ 86 h 145"/>
                <a:gd name="T70" fmla="*/ 98 w 209"/>
                <a:gd name="T71" fmla="*/ 81 h 145"/>
                <a:gd name="T72" fmla="*/ 108 w 209"/>
                <a:gd name="T73" fmla="*/ 75 h 145"/>
                <a:gd name="T74" fmla="*/ 120 w 209"/>
                <a:gd name="T75" fmla="*/ 71 h 145"/>
                <a:gd name="T76" fmla="*/ 131 w 209"/>
                <a:gd name="T77" fmla="*/ 67 h 145"/>
                <a:gd name="T78" fmla="*/ 157 w 209"/>
                <a:gd name="T79" fmla="*/ 61 h 145"/>
                <a:gd name="T80" fmla="*/ 182 w 209"/>
                <a:gd name="T81" fmla="*/ 55 h 145"/>
                <a:gd name="T82" fmla="*/ 189 w 209"/>
                <a:gd name="T83" fmla="*/ 53 h 145"/>
                <a:gd name="T84" fmla="*/ 193 w 209"/>
                <a:gd name="T85" fmla="*/ 50 h 145"/>
                <a:gd name="T86" fmla="*/ 198 w 209"/>
                <a:gd name="T87" fmla="*/ 48 h 145"/>
                <a:gd name="T88" fmla="*/ 202 w 209"/>
                <a:gd name="T89" fmla="*/ 45 h 145"/>
                <a:gd name="T90" fmla="*/ 205 w 209"/>
                <a:gd name="T91" fmla="*/ 41 h 145"/>
                <a:gd name="T92" fmla="*/ 207 w 209"/>
                <a:gd name="T93" fmla="*/ 36 h 145"/>
                <a:gd name="T94" fmla="*/ 209 w 209"/>
                <a:gd name="T95" fmla="*/ 31 h 145"/>
                <a:gd name="T96" fmla="*/ 209 w 209"/>
                <a:gd name="T97" fmla="*/ 24 h 145"/>
                <a:gd name="T98" fmla="*/ 208 w 209"/>
                <a:gd name="T99" fmla="*/ 19 h 145"/>
                <a:gd name="T100" fmla="*/ 205 w 209"/>
                <a:gd name="T101" fmla="*/ 15 h 145"/>
                <a:gd name="T102" fmla="*/ 201 w 209"/>
                <a:gd name="T103" fmla="*/ 11 h 145"/>
                <a:gd name="T104" fmla="*/ 195 w 209"/>
                <a:gd name="T105" fmla="*/ 8 h 145"/>
                <a:gd name="T106" fmla="*/ 182 w 209"/>
                <a:gd name="T107" fmla="*/ 3 h 145"/>
                <a:gd name="T108" fmla="*/ 170 w 209"/>
                <a:gd name="T109" fmla="*/ 0 h 145"/>
                <a:gd name="T110" fmla="*/ 170 w 209"/>
                <a:gd name="T111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9" h="145">
                  <a:moveTo>
                    <a:pt x="170" y="0"/>
                  </a:moveTo>
                  <a:lnTo>
                    <a:pt x="155" y="0"/>
                  </a:lnTo>
                  <a:lnTo>
                    <a:pt x="142" y="2"/>
                  </a:lnTo>
                  <a:lnTo>
                    <a:pt x="130" y="5"/>
                  </a:lnTo>
                  <a:lnTo>
                    <a:pt x="118" y="10"/>
                  </a:lnTo>
                  <a:lnTo>
                    <a:pt x="107" y="16"/>
                  </a:lnTo>
                  <a:lnTo>
                    <a:pt x="96" y="22"/>
                  </a:lnTo>
                  <a:lnTo>
                    <a:pt x="84" y="30"/>
                  </a:lnTo>
                  <a:lnTo>
                    <a:pt x="72" y="38"/>
                  </a:lnTo>
                  <a:lnTo>
                    <a:pt x="46" y="57"/>
                  </a:lnTo>
                  <a:lnTo>
                    <a:pt x="22" y="75"/>
                  </a:lnTo>
                  <a:lnTo>
                    <a:pt x="17" y="81"/>
                  </a:lnTo>
                  <a:lnTo>
                    <a:pt x="13" y="85"/>
                  </a:lnTo>
                  <a:lnTo>
                    <a:pt x="9" y="91"/>
                  </a:lnTo>
                  <a:lnTo>
                    <a:pt x="6" y="97"/>
                  </a:lnTo>
                  <a:lnTo>
                    <a:pt x="3" y="103"/>
                  </a:lnTo>
                  <a:lnTo>
                    <a:pt x="1" y="110"/>
                  </a:lnTo>
                  <a:lnTo>
                    <a:pt x="0" y="117"/>
                  </a:lnTo>
                  <a:lnTo>
                    <a:pt x="0" y="125"/>
                  </a:lnTo>
                  <a:lnTo>
                    <a:pt x="0" y="130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5" y="143"/>
                  </a:lnTo>
                  <a:lnTo>
                    <a:pt x="20" y="144"/>
                  </a:lnTo>
                  <a:lnTo>
                    <a:pt x="25" y="145"/>
                  </a:lnTo>
                  <a:lnTo>
                    <a:pt x="30" y="144"/>
                  </a:lnTo>
                  <a:lnTo>
                    <a:pt x="34" y="142"/>
                  </a:lnTo>
                  <a:lnTo>
                    <a:pt x="37" y="138"/>
                  </a:lnTo>
                  <a:lnTo>
                    <a:pt x="40" y="134"/>
                  </a:lnTo>
                  <a:lnTo>
                    <a:pt x="45" y="124"/>
                  </a:lnTo>
                  <a:lnTo>
                    <a:pt x="53" y="114"/>
                  </a:lnTo>
                  <a:lnTo>
                    <a:pt x="71" y="99"/>
                  </a:lnTo>
                  <a:lnTo>
                    <a:pt x="89" y="86"/>
                  </a:lnTo>
                  <a:lnTo>
                    <a:pt x="98" y="81"/>
                  </a:lnTo>
                  <a:lnTo>
                    <a:pt x="108" y="75"/>
                  </a:lnTo>
                  <a:lnTo>
                    <a:pt x="120" y="71"/>
                  </a:lnTo>
                  <a:lnTo>
                    <a:pt x="131" y="67"/>
                  </a:lnTo>
                  <a:lnTo>
                    <a:pt x="157" y="61"/>
                  </a:lnTo>
                  <a:lnTo>
                    <a:pt x="182" y="55"/>
                  </a:lnTo>
                  <a:lnTo>
                    <a:pt x="189" y="53"/>
                  </a:lnTo>
                  <a:lnTo>
                    <a:pt x="193" y="50"/>
                  </a:lnTo>
                  <a:lnTo>
                    <a:pt x="198" y="48"/>
                  </a:lnTo>
                  <a:lnTo>
                    <a:pt x="202" y="45"/>
                  </a:lnTo>
                  <a:lnTo>
                    <a:pt x="205" y="41"/>
                  </a:lnTo>
                  <a:lnTo>
                    <a:pt x="207" y="36"/>
                  </a:lnTo>
                  <a:lnTo>
                    <a:pt x="209" y="31"/>
                  </a:lnTo>
                  <a:lnTo>
                    <a:pt x="209" y="24"/>
                  </a:lnTo>
                  <a:lnTo>
                    <a:pt x="208" y="19"/>
                  </a:lnTo>
                  <a:lnTo>
                    <a:pt x="205" y="15"/>
                  </a:lnTo>
                  <a:lnTo>
                    <a:pt x="201" y="11"/>
                  </a:lnTo>
                  <a:lnTo>
                    <a:pt x="195" y="8"/>
                  </a:lnTo>
                  <a:lnTo>
                    <a:pt x="182" y="3"/>
                  </a:lnTo>
                  <a:lnTo>
                    <a:pt x="170" y="0"/>
                  </a:lnTo>
                  <a:lnTo>
                    <a:pt x="17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88">
              <a:extLst>
                <a:ext uri="{FF2B5EF4-FFF2-40B4-BE49-F238E27FC236}">
                  <a16:creationId xmlns:a16="http://schemas.microsoft.com/office/drawing/2014/main" id="{ED9BD0DB-29B7-486F-AF4A-C8A0FD286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2938" y="1092201"/>
              <a:ext cx="53975" cy="39688"/>
            </a:xfrm>
            <a:custGeom>
              <a:avLst/>
              <a:gdLst>
                <a:gd name="T0" fmla="*/ 135 w 135"/>
                <a:gd name="T1" fmla="*/ 54 h 98"/>
                <a:gd name="T2" fmla="*/ 135 w 135"/>
                <a:gd name="T3" fmla="*/ 20 h 98"/>
                <a:gd name="T4" fmla="*/ 124 w 135"/>
                <a:gd name="T5" fmla="*/ 17 h 98"/>
                <a:gd name="T6" fmla="*/ 118 w 135"/>
                <a:gd name="T7" fmla="*/ 6 h 98"/>
                <a:gd name="T8" fmla="*/ 118 w 135"/>
                <a:gd name="T9" fmla="*/ 6 h 98"/>
                <a:gd name="T10" fmla="*/ 110 w 135"/>
                <a:gd name="T11" fmla="*/ 2 h 98"/>
                <a:gd name="T12" fmla="*/ 101 w 135"/>
                <a:gd name="T13" fmla="*/ 0 h 98"/>
                <a:gd name="T14" fmla="*/ 94 w 135"/>
                <a:gd name="T15" fmla="*/ 1 h 98"/>
                <a:gd name="T16" fmla="*/ 88 w 135"/>
                <a:gd name="T17" fmla="*/ 4 h 98"/>
                <a:gd name="T18" fmla="*/ 83 w 135"/>
                <a:gd name="T19" fmla="*/ 7 h 98"/>
                <a:gd name="T20" fmla="*/ 78 w 135"/>
                <a:gd name="T21" fmla="*/ 12 h 98"/>
                <a:gd name="T22" fmla="*/ 70 w 135"/>
                <a:gd name="T23" fmla="*/ 24 h 98"/>
                <a:gd name="T24" fmla="*/ 60 w 135"/>
                <a:gd name="T25" fmla="*/ 34 h 98"/>
                <a:gd name="T26" fmla="*/ 43 w 135"/>
                <a:gd name="T27" fmla="*/ 48 h 98"/>
                <a:gd name="T28" fmla="*/ 26 w 135"/>
                <a:gd name="T29" fmla="*/ 61 h 98"/>
                <a:gd name="T30" fmla="*/ 20 w 135"/>
                <a:gd name="T31" fmla="*/ 68 h 98"/>
                <a:gd name="T32" fmla="*/ 12 w 135"/>
                <a:gd name="T33" fmla="*/ 77 h 98"/>
                <a:gd name="T34" fmla="*/ 7 w 135"/>
                <a:gd name="T35" fmla="*/ 85 h 98"/>
                <a:gd name="T36" fmla="*/ 0 w 135"/>
                <a:gd name="T37" fmla="*/ 96 h 98"/>
                <a:gd name="T38" fmla="*/ 8 w 135"/>
                <a:gd name="T39" fmla="*/ 97 h 98"/>
                <a:gd name="T40" fmla="*/ 17 w 135"/>
                <a:gd name="T41" fmla="*/ 98 h 98"/>
                <a:gd name="T42" fmla="*/ 34 w 135"/>
                <a:gd name="T43" fmla="*/ 98 h 98"/>
                <a:gd name="T44" fmla="*/ 50 w 135"/>
                <a:gd name="T45" fmla="*/ 96 h 98"/>
                <a:gd name="T46" fmla="*/ 65 w 135"/>
                <a:gd name="T47" fmla="*/ 92 h 98"/>
                <a:gd name="T48" fmla="*/ 79 w 135"/>
                <a:gd name="T49" fmla="*/ 87 h 98"/>
                <a:gd name="T50" fmla="*/ 93 w 135"/>
                <a:gd name="T51" fmla="*/ 81 h 98"/>
                <a:gd name="T52" fmla="*/ 106 w 135"/>
                <a:gd name="T53" fmla="*/ 72 h 98"/>
                <a:gd name="T54" fmla="*/ 120 w 135"/>
                <a:gd name="T55" fmla="*/ 64 h 98"/>
                <a:gd name="T56" fmla="*/ 135 w 135"/>
                <a:gd name="T57" fmla="*/ 54 h 98"/>
                <a:gd name="T58" fmla="*/ 135 w 135"/>
                <a:gd name="T59" fmla="*/ 5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5" h="98">
                  <a:moveTo>
                    <a:pt x="135" y="54"/>
                  </a:moveTo>
                  <a:lnTo>
                    <a:pt x="135" y="20"/>
                  </a:lnTo>
                  <a:lnTo>
                    <a:pt x="124" y="17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0" y="2"/>
                  </a:lnTo>
                  <a:lnTo>
                    <a:pt x="101" y="0"/>
                  </a:lnTo>
                  <a:lnTo>
                    <a:pt x="94" y="1"/>
                  </a:lnTo>
                  <a:lnTo>
                    <a:pt x="88" y="4"/>
                  </a:lnTo>
                  <a:lnTo>
                    <a:pt x="83" y="7"/>
                  </a:lnTo>
                  <a:lnTo>
                    <a:pt x="78" y="12"/>
                  </a:lnTo>
                  <a:lnTo>
                    <a:pt x="70" y="24"/>
                  </a:lnTo>
                  <a:lnTo>
                    <a:pt x="60" y="34"/>
                  </a:lnTo>
                  <a:lnTo>
                    <a:pt x="43" y="48"/>
                  </a:lnTo>
                  <a:lnTo>
                    <a:pt x="26" y="61"/>
                  </a:lnTo>
                  <a:lnTo>
                    <a:pt x="20" y="68"/>
                  </a:lnTo>
                  <a:lnTo>
                    <a:pt x="12" y="77"/>
                  </a:lnTo>
                  <a:lnTo>
                    <a:pt x="7" y="85"/>
                  </a:lnTo>
                  <a:lnTo>
                    <a:pt x="0" y="96"/>
                  </a:lnTo>
                  <a:lnTo>
                    <a:pt x="8" y="97"/>
                  </a:lnTo>
                  <a:lnTo>
                    <a:pt x="17" y="98"/>
                  </a:lnTo>
                  <a:lnTo>
                    <a:pt x="34" y="98"/>
                  </a:lnTo>
                  <a:lnTo>
                    <a:pt x="50" y="96"/>
                  </a:lnTo>
                  <a:lnTo>
                    <a:pt x="65" y="92"/>
                  </a:lnTo>
                  <a:lnTo>
                    <a:pt x="79" y="87"/>
                  </a:lnTo>
                  <a:lnTo>
                    <a:pt x="93" y="81"/>
                  </a:lnTo>
                  <a:lnTo>
                    <a:pt x="106" y="72"/>
                  </a:lnTo>
                  <a:lnTo>
                    <a:pt x="120" y="64"/>
                  </a:lnTo>
                  <a:lnTo>
                    <a:pt x="135" y="54"/>
                  </a:lnTo>
                  <a:lnTo>
                    <a:pt x="135" y="5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Line 89">
              <a:extLst>
                <a:ext uri="{FF2B5EF4-FFF2-40B4-BE49-F238E27FC236}">
                  <a16:creationId xmlns:a16="http://schemas.microsoft.com/office/drawing/2014/main" id="{37331917-F31D-4110-A179-3392BE9331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3270250" y="1223963"/>
              <a:ext cx="12700" cy="11113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5" name="Agrupar 174">
            <a:extLst>
              <a:ext uri="{FF2B5EF4-FFF2-40B4-BE49-F238E27FC236}">
                <a16:creationId xmlns:a16="http://schemas.microsoft.com/office/drawing/2014/main" id="{864C8222-9087-4E70-9110-30BF65527F88}"/>
              </a:ext>
            </a:extLst>
          </p:cNvPr>
          <p:cNvGrpSpPr/>
          <p:nvPr/>
        </p:nvGrpSpPr>
        <p:grpSpPr>
          <a:xfrm>
            <a:off x="10615470" y="2647450"/>
            <a:ext cx="5609625" cy="5707064"/>
            <a:chOff x="-6985000" y="150813"/>
            <a:chExt cx="6397625" cy="6508751"/>
          </a:xfrm>
        </p:grpSpPr>
        <p:sp>
          <p:nvSpPr>
            <p:cNvPr id="176" name="Freeform 5">
              <a:extLst>
                <a:ext uri="{FF2B5EF4-FFF2-40B4-BE49-F238E27FC236}">
                  <a16:creationId xmlns:a16="http://schemas.microsoft.com/office/drawing/2014/main" id="{BB948BFF-2060-49BF-9899-D09A78858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90788" y="2620963"/>
              <a:ext cx="1439863" cy="1657350"/>
            </a:xfrm>
            <a:custGeom>
              <a:avLst/>
              <a:gdLst>
                <a:gd name="T0" fmla="*/ 3492 w 3630"/>
                <a:gd name="T1" fmla="*/ 1584 h 4173"/>
                <a:gd name="T2" fmla="*/ 3323 w 3630"/>
                <a:gd name="T3" fmla="*/ 1735 h 4173"/>
                <a:gd name="T4" fmla="*/ 3071 w 3630"/>
                <a:gd name="T5" fmla="*/ 1917 h 4173"/>
                <a:gd name="T6" fmla="*/ 3081 w 3630"/>
                <a:gd name="T7" fmla="*/ 1773 h 4173"/>
                <a:gd name="T8" fmla="*/ 3004 w 3630"/>
                <a:gd name="T9" fmla="*/ 1864 h 4173"/>
                <a:gd name="T10" fmla="*/ 2917 w 3630"/>
                <a:gd name="T11" fmla="*/ 1982 h 4173"/>
                <a:gd name="T12" fmla="*/ 2877 w 3630"/>
                <a:gd name="T13" fmla="*/ 2185 h 4173"/>
                <a:gd name="T14" fmla="*/ 2813 w 3630"/>
                <a:gd name="T15" fmla="*/ 2388 h 4173"/>
                <a:gd name="T16" fmla="*/ 2839 w 3630"/>
                <a:gd name="T17" fmla="*/ 2615 h 4173"/>
                <a:gd name="T18" fmla="*/ 2784 w 3630"/>
                <a:gd name="T19" fmla="*/ 3169 h 4173"/>
                <a:gd name="T20" fmla="*/ 2684 w 3630"/>
                <a:gd name="T21" fmla="*/ 3506 h 4173"/>
                <a:gd name="T22" fmla="*/ 2626 w 3630"/>
                <a:gd name="T23" fmla="*/ 3778 h 4173"/>
                <a:gd name="T24" fmla="*/ 2576 w 3630"/>
                <a:gd name="T25" fmla="*/ 3991 h 4173"/>
                <a:gd name="T26" fmla="*/ 2390 w 3630"/>
                <a:gd name="T27" fmla="*/ 4160 h 4173"/>
                <a:gd name="T28" fmla="*/ 2194 w 3630"/>
                <a:gd name="T29" fmla="*/ 4083 h 4173"/>
                <a:gd name="T30" fmla="*/ 2211 w 3630"/>
                <a:gd name="T31" fmla="*/ 3892 h 4173"/>
                <a:gd name="T32" fmla="*/ 2254 w 3630"/>
                <a:gd name="T33" fmla="*/ 3713 h 4173"/>
                <a:gd name="T34" fmla="*/ 2390 w 3630"/>
                <a:gd name="T35" fmla="*/ 3357 h 4173"/>
                <a:gd name="T36" fmla="*/ 2289 w 3630"/>
                <a:gd name="T37" fmla="*/ 3128 h 4173"/>
                <a:gd name="T38" fmla="*/ 2104 w 3630"/>
                <a:gd name="T39" fmla="*/ 3050 h 4173"/>
                <a:gd name="T40" fmla="*/ 1919 w 3630"/>
                <a:gd name="T41" fmla="*/ 3038 h 4173"/>
                <a:gd name="T42" fmla="*/ 1788 w 3630"/>
                <a:gd name="T43" fmla="*/ 2824 h 4173"/>
                <a:gd name="T44" fmla="*/ 1543 w 3630"/>
                <a:gd name="T45" fmla="*/ 2733 h 4173"/>
                <a:gd name="T46" fmla="*/ 1407 w 3630"/>
                <a:gd name="T47" fmla="*/ 2603 h 4173"/>
                <a:gd name="T48" fmla="*/ 1163 w 3630"/>
                <a:gd name="T49" fmla="*/ 2458 h 4173"/>
                <a:gd name="T50" fmla="*/ 1020 w 3630"/>
                <a:gd name="T51" fmla="*/ 2484 h 4173"/>
                <a:gd name="T52" fmla="*/ 931 w 3630"/>
                <a:gd name="T53" fmla="*/ 2332 h 4173"/>
                <a:gd name="T54" fmla="*/ 878 w 3630"/>
                <a:gd name="T55" fmla="*/ 2241 h 4173"/>
                <a:gd name="T56" fmla="*/ 706 w 3630"/>
                <a:gd name="T57" fmla="*/ 2251 h 4173"/>
                <a:gd name="T58" fmla="*/ 435 w 3630"/>
                <a:gd name="T59" fmla="*/ 2409 h 4173"/>
                <a:gd name="T60" fmla="*/ 124 w 3630"/>
                <a:gd name="T61" fmla="*/ 2556 h 4173"/>
                <a:gd name="T62" fmla="*/ 0 w 3630"/>
                <a:gd name="T63" fmla="*/ 2448 h 4173"/>
                <a:gd name="T64" fmla="*/ 23 w 3630"/>
                <a:gd name="T65" fmla="*/ 2097 h 4173"/>
                <a:gd name="T66" fmla="*/ 50 w 3630"/>
                <a:gd name="T67" fmla="*/ 1787 h 4173"/>
                <a:gd name="T68" fmla="*/ 86 w 3630"/>
                <a:gd name="T69" fmla="*/ 1612 h 4173"/>
                <a:gd name="T70" fmla="*/ 92 w 3630"/>
                <a:gd name="T71" fmla="*/ 1392 h 4173"/>
                <a:gd name="T72" fmla="*/ 102 w 3630"/>
                <a:gd name="T73" fmla="*/ 1214 h 4173"/>
                <a:gd name="T74" fmla="*/ 76 w 3630"/>
                <a:gd name="T75" fmla="*/ 1114 h 4173"/>
                <a:gd name="T76" fmla="*/ 94 w 3630"/>
                <a:gd name="T77" fmla="*/ 1007 h 4173"/>
                <a:gd name="T78" fmla="*/ 112 w 3630"/>
                <a:gd name="T79" fmla="*/ 858 h 4173"/>
                <a:gd name="T80" fmla="*/ 222 w 3630"/>
                <a:gd name="T81" fmla="*/ 555 h 4173"/>
                <a:gd name="T82" fmla="*/ 299 w 3630"/>
                <a:gd name="T83" fmla="*/ 458 h 4173"/>
                <a:gd name="T84" fmla="*/ 535 w 3630"/>
                <a:gd name="T85" fmla="*/ 565 h 4173"/>
                <a:gd name="T86" fmla="*/ 748 w 3630"/>
                <a:gd name="T87" fmla="*/ 698 h 4173"/>
                <a:gd name="T88" fmla="*/ 1031 w 3630"/>
                <a:gd name="T89" fmla="*/ 550 h 4173"/>
                <a:gd name="T90" fmla="*/ 1120 w 3630"/>
                <a:gd name="T91" fmla="*/ 337 h 4173"/>
                <a:gd name="T92" fmla="*/ 1092 w 3630"/>
                <a:gd name="T93" fmla="*/ 162 h 4173"/>
                <a:gd name="T94" fmla="*/ 1297 w 3630"/>
                <a:gd name="T95" fmla="*/ 166 h 4173"/>
                <a:gd name="T96" fmla="*/ 1542 w 3630"/>
                <a:gd name="T97" fmla="*/ 247 h 4173"/>
                <a:gd name="T98" fmla="*/ 1773 w 3630"/>
                <a:gd name="T99" fmla="*/ 214 h 4173"/>
                <a:gd name="T100" fmla="*/ 2019 w 3630"/>
                <a:gd name="T101" fmla="*/ 127 h 4173"/>
                <a:gd name="T102" fmla="*/ 2185 w 3630"/>
                <a:gd name="T103" fmla="*/ 12 h 4173"/>
                <a:gd name="T104" fmla="*/ 2310 w 3630"/>
                <a:gd name="T105" fmla="*/ 178 h 4173"/>
                <a:gd name="T106" fmla="*/ 2414 w 3630"/>
                <a:gd name="T107" fmla="*/ 351 h 4173"/>
                <a:gd name="T108" fmla="*/ 2502 w 3630"/>
                <a:gd name="T109" fmla="*/ 234 h 4173"/>
                <a:gd name="T110" fmla="*/ 2655 w 3630"/>
                <a:gd name="T111" fmla="*/ 221 h 4173"/>
                <a:gd name="T112" fmla="*/ 2902 w 3630"/>
                <a:gd name="T113" fmla="*/ 37 h 4173"/>
                <a:gd name="T114" fmla="*/ 3365 w 3630"/>
                <a:gd name="T115" fmla="*/ 342 h 4173"/>
                <a:gd name="T116" fmla="*/ 3438 w 3630"/>
                <a:gd name="T117" fmla="*/ 499 h 4173"/>
                <a:gd name="T118" fmla="*/ 3451 w 3630"/>
                <a:gd name="T119" fmla="*/ 954 h 4173"/>
                <a:gd name="T120" fmla="*/ 3329 w 3630"/>
                <a:gd name="T121" fmla="*/ 1086 h 4173"/>
                <a:gd name="T122" fmla="*/ 3403 w 3630"/>
                <a:gd name="T123" fmla="*/ 1310 h 4173"/>
                <a:gd name="T124" fmla="*/ 3630 w 3630"/>
                <a:gd name="T125" fmla="*/ 1319 h 4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30" h="4173">
                  <a:moveTo>
                    <a:pt x="3630" y="1319"/>
                  </a:moveTo>
                  <a:lnTo>
                    <a:pt x="3613" y="1336"/>
                  </a:lnTo>
                  <a:lnTo>
                    <a:pt x="3595" y="1356"/>
                  </a:lnTo>
                  <a:lnTo>
                    <a:pt x="3578" y="1376"/>
                  </a:lnTo>
                  <a:lnTo>
                    <a:pt x="3560" y="1399"/>
                  </a:lnTo>
                  <a:lnTo>
                    <a:pt x="3551" y="1411"/>
                  </a:lnTo>
                  <a:lnTo>
                    <a:pt x="3545" y="1422"/>
                  </a:lnTo>
                  <a:lnTo>
                    <a:pt x="3539" y="1432"/>
                  </a:lnTo>
                  <a:lnTo>
                    <a:pt x="3534" y="1444"/>
                  </a:lnTo>
                  <a:lnTo>
                    <a:pt x="3527" y="1466"/>
                  </a:lnTo>
                  <a:lnTo>
                    <a:pt x="3521" y="1489"/>
                  </a:lnTo>
                  <a:lnTo>
                    <a:pt x="3516" y="1511"/>
                  </a:lnTo>
                  <a:lnTo>
                    <a:pt x="3511" y="1535"/>
                  </a:lnTo>
                  <a:lnTo>
                    <a:pt x="3507" y="1547"/>
                  </a:lnTo>
                  <a:lnTo>
                    <a:pt x="3503" y="1559"/>
                  </a:lnTo>
                  <a:lnTo>
                    <a:pt x="3498" y="1572"/>
                  </a:lnTo>
                  <a:lnTo>
                    <a:pt x="3492" y="1584"/>
                  </a:lnTo>
                  <a:lnTo>
                    <a:pt x="3488" y="1591"/>
                  </a:lnTo>
                  <a:lnTo>
                    <a:pt x="3484" y="1597"/>
                  </a:lnTo>
                  <a:lnTo>
                    <a:pt x="3480" y="1602"/>
                  </a:lnTo>
                  <a:lnTo>
                    <a:pt x="3474" y="1606"/>
                  </a:lnTo>
                  <a:lnTo>
                    <a:pt x="3464" y="1615"/>
                  </a:lnTo>
                  <a:lnTo>
                    <a:pt x="3452" y="1621"/>
                  </a:lnTo>
                  <a:lnTo>
                    <a:pt x="3440" y="1628"/>
                  </a:lnTo>
                  <a:lnTo>
                    <a:pt x="3428" y="1635"/>
                  </a:lnTo>
                  <a:lnTo>
                    <a:pt x="3416" y="1644"/>
                  </a:lnTo>
                  <a:lnTo>
                    <a:pt x="3405" y="1654"/>
                  </a:lnTo>
                  <a:lnTo>
                    <a:pt x="3400" y="1663"/>
                  </a:lnTo>
                  <a:lnTo>
                    <a:pt x="3393" y="1672"/>
                  </a:lnTo>
                  <a:lnTo>
                    <a:pt x="3387" y="1679"/>
                  </a:lnTo>
                  <a:lnTo>
                    <a:pt x="3380" y="1685"/>
                  </a:lnTo>
                  <a:lnTo>
                    <a:pt x="3365" y="1696"/>
                  </a:lnTo>
                  <a:lnTo>
                    <a:pt x="3349" y="1710"/>
                  </a:lnTo>
                  <a:lnTo>
                    <a:pt x="3323" y="1735"/>
                  </a:lnTo>
                  <a:lnTo>
                    <a:pt x="3298" y="1755"/>
                  </a:lnTo>
                  <a:lnTo>
                    <a:pt x="3272" y="1776"/>
                  </a:lnTo>
                  <a:lnTo>
                    <a:pt x="3245" y="1800"/>
                  </a:lnTo>
                  <a:lnTo>
                    <a:pt x="3222" y="1821"/>
                  </a:lnTo>
                  <a:lnTo>
                    <a:pt x="3200" y="1838"/>
                  </a:lnTo>
                  <a:lnTo>
                    <a:pt x="3177" y="1856"/>
                  </a:lnTo>
                  <a:lnTo>
                    <a:pt x="3154" y="1875"/>
                  </a:lnTo>
                  <a:lnTo>
                    <a:pt x="3138" y="1890"/>
                  </a:lnTo>
                  <a:lnTo>
                    <a:pt x="3125" y="1903"/>
                  </a:lnTo>
                  <a:lnTo>
                    <a:pt x="3119" y="1909"/>
                  </a:lnTo>
                  <a:lnTo>
                    <a:pt x="3111" y="1914"/>
                  </a:lnTo>
                  <a:lnTo>
                    <a:pt x="3108" y="1915"/>
                  </a:lnTo>
                  <a:lnTo>
                    <a:pt x="3104" y="1916"/>
                  </a:lnTo>
                  <a:lnTo>
                    <a:pt x="3098" y="1917"/>
                  </a:lnTo>
                  <a:lnTo>
                    <a:pt x="3093" y="1917"/>
                  </a:lnTo>
                  <a:lnTo>
                    <a:pt x="3082" y="1917"/>
                  </a:lnTo>
                  <a:lnTo>
                    <a:pt x="3071" y="1917"/>
                  </a:lnTo>
                  <a:lnTo>
                    <a:pt x="3075" y="1908"/>
                  </a:lnTo>
                  <a:lnTo>
                    <a:pt x="3079" y="1899"/>
                  </a:lnTo>
                  <a:lnTo>
                    <a:pt x="3082" y="1890"/>
                  </a:lnTo>
                  <a:lnTo>
                    <a:pt x="3087" y="1883"/>
                  </a:lnTo>
                  <a:lnTo>
                    <a:pt x="3091" y="1874"/>
                  </a:lnTo>
                  <a:lnTo>
                    <a:pt x="3094" y="1867"/>
                  </a:lnTo>
                  <a:lnTo>
                    <a:pt x="3096" y="1857"/>
                  </a:lnTo>
                  <a:lnTo>
                    <a:pt x="3097" y="1847"/>
                  </a:lnTo>
                  <a:lnTo>
                    <a:pt x="3097" y="1832"/>
                  </a:lnTo>
                  <a:lnTo>
                    <a:pt x="3097" y="1819"/>
                  </a:lnTo>
                  <a:lnTo>
                    <a:pt x="3097" y="1806"/>
                  </a:lnTo>
                  <a:lnTo>
                    <a:pt x="3097" y="1792"/>
                  </a:lnTo>
                  <a:lnTo>
                    <a:pt x="3092" y="1786"/>
                  </a:lnTo>
                  <a:lnTo>
                    <a:pt x="3089" y="1779"/>
                  </a:lnTo>
                  <a:lnTo>
                    <a:pt x="3087" y="1776"/>
                  </a:lnTo>
                  <a:lnTo>
                    <a:pt x="3083" y="1774"/>
                  </a:lnTo>
                  <a:lnTo>
                    <a:pt x="3081" y="1773"/>
                  </a:lnTo>
                  <a:lnTo>
                    <a:pt x="3077" y="1771"/>
                  </a:lnTo>
                  <a:lnTo>
                    <a:pt x="3071" y="1775"/>
                  </a:lnTo>
                  <a:lnTo>
                    <a:pt x="3066" y="1778"/>
                  </a:lnTo>
                  <a:lnTo>
                    <a:pt x="3044" y="1778"/>
                  </a:lnTo>
                  <a:lnTo>
                    <a:pt x="3026" y="1778"/>
                  </a:lnTo>
                  <a:lnTo>
                    <a:pt x="3007" y="1778"/>
                  </a:lnTo>
                  <a:lnTo>
                    <a:pt x="2985" y="1778"/>
                  </a:lnTo>
                  <a:lnTo>
                    <a:pt x="2981" y="1778"/>
                  </a:lnTo>
                  <a:lnTo>
                    <a:pt x="2975" y="1779"/>
                  </a:lnTo>
                  <a:lnTo>
                    <a:pt x="2971" y="1780"/>
                  </a:lnTo>
                  <a:lnTo>
                    <a:pt x="2967" y="1782"/>
                  </a:lnTo>
                  <a:lnTo>
                    <a:pt x="2958" y="1786"/>
                  </a:lnTo>
                  <a:lnTo>
                    <a:pt x="2948" y="1789"/>
                  </a:lnTo>
                  <a:lnTo>
                    <a:pt x="2969" y="1816"/>
                  </a:lnTo>
                  <a:lnTo>
                    <a:pt x="2989" y="1840"/>
                  </a:lnTo>
                  <a:lnTo>
                    <a:pt x="2998" y="1851"/>
                  </a:lnTo>
                  <a:lnTo>
                    <a:pt x="3004" y="1864"/>
                  </a:lnTo>
                  <a:lnTo>
                    <a:pt x="3007" y="1871"/>
                  </a:lnTo>
                  <a:lnTo>
                    <a:pt x="3009" y="1878"/>
                  </a:lnTo>
                  <a:lnTo>
                    <a:pt x="3010" y="1887"/>
                  </a:lnTo>
                  <a:lnTo>
                    <a:pt x="3010" y="1896"/>
                  </a:lnTo>
                  <a:lnTo>
                    <a:pt x="3009" y="1904"/>
                  </a:lnTo>
                  <a:lnTo>
                    <a:pt x="3007" y="1913"/>
                  </a:lnTo>
                  <a:lnTo>
                    <a:pt x="3002" y="1919"/>
                  </a:lnTo>
                  <a:lnTo>
                    <a:pt x="2998" y="1926"/>
                  </a:lnTo>
                  <a:lnTo>
                    <a:pt x="2992" y="1931"/>
                  </a:lnTo>
                  <a:lnTo>
                    <a:pt x="2985" y="1936"/>
                  </a:lnTo>
                  <a:lnTo>
                    <a:pt x="2976" y="1940"/>
                  </a:lnTo>
                  <a:lnTo>
                    <a:pt x="2969" y="1944"/>
                  </a:lnTo>
                  <a:lnTo>
                    <a:pt x="2953" y="1953"/>
                  </a:lnTo>
                  <a:lnTo>
                    <a:pt x="2936" y="1963"/>
                  </a:lnTo>
                  <a:lnTo>
                    <a:pt x="2929" y="1968"/>
                  </a:lnTo>
                  <a:lnTo>
                    <a:pt x="2922" y="1975"/>
                  </a:lnTo>
                  <a:lnTo>
                    <a:pt x="2917" y="1982"/>
                  </a:lnTo>
                  <a:lnTo>
                    <a:pt x="2912" y="1991"/>
                  </a:lnTo>
                  <a:lnTo>
                    <a:pt x="2905" y="2007"/>
                  </a:lnTo>
                  <a:lnTo>
                    <a:pt x="2900" y="2022"/>
                  </a:lnTo>
                  <a:lnTo>
                    <a:pt x="2894" y="2036"/>
                  </a:lnTo>
                  <a:lnTo>
                    <a:pt x="2891" y="2050"/>
                  </a:lnTo>
                  <a:lnTo>
                    <a:pt x="2888" y="2064"/>
                  </a:lnTo>
                  <a:lnTo>
                    <a:pt x="2886" y="2079"/>
                  </a:lnTo>
                  <a:lnTo>
                    <a:pt x="2885" y="2095"/>
                  </a:lnTo>
                  <a:lnTo>
                    <a:pt x="2884" y="2113"/>
                  </a:lnTo>
                  <a:lnTo>
                    <a:pt x="2885" y="2124"/>
                  </a:lnTo>
                  <a:lnTo>
                    <a:pt x="2886" y="2133"/>
                  </a:lnTo>
                  <a:lnTo>
                    <a:pt x="2887" y="2143"/>
                  </a:lnTo>
                  <a:lnTo>
                    <a:pt x="2887" y="2154"/>
                  </a:lnTo>
                  <a:lnTo>
                    <a:pt x="2886" y="2162"/>
                  </a:lnTo>
                  <a:lnTo>
                    <a:pt x="2885" y="2171"/>
                  </a:lnTo>
                  <a:lnTo>
                    <a:pt x="2881" y="2179"/>
                  </a:lnTo>
                  <a:lnTo>
                    <a:pt x="2877" y="2185"/>
                  </a:lnTo>
                  <a:lnTo>
                    <a:pt x="2873" y="2192"/>
                  </a:lnTo>
                  <a:lnTo>
                    <a:pt x="2867" y="2197"/>
                  </a:lnTo>
                  <a:lnTo>
                    <a:pt x="2862" y="2202"/>
                  </a:lnTo>
                  <a:lnTo>
                    <a:pt x="2855" y="2208"/>
                  </a:lnTo>
                  <a:lnTo>
                    <a:pt x="2842" y="2219"/>
                  </a:lnTo>
                  <a:lnTo>
                    <a:pt x="2831" y="2230"/>
                  </a:lnTo>
                  <a:lnTo>
                    <a:pt x="2824" y="2237"/>
                  </a:lnTo>
                  <a:lnTo>
                    <a:pt x="2820" y="2243"/>
                  </a:lnTo>
                  <a:lnTo>
                    <a:pt x="2814" y="2251"/>
                  </a:lnTo>
                  <a:lnTo>
                    <a:pt x="2811" y="2260"/>
                  </a:lnTo>
                  <a:lnTo>
                    <a:pt x="2806" y="2276"/>
                  </a:lnTo>
                  <a:lnTo>
                    <a:pt x="2803" y="2291"/>
                  </a:lnTo>
                  <a:lnTo>
                    <a:pt x="2800" y="2305"/>
                  </a:lnTo>
                  <a:lnTo>
                    <a:pt x="2798" y="2320"/>
                  </a:lnTo>
                  <a:lnTo>
                    <a:pt x="2797" y="2349"/>
                  </a:lnTo>
                  <a:lnTo>
                    <a:pt x="2794" y="2383"/>
                  </a:lnTo>
                  <a:lnTo>
                    <a:pt x="2813" y="2388"/>
                  </a:lnTo>
                  <a:lnTo>
                    <a:pt x="2832" y="2381"/>
                  </a:lnTo>
                  <a:lnTo>
                    <a:pt x="2847" y="2372"/>
                  </a:lnTo>
                  <a:lnTo>
                    <a:pt x="2854" y="2368"/>
                  </a:lnTo>
                  <a:lnTo>
                    <a:pt x="2862" y="2363"/>
                  </a:lnTo>
                  <a:lnTo>
                    <a:pt x="2872" y="2360"/>
                  </a:lnTo>
                  <a:lnTo>
                    <a:pt x="2881" y="2358"/>
                  </a:lnTo>
                  <a:lnTo>
                    <a:pt x="2869" y="2378"/>
                  </a:lnTo>
                  <a:lnTo>
                    <a:pt x="2861" y="2398"/>
                  </a:lnTo>
                  <a:lnTo>
                    <a:pt x="2853" y="2417"/>
                  </a:lnTo>
                  <a:lnTo>
                    <a:pt x="2848" y="2437"/>
                  </a:lnTo>
                  <a:lnTo>
                    <a:pt x="2844" y="2456"/>
                  </a:lnTo>
                  <a:lnTo>
                    <a:pt x="2841" y="2477"/>
                  </a:lnTo>
                  <a:lnTo>
                    <a:pt x="2839" y="2498"/>
                  </a:lnTo>
                  <a:lnTo>
                    <a:pt x="2839" y="2522"/>
                  </a:lnTo>
                  <a:lnTo>
                    <a:pt x="2839" y="2556"/>
                  </a:lnTo>
                  <a:lnTo>
                    <a:pt x="2839" y="2586"/>
                  </a:lnTo>
                  <a:lnTo>
                    <a:pt x="2839" y="2615"/>
                  </a:lnTo>
                  <a:lnTo>
                    <a:pt x="2839" y="2650"/>
                  </a:lnTo>
                  <a:lnTo>
                    <a:pt x="2839" y="2650"/>
                  </a:lnTo>
                  <a:lnTo>
                    <a:pt x="2800" y="2952"/>
                  </a:lnTo>
                  <a:lnTo>
                    <a:pt x="2800" y="2952"/>
                  </a:lnTo>
                  <a:lnTo>
                    <a:pt x="2800" y="2977"/>
                  </a:lnTo>
                  <a:lnTo>
                    <a:pt x="2800" y="3001"/>
                  </a:lnTo>
                  <a:lnTo>
                    <a:pt x="2800" y="3022"/>
                  </a:lnTo>
                  <a:lnTo>
                    <a:pt x="2800" y="3043"/>
                  </a:lnTo>
                  <a:lnTo>
                    <a:pt x="2800" y="3064"/>
                  </a:lnTo>
                  <a:lnTo>
                    <a:pt x="2800" y="3086"/>
                  </a:lnTo>
                  <a:lnTo>
                    <a:pt x="2800" y="3110"/>
                  </a:lnTo>
                  <a:lnTo>
                    <a:pt x="2800" y="3134"/>
                  </a:lnTo>
                  <a:lnTo>
                    <a:pt x="2799" y="3142"/>
                  </a:lnTo>
                  <a:lnTo>
                    <a:pt x="2797" y="3147"/>
                  </a:lnTo>
                  <a:lnTo>
                    <a:pt x="2795" y="3153"/>
                  </a:lnTo>
                  <a:lnTo>
                    <a:pt x="2792" y="3158"/>
                  </a:lnTo>
                  <a:lnTo>
                    <a:pt x="2784" y="3169"/>
                  </a:lnTo>
                  <a:lnTo>
                    <a:pt x="2778" y="3182"/>
                  </a:lnTo>
                  <a:lnTo>
                    <a:pt x="2770" y="3200"/>
                  </a:lnTo>
                  <a:lnTo>
                    <a:pt x="2766" y="3218"/>
                  </a:lnTo>
                  <a:lnTo>
                    <a:pt x="2760" y="3235"/>
                  </a:lnTo>
                  <a:lnTo>
                    <a:pt x="2755" y="3254"/>
                  </a:lnTo>
                  <a:lnTo>
                    <a:pt x="2747" y="3282"/>
                  </a:lnTo>
                  <a:lnTo>
                    <a:pt x="2741" y="3307"/>
                  </a:lnTo>
                  <a:lnTo>
                    <a:pt x="2737" y="3332"/>
                  </a:lnTo>
                  <a:lnTo>
                    <a:pt x="2732" y="3356"/>
                  </a:lnTo>
                  <a:lnTo>
                    <a:pt x="2728" y="3380"/>
                  </a:lnTo>
                  <a:lnTo>
                    <a:pt x="2723" y="3404"/>
                  </a:lnTo>
                  <a:lnTo>
                    <a:pt x="2719" y="3416"/>
                  </a:lnTo>
                  <a:lnTo>
                    <a:pt x="2715" y="3429"/>
                  </a:lnTo>
                  <a:lnTo>
                    <a:pt x="2710" y="3442"/>
                  </a:lnTo>
                  <a:lnTo>
                    <a:pt x="2704" y="3456"/>
                  </a:lnTo>
                  <a:lnTo>
                    <a:pt x="2693" y="3482"/>
                  </a:lnTo>
                  <a:lnTo>
                    <a:pt x="2684" y="3506"/>
                  </a:lnTo>
                  <a:lnTo>
                    <a:pt x="2676" y="3529"/>
                  </a:lnTo>
                  <a:lnTo>
                    <a:pt x="2669" y="3551"/>
                  </a:lnTo>
                  <a:lnTo>
                    <a:pt x="2662" y="3574"/>
                  </a:lnTo>
                  <a:lnTo>
                    <a:pt x="2656" y="3597"/>
                  </a:lnTo>
                  <a:lnTo>
                    <a:pt x="2649" y="3622"/>
                  </a:lnTo>
                  <a:lnTo>
                    <a:pt x="2643" y="3650"/>
                  </a:lnTo>
                  <a:lnTo>
                    <a:pt x="2638" y="3665"/>
                  </a:lnTo>
                  <a:lnTo>
                    <a:pt x="2634" y="3679"/>
                  </a:lnTo>
                  <a:lnTo>
                    <a:pt x="2632" y="3685"/>
                  </a:lnTo>
                  <a:lnTo>
                    <a:pt x="2631" y="3692"/>
                  </a:lnTo>
                  <a:lnTo>
                    <a:pt x="2630" y="3699"/>
                  </a:lnTo>
                  <a:lnTo>
                    <a:pt x="2629" y="3708"/>
                  </a:lnTo>
                  <a:lnTo>
                    <a:pt x="2628" y="3722"/>
                  </a:lnTo>
                  <a:lnTo>
                    <a:pt x="2626" y="3736"/>
                  </a:lnTo>
                  <a:lnTo>
                    <a:pt x="2626" y="3751"/>
                  </a:lnTo>
                  <a:lnTo>
                    <a:pt x="2626" y="3765"/>
                  </a:lnTo>
                  <a:lnTo>
                    <a:pt x="2626" y="3778"/>
                  </a:lnTo>
                  <a:lnTo>
                    <a:pt x="2626" y="3793"/>
                  </a:lnTo>
                  <a:lnTo>
                    <a:pt x="2624" y="3822"/>
                  </a:lnTo>
                  <a:lnTo>
                    <a:pt x="2621" y="3847"/>
                  </a:lnTo>
                  <a:lnTo>
                    <a:pt x="2618" y="3873"/>
                  </a:lnTo>
                  <a:lnTo>
                    <a:pt x="2615" y="3901"/>
                  </a:lnTo>
                  <a:lnTo>
                    <a:pt x="2615" y="3924"/>
                  </a:lnTo>
                  <a:lnTo>
                    <a:pt x="2614" y="3943"/>
                  </a:lnTo>
                  <a:lnTo>
                    <a:pt x="2612" y="3952"/>
                  </a:lnTo>
                  <a:lnTo>
                    <a:pt x="2610" y="3962"/>
                  </a:lnTo>
                  <a:lnTo>
                    <a:pt x="2606" y="3970"/>
                  </a:lnTo>
                  <a:lnTo>
                    <a:pt x="2601" y="3980"/>
                  </a:lnTo>
                  <a:lnTo>
                    <a:pt x="2598" y="3983"/>
                  </a:lnTo>
                  <a:lnTo>
                    <a:pt x="2596" y="3984"/>
                  </a:lnTo>
                  <a:lnTo>
                    <a:pt x="2593" y="3987"/>
                  </a:lnTo>
                  <a:lnTo>
                    <a:pt x="2590" y="3987"/>
                  </a:lnTo>
                  <a:lnTo>
                    <a:pt x="2582" y="3989"/>
                  </a:lnTo>
                  <a:lnTo>
                    <a:pt x="2576" y="3991"/>
                  </a:lnTo>
                  <a:lnTo>
                    <a:pt x="2566" y="3998"/>
                  </a:lnTo>
                  <a:lnTo>
                    <a:pt x="2557" y="4006"/>
                  </a:lnTo>
                  <a:lnTo>
                    <a:pt x="2550" y="4014"/>
                  </a:lnTo>
                  <a:lnTo>
                    <a:pt x="2539" y="4019"/>
                  </a:lnTo>
                  <a:lnTo>
                    <a:pt x="2512" y="4034"/>
                  </a:lnTo>
                  <a:lnTo>
                    <a:pt x="2486" y="4049"/>
                  </a:lnTo>
                  <a:lnTo>
                    <a:pt x="2474" y="4058"/>
                  </a:lnTo>
                  <a:lnTo>
                    <a:pt x="2462" y="4066"/>
                  </a:lnTo>
                  <a:lnTo>
                    <a:pt x="2451" y="4075"/>
                  </a:lnTo>
                  <a:lnTo>
                    <a:pt x="2442" y="4085"/>
                  </a:lnTo>
                  <a:lnTo>
                    <a:pt x="2432" y="4093"/>
                  </a:lnTo>
                  <a:lnTo>
                    <a:pt x="2423" y="4104"/>
                  </a:lnTo>
                  <a:lnTo>
                    <a:pt x="2415" y="4114"/>
                  </a:lnTo>
                  <a:lnTo>
                    <a:pt x="2407" y="4125"/>
                  </a:lnTo>
                  <a:lnTo>
                    <a:pt x="2401" y="4137"/>
                  </a:lnTo>
                  <a:lnTo>
                    <a:pt x="2394" y="4149"/>
                  </a:lnTo>
                  <a:lnTo>
                    <a:pt x="2390" y="4160"/>
                  </a:lnTo>
                  <a:lnTo>
                    <a:pt x="2386" y="4173"/>
                  </a:lnTo>
                  <a:lnTo>
                    <a:pt x="2386" y="4173"/>
                  </a:lnTo>
                  <a:lnTo>
                    <a:pt x="2364" y="4164"/>
                  </a:lnTo>
                  <a:lnTo>
                    <a:pt x="2345" y="4155"/>
                  </a:lnTo>
                  <a:lnTo>
                    <a:pt x="2327" y="4145"/>
                  </a:lnTo>
                  <a:lnTo>
                    <a:pt x="2309" y="4135"/>
                  </a:lnTo>
                  <a:lnTo>
                    <a:pt x="2292" y="4125"/>
                  </a:lnTo>
                  <a:lnTo>
                    <a:pt x="2274" y="4115"/>
                  </a:lnTo>
                  <a:lnTo>
                    <a:pt x="2255" y="4105"/>
                  </a:lnTo>
                  <a:lnTo>
                    <a:pt x="2233" y="4095"/>
                  </a:lnTo>
                  <a:lnTo>
                    <a:pt x="2225" y="4092"/>
                  </a:lnTo>
                  <a:lnTo>
                    <a:pt x="2216" y="4091"/>
                  </a:lnTo>
                  <a:lnTo>
                    <a:pt x="2212" y="4091"/>
                  </a:lnTo>
                  <a:lnTo>
                    <a:pt x="2208" y="4090"/>
                  </a:lnTo>
                  <a:lnTo>
                    <a:pt x="2204" y="4089"/>
                  </a:lnTo>
                  <a:lnTo>
                    <a:pt x="2200" y="4086"/>
                  </a:lnTo>
                  <a:lnTo>
                    <a:pt x="2194" y="4083"/>
                  </a:lnTo>
                  <a:lnTo>
                    <a:pt x="2190" y="4078"/>
                  </a:lnTo>
                  <a:lnTo>
                    <a:pt x="2187" y="4073"/>
                  </a:lnTo>
                  <a:lnTo>
                    <a:pt x="2184" y="4069"/>
                  </a:lnTo>
                  <a:lnTo>
                    <a:pt x="2180" y="4059"/>
                  </a:lnTo>
                  <a:lnTo>
                    <a:pt x="2177" y="4048"/>
                  </a:lnTo>
                  <a:lnTo>
                    <a:pt x="2177" y="4024"/>
                  </a:lnTo>
                  <a:lnTo>
                    <a:pt x="2177" y="3997"/>
                  </a:lnTo>
                  <a:lnTo>
                    <a:pt x="2177" y="3997"/>
                  </a:lnTo>
                  <a:lnTo>
                    <a:pt x="2174" y="3992"/>
                  </a:lnTo>
                  <a:lnTo>
                    <a:pt x="2172" y="3985"/>
                  </a:lnTo>
                  <a:lnTo>
                    <a:pt x="2173" y="3975"/>
                  </a:lnTo>
                  <a:lnTo>
                    <a:pt x="2174" y="3964"/>
                  </a:lnTo>
                  <a:lnTo>
                    <a:pt x="2177" y="3953"/>
                  </a:lnTo>
                  <a:lnTo>
                    <a:pt x="2180" y="3943"/>
                  </a:lnTo>
                  <a:lnTo>
                    <a:pt x="2190" y="3926"/>
                  </a:lnTo>
                  <a:lnTo>
                    <a:pt x="2200" y="3909"/>
                  </a:lnTo>
                  <a:lnTo>
                    <a:pt x="2211" y="3892"/>
                  </a:lnTo>
                  <a:lnTo>
                    <a:pt x="2219" y="3873"/>
                  </a:lnTo>
                  <a:lnTo>
                    <a:pt x="2223" y="3865"/>
                  </a:lnTo>
                  <a:lnTo>
                    <a:pt x="2226" y="3854"/>
                  </a:lnTo>
                  <a:lnTo>
                    <a:pt x="2228" y="3843"/>
                  </a:lnTo>
                  <a:lnTo>
                    <a:pt x="2228" y="3832"/>
                  </a:lnTo>
                  <a:lnTo>
                    <a:pt x="2227" y="3818"/>
                  </a:lnTo>
                  <a:lnTo>
                    <a:pt x="2224" y="3806"/>
                  </a:lnTo>
                  <a:lnTo>
                    <a:pt x="2221" y="3793"/>
                  </a:lnTo>
                  <a:lnTo>
                    <a:pt x="2219" y="3780"/>
                  </a:lnTo>
                  <a:lnTo>
                    <a:pt x="2220" y="3773"/>
                  </a:lnTo>
                  <a:lnTo>
                    <a:pt x="2221" y="3766"/>
                  </a:lnTo>
                  <a:lnTo>
                    <a:pt x="2223" y="3760"/>
                  </a:lnTo>
                  <a:lnTo>
                    <a:pt x="2226" y="3754"/>
                  </a:lnTo>
                  <a:lnTo>
                    <a:pt x="2231" y="3744"/>
                  </a:lnTo>
                  <a:lnTo>
                    <a:pt x="2239" y="3733"/>
                  </a:lnTo>
                  <a:lnTo>
                    <a:pt x="2246" y="3723"/>
                  </a:lnTo>
                  <a:lnTo>
                    <a:pt x="2254" y="3713"/>
                  </a:lnTo>
                  <a:lnTo>
                    <a:pt x="2261" y="3701"/>
                  </a:lnTo>
                  <a:lnTo>
                    <a:pt x="2267" y="3688"/>
                  </a:lnTo>
                  <a:lnTo>
                    <a:pt x="2277" y="3660"/>
                  </a:lnTo>
                  <a:lnTo>
                    <a:pt x="2283" y="3634"/>
                  </a:lnTo>
                  <a:lnTo>
                    <a:pt x="2288" y="3610"/>
                  </a:lnTo>
                  <a:lnTo>
                    <a:pt x="2294" y="3586"/>
                  </a:lnTo>
                  <a:lnTo>
                    <a:pt x="2298" y="3562"/>
                  </a:lnTo>
                  <a:lnTo>
                    <a:pt x="2305" y="3537"/>
                  </a:lnTo>
                  <a:lnTo>
                    <a:pt x="2312" y="3511"/>
                  </a:lnTo>
                  <a:lnTo>
                    <a:pt x="2323" y="3484"/>
                  </a:lnTo>
                  <a:lnTo>
                    <a:pt x="2336" y="3457"/>
                  </a:lnTo>
                  <a:lnTo>
                    <a:pt x="2350" y="3434"/>
                  </a:lnTo>
                  <a:lnTo>
                    <a:pt x="2363" y="3411"/>
                  </a:lnTo>
                  <a:lnTo>
                    <a:pt x="2375" y="3389"/>
                  </a:lnTo>
                  <a:lnTo>
                    <a:pt x="2380" y="3379"/>
                  </a:lnTo>
                  <a:lnTo>
                    <a:pt x="2386" y="3368"/>
                  </a:lnTo>
                  <a:lnTo>
                    <a:pt x="2390" y="3357"/>
                  </a:lnTo>
                  <a:lnTo>
                    <a:pt x="2394" y="3345"/>
                  </a:lnTo>
                  <a:lnTo>
                    <a:pt x="2397" y="3332"/>
                  </a:lnTo>
                  <a:lnTo>
                    <a:pt x="2400" y="3319"/>
                  </a:lnTo>
                  <a:lnTo>
                    <a:pt x="2402" y="3305"/>
                  </a:lnTo>
                  <a:lnTo>
                    <a:pt x="2402" y="3291"/>
                  </a:lnTo>
                  <a:lnTo>
                    <a:pt x="2401" y="3277"/>
                  </a:lnTo>
                  <a:lnTo>
                    <a:pt x="2399" y="3264"/>
                  </a:lnTo>
                  <a:lnTo>
                    <a:pt x="2395" y="3252"/>
                  </a:lnTo>
                  <a:lnTo>
                    <a:pt x="2391" y="3241"/>
                  </a:lnTo>
                  <a:lnTo>
                    <a:pt x="2386" y="3231"/>
                  </a:lnTo>
                  <a:lnTo>
                    <a:pt x="2379" y="3221"/>
                  </a:lnTo>
                  <a:lnTo>
                    <a:pt x="2373" y="3211"/>
                  </a:lnTo>
                  <a:lnTo>
                    <a:pt x="2365" y="3202"/>
                  </a:lnTo>
                  <a:lnTo>
                    <a:pt x="2348" y="3185"/>
                  </a:lnTo>
                  <a:lnTo>
                    <a:pt x="2328" y="3167"/>
                  </a:lnTo>
                  <a:lnTo>
                    <a:pt x="2309" y="3148"/>
                  </a:lnTo>
                  <a:lnTo>
                    <a:pt x="2289" y="3128"/>
                  </a:lnTo>
                  <a:lnTo>
                    <a:pt x="2271" y="3105"/>
                  </a:lnTo>
                  <a:lnTo>
                    <a:pt x="2254" y="3085"/>
                  </a:lnTo>
                  <a:lnTo>
                    <a:pt x="2245" y="3075"/>
                  </a:lnTo>
                  <a:lnTo>
                    <a:pt x="2234" y="3067"/>
                  </a:lnTo>
                  <a:lnTo>
                    <a:pt x="2229" y="3065"/>
                  </a:lnTo>
                  <a:lnTo>
                    <a:pt x="2223" y="3062"/>
                  </a:lnTo>
                  <a:lnTo>
                    <a:pt x="2216" y="3060"/>
                  </a:lnTo>
                  <a:lnTo>
                    <a:pt x="2208" y="3058"/>
                  </a:lnTo>
                  <a:lnTo>
                    <a:pt x="2193" y="3057"/>
                  </a:lnTo>
                  <a:lnTo>
                    <a:pt x="2178" y="3056"/>
                  </a:lnTo>
                  <a:lnTo>
                    <a:pt x="2164" y="3056"/>
                  </a:lnTo>
                  <a:lnTo>
                    <a:pt x="2151" y="3057"/>
                  </a:lnTo>
                  <a:lnTo>
                    <a:pt x="2138" y="3057"/>
                  </a:lnTo>
                  <a:lnTo>
                    <a:pt x="2124" y="3056"/>
                  </a:lnTo>
                  <a:lnTo>
                    <a:pt x="2118" y="3055"/>
                  </a:lnTo>
                  <a:lnTo>
                    <a:pt x="2110" y="3052"/>
                  </a:lnTo>
                  <a:lnTo>
                    <a:pt x="2104" y="3050"/>
                  </a:lnTo>
                  <a:lnTo>
                    <a:pt x="2096" y="3047"/>
                  </a:lnTo>
                  <a:lnTo>
                    <a:pt x="2076" y="3036"/>
                  </a:lnTo>
                  <a:lnTo>
                    <a:pt x="2057" y="3026"/>
                  </a:lnTo>
                  <a:lnTo>
                    <a:pt x="2049" y="3022"/>
                  </a:lnTo>
                  <a:lnTo>
                    <a:pt x="2039" y="3019"/>
                  </a:lnTo>
                  <a:lnTo>
                    <a:pt x="2028" y="3017"/>
                  </a:lnTo>
                  <a:lnTo>
                    <a:pt x="2016" y="3016"/>
                  </a:lnTo>
                  <a:lnTo>
                    <a:pt x="2004" y="3017"/>
                  </a:lnTo>
                  <a:lnTo>
                    <a:pt x="1992" y="3020"/>
                  </a:lnTo>
                  <a:lnTo>
                    <a:pt x="1983" y="3024"/>
                  </a:lnTo>
                  <a:lnTo>
                    <a:pt x="1972" y="3029"/>
                  </a:lnTo>
                  <a:lnTo>
                    <a:pt x="1962" y="3033"/>
                  </a:lnTo>
                  <a:lnTo>
                    <a:pt x="1952" y="3037"/>
                  </a:lnTo>
                  <a:lnTo>
                    <a:pt x="1941" y="3040"/>
                  </a:lnTo>
                  <a:lnTo>
                    <a:pt x="1928" y="3042"/>
                  </a:lnTo>
                  <a:lnTo>
                    <a:pt x="1923" y="3040"/>
                  </a:lnTo>
                  <a:lnTo>
                    <a:pt x="1919" y="3038"/>
                  </a:lnTo>
                  <a:lnTo>
                    <a:pt x="1916" y="3034"/>
                  </a:lnTo>
                  <a:lnTo>
                    <a:pt x="1914" y="3029"/>
                  </a:lnTo>
                  <a:lnTo>
                    <a:pt x="1910" y="3017"/>
                  </a:lnTo>
                  <a:lnTo>
                    <a:pt x="1908" y="3005"/>
                  </a:lnTo>
                  <a:lnTo>
                    <a:pt x="1906" y="2996"/>
                  </a:lnTo>
                  <a:lnTo>
                    <a:pt x="1903" y="2988"/>
                  </a:lnTo>
                  <a:lnTo>
                    <a:pt x="1900" y="2981"/>
                  </a:lnTo>
                  <a:lnTo>
                    <a:pt x="1896" y="2974"/>
                  </a:lnTo>
                  <a:lnTo>
                    <a:pt x="1888" y="2961"/>
                  </a:lnTo>
                  <a:lnTo>
                    <a:pt x="1878" y="2947"/>
                  </a:lnTo>
                  <a:lnTo>
                    <a:pt x="1857" y="2914"/>
                  </a:lnTo>
                  <a:lnTo>
                    <a:pt x="1840" y="2886"/>
                  </a:lnTo>
                  <a:lnTo>
                    <a:pt x="1830" y="2873"/>
                  </a:lnTo>
                  <a:lnTo>
                    <a:pt x="1821" y="2859"/>
                  </a:lnTo>
                  <a:lnTo>
                    <a:pt x="1810" y="2845"/>
                  </a:lnTo>
                  <a:lnTo>
                    <a:pt x="1796" y="2831"/>
                  </a:lnTo>
                  <a:lnTo>
                    <a:pt x="1788" y="2824"/>
                  </a:lnTo>
                  <a:lnTo>
                    <a:pt x="1781" y="2818"/>
                  </a:lnTo>
                  <a:lnTo>
                    <a:pt x="1772" y="2814"/>
                  </a:lnTo>
                  <a:lnTo>
                    <a:pt x="1765" y="2809"/>
                  </a:lnTo>
                  <a:lnTo>
                    <a:pt x="1747" y="2804"/>
                  </a:lnTo>
                  <a:lnTo>
                    <a:pt x="1730" y="2801"/>
                  </a:lnTo>
                  <a:lnTo>
                    <a:pt x="1712" y="2797"/>
                  </a:lnTo>
                  <a:lnTo>
                    <a:pt x="1693" y="2794"/>
                  </a:lnTo>
                  <a:lnTo>
                    <a:pt x="1684" y="2793"/>
                  </a:lnTo>
                  <a:lnTo>
                    <a:pt x="1674" y="2790"/>
                  </a:lnTo>
                  <a:lnTo>
                    <a:pt x="1663" y="2788"/>
                  </a:lnTo>
                  <a:lnTo>
                    <a:pt x="1653" y="2783"/>
                  </a:lnTo>
                  <a:lnTo>
                    <a:pt x="1632" y="2775"/>
                  </a:lnTo>
                  <a:lnTo>
                    <a:pt x="1612" y="2767"/>
                  </a:lnTo>
                  <a:lnTo>
                    <a:pt x="1594" y="2760"/>
                  </a:lnTo>
                  <a:lnTo>
                    <a:pt x="1572" y="2750"/>
                  </a:lnTo>
                  <a:lnTo>
                    <a:pt x="1556" y="2741"/>
                  </a:lnTo>
                  <a:lnTo>
                    <a:pt x="1543" y="2733"/>
                  </a:lnTo>
                  <a:lnTo>
                    <a:pt x="1529" y="2724"/>
                  </a:lnTo>
                  <a:lnTo>
                    <a:pt x="1513" y="2716"/>
                  </a:lnTo>
                  <a:lnTo>
                    <a:pt x="1501" y="2712"/>
                  </a:lnTo>
                  <a:lnTo>
                    <a:pt x="1488" y="2708"/>
                  </a:lnTo>
                  <a:lnTo>
                    <a:pt x="1483" y="2706"/>
                  </a:lnTo>
                  <a:lnTo>
                    <a:pt x="1477" y="2702"/>
                  </a:lnTo>
                  <a:lnTo>
                    <a:pt x="1473" y="2699"/>
                  </a:lnTo>
                  <a:lnTo>
                    <a:pt x="1469" y="2694"/>
                  </a:lnTo>
                  <a:lnTo>
                    <a:pt x="1462" y="2685"/>
                  </a:lnTo>
                  <a:lnTo>
                    <a:pt x="1458" y="2675"/>
                  </a:lnTo>
                  <a:lnTo>
                    <a:pt x="1455" y="2667"/>
                  </a:lnTo>
                  <a:lnTo>
                    <a:pt x="1450" y="2658"/>
                  </a:lnTo>
                  <a:lnTo>
                    <a:pt x="1447" y="2650"/>
                  </a:lnTo>
                  <a:lnTo>
                    <a:pt x="1442" y="2641"/>
                  </a:lnTo>
                  <a:lnTo>
                    <a:pt x="1436" y="2632"/>
                  </a:lnTo>
                  <a:lnTo>
                    <a:pt x="1430" y="2624"/>
                  </a:lnTo>
                  <a:lnTo>
                    <a:pt x="1407" y="2603"/>
                  </a:lnTo>
                  <a:lnTo>
                    <a:pt x="1385" y="2585"/>
                  </a:lnTo>
                  <a:lnTo>
                    <a:pt x="1364" y="2570"/>
                  </a:lnTo>
                  <a:lnTo>
                    <a:pt x="1341" y="2556"/>
                  </a:lnTo>
                  <a:lnTo>
                    <a:pt x="1318" y="2543"/>
                  </a:lnTo>
                  <a:lnTo>
                    <a:pt x="1295" y="2531"/>
                  </a:lnTo>
                  <a:lnTo>
                    <a:pt x="1270" y="2519"/>
                  </a:lnTo>
                  <a:lnTo>
                    <a:pt x="1242" y="2506"/>
                  </a:lnTo>
                  <a:lnTo>
                    <a:pt x="1230" y="2499"/>
                  </a:lnTo>
                  <a:lnTo>
                    <a:pt x="1220" y="2493"/>
                  </a:lnTo>
                  <a:lnTo>
                    <a:pt x="1212" y="2484"/>
                  </a:lnTo>
                  <a:lnTo>
                    <a:pt x="1204" y="2477"/>
                  </a:lnTo>
                  <a:lnTo>
                    <a:pt x="1195" y="2469"/>
                  </a:lnTo>
                  <a:lnTo>
                    <a:pt x="1186" y="2464"/>
                  </a:lnTo>
                  <a:lnTo>
                    <a:pt x="1180" y="2462"/>
                  </a:lnTo>
                  <a:lnTo>
                    <a:pt x="1175" y="2459"/>
                  </a:lnTo>
                  <a:lnTo>
                    <a:pt x="1169" y="2458"/>
                  </a:lnTo>
                  <a:lnTo>
                    <a:pt x="1163" y="2458"/>
                  </a:lnTo>
                  <a:lnTo>
                    <a:pt x="1154" y="2458"/>
                  </a:lnTo>
                  <a:lnTo>
                    <a:pt x="1147" y="2461"/>
                  </a:lnTo>
                  <a:lnTo>
                    <a:pt x="1139" y="2462"/>
                  </a:lnTo>
                  <a:lnTo>
                    <a:pt x="1133" y="2464"/>
                  </a:lnTo>
                  <a:lnTo>
                    <a:pt x="1120" y="2470"/>
                  </a:lnTo>
                  <a:lnTo>
                    <a:pt x="1107" y="2477"/>
                  </a:lnTo>
                  <a:lnTo>
                    <a:pt x="1095" y="2483"/>
                  </a:lnTo>
                  <a:lnTo>
                    <a:pt x="1081" y="2490"/>
                  </a:lnTo>
                  <a:lnTo>
                    <a:pt x="1074" y="2492"/>
                  </a:lnTo>
                  <a:lnTo>
                    <a:pt x="1067" y="2493"/>
                  </a:lnTo>
                  <a:lnTo>
                    <a:pt x="1059" y="2494"/>
                  </a:lnTo>
                  <a:lnTo>
                    <a:pt x="1051" y="2495"/>
                  </a:lnTo>
                  <a:lnTo>
                    <a:pt x="1045" y="2494"/>
                  </a:lnTo>
                  <a:lnTo>
                    <a:pt x="1040" y="2494"/>
                  </a:lnTo>
                  <a:lnTo>
                    <a:pt x="1034" y="2492"/>
                  </a:lnTo>
                  <a:lnTo>
                    <a:pt x="1029" y="2490"/>
                  </a:lnTo>
                  <a:lnTo>
                    <a:pt x="1020" y="2484"/>
                  </a:lnTo>
                  <a:lnTo>
                    <a:pt x="1013" y="2477"/>
                  </a:lnTo>
                  <a:lnTo>
                    <a:pt x="1005" y="2469"/>
                  </a:lnTo>
                  <a:lnTo>
                    <a:pt x="997" y="2462"/>
                  </a:lnTo>
                  <a:lnTo>
                    <a:pt x="988" y="2454"/>
                  </a:lnTo>
                  <a:lnTo>
                    <a:pt x="978" y="2448"/>
                  </a:lnTo>
                  <a:lnTo>
                    <a:pt x="958" y="2439"/>
                  </a:lnTo>
                  <a:lnTo>
                    <a:pt x="937" y="2430"/>
                  </a:lnTo>
                  <a:lnTo>
                    <a:pt x="930" y="2426"/>
                  </a:lnTo>
                  <a:lnTo>
                    <a:pt x="922" y="2419"/>
                  </a:lnTo>
                  <a:lnTo>
                    <a:pt x="920" y="2416"/>
                  </a:lnTo>
                  <a:lnTo>
                    <a:pt x="918" y="2412"/>
                  </a:lnTo>
                  <a:lnTo>
                    <a:pt x="917" y="2408"/>
                  </a:lnTo>
                  <a:lnTo>
                    <a:pt x="917" y="2402"/>
                  </a:lnTo>
                  <a:lnTo>
                    <a:pt x="917" y="2384"/>
                  </a:lnTo>
                  <a:lnTo>
                    <a:pt x="919" y="2367"/>
                  </a:lnTo>
                  <a:lnTo>
                    <a:pt x="923" y="2350"/>
                  </a:lnTo>
                  <a:lnTo>
                    <a:pt x="931" y="2332"/>
                  </a:lnTo>
                  <a:lnTo>
                    <a:pt x="938" y="2320"/>
                  </a:lnTo>
                  <a:lnTo>
                    <a:pt x="946" y="2309"/>
                  </a:lnTo>
                  <a:lnTo>
                    <a:pt x="950" y="2304"/>
                  </a:lnTo>
                  <a:lnTo>
                    <a:pt x="952" y="2299"/>
                  </a:lnTo>
                  <a:lnTo>
                    <a:pt x="955" y="2292"/>
                  </a:lnTo>
                  <a:lnTo>
                    <a:pt x="956" y="2284"/>
                  </a:lnTo>
                  <a:lnTo>
                    <a:pt x="956" y="2281"/>
                  </a:lnTo>
                  <a:lnTo>
                    <a:pt x="955" y="2277"/>
                  </a:lnTo>
                  <a:lnTo>
                    <a:pt x="952" y="2275"/>
                  </a:lnTo>
                  <a:lnTo>
                    <a:pt x="950" y="2272"/>
                  </a:lnTo>
                  <a:lnTo>
                    <a:pt x="945" y="2268"/>
                  </a:lnTo>
                  <a:lnTo>
                    <a:pt x="938" y="2265"/>
                  </a:lnTo>
                  <a:lnTo>
                    <a:pt x="922" y="2261"/>
                  </a:lnTo>
                  <a:lnTo>
                    <a:pt x="905" y="2256"/>
                  </a:lnTo>
                  <a:lnTo>
                    <a:pt x="893" y="2251"/>
                  </a:lnTo>
                  <a:lnTo>
                    <a:pt x="883" y="2245"/>
                  </a:lnTo>
                  <a:lnTo>
                    <a:pt x="878" y="2241"/>
                  </a:lnTo>
                  <a:lnTo>
                    <a:pt x="872" y="2239"/>
                  </a:lnTo>
                  <a:lnTo>
                    <a:pt x="866" y="2238"/>
                  </a:lnTo>
                  <a:lnTo>
                    <a:pt x="859" y="2237"/>
                  </a:lnTo>
                  <a:lnTo>
                    <a:pt x="842" y="2237"/>
                  </a:lnTo>
                  <a:lnTo>
                    <a:pt x="827" y="2237"/>
                  </a:lnTo>
                  <a:lnTo>
                    <a:pt x="811" y="2237"/>
                  </a:lnTo>
                  <a:lnTo>
                    <a:pt x="794" y="2237"/>
                  </a:lnTo>
                  <a:lnTo>
                    <a:pt x="785" y="2238"/>
                  </a:lnTo>
                  <a:lnTo>
                    <a:pt x="777" y="2239"/>
                  </a:lnTo>
                  <a:lnTo>
                    <a:pt x="771" y="2241"/>
                  </a:lnTo>
                  <a:lnTo>
                    <a:pt x="763" y="2245"/>
                  </a:lnTo>
                  <a:lnTo>
                    <a:pt x="757" y="2247"/>
                  </a:lnTo>
                  <a:lnTo>
                    <a:pt x="749" y="2249"/>
                  </a:lnTo>
                  <a:lnTo>
                    <a:pt x="742" y="2251"/>
                  </a:lnTo>
                  <a:lnTo>
                    <a:pt x="733" y="2251"/>
                  </a:lnTo>
                  <a:lnTo>
                    <a:pt x="719" y="2251"/>
                  </a:lnTo>
                  <a:lnTo>
                    <a:pt x="706" y="2251"/>
                  </a:lnTo>
                  <a:lnTo>
                    <a:pt x="693" y="2251"/>
                  </a:lnTo>
                  <a:lnTo>
                    <a:pt x="679" y="2251"/>
                  </a:lnTo>
                  <a:lnTo>
                    <a:pt x="669" y="2252"/>
                  </a:lnTo>
                  <a:lnTo>
                    <a:pt x="662" y="2254"/>
                  </a:lnTo>
                  <a:lnTo>
                    <a:pt x="655" y="2257"/>
                  </a:lnTo>
                  <a:lnTo>
                    <a:pt x="649" y="2262"/>
                  </a:lnTo>
                  <a:lnTo>
                    <a:pt x="636" y="2273"/>
                  </a:lnTo>
                  <a:lnTo>
                    <a:pt x="622" y="2284"/>
                  </a:lnTo>
                  <a:lnTo>
                    <a:pt x="601" y="2300"/>
                  </a:lnTo>
                  <a:lnTo>
                    <a:pt x="584" y="2315"/>
                  </a:lnTo>
                  <a:lnTo>
                    <a:pt x="566" y="2330"/>
                  </a:lnTo>
                  <a:lnTo>
                    <a:pt x="546" y="2346"/>
                  </a:lnTo>
                  <a:lnTo>
                    <a:pt x="528" y="2361"/>
                  </a:lnTo>
                  <a:lnTo>
                    <a:pt x="510" y="2374"/>
                  </a:lnTo>
                  <a:lnTo>
                    <a:pt x="491" y="2384"/>
                  </a:lnTo>
                  <a:lnTo>
                    <a:pt x="474" y="2394"/>
                  </a:lnTo>
                  <a:lnTo>
                    <a:pt x="435" y="2409"/>
                  </a:lnTo>
                  <a:lnTo>
                    <a:pt x="392" y="2425"/>
                  </a:lnTo>
                  <a:lnTo>
                    <a:pt x="375" y="2431"/>
                  </a:lnTo>
                  <a:lnTo>
                    <a:pt x="358" y="2439"/>
                  </a:lnTo>
                  <a:lnTo>
                    <a:pt x="343" y="2448"/>
                  </a:lnTo>
                  <a:lnTo>
                    <a:pt x="329" y="2455"/>
                  </a:lnTo>
                  <a:lnTo>
                    <a:pt x="301" y="2471"/>
                  </a:lnTo>
                  <a:lnTo>
                    <a:pt x="275" y="2488"/>
                  </a:lnTo>
                  <a:lnTo>
                    <a:pt x="248" y="2503"/>
                  </a:lnTo>
                  <a:lnTo>
                    <a:pt x="220" y="2518"/>
                  </a:lnTo>
                  <a:lnTo>
                    <a:pt x="205" y="2524"/>
                  </a:lnTo>
                  <a:lnTo>
                    <a:pt x="189" y="2530"/>
                  </a:lnTo>
                  <a:lnTo>
                    <a:pt x="173" y="2535"/>
                  </a:lnTo>
                  <a:lnTo>
                    <a:pt x="154" y="2539"/>
                  </a:lnTo>
                  <a:lnTo>
                    <a:pt x="146" y="2543"/>
                  </a:lnTo>
                  <a:lnTo>
                    <a:pt x="137" y="2547"/>
                  </a:lnTo>
                  <a:lnTo>
                    <a:pt x="130" y="2551"/>
                  </a:lnTo>
                  <a:lnTo>
                    <a:pt x="124" y="2556"/>
                  </a:lnTo>
                  <a:lnTo>
                    <a:pt x="116" y="2560"/>
                  </a:lnTo>
                  <a:lnTo>
                    <a:pt x="110" y="2564"/>
                  </a:lnTo>
                  <a:lnTo>
                    <a:pt x="101" y="2566"/>
                  </a:lnTo>
                  <a:lnTo>
                    <a:pt x="93" y="2567"/>
                  </a:lnTo>
                  <a:lnTo>
                    <a:pt x="82" y="2567"/>
                  </a:lnTo>
                  <a:lnTo>
                    <a:pt x="72" y="2565"/>
                  </a:lnTo>
                  <a:lnTo>
                    <a:pt x="63" y="2562"/>
                  </a:lnTo>
                  <a:lnTo>
                    <a:pt x="55" y="2557"/>
                  </a:lnTo>
                  <a:lnTo>
                    <a:pt x="48" y="2551"/>
                  </a:lnTo>
                  <a:lnTo>
                    <a:pt x="42" y="2545"/>
                  </a:lnTo>
                  <a:lnTo>
                    <a:pt x="35" y="2537"/>
                  </a:lnTo>
                  <a:lnTo>
                    <a:pt x="31" y="2529"/>
                  </a:lnTo>
                  <a:lnTo>
                    <a:pt x="21" y="2510"/>
                  </a:lnTo>
                  <a:lnTo>
                    <a:pt x="14" y="2491"/>
                  </a:lnTo>
                  <a:lnTo>
                    <a:pt x="7" y="2469"/>
                  </a:lnTo>
                  <a:lnTo>
                    <a:pt x="0" y="2448"/>
                  </a:lnTo>
                  <a:lnTo>
                    <a:pt x="0" y="2448"/>
                  </a:lnTo>
                  <a:lnTo>
                    <a:pt x="11" y="2415"/>
                  </a:lnTo>
                  <a:lnTo>
                    <a:pt x="21" y="2387"/>
                  </a:lnTo>
                  <a:lnTo>
                    <a:pt x="31" y="2360"/>
                  </a:lnTo>
                  <a:lnTo>
                    <a:pt x="41" y="2334"/>
                  </a:lnTo>
                  <a:lnTo>
                    <a:pt x="48" y="2307"/>
                  </a:lnTo>
                  <a:lnTo>
                    <a:pt x="54" y="2280"/>
                  </a:lnTo>
                  <a:lnTo>
                    <a:pt x="56" y="2266"/>
                  </a:lnTo>
                  <a:lnTo>
                    <a:pt x="57" y="2250"/>
                  </a:lnTo>
                  <a:lnTo>
                    <a:pt x="58" y="2235"/>
                  </a:lnTo>
                  <a:lnTo>
                    <a:pt x="59" y="2218"/>
                  </a:lnTo>
                  <a:lnTo>
                    <a:pt x="58" y="2203"/>
                  </a:lnTo>
                  <a:lnTo>
                    <a:pt x="57" y="2189"/>
                  </a:lnTo>
                  <a:lnTo>
                    <a:pt x="54" y="2176"/>
                  </a:lnTo>
                  <a:lnTo>
                    <a:pt x="50" y="2165"/>
                  </a:lnTo>
                  <a:lnTo>
                    <a:pt x="42" y="2141"/>
                  </a:lnTo>
                  <a:lnTo>
                    <a:pt x="33" y="2119"/>
                  </a:lnTo>
                  <a:lnTo>
                    <a:pt x="23" y="2097"/>
                  </a:lnTo>
                  <a:lnTo>
                    <a:pt x="15" y="2074"/>
                  </a:lnTo>
                  <a:lnTo>
                    <a:pt x="12" y="2061"/>
                  </a:lnTo>
                  <a:lnTo>
                    <a:pt x="9" y="2049"/>
                  </a:lnTo>
                  <a:lnTo>
                    <a:pt x="7" y="2035"/>
                  </a:lnTo>
                  <a:lnTo>
                    <a:pt x="7" y="2021"/>
                  </a:lnTo>
                  <a:lnTo>
                    <a:pt x="7" y="1986"/>
                  </a:lnTo>
                  <a:lnTo>
                    <a:pt x="7" y="1956"/>
                  </a:lnTo>
                  <a:lnTo>
                    <a:pt x="7" y="1926"/>
                  </a:lnTo>
                  <a:lnTo>
                    <a:pt x="7" y="1891"/>
                  </a:lnTo>
                  <a:lnTo>
                    <a:pt x="7" y="1881"/>
                  </a:lnTo>
                  <a:lnTo>
                    <a:pt x="9" y="1871"/>
                  </a:lnTo>
                  <a:lnTo>
                    <a:pt x="12" y="1861"/>
                  </a:lnTo>
                  <a:lnTo>
                    <a:pt x="15" y="1852"/>
                  </a:lnTo>
                  <a:lnTo>
                    <a:pt x="23" y="1835"/>
                  </a:lnTo>
                  <a:lnTo>
                    <a:pt x="33" y="1819"/>
                  </a:lnTo>
                  <a:lnTo>
                    <a:pt x="42" y="1804"/>
                  </a:lnTo>
                  <a:lnTo>
                    <a:pt x="50" y="1787"/>
                  </a:lnTo>
                  <a:lnTo>
                    <a:pt x="54" y="1778"/>
                  </a:lnTo>
                  <a:lnTo>
                    <a:pt x="57" y="1768"/>
                  </a:lnTo>
                  <a:lnTo>
                    <a:pt x="58" y="1759"/>
                  </a:lnTo>
                  <a:lnTo>
                    <a:pt x="59" y="1748"/>
                  </a:lnTo>
                  <a:lnTo>
                    <a:pt x="59" y="1728"/>
                  </a:lnTo>
                  <a:lnTo>
                    <a:pt x="59" y="1712"/>
                  </a:lnTo>
                  <a:lnTo>
                    <a:pt x="59" y="1695"/>
                  </a:lnTo>
                  <a:lnTo>
                    <a:pt x="59" y="1675"/>
                  </a:lnTo>
                  <a:lnTo>
                    <a:pt x="59" y="1670"/>
                  </a:lnTo>
                  <a:lnTo>
                    <a:pt x="60" y="1665"/>
                  </a:lnTo>
                  <a:lnTo>
                    <a:pt x="61" y="1659"/>
                  </a:lnTo>
                  <a:lnTo>
                    <a:pt x="63" y="1654"/>
                  </a:lnTo>
                  <a:lnTo>
                    <a:pt x="69" y="1645"/>
                  </a:lnTo>
                  <a:lnTo>
                    <a:pt x="74" y="1635"/>
                  </a:lnTo>
                  <a:lnTo>
                    <a:pt x="80" y="1627"/>
                  </a:lnTo>
                  <a:lnTo>
                    <a:pt x="85" y="1617"/>
                  </a:lnTo>
                  <a:lnTo>
                    <a:pt x="86" y="1612"/>
                  </a:lnTo>
                  <a:lnTo>
                    <a:pt x="88" y="1606"/>
                  </a:lnTo>
                  <a:lnTo>
                    <a:pt x="89" y="1601"/>
                  </a:lnTo>
                  <a:lnTo>
                    <a:pt x="89" y="1595"/>
                  </a:lnTo>
                  <a:lnTo>
                    <a:pt x="89" y="1595"/>
                  </a:lnTo>
                  <a:lnTo>
                    <a:pt x="86" y="1585"/>
                  </a:lnTo>
                  <a:lnTo>
                    <a:pt x="83" y="1575"/>
                  </a:lnTo>
                  <a:lnTo>
                    <a:pt x="81" y="1565"/>
                  </a:lnTo>
                  <a:lnTo>
                    <a:pt x="80" y="1555"/>
                  </a:lnTo>
                  <a:lnTo>
                    <a:pt x="79" y="1536"/>
                  </a:lnTo>
                  <a:lnTo>
                    <a:pt x="79" y="1514"/>
                  </a:lnTo>
                  <a:lnTo>
                    <a:pt x="79" y="1494"/>
                  </a:lnTo>
                  <a:lnTo>
                    <a:pt x="81" y="1477"/>
                  </a:lnTo>
                  <a:lnTo>
                    <a:pt x="83" y="1459"/>
                  </a:lnTo>
                  <a:lnTo>
                    <a:pt x="85" y="1443"/>
                  </a:lnTo>
                  <a:lnTo>
                    <a:pt x="88" y="1427"/>
                  </a:lnTo>
                  <a:lnTo>
                    <a:pt x="90" y="1410"/>
                  </a:lnTo>
                  <a:lnTo>
                    <a:pt x="92" y="1392"/>
                  </a:lnTo>
                  <a:lnTo>
                    <a:pt x="93" y="1373"/>
                  </a:lnTo>
                  <a:lnTo>
                    <a:pt x="92" y="1358"/>
                  </a:lnTo>
                  <a:lnTo>
                    <a:pt x="88" y="1345"/>
                  </a:lnTo>
                  <a:lnTo>
                    <a:pt x="84" y="1333"/>
                  </a:lnTo>
                  <a:lnTo>
                    <a:pt x="80" y="1321"/>
                  </a:lnTo>
                  <a:lnTo>
                    <a:pt x="75" y="1310"/>
                  </a:lnTo>
                  <a:lnTo>
                    <a:pt x="71" y="1297"/>
                  </a:lnTo>
                  <a:lnTo>
                    <a:pt x="68" y="1284"/>
                  </a:lnTo>
                  <a:lnTo>
                    <a:pt x="67" y="1270"/>
                  </a:lnTo>
                  <a:lnTo>
                    <a:pt x="68" y="1264"/>
                  </a:lnTo>
                  <a:lnTo>
                    <a:pt x="69" y="1258"/>
                  </a:lnTo>
                  <a:lnTo>
                    <a:pt x="71" y="1253"/>
                  </a:lnTo>
                  <a:lnTo>
                    <a:pt x="73" y="1248"/>
                  </a:lnTo>
                  <a:lnTo>
                    <a:pt x="81" y="1239"/>
                  </a:lnTo>
                  <a:lnTo>
                    <a:pt x="88" y="1231"/>
                  </a:lnTo>
                  <a:lnTo>
                    <a:pt x="96" y="1223"/>
                  </a:lnTo>
                  <a:lnTo>
                    <a:pt x="102" y="1214"/>
                  </a:lnTo>
                  <a:lnTo>
                    <a:pt x="106" y="1209"/>
                  </a:lnTo>
                  <a:lnTo>
                    <a:pt x="108" y="1203"/>
                  </a:lnTo>
                  <a:lnTo>
                    <a:pt x="109" y="1198"/>
                  </a:lnTo>
                  <a:lnTo>
                    <a:pt x="109" y="1192"/>
                  </a:lnTo>
                  <a:lnTo>
                    <a:pt x="109" y="1186"/>
                  </a:lnTo>
                  <a:lnTo>
                    <a:pt x="108" y="1181"/>
                  </a:lnTo>
                  <a:lnTo>
                    <a:pt x="106" y="1176"/>
                  </a:lnTo>
                  <a:lnTo>
                    <a:pt x="103" y="1172"/>
                  </a:lnTo>
                  <a:lnTo>
                    <a:pt x="98" y="1163"/>
                  </a:lnTo>
                  <a:lnTo>
                    <a:pt x="93" y="1156"/>
                  </a:lnTo>
                  <a:lnTo>
                    <a:pt x="86" y="1148"/>
                  </a:lnTo>
                  <a:lnTo>
                    <a:pt x="81" y="1140"/>
                  </a:lnTo>
                  <a:lnTo>
                    <a:pt x="79" y="1135"/>
                  </a:lnTo>
                  <a:lnTo>
                    <a:pt x="77" y="1131"/>
                  </a:lnTo>
                  <a:lnTo>
                    <a:pt x="76" y="1126"/>
                  </a:lnTo>
                  <a:lnTo>
                    <a:pt x="75" y="1120"/>
                  </a:lnTo>
                  <a:lnTo>
                    <a:pt x="76" y="1114"/>
                  </a:lnTo>
                  <a:lnTo>
                    <a:pt x="77" y="1107"/>
                  </a:lnTo>
                  <a:lnTo>
                    <a:pt x="80" y="1101"/>
                  </a:lnTo>
                  <a:lnTo>
                    <a:pt x="82" y="1095"/>
                  </a:lnTo>
                  <a:lnTo>
                    <a:pt x="88" y="1086"/>
                  </a:lnTo>
                  <a:lnTo>
                    <a:pt x="97" y="1076"/>
                  </a:lnTo>
                  <a:lnTo>
                    <a:pt x="104" y="1066"/>
                  </a:lnTo>
                  <a:lnTo>
                    <a:pt x="111" y="1057"/>
                  </a:lnTo>
                  <a:lnTo>
                    <a:pt x="114" y="1051"/>
                  </a:lnTo>
                  <a:lnTo>
                    <a:pt x="115" y="1045"/>
                  </a:lnTo>
                  <a:lnTo>
                    <a:pt x="117" y="1039"/>
                  </a:lnTo>
                  <a:lnTo>
                    <a:pt x="117" y="1032"/>
                  </a:lnTo>
                  <a:lnTo>
                    <a:pt x="117" y="1027"/>
                  </a:lnTo>
                  <a:lnTo>
                    <a:pt x="115" y="1023"/>
                  </a:lnTo>
                  <a:lnTo>
                    <a:pt x="113" y="1020"/>
                  </a:lnTo>
                  <a:lnTo>
                    <a:pt x="110" y="1017"/>
                  </a:lnTo>
                  <a:lnTo>
                    <a:pt x="102" y="1011"/>
                  </a:lnTo>
                  <a:lnTo>
                    <a:pt x="94" y="1007"/>
                  </a:lnTo>
                  <a:lnTo>
                    <a:pt x="85" y="1003"/>
                  </a:lnTo>
                  <a:lnTo>
                    <a:pt x="77" y="997"/>
                  </a:lnTo>
                  <a:lnTo>
                    <a:pt x="74" y="994"/>
                  </a:lnTo>
                  <a:lnTo>
                    <a:pt x="72" y="991"/>
                  </a:lnTo>
                  <a:lnTo>
                    <a:pt x="70" y="986"/>
                  </a:lnTo>
                  <a:lnTo>
                    <a:pt x="70" y="982"/>
                  </a:lnTo>
                  <a:lnTo>
                    <a:pt x="71" y="969"/>
                  </a:lnTo>
                  <a:lnTo>
                    <a:pt x="73" y="957"/>
                  </a:lnTo>
                  <a:lnTo>
                    <a:pt x="77" y="947"/>
                  </a:lnTo>
                  <a:lnTo>
                    <a:pt x="83" y="938"/>
                  </a:lnTo>
                  <a:lnTo>
                    <a:pt x="88" y="928"/>
                  </a:lnTo>
                  <a:lnTo>
                    <a:pt x="94" y="917"/>
                  </a:lnTo>
                  <a:lnTo>
                    <a:pt x="99" y="906"/>
                  </a:lnTo>
                  <a:lnTo>
                    <a:pt x="103" y="895"/>
                  </a:lnTo>
                  <a:lnTo>
                    <a:pt x="108" y="882"/>
                  </a:lnTo>
                  <a:lnTo>
                    <a:pt x="110" y="870"/>
                  </a:lnTo>
                  <a:lnTo>
                    <a:pt x="112" y="858"/>
                  </a:lnTo>
                  <a:lnTo>
                    <a:pt x="113" y="847"/>
                  </a:lnTo>
                  <a:lnTo>
                    <a:pt x="114" y="835"/>
                  </a:lnTo>
                  <a:lnTo>
                    <a:pt x="116" y="824"/>
                  </a:lnTo>
                  <a:lnTo>
                    <a:pt x="120" y="812"/>
                  </a:lnTo>
                  <a:lnTo>
                    <a:pt x="123" y="799"/>
                  </a:lnTo>
                  <a:lnTo>
                    <a:pt x="131" y="778"/>
                  </a:lnTo>
                  <a:lnTo>
                    <a:pt x="141" y="761"/>
                  </a:lnTo>
                  <a:lnTo>
                    <a:pt x="151" y="742"/>
                  </a:lnTo>
                  <a:lnTo>
                    <a:pt x="160" y="721"/>
                  </a:lnTo>
                  <a:lnTo>
                    <a:pt x="170" y="688"/>
                  </a:lnTo>
                  <a:lnTo>
                    <a:pt x="179" y="659"/>
                  </a:lnTo>
                  <a:lnTo>
                    <a:pt x="188" y="630"/>
                  </a:lnTo>
                  <a:lnTo>
                    <a:pt x="198" y="598"/>
                  </a:lnTo>
                  <a:lnTo>
                    <a:pt x="204" y="586"/>
                  </a:lnTo>
                  <a:lnTo>
                    <a:pt x="209" y="575"/>
                  </a:lnTo>
                  <a:lnTo>
                    <a:pt x="216" y="565"/>
                  </a:lnTo>
                  <a:lnTo>
                    <a:pt x="222" y="555"/>
                  </a:lnTo>
                  <a:lnTo>
                    <a:pt x="229" y="547"/>
                  </a:lnTo>
                  <a:lnTo>
                    <a:pt x="237" y="539"/>
                  </a:lnTo>
                  <a:lnTo>
                    <a:pt x="247" y="532"/>
                  </a:lnTo>
                  <a:lnTo>
                    <a:pt x="258" y="525"/>
                  </a:lnTo>
                  <a:lnTo>
                    <a:pt x="275" y="518"/>
                  </a:lnTo>
                  <a:lnTo>
                    <a:pt x="292" y="511"/>
                  </a:lnTo>
                  <a:lnTo>
                    <a:pt x="300" y="508"/>
                  </a:lnTo>
                  <a:lnTo>
                    <a:pt x="305" y="502"/>
                  </a:lnTo>
                  <a:lnTo>
                    <a:pt x="308" y="500"/>
                  </a:lnTo>
                  <a:lnTo>
                    <a:pt x="310" y="497"/>
                  </a:lnTo>
                  <a:lnTo>
                    <a:pt x="311" y="493"/>
                  </a:lnTo>
                  <a:lnTo>
                    <a:pt x="311" y="488"/>
                  </a:lnTo>
                  <a:lnTo>
                    <a:pt x="310" y="481"/>
                  </a:lnTo>
                  <a:lnTo>
                    <a:pt x="309" y="475"/>
                  </a:lnTo>
                  <a:lnTo>
                    <a:pt x="305" y="469"/>
                  </a:lnTo>
                  <a:lnTo>
                    <a:pt x="302" y="464"/>
                  </a:lnTo>
                  <a:lnTo>
                    <a:pt x="299" y="458"/>
                  </a:lnTo>
                  <a:lnTo>
                    <a:pt x="296" y="453"/>
                  </a:lnTo>
                  <a:lnTo>
                    <a:pt x="294" y="446"/>
                  </a:lnTo>
                  <a:lnTo>
                    <a:pt x="292" y="440"/>
                  </a:lnTo>
                  <a:lnTo>
                    <a:pt x="292" y="440"/>
                  </a:lnTo>
                  <a:lnTo>
                    <a:pt x="314" y="457"/>
                  </a:lnTo>
                  <a:lnTo>
                    <a:pt x="333" y="477"/>
                  </a:lnTo>
                  <a:lnTo>
                    <a:pt x="343" y="485"/>
                  </a:lnTo>
                  <a:lnTo>
                    <a:pt x="353" y="494"/>
                  </a:lnTo>
                  <a:lnTo>
                    <a:pt x="364" y="502"/>
                  </a:lnTo>
                  <a:lnTo>
                    <a:pt x="376" y="511"/>
                  </a:lnTo>
                  <a:lnTo>
                    <a:pt x="394" y="521"/>
                  </a:lnTo>
                  <a:lnTo>
                    <a:pt x="411" y="529"/>
                  </a:lnTo>
                  <a:lnTo>
                    <a:pt x="429" y="535"/>
                  </a:lnTo>
                  <a:lnTo>
                    <a:pt x="445" y="539"/>
                  </a:lnTo>
                  <a:lnTo>
                    <a:pt x="479" y="548"/>
                  </a:lnTo>
                  <a:lnTo>
                    <a:pt x="518" y="559"/>
                  </a:lnTo>
                  <a:lnTo>
                    <a:pt x="535" y="565"/>
                  </a:lnTo>
                  <a:lnTo>
                    <a:pt x="549" y="574"/>
                  </a:lnTo>
                  <a:lnTo>
                    <a:pt x="564" y="583"/>
                  </a:lnTo>
                  <a:lnTo>
                    <a:pt x="576" y="594"/>
                  </a:lnTo>
                  <a:lnTo>
                    <a:pt x="599" y="617"/>
                  </a:lnTo>
                  <a:lnTo>
                    <a:pt x="621" y="642"/>
                  </a:lnTo>
                  <a:lnTo>
                    <a:pt x="630" y="654"/>
                  </a:lnTo>
                  <a:lnTo>
                    <a:pt x="641" y="664"/>
                  </a:lnTo>
                  <a:lnTo>
                    <a:pt x="653" y="674"/>
                  </a:lnTo>
                  <a:lnTo>
                    <a:pt x="665" y="683"/>
                  </a:lnTo>
                  <a:lnTo>
                    <a:pt x="678" y="690"/>
                  </a:lnTo>
                  <a:lnTo>
                    <a:pt x="692" y="697"/>
                  </a:lnTo>
                  <a:lnTo>
                    <a:pt x="701" y="699"/>
                  </a:lnTo>
                  <a:lnTo>
                    <a:pt x="708" y="700"/>
                  </a:lnTo>
                  <a:lnTo>
                    <a:pt x="717" y="701"/>
                  </a:lnTo>
                  <a:lnTo>
                    <a:pt x="726" y="701"/>
                  </a:lnTo>
                  <a:lnTo>
                    <a:pt x="737" y="700"/>
                  </a:lnTo>
                  <a:lnTo>
                    <a:pt x="748" y="698"/>
                  </a:lnTo>
                  <a:lnTo>
                    <a:pt x="758" y="695"/>
                  </a:lnTo>
                  <a:lnTo>
                    <a:pt x="768" y="689"/>
                  </a:lnTo>
                  <a:lnTo>
                    <a:pt x="786" y="680"/>
                  </a:lnTo>
                  <a:lnTo>
                    <a:pt x="807" y="671"/>
                  </a:lnTo>
                  <a:lnTo>
                    <a:pt x="843" y="659"/>
                  </a:lnTo>
                  <a:lnTo>
                    <a:pt x="875" y="648"/>
                  </a:lnTo>
                  <a:lnTo>
                    <a:pt x="890" y="643"/>
                  </a:lnTo>
                  <a:lnTo>
                    <a:pt x="906" y="636"/>
                  </a:lnTo>
                  <a:lnTo>
                    <a:pt x="923" y="629"/>
                  </a:lnTo>
                  <a:lnTo>
                    <a:pt x="942" y="620"/>
                  </a:lnTo>
                  <a:lnTo>
                    <a:pt x="952" y="616"/>
                  </a:lnTo>
                  <a:lnTo>
                    <a:pt x="961" y="610"/>
                  </a:lnTo>
                  <a:lnTo>
                    <a:pt x="969" y="604"/>
                  </a:lnTo>
                  <a:lnTo>
                    <a:pt x="976" y="598"/>
                  </a:lnTo>
                  <a:lnTo>
                    <a:pt x="989" y="583"/>
                  </a:lnTo>
                  <a:lnTo>
                    <a:pt x="1006" y="569"/>
                  </a:lnTo>
                  <a:lnTo>
                    <a:pt x="1031" y="550"/>
                  </a:lnTo>
                  <a:lnTo>
                    <a:pt x="1055" y="529"/>
                  </a:lnTo>
                  <a:lnTo>
                    <a:pt x="1066" y="520"/>
                  </a:lnTo>
                  <a:lnTo>
                    <a:pt x="1077" y="509"/>
                  </a:lnTo>
                  <a:lnTo>
                    <a:pt x="1085" y="498"/>
                  </a:lnTo>
                  <a:lnTo>
                    <a:pt x="1094" y="487"/>
                  </a:lnTo>
                  <a:lnTo>
                    <a:pt x="1102" y="475"/>
                  </a:lnTo>
                  <a:lnTo>
                    <a:pt x="1109" y="464"/>
                  </a:lnTo>
                  <a:lnTo>
                    <a:pt x="1115" y="451"/>
                  </a:lnTo>
                  <a:lnTo>
                    <a:pt x="1120" y="438"/>
                  </a:lnTo>
                  <a:lnTo>
                    <a:pt x="1124" y="424"/>
                  </a:lnTo>
                  <a:lnTo>
                    <a:pt x="1127" y="410"/>
                  </a:lnTo>
                  <a:lnTo>
                    <a:pt x="1128" y="393"/>
                  </a:lnTo>
                  <a:lnTo>
                    <a:pt x="1129" y="377"/>
                  </a:lnTo>
                  <a:lnTo>
                    <a:pt x="1128" y="366"/>
                  </a:lnTo>
                  <a:lnTo>
                    <a:pt x="1126" y="356"/>
                  </a:lnTo>
                  <a:lnTo>
                    <a:pt x="1123" y="346"/>
                  </a:lnTo>
                  <a:lnTo>
                    <a:pt x="1120" y="337"/>
                  </a:lnTo>
                  <a:lnTo>
                    <a:pt x="1109" y="320"/>
                  </a:lnTo>
                  <a:lnTo>
                    <a:pt x="1097" y="304"/>
                  </a:lnTo>
                  <a:lnTo>
                    <a:pt x="1085" y="288"/>
                  </a:lnTo>
                  <a:lnTo>
                    <a:pt x="1075" y="270"/>
                  </a:lnTo>
                  <a:lnTo>
                    <a:pt x="1071" y="261"/>
                  </a:lnTo>
                  <a:lnTo>
                    <a:pt x="1068" y="251"/>
                  </a:lnTo>
                  <a:lnTo>
                    <a:pt x="1066" y="240"/>
                  </a:lnTo>
                  <a:lnTo>
                    <a:pt x="1065" y="229"/>
                  </a:lnTo>
                  <a:lnTo>
                    <a:pt x="1065" y="212"/>
                  </a:lnTo>
                  <a:lnTo>
                    <a:pt x="1064" y="196"/>
                  </a:lnTo>
                  <a:lnTo>
                    <a:pt x="1065" y="188"/>
                  </a:lnTo>
                  <a:lnTo>
                    <a:pt x="1067" y="182"/>
                  </a:lnTo>
                  <a:lnTo>
                    <a:pt x="1070" y="175"/>
                  </a:lnTo>
                  <a:lnTo>
                    <a:pt x="1077" y="169"/>
                  </a:lnTo>
                  <a:lnTo>
                    <a:pt x="1081" y="166"/>
                  </a:lnTo>
                  <a:lnTo>
                    <a:pt x="1086" y="163"/>
                  </a:lnTo>
                  <a:lnTo>
                    <a:pt x="1092" y="162"/>
                  </a:lnTo>
                  <a:lnTo>
                    <a:pt x="1097" y="162"/>
                  </a:lnTo>
                  <a:lnTo>
                    <a:pt x="1109" y="162"/>
                  </a:lnTo>
                  <a:lnTo>
                    <a:pt x="1121" y="160"/>
                  </a:lnTo>
                  <a:lnTo>
                    <a:pt x="1155" y="150"/>
                  </a:lnTo>
                  <a:lnTo>
                    <a:pt x="1187" y="142"/>
                  </a:lnTo>
                  <a:lnTo>
                    <a:pt x="1202" y="137"/>
                  </a:lnTo>
                  <a:lnTo>
                    <a:pt x="1217" y="135"/>
                  </a:lnTo>
                  <a:lnTo>
                    <a:pt x="1234" y="133"/>
                  </a:lnTo>
                  <a:lnTo>
                    <a:pt x="1253" y="132"/>
                  </a:lnTo>
                  <a:lnTo>
                    <a:pt x="1258" y="133"/>
                  </a:lnTo>
                  <a:lnTo>
                    <a:pt x="1262" y="134"/>
                  </a:lnTo>
                  <a:lnTo>
                    <a:pt x="1267" y="135"/>
                  </a:lnTo>
                  <a:lnTo>
                    <a:pt x="1271" y="137"/>
                  </a:lnTo>
                  <a:lnTo>
                    <a:pt x="1279" y="143"/>
                  </a:lnTo>
                  <a:lnTo>
                    <a:pt x="1285" y="150"/>
                  </a:lnTo>
                  <a:lnTo>
                    <a:pt x="1290" y="158"/>
                  </a:lnTo>
                  <a:lnTo>
                    <a:pt x="1297" y="166"/>
                  </a:lnTo>
                  <a:lnTo>
                    <a:pt x="1303" y="173"/>
                  </a:lnTo>
                  <a:lnTo>
                    <a:pt x="1312" y="180"/>
                  </a:lnTo>
                  <a:lnTo>
                    <a:pt x="1322" y="187"/>
                  </a:lnTo>
                  <a:lnTo>
                    <a:pt x="1331" y="193"/>
                  </a:lnTo>
                  <a:lnTo>
                    <a:pt x="1342" y="197"/>
                  </a:lnTo>
                  <a:lnTo>
                    <a:pt x="1352" y="201"/>
                  </a:lnTo>
                  <a:lnTo>
                    <a:pt x="1372" y="208"/>
                  </a:lnTo>
                  <a:lnTo>
                    <a:pt x="1395" y="216"/>
                  </a:lnTo>
                  <a:lnTo>
                    <a:pt x="1414" y="224"/>
                  </a:lnTo>
                  <a:lnTo>
                    <a:pt x="1431" y="230"/>
                  </a:lnTo>
                  <a:lnTo>
                    <a:pt x="1448" y="236"/>
                  </a:lnTo>
                  <a:lnTo>
                    <a:pt x="1464" y="240"/>
                  </a:lnTo>
                  <a:lnTo>
                    <a:pt x="1481" y="243"/>
                  </a:lnTo>
                  <a:lnTo>
                    <a:pt x="1498" y="245"/>
                  </a:lnTo>
                  <a:lnTo>
                    <a:pt x="1516" y="247"/>
                  </a:lnTo>
                  <a:lnTo>
                    <a:pt x="1536" y="248"/>
                  </a:lnTo>
                  <a:lnTo>
                    <a:pt x="1542" y="247"/>
                  </a:lnTo>
                  <a:lnTo>
                    <a:pt x="1549" y="247"/>
                  </a:lnTo>
                  <a:lnTo>
                    <a:pt x="1554" y="244"/>
                  </a:lnTo>
                  <a:lnTo>
                    <a:pt x="1559" y="242"/>
                  </a:lnTo>
                  <a:lnTo>
                    <a:pt x="1569" y="238"/>
                  </a:lnTo>
                  <a:lnTo>
                    <a:pt x="1578" y="231"/>
                  </a:lnTo>
                  <a:lnTo>
                    <a:pt x="1587" y="226"/>
                  </a:lnTo>
                  <a:lnTo>
                    <a:pt x="1597" y="222"/>
                  </a:lnTo>
                  <a:lnTo>
                    <a:pt x="1603" y="220"/>
                  </a:lnTo>
                  <a:lnTo>
                    <a:pt x="1608" y="217"/>
                  </a:lnTo>
                  <a:lnTo>
                    <a:pt x="1614" y="217"/>
                  </a:lnTo>
                  <a:lnTo>
                    <a:pt x="1621" y="216"/>
                  </a:lnTo>
                  <a:lnTo>
                    <a:pt x="1657" y="216"/>
                  </a:lnTo>
                  <a:lnTo>
                    <a:pt x="1689" y="216"/>
                  </a:lnTo>
                  <a:lnTo>
                    <a:pt x="1720" y="216"/>
                  </a:lnTo>
                  <a:lnTo>
                    <a:pt x="1757" y="216"/>
                  </a:lnTo>
                  <a:lnTo>
                    <a:pt x="1766" y="216"/>
                  </a:lnTo>
                  <a:lnTo>
                    <a:pt x="1773" y="214"/>
                  </a:lnTo>
                  <a:lnTo>
                    <a:pt x="1781" y="212"/>
                  </a:lnTo>
                  <a:lnTo>
                    <a:pt x="1787" y="209"/>
                  </a:lnTo>
                  <a:lnTo>
                    <a:pt x="1794" y="205"/>
                  </a:lnTo>
                  <a:lnTo>
                    <a:pt x="1799" y="201"/>
                  </a:lnTo>
                  <a:lnTo>
                    <a:pt x="1806" y="196"/>
                  </a:lnTo>
                  <a:lnTo>
                    <a:pt x="1810" y="190"/>
                  </a:lnTo>
                  <a:lnTo>
                    <a:pt x="1829" y="164"/>
                  </a:lnTo>
                  <a:lnTo>
                    <a:pt x="1850" y="135"/>
                  </a:lnTo>
                  <a:lnTo>
                    <a:pt x="1876" y="135"/>
                  </a:lnTo>
                  <a:lnTo>
                    <a:pt x="1898" y="135"/>
                  </a:lnTo>
                  <a:lnTo>
                    <a:pt x="1921" y="135"/>
                  </a:lnTo>
                  <a:lnTo>
                    <a:pt x="1947" y="135"/>
                  </a:lnTo>
                  <a:lnTo>
                    <a:pt x="1970" y="135"/>
                  </a:lnTo>
                  <a:lnTo>
                    <a:pt x="1990" y="135"/>
                  </a:lnTo>
                  <a:lnTo>
                    <a:pt x="2000" y="133"/>
                  </a:lnTo>
                  <a:lnTo>
                    <a:pt x="2010" y="131"/>
                  </a:lnTo>
                  <a:lnTo>
                    <a:pt x="2019" y="127"/>
                  </a:lnTo>
                  <a:lnTo>
                    <a:pt x="2029" y="121"/>
                  </a:lnTo>
                  <a:lnTo>
                    <a:pt x="2038" y="114"/>
                  </a:lnTo>
                  <a:lnTo>
                    <a:pt x="2045" y="105"/>
                  </a:lnTo>
                  <a:lnTo>
                    <a:pt x="2051" y="96"/>
                  </a:lnTo>
                  <a:lnTo>
                    <a:pt x="2056" y="87"/>
                  </a:lnTo>
                  <a:lnTo>
                    <a:pt x="2061" y="77"/>
                  </a:lnTo>
                  <a:lnTo>
                    <a:pt x="2066" y="67"/>
                  </a:lnTo>
                  <a:lnTo>
                    <a:pt x="2072" y="58"/>
                  </a:lnTo>
                  <a:lnTo>
                    <a:pt x="2080" y="49"/>
                  </a:lnTo>
                  <a:lnTo>
                    <a:pt x="2090" y="38"/>
                  </a:lnTo>
                  <a:lnTo>
                    <a:pt x="2100" y="31"/>
                  </a:lnTo>
                  <a:lnTo>
                    <a:pt x="2110" y="24"/>
                  </a:lnTo>
                  <a:lnTo>
                    <a:pt x="2122" y="19"/>
                  </a:lnTo>
                  <a:lnTo>
                    <a:pt x="2145" y="9"/>
                  </a:lnTo>
                  <a:lnTo>
                    <a:pt x="2172" y="0"/>
                  </a:lnTo>
                  <a:lnTo>
                    <a:pt x="2172" y="0"/>
                  </a:lnTo>
                  <a:lnTo>
                    <a:pt x="2185" y="12"/>
                  </a:lnTo>
                  <a:lnTo>
                    <a:pt x="2198" y="23"/>
                  </a:lnTo>
                  <a:lnTo>
                    <a:pt x="2211" y="32"/>
                  </a:lnTo>
                  <a:lnTo>
                    <a:pt x="2223" y="39"/>
                  </a:lnTo>
                  <a:lnTo>
                    <a:pt x="2235" y="47"/>
                  </a:lnTo>
                  <a:lnTo>
                    <a:pt x="2248" y="54"/>
                  </a:lnTo>
                  <a:lnTo>
                    <a:pt x="2261" y="63"/>
                  </a:lnTo>
                  <a:lnTo>
                    <a:pt x="2275" y="74"/>
                  </a:lnTo>
                  <a:lnTo>
                    <a:pt x="2286" y="83"/>
                  </a:lnTo>
                  <a:lnTo>
                    <a:pt x="2295" y="93"/>
                  </a:lnTo>
                  <a:lnTo>
                    <a:pt x="2301" y="104"/>
                  </a:lnTo>
                  <a:lnTo>
                    <a:pt x="2306" y="116"/>
                  </a:lnTo>
                  <a:lnTo>
                    <a:pt x="2309" y="128"/>
                  </a:lnTo>
                  <a:lnTo>
                    <a:pt x="2311" y="141"/>
                  </a:lnTo>
                  <a:lnTo>
                    <a:pt x="2312" y="155"/>
                  </a:lnTo>
                  <a:lnTo>
                    <a:pt x="2312" y="169"/>
                  </a:lnTo>
                  <a:lnTo>
                    <a:pt x="2312" y="174"/>
                  </a:lnTo>
                  <a:lnTo>
                    <a:pt x="2310" y="178"/>
                  </a:lnTo>
                  <a:lnTo>
                    <a:pt x="2308" y="183"/>
                  </a:lnTo>
                  <a:lnTo>
                    <a:pt x="2306" y="186"/>
                  </a:lnTo>
                  <a:lnTo>
                    <a:pt x="2300" y="194"/>
                  </a:lnTo>
                  <a:lnTo>
                    <a:pt x="2295" y="202"/>
                  </a:lnTo>
                  <a:lnTo>
                    <a:pt x="2306" y="212"/>
                  </a:lnTo>
                  <a:lnTo>
                    <a:pt x="2315" y="222"/>
                  </a:lnTo>
                  <a:lnTo>
                    <a:pt x="2323" y="232"/>
                  </a:lnTo>
                  <a:lnTo>
                    <a:pt x="2329" y="244"/>
                  </a:lnTo>
                  <a:lnTo>
                    <a:pt x="2340" y="269"/>
                  </a:lnTo>
                  <a:lnTo>
                    <a:pt x="2351" y="295"/>
                  </a:lnTo>
                  <a:lnTo>
                    <a:pt x="2356" y="306"/>
                  </a:lnTo>
                  <a:lnTo>
                    <a:pt x="2364" y="317"/>
                  </a:lnTo>
                  <a:lnTo>
                    <a:pt x="2370" y="328"/>
                  </a:lnTo>
                  <a:lnTo>
                    <a:pt x="2377" y="337"/>
                  </a:lnTo>
                  <a:lnTo>
                    <a:pt x="2392" y="344"/>
                  </a:lnTo>
                  <a:lnTo>
                    <a:pt x="2406" y="349"/>
                  </a:lnTo>
                  <a:lnTo>
                    <a:pt x="2414" y="351"/>
                  </a:lnTo>
                  <a:lnTo>
                    <a:pt x="2421" y="352"/>
                  </a:lnTo>
                  <a:lnTo>
                    <a:pt x="2430" y="353"/>
                  </a:lnTo>
                  <a:lnTo>
                    <a:pt x="2439" y="353"/>
                  </a:lnTo>
                  <a:lnTo>
                    <a:pt x="2448" y="353"/>
                  </a:lnTo>
                  <a:lnTo>
                    <a:pt x="2456" y="351"/>
                  </a:lnTo>
                  <a:lnTo>
                    <a:pt x="2464" y="347"/>
                  </a:lnTo>
                  <a:lnTo>
                    <a:pt x="2471" y="343"/>
                  </a:lnTo>
                  <a:lnTo>
                    <a:pt x="2476" y="336"/>
                  </a:lnTo>
                  <a:lnTo>
                    <a:pt x="2482" y="330"/>
                  </a:lnTo>
                  <a:lnTo>
                    <a:pt x="2487" y="322"/>
                  </a:lnTo>
                  <a:lnTo>
                    <a:pt x="2490" y="313"/>
                  </a:lnTo>
                  <a:lnTo>
                    <a:pt x="2494" y="305"/>
                  </a:lnTo>
                  <a:lnTo>
                    <a:pt x="2497" y="295"/>
                  </a:lnTo>
                  <a:lnTo>
                    <a:pt x="2499" y="284"/>
                  </a:lnTo>
                  <a:lnTo>
                    <a:pt x="2500" y="275"/>
                  </a:lnTo>
                  <a:lnTo>
                    <a:pt x="2502" y="254"/>
                  </a:lnTo>
                  <a:lnTo>
                    <a:pt x="2502" y="234"/>
                  </a:lnTo>
                  <a:lnTo>
                    <a:pt x="2511" y="229"/>
                  </a:lnTo>
                  <a:lnTo>
                    <a:pt x="2520" y="225"/>
                  </a:lnTo>
                  <a:lnTo>
                    <a:pt x="2528" y="232"/>
                  </a:lnTo>
                  <a:lnTo>
                    <a:pt x="2536" y="239"/>
                  </a:lnTo>
                  <a:lnTo>
                    <a:pt x="2544" y="243"/>
                  </a:lnTo>
                  <a:lnTo>
                    <a:pt x="2553" y="248"/>
                  </a:lnTo>
                  <a:lnTo>
                    <a:pt x="2562" y="250"/>
                  </a:lnTo>
                  <a:lnTo>
                    <a:pt x="2571" y="252"/>
                  </a:lnTo>
                  <a:lnTo>
                    <a:pt x="2581" y="253"/>
                  </a:lnTo>
                  <a:lnTo>
                    <a:pt x="2592" y="253"/>
                  </a:lnTo>
                  <a:lnTo>
                    <a:pt x="2599" y="253"/>
                  </a:lnTo>
                  <a:lnTo>
                    <a:pt x="2606" y="252"/>
                  </a:lnTo>
                  <a:lnTo>
                    <a:pt x="2611" y="251"/>
                  </a:lnTo>
                  <a:lnTo>
                    <a:pt x="2617" y="249"/>
                  </a:lnTo>
                  <a:lnTo>
                    <a:pt x="2628" y="243"/>
                  </a:lnTo>
                  <a:lnTo>
                    <a:pt x="2637" y="237"/>
                  </a:lnTo>
                  <a:lnTo>
                    <a:pt x="2655" y="221"/>
                  </a:lnTo>
                  <a:lnTo>
                    <a:pt x="2674" y="202"/>
                  </a:lnTo>
                  <a:lnTo>
                    <a:pt x="2701" y="180"/>
                  </a:lnTo>
                  <a:lnTo>
                    <a:pt x="2725" y="160"/>
                  </a:lnTo>
                  <a:lnTo>
                    <a:pt x="2749" y="140"/>
                  </a:lnTo>
                  <a:lnTo>
                    <a:pt x="2774" y="116"/>
                  </a:lnTo>
                  <a:lnTo>
                    <a:pt x="2790" y="101"/>
                  </a:lnTo>
                  <a:lnTo>
                    <a:pt x="2804" y="87"/>
                  </a:lnTo>
                  <a:lnTo>
                    <a:pt x="2818" y="73"/>
                  </a:lnTo>
                  <a:lnTo>
                    <a:pt x="2832" y="61"/>
                  </a:lnTo>
                  <a:lnTo>
                    <a:pt x="2839" y="56"/>
                  </a:lnTo>
                  <a:lnTo>
                    <a:pt x="2847" y="51"/>
                  </a:lnTo>
                  <a:lnTo>
                    <a:pt x="2855" y="47"/>
                  </a:lnTo>
                  <a:lnTo>
                    <a:pt x="2863" y="43"/>
                  </a:lnTo>
                  <a:lnTo>
                    <a:pt x="2873" y="41"/>
                  </a:lnTo>
                  <a:lnTo>
                    <a:pt x="2881" y="39"/>
                  </a:lnTo>
                  <a:lnTo>
                    <a:pt x="2891" y="38"/>
                  </a:lnTo>
                  <a:lnTo>
                    <a:pt x="2902" y="37"/>
                  </a:lnTo>
                  <a:lnTo>
                    <a:pt x="2913" y="38"/>
                  </a:lnTo>
                  <a:lnTo>
                    <a:pt x="2923" y="39"/>
                  </a:lnTo>
                  <a:lnTo>
                    <a:pt x="2932" y="42"/>
                  </a:lnTo>
                  <a:lnTo>
                    <a:pt x="2941" y="46"/>
                  </a:lnTo>
                  <a:lnTo>
                    <a:pt x="2958" y="55"/>
                  </a:lnTo>
                  <a:lnTo>
                    <a:pt x="2976" y="65"/>
                  </a:lnTo>
                  <a:lnTo>
                    <a:pt x="2997" y="75"/>
                  </a:lnTo>
                  <a:lnTo>
                    <a:pt x="3016" y="83"/>
                  </a:lnTo>
                  <a:lnTo>
                    <a:pt x="3035" y="89"/>
                  </a:lnTo>
                  <a:lnTo>
                    <a:pt x="3053" y="94"/>
                  </a:lnTo>
                  <a:lnTo>
                    <a:pt x="3091" y="103"/>
                  </a:lnTo>
                  <a:lnTo>
                    <a:pt x="3133" y="116"/>
                  </a:lnTo>
                  <a:lnTo>
                    <a:pt x="3368" y="304"/>
                  </a:lnTo>
                  <a:lnTo>
                    <a:pt x="3368" y="304"/>
                  </a:lnTo>
                  <a:lnTo>
                    <a:pt x="3367" y="317"/>
                  </a:lnTo>
                  <a:lnTo>
                    <a:pt x="3366" y="329"/>
                  </a:lnTo>
                  <a:lnTo>
                    <a:pt x="3365" y="342"/>
                  </a:lnTo>
                  <a:lnTo>
                    <a:pt x="3364" y="355"/>
                  </a:lnTo>
                  <a:lnTo>
                    <a:pt x="3365" y="365"/>
                  </a:lnTo>
                  <a:lnTo>
                    <a:pt x="3366" y="375"/>
                  </a:lnTo>
                  <a:lnTo>
                    <a:pt x="3367" y="384"/>
                  </a:lnTo>
                  <a:lnTo>
                    <a:pt x="3370" y="393"/>
                  </a:lnTo>
                  <a:lnTo>
                    <a:pt x="3373" y="402"/>
                  </a:lnTo>
                  <a:lnTo>
                    <a:pt x="3376" y="410"/>
                  </a:lnTo>
                  <a:lnTo>
                    <a:pt x="3379" y="418"/>
                  </a:lnTo>
                  <a:lnTo>
                    <a:pt x="3385" y="426"/>
                  </a:lnTo>
                  <a:lnTo>
                    <a:pt x="3389" y="433"/>
                  </a:lnTo>
                  <a:lnTo>
                    <a:pt x="3394" y="440"/>
                  </a:lnTo>
                  <a:lnTo>
                    <a:pt x="3401" y="446"/>
                  </a:lnTo>
                  <a:lnTo>
                    <a:pt x="3407" y="453"/>
                  </a:lnTo>
                  <a:lnTo>
                    <a:pt x="3421" y="465"/>
                  </a:lnTo>
                  <a:lnTo>
                    <a:pt x="3438" y="475"/>
                  </a:lnTo>
                  <a:lnTo>
                    <a:pt x="3438" y="475"/>
                  </a:lnTo>
                  <a:lnTo>
                    <a:pt x="3438" y="499"/>
                  </a:lnTo>
                  <a:lnTo>
                    <a:pt x="3439" y="521"/>
                  </a:lnTo>
                  <a:lnTo>
                    <a:pt x="3442" y="541"/>
                  </a:lnTo>
                  <a:lnTo>
                    <a:pt x="3444" y="561"/>
                  </a:lnTo>
                  <a:lnTo>
                    <a:pt x="3448" y="580"/>
                  </a:lnTo>
                  <a:lnTo>
                    <a:pt x="3452" y="601"/>
                  </a:lnTo>
                  <a:lnTo>
                    <a:pt x="3456" y="622"/>
                  </a:lnTo>
                  <a:lnTo>
                    <a:pt x="3461" y="645"/>
                  </a:lnTo>
                  <a:lnTo>
                    <a:pt x="3466" y="662"/>
                  </a:lnTo>
                  <a:lnTo>
                    <a:pt x="3472" y="677"/>
                  </a:lnTo>
                  <a:lnTo>
                    <a:pt x="3479" y="691"/>
                  </a:lnTo>
                  <a:lnTo>
                    <a:pt x="3485" y="706"/>
                  </a:lnTo>
                  <a:lnTo>
                    <a:pt x="3492" y="718"/>
                  </a:lnTo>
                  <a:lnTo>
                    <a:pt x="3498" y="733"/>
                  </a:lnTo>
                  <a:lnTo>
                    <a:pt x="3503" y="749"/>
                  </a:lnTo>
                  <a:lnTo>
                    <a:pt x="3506" y="766"/>
                  </a:lnTo>
                  <a:lnTo>
                    <a:pt x="3479" y="951"/>
                  </a:lnTo>
                  <a:lnTo>
                    <a:pt x="3451" y="954"/>
                  </a:lnTo>
                  <a:lnTo>
                    <a:pt x="3424" y="959"/>
                  </a:lnTo>
                  <a:lnTo>
                    <a:pt x="3410" y="961"/>
                  </a:lnTo>
                  <a:lnTo>
                    <a:pt x="3397" y="966"/>
                  </a:lnTo>
                  <a:lnTo>
                    <a:pt x="3385" y="969"/>
                  </a:lnTo>
                  <a:lnTo>
                    <a:pt x="3373" y="974"/>
                  </a:lnTo>
                  <a:lnTo>
                    <a:pt x="3362" y="980"/>
                  </a:lnTo>
                  <a:lnTo>
                    <a:pt x="3352" y="985"/>
                  </a:lnTo>
                  <a:lnTo>
                    <a:pt x="3344" y="993"/>
                  </a:lnTo>
                  <a:lnTo>
                    <a:pt x="3336" y="1001"/>
                  </a:lnTo>
                  <a:lnTo>
                    <a:pt x="3330" y="1010"/>
                  </a:lnTo>
                  <a:lnTo>
                    <a:pt x="3325" y="1021"/>
                  </a:lnTo>
                  <a:lnTo>
                    <a:pt x="3322" y="1032"/>
                  </a:lnTo>
                  <a:lnTo>
                    <a:pt x="3321" y="1045"/>
                  </a:lnTo>
                  <a:lnTo>
                    <a:pt x="3322" y="1055"/>
                  </a:lnTo>
                  <a:lnTo>
                    <a:pt x="3323" y="1066"/>
                  </a:lnTo>
                  <a:lnTo>
                    <a:pt x="3325" y="1076"/>
                  </a:lnTo>
                  <a:lnTo>
                    <a:pt x="3329" y="1086"/>
                  </a:lnTo>
                  <a:lnTo>
                    <a:pt x="3336" y="1103"/>
                  </a:lnTo>
                  <a:lnTo>
                    <a:pt x="3346" y="1119"/>
                  </a:lnTo>
                  <a:lnTo>
                    <a:pt x="3354" y="1136"/>
                  </a:lnTo>
                  <a:lnTo>
                    <a:pt x="3363" y="1154"/>
                  </a:lnTo>
                  <a:lnTo>
                    <a:pt x="3366" y="1163"/>
                  </a:lnTo>
                  <a:lnTo>
                    <a:pt x="3368" y="1173"/>
                  </a:lnTo>
                  <a:lnTo>
                    <a:pt x="3371" y="1183"/>
                  </a:lnTo>
                  <a:lnTo>
                    <a:pt x="3372" y="1195"/>
                  </a:lnTo>
                  <a:lnTo>
                    <a:pt x="3373" y="1210"/>
                  </a:lnTo>
                  <a:lnTo>
                    <a:pt x="3374" y="1223"/>
                  </a:lnTo>
                  <a:lnTo>
                    <a:pt x="3375" y="1236"/>
                  </a:lnTo>
                  <a:lnTo>
                    <a:pt x="3378" y="1248"/>
                  </a:lnTo>
                  <a:lnTo>
                    <a:pt x="3381" y="1260"/>
                  </a:lnTo>
                  <a:lnTo>
                    <a:pt x="3386" y="1273"/>
                  </a:lnTo>
                  <a:lnTo>
                    <a:pt x="3390" y="1284"/>
                  </a:lnTo>
                  <a:lnTo>
                    <a:pt x="3397" y="1298"/>
                  </a:lnTo>
                  <a:lnTo>
                    <a:pt x="3403" y="1310"/>
                  </a:lnTo>
                  <a:lnTo>
                    <a:pt x="3411" y="1320"/>
                  </a:lnTo>
                  <a:lnTo>
                    <a:pt x="3416" y="1323"/>
                  </a:lnTo>
                  <a:lnTo>
                    <a:pt x="3420" y="1327"/>
                  </a:lnTo>
                  <a:lnTo>
                    <a:pt x="3427" y="1329"/>
                  </a:lnTo>
                  <a:lnTo>
                    <a:pt x="3433" y="1329"/>
                  </a:lnTo>
                  <a:lnTo>
                    <a:pt x="3444" y="1329"/>
                  </a:lnTo>
                  <a:lnTo>
                    <a:pt x="3453" y="1327"/>
                  </a:lnTo>
                  <a:lnTo>
                    <a:pt x="3461" y="1323"/>
                  </a:lnTo>
                  <a:lnTo>
                    <a:pt x="3470" y="1321"/>
                  </a:lnTo>
                  <a:lnTo>
                    <a:pt x="3479" y="1318"/>
                  </a:lnTo>
                  <a:lnTo>
                    <a:pt x="3487" y="1315"/>
                  </a:lnTo>
                  <a:lnTo>
                    <a:pt x="3496" y="1312"/>
                  </a:lnTo>
                  <a:lnTo>
                    <a:pt x="3507" y="1312"/>
                  </a:lnTo>
                  <a:lnTo>
                    <a:pt x="3540" y="1314"/>
                  </a:lnTo>
                  <a:lnTo>
                    <a:pt x="3568" y="1315"/>
                  </a:lnTo>
                  <a:lnTo>
                    <a:pt x="3596" y="1317"/>
                  </a:lnTo>
                  <a:lnTo>
                    <a:pt x="3630" y="1319"/>
                  </a:lnTo>
                  <a:lnTo>
                    <a:pt x="3630" y="1319"/>
                  </a:lnTo>
                  <a:close/>
                </a:path>
              </a:pathLst>
            </a:custGeom>
            <a:solidFill>
              <a:srgbClr val="56EFF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7">
              <a:extLst>
                <a:ext uri="{FF2B5EF4-FFF2-40B4-BE49-F238E27FC236}">
                  <a16:creationId xmlns:a16="http://schemas.microsoft.com/office/drawing/2014/main" id="{46401292-0185-40B3-A76F-355A2DF35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3163" y="2809876"/>
              <a:ext cx="292100" cy="338138"/>
            </a:xfrm>
            <a:custGeom>
              <a:avLst/>
              <a:gdLst>
                <a:gd name="T0" fmla="*/ 247 w 738"/>
                <a:gd name="T1" fmla="*/ 840 h 854"/>
                <a:gd name="T2" fmla="*/ 175 w 738"/>
                <a:gd name="T3" fmla="*/ 837 h 854"/>
                <a:gd name="T4" fmla="*/ 149 w 738"/>
                <a:gd name="T5" fmla="*/ 846 h 854"/>
                <a:gd name="T6" fmla="*/ 123 w 738"/>
                <a:gd name="T7" fmla="*/ 854 h 854"/>
                <a:gd name="T8" fmla="*/ 99 w 738"/>
                <a:gd name="T9" fmla="*/ 852 h 854"/>
                <a:gd name="T10" fmla="*/ 82 w 738"/>
                <a:gd name="T11" fmla="*/ 835 h 854"/>
                <a:gd name="T12" fmla="*/ 65 w 738"/>
                <a:gd name="T13" fmla="*/ 798 h 854"/>
                <a:gd name="T14" fmla="*/ 54 w 738"/>
                <a:gd name="T15" fmla="*/ 761 h 854"/>
                <a:gd name="T16" fmla="*/ 51 w 738"/>
                <a:gd name="T17" fmla="*/ 720 h 854"/>
                <a:gd name="T18" fmla="*/ 45 w 738"/>
                <a:gd name="T19" fmla="*/ 688 h 854"/>
                <a:gd name="T20" fmla="*/ 25 w 738"/>
                <a:gd name="T21" fmla="*/ 644 h 854"/>
                <a:gd name="T22" fmla="*/ 4 w 738"/>
                <a:gd name="T23" fmla="*/ 601 h 854"/>
                <a:gd name="T24" fmla="*/ 0 w 738"/>
                <a:gd name="T25" fmla="*/ 570 h 854"/>
                <a:gd name="T26" fmla="*/ 9 w 738"/>
                <a:gd name="T27" fmla="*/ 535 h 854"/>
                <a:gd name="T28" fmla="*/ 31 w 738"/>
                <a:gd name="T29" fmla="*/ 510 h 854"/>
                <a:gd name="T30" fmla="*/ 64 w 738"/>
                <a:gd name="T31" fmla="*/ 494 h 854"/>
                <a:gd name="T32" fmla="*/ 103 w 738"/>
                <a:gd name="T33" fmla="*/ 484 h 854"/>
                <a:gd name="T34" fmla="*/ 185 w 738"/>
                <a:gd name="T35" fmla="*/ 291 h 854"/>
                <a:gd name="T36" fmla="*/ 171 w 738"/>
                <a:gd name="T37" fmla="*/ 243 h 854"/>
                <a:gd name="T38" fmla="*/ 151 w 738"/>
                <a:gd name="T39" fmla="*/ 202 h 854"/>
                <a:gd name="T40" fmla="*/ 135 w 738"/>
                <a:gd name="T41" fmla="*/ 147 h 854"/>
                <a:gd name="T42" fmla="*/ 123 w 738"/>
                <a:gd name="T43" fmla="*/ 86 h 854"/>
                <a:gd name="T44" fmla="*/ 117 w 738"/>
                <a:gd name="T45" fmla="*/ 24 h 854"/>
                <a:gd name="T46" fmla="*/ 124 w 738"/>
                <a:gd name="T47" fmla="*/ 6 h 854"/>
                <a:gd name="T48" fmla="*/ 149 w 738"/>
                <a:gd name="T49" fmla="*/ 19 h 854"/>
                <a:gd name="T50" fmla="*/ 208 w 738"/>
                <a:gd name="T51" fmla="*/ 35 h 854"/>
                <a:gd name="T52" fmla="*/ 241 w 738"/>
                <a:gd name="T53" fmla="*/ 52 h 854"/>
                <a:gd name="T54" fmla="*/ 303 w 738"/>
                <a:gd name="T55" fmla="*/ 110 h 854"/>
                <a:gd name="T56" fmla="*/ 348 w 738"/>
                <a:gd name="T57" fmla="*/ 140 h 854"/>
                <a:gd name="T58" fmla="*/ 386 w 738"/>
                <a:gd name="T59" fmla="*/ 154 h 854"/>
                <a:gd name="T60" fmla="*/ 419 w 738"/>
                <a:gd name="T61" fmla="*/ 168 h 854"/>
                <a:gd name="T62" fmla="*/ 449 w 738"/>
                <a:gd name="T63" fmla="*/ 195 h 854"/>
                <a:gd name="T64" fmla="*/ 471 w 738"/>
                <a:gd name="T65" fmla="*/ 224 h 854"/>
                <a:gd name="T66" fmla="*/ 505 w 738"/>
                <a:gd name="T67" fmla="*/ 282 h 854"/>
                <a:gd name="T68" fmla="*/ 531 w 738"/>
                <a:gd name="T69" fmla="*/ 321 h 854"/>
                <a:gd name="T70" fmla="*/ 575 w 738"/>
                <a:gd name="T71" fmla="*/ 364 h 854"/>
                <a:gd name="T72" fmla="*/ 646 w 738"/>
                <a:gd name="T73" fmla="*/ 418 h 854"/>
                <a:gd name="T74" fmla="*/ 702 w 738"/>
                <a:gd name="T75" fmla="*/ 462 h 854"/>
                <a:gd name="T76" fmla="*/ 738 w 738"/>
                <a:gd name="T77" fmla="*/ 497 h 854"/>
                <a:gd name="T78" fmla="*/ 697 w 738"/>
                <a:gd name="T79" fmla="*/ 526 h 854"/>
                <a:gd name="T80" fmla="*/ 629 w 738"/>
                <a:gd name="T81" fmla="*/ 560 h 854"/>
                <a:gd name="T82" fmla="*/ 550 w 738"/>
                <a:gd name="T83" fmla="*/ 593 h 854"/>
                <a:gd name="T84" fmla="*/ 523 w 738"/>
                <a:gd name="T85" fmla="*/ 607 h 854"/>
                <a:gd name="T86" fmla="*/ 490 w 738"/>
                <a:gd name="T87" fmla="*/ 637 h 854"/>
                <a:gd name="T88" fmla="*/ 423 w 738"/>
                <a:gd name="T89" fmla="*/ 710 h 854"/>
                <a:gd name="T90" fmla="*/ 394 w 738"/>
                <a:gd name="T91" fmla="*/ 736 h 854"/>
                <a:gd name="T92" fmla="*/ 363 w 738"/>
                <a:gd name="T93" fmla="*/ 779 h 854"/>
                <a:gd name="T94" fmla="*/ 309 w 738"/>
                <a:gd name="T95" fmla="*/ 844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38" h="854">
                  <a:moveTo>
                    <a:pt x="309" y="844"/>
                  </a:moveTo>
                  <a:lnTo>
                    <a:pt x="275" y="842"/>
                  </a:lnTo>
                  <a:lnTo>
                    <a:pt x="247" y="840"/>
                  </a:lnTo>
                  <a:lnTo>
                    <a:pt x="219" y="839"/>
                  </a:lnTo>
                  <a:lnTo>
                    <a:pt x="186" y="837"/>
                  </a:lnTo>
                  <a:lnTo>
                    <a:pt x="175" y="837"/>
                  </a:lnTo>
                  <a:lnTo>
                    <a:pt x="166" y="840"/>
                  </a:lnTo>
                  <a:lnTo>
                    <a:pt x="158" y="843"/>
                  </a:lnTo>
                  <a:lnTo>
                    <a:pt x="149" y="846"/>
                  </a:lnTo>
                  <a:lnTo>
                    <a:pt x="140" y="848"/>
                  </a:lnTo>
                  <a:lnTo>
                    <a:pt x="132" y="852"/>
                  </a:lnTo>
                  <a:lnTo>
                    <a:pt x="123" y="854"/>
                  </a:lnTo>
                  <a:lnTo>
                    <a:pt x="112" y="854"/>
                  </a:lnTo>
                  <a:lnTo>
                    <a:pt x="106" y="854"/>
                  </a:lnTo>
                  <a:lnTo>
                    <a:pt x="99" y="852"/>
                  </a:lnTo>
                  <a:lnTo>
                    <a:pt x="95" y="848"/>
                  </a:lnTo>
                  <a:lnTo>
                    <a:pt x="90" y="845"/>
                  </a:lnTo>
                  <a:lnTo>
                    <a:pt x="82" y="835"/>
                  </a:lnTo>
                  <a:lnTo>
                    <a:pt x="76" y="823"/>
                  </a:lnTo>
                  <a:lnTo>
                    <a:pt x="69" y="809"/>
                  </a:lnTo>
                  <a:lnTo>
                    <a:pt x="65" y="798"/>
                  </a:lnTo>
                  <a:lnTo>
                    <a:pt x="60" y="785"/>
                  </a:lnTo>
                  <a:lnTo>
                    <a:pt x="57" y="773"/>
                  </a:lnTo>
                  <a:lnTo>
                    <a:pt x="54" y="761"/>
                  </a:lnTo>
                  <a:lnTo>
                    <a:pt x="53" y="748"/>
                  </a:lnTo>
                  <a:lnTo>
                    <a:pt x="52" y="735"/>
                  </a:lnTo>
                  <a:lnTo>
                    <a:pt x="51" y="720"/>
                  </a:lnTo>
                  <a:lnTo>
                    <a:pt x="50" y="708"/>
                  </a:lnTo>
                  <a:lnTo>
                    <a:pt x="47" y="698"/>
                  </a:lnTo>
                  <a:lnTo>
                    <a:pt x="45" y="688"/>
                  </a:lnTo>
                  <a:lnTo>
                    <a:pt x="42" y="679"/>
                  </a:lnTo>
                  <a:lnTo>
                    <a:pt x="33" y="661"/>
                  </a:lnTo>
                  <a:lnTo>
                    <a:pt x="25" y="644"/>
                  </a:lnTo>
                  <a:lnTo>
                    <a:pt x="15" y="628"/>
                  </a:lnTo>
                  <a:lnTo>
                    <a:pt x="8" y="611"/>
                  </a:lnTo>
                  <a:lnTo>
                    <a:pt x="4" y="601"/>
                  </a:lnTo>
                  <a:lnTo>
                    <a:pt x="2" y="591"/>
                  </a:lnTo>
                  <a:lnTo>
                    <a:pt x="1" y="580"/>
                  </a:lnTo>
                  <a:lnTo>
                    <a:pt x="0" y="570"/>
                  </a:lnTo>
                  <a:lnTo>
                    <a:pt x="1" y="557"/>
                  </a:lnTo>
                  <a:lnTo>
                    <a:pt x="4" y="546"/>
                  </a:lnTo>
                  <a:lnTo>
                    <a:pt x="9" y="535"/>
                  </a:lnTo>
                  <a:lnTo>
                    <a:pt x="15" y="526"/>
                  </a:lnTo>
                  <a:lnTo>
                    <a:pt x="23" y="518"/>
                  </a:lnTo>
                  <a:lnTo>
                    <a:pt x="31" y="510"/>
                  </a:lnTo>
                  <a:lnTo>
                    <a:pt x="41" y="505"/>
                  </a:lnTo>
                  <a:lnTo>
                    <a:pt x="52" y="499"/>
                  </a:lnTo>
                  <a:lnTo>
                    <a:pt x="64" y="494"/>
                  </a:lnTo>
                  <a:lnTo>
                    <a:pt x="76" y="491"/>
                  </a:lnTo>
                  <a:lnTo>
                    <a:pt x="89" y="486"/>
                  </a:lnTo>
                  <a:lnTo>
                    <a:pt x="103" y="484"/>
                  </a:lnTo>
                  <a:lnTo>
                    <a:pt x="130" y="479"/>
                  </a:lnTo>
                  <a:lnTo>
                    <a:pt x="158" y="476"/>
                  </a:lnTo>
                  <a:lnTo>
                    <a:pt x="185" y="291"/>
                  </a:lnTo>
                  <a:lnTo>
                    <a:pt x="182" y="274"/>
                  </a:lnTo>
                  <a:lnTo>
                    <a:pt x="177" y="258"/>
                  </a:lnTo>
                  <a:lnTo>
                    <a:pt x="171" y="243"/>
                  </a:lnTo>
                  <a:lnTo>
                    <a:pt x="164" y="231"/>
                  </a:lnTo>
                  <a:lnTo>
                    <a:pt x="158" y="216"/>
                  </a:lnTo>
                  <a:lnTo>
                    <a:pt x="151" y="202"/>
                  </a:lnTo>
                  <a:lnTo>
                    <a:pt x="145" y="187"/>
                  </a:lnTo>
                  <a:lnTo>
                    <a:pt x="140" y="170"/>
                  </a:lnTo>
                  <a:lnTo>
                    <a:pt x="135" y="147"/>
                  </a:lnTo>
                  <a:lnTo>
                    <a:pt x="131" y="126"/>
                  </a:lnTo>
                  <a:lnTo>
                    <a:pt x="127" y="105"/>
                  </a:lnTo>
                  <a:lnTo>
                    <a:pt x="123" y="86"/>
                  </a:lnTo>
                  <a:lnTo>
                    <a:pt x="121" y="66"/>
                  </a:lnTo>
                  <a:lnTo>
                    <a:pt x="118" y="46"/>
                  </a:lnTo>
                  <a:lnTo>
                    <a:pt x="117" y="24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24" y="6"/>
                  </a:lnTo>
                  <a:lnTo>
                    <a:pt x="132" y="10"/>
                  </a:lnTo>
                  <a:lnTo>
                    <a:pt x="140" y="15"/>
                  </a:lnTo>
                  <a:lnTo>
                    <a:pt x="149" y="19"/>
                  </a:lnTo>
                  <a:lnTo>
                    <a:pt x="174" y="26"/>
                  </a:lnTo>
                  <a:lnTo>
                    <a:pt x="198" y="32"/>
                  </a:lnTo>
                  <a:lnTo>
                    <a:pt x="208" y="35"/>
                  </a:lnTo>
                  <a:lnTo>
                    <a:pt x="219" y="39"/>
                  </a:lnTo>
                  <a:lnTo>
                    <a:pt x="230" y="45"/>
                  </a:lnTo>
                  <a:lnTo>
                    <a:pt x="241" y="52"/>
                  </a:lnTo>
                  <a:lnTo>
                    <a:pt x="268" y="77"/>
                  </a:lnTo>
                  <a:lnTo>
                    <a:pt x="292" y="100"/>
                  </a:lnTo>
                  <a:lnTo>
                    <a:pt x="303" y="110"/>
                  </a:lnTo>
                  <a:lnTo>
                    <a:pt x="316" y="120"/>
                  </a:lnTo>
                  <a:lnTo>
                    <a:pt x="332" y="130"/>
                  </a:lnTo>
                  <a:lnTo>
                    <a:pt x="348" y="140"/>
                  </a:lnTo>
                  <a:lnTo>
                    <a:pt x="361" y="145"/>
                  </a:lnTo>
                  <a:lnTo>
                    <a:pt x="374" y="151"/>
                  </a:lnTo>
                  <a:lnTo>
                    <a:pt x="386" y="154"/>
                  </a:lnTo>
                  <a:lnTo>
                    <a:pt x="397" y="158"/>
                  </a:lnTo>
                  <a:lnTo>
                    <a:pt x="408" y="162"/>
                  </a:lnTo>
                  <a:lnTo>
                    <a:pt x="419" y="168"/>
                  </a:lnTo>
                  <a:lnTo>
                    <a:pt x="430" y="175"/>
                  </a:lnTo>
                  <a:lnTo>
                    <a:pt x="441" y="184"/>
                  </a:lnTo>
                  <a:lnTo>
                    <a:pt x="449" y="195"/>
                  </a:lnTo>
                  <a:lnTo>
                    <a:pt x="458" y="205"/>
                  </a:lnTo>
                  <a:lnTo>
                    <a:pt x="464" y="214"/>
                  </a:lnTo>
                  <a:lnTo>
                    <a:pt x="471" y="224"/>
                  </a:lnTo>
                  <a:lnTo>
                    <a:pt x="483" y="243"/>
                  </a:lnTo>
                  <a:lnTo>
                    <a:pt x="494" y="263"/>
                  </a:lnTo>
                  <a:lnTo>
                    <a:pt x="505" y="282"/>
                  </a:lnTo>
                  <a:lnTo>
                    <a:pt x="517" y="302"/>
                  </a:lnTo>
                  <a:lnTo>
                    <a:pt x="524" y="312"/>
                  </a:lnTo>
                  <a:lnTo>
                    <a:pt x="531" y="321"/>
                  </a:lnTo>
                  <a:lnTo>
                    <a:pt x="540" y="331"/>
                  </a:lnTo>
                  <a:lnTo>
                    <a:pt x="550" y="342"/>
                  </a:lnTo>
                  <a:lnTo>
                    <a:pt x="575" y="364"/>
                  </a:lnTo>
                  <a:lnTo>
                    <a:pt x="599" y="385"/>
                  </a:lnTo>
                  <a:lnTo>
                    <a:pt x="622" y="402"/>
                  </a:lnTo>
                  <a:lnTo>
                    <a:pt x="646" y="418"/>
                  </a:lnTo>
                  <a:lnTo>
                    <a:pt x="669" y="435"/>
                  </a:lnTo>
                  <a:lnTo>
                    <a:pt x="691" y="452"/>
                  </a:lnTo>
                  <a:lnTo>
                    <a:pt x="702" y="462"/>
                  </a:lnTo>
                  <a:lnTo>
                    <a:pt x="714" y="472"/>
                  </a:lnTo>
                  <a:lnTo>
                    <a:pt x="726" y="484"/>
                  </a:lnTo>
                  <a:lnTo>
                    <a:pt x="738" y="497"/>
                  </a:lnTo>
                  <a:lnTo>
                    <a:pt x="738" y="497"/>
                  </a:lnTo>
                  <a:lnTo>
                    <a:pt x="718" y="512"/>
                  </a:lnTo>
                  <a:lnTo>
                    <a:pt x="697" y="526"/>
                  </a:lnTo>
                  <a:lnTo>
                    <a:pt x="675" y="538"/>
                  </a:lnTo>
                  <a:lnTo>
                    <a:pt x="652" y="549"/>
                  </a:lnTo>
                  <a:lnTo>
                    <a:pt x="629" y="560"/>
                  </a:lnTo>
                  <a:lnTo>
                    <a:pt x="604" y="571"/>
                  </a:lnTo>
                  <a:lnTo>
                    <a:pt x="578" y="582"/>
                  </a:lnTo>
                  <a:lnTo>
                    <a:pt x="550" y="593"/>
                  </a:lnTo>
                  <a:lnTo>
                    <a:pt x="540" y="598"/>
                  </a:lnTo>
                  <a:lnTo>
                    <a:pt x="531" y="603"/>
                  </a:lnTo>
                  <a:lnTo>
                    <a:pt x="523" y="607"/>
                  </a:lnTo>
                  <a:lnTo>
                    <a:pt x="516" y="613"/>
                  </a:lnTo>
                  <a:lnTo>
                    <a:pt x="502" y="625"/>
                  </a:lnTo>
                  <a:lnTo>
                    <a:pt x="490" y="637"/>
                  </a:lnTo>
                  <a:lnTo>
                    <a:pt x="468" y="665"/>
                  </a:lnTo>
                  <a:lnTo>
                    <a:pt x="441" y="694"/>
                  </a:lnTo>
                  <a:lnTo>
                    <a:pt x="423" y="710"/>
                  </a:lnTo>
                  <a:lnTo>
                    <a:pt x="408" y="722"/>
                  </a:lnTo>
                  <a:lnTo>
                    <a:pt x="402" y="729"/>
                  </a:lnTo>
                  <a:lnTo>
                    <a:pt x="394" y="736"/>
                  </a:lnTo>
                  <a:lnTo>
                    <a:pt x="388" y="744"/>
                  </a:lnTo>
                  <a:lnTo>
                    <a:pt x="381" y="753"/>
                  </a:lnTo>
                  <a:lnTo>
                    <a:pt x="363" y="779"/>
                  </a:lnTo>
                  <a:lnTo>
                    <a:pt x="344" y="803"/>
                  </a:lnTo>
                  <a:lnTo>
                    <a:pt x="326" y="823"/>
                  </a:lnTo>
                  <a:lnTo>
                    <a:pt x="309" y="844"/>
                  </a:lnTo>
                  <a:lnTo>
                    <a:pt x="309" y="844"/>
                  </a:lnTo>
                  <a:close/>
                </a:path>
              </a:pathLst>
            </a:custGeom>
            <a:solidFill>
              <a:srgbClr val="3B61AC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3A071F06-0E26-417A-9022-E738AE94C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5700" y="2722563"/>
              <a:ext cx="492125" cy="284163"/>
            </a:xfrm>
            <a:custGeom>
              <a:avLst/>
              <a:gdLst>
                <a:gd name="T0" fmla="*/ 1 w 1240"/>
                <a:gd name="T1" fmla="*/ 86 h 716"/>
                <a:gd name="T2" fmla="*/ 3 w 1240"/>
                <a:gd name="T3" fmla="*/ 128 h 716"/>
                <a:gd name="T4" fmla="*/ 15 w 1240"/>
                <a:gd name="T5" fmla="*/ 162 h 716"/>
                <a:gd name="T6" fmla="*/ 37 w 1240"/>
                <a:gd name="T7" fmla="*/ 190 h 716"/>
                <a:gd name="T8" fmla="*/ 74 w 1240"/>
                <a:gd name="T9" fmla="*/ 219 h 716"/>
                <a:gd name="T10" fmla="*/ 106 w 1240"/>
                <a:gd name="T11" fmla="*/ 238 h 716"/>
                <a:gd name="T12" fmla="*/ 176 w 1240"/>
                <a:gd name="T13" fmla="*/ 258 h 716"/>
                <a:gd name="T14" fmla="*/ 249 w 1240"/>
                <a:gd name="T15" fmla="*/ 319 h 716"/>
                <a:gd name="T16" fmla="*/ 305 w 1240"/>
                <a:gd name="T17" fmla="*/ 359 h 716"/>
                <a:gd name="T18" fmla="*/ 354 w 1240"/>
                <a:gd name="T19" fmla="*/ 377 h 716"/>
                <a:gd name="T20" fmla="*/ 398 w 1240"/>
                <a:gd name="T21" fmla="*/ 403 h 716"/>
                <a:gd name="T22" fmla="*/ 428 w 1240"/>
                <a:gd name="T23" fmla="*/ 443 h 716"/>
                <a:gd name="T24" fmla="*/ 474 w 1240"/>
                <a:gd name="T25" fmla="*/ 521 h 716"/>
                <a:gd name="T26" fmla="*/ 507 w 1240"/>
                <a:gd name="T27" fmla="*/ 561 h 716"/>
                <a:gd name="T28" fmla="*/ 603 w 1240"/>
                <a:gd name="T29" fmla="*/ 637 h 716"/>
                <a:gd name="T30" fmla="*/ 671 w 1240"/>
                <a:gd name="T31" fmla="*/ 691 h 716"/>
                <a:gd name="T32" fmla="*/ 709 w 1240"/>
                <a:gd name="T33" fmla="*/ 704 h 716"/>
                <a:gd name="T34" fmla="*/ 761 w 1240"/>
                <a:gd name="T35" fmla="*/ 645 h 716"/>
                <a:gd name="T36" fmla="*/ 816 w 1240"/>
                <a:gd name="T37" fmla="*/ 597 h 716"/>
                <a:gd name="T38" fmla="*/ 874 w 1240"/>
                <a:gd name="T39" fmla="*/ 542 h 716"/>
                <a:gd name="T40" fmla="*/ 950 w 1240"/>
                <a:gd name="T41" fmla="*/ 465 h 716"/>
                <a:gd name="T42" fmla="*/ 1002 w 1240"/>
                <a:gd name="T43" fmla="*/ 420 h 716"/>
                <a:gd name="T44" fmla="*/ 1065 w 1240"/>
                <a:gd name="T45" fmla="*/ 342 h 716"/>
                <a:gd name="T46" fmla="*/ 1121 w 1240"/>
                <a:gd name="T47" fmla="*/ 272 h 716"/>
                <a:gd name="T48" fmla="*/ 1169 w 1240"/>
                <a:gd name="T49" fmla="*/ 231 h 716"/>
                <a:gd name="T50" fmla="*/ 1223 w 1240"/>
                <a:gd name="T51" fmla="*/ 165 h 716"/>
                <a:gd name="T52" fmla="*/ 1189 w 1240"/>
                <a:gd name="T53" fmla="*/ 111 h 716"/>
                <a:gd name="T54" fmla="*/ 1134 w 1240"/>
                <a:gd name="T55" fmla="*/ 101 h 716"/>
                <a:gd name="T56" fmla="*/ 1098 w 1240"/>
                <a:gd name="T57" fmla="*/ 110 h 716"/>
                <a:gd name="T58" fmla="*/ 1062 w 1240"/>
                <a:gd name="T59" fmla="*/ 120 h 716"/>
                <a:gd name="T60" fmla="*/ 1014 w 1240"/>
                <a:gd name="T61" fmla="*/ 116 h 716"/>
                <a:gd name="T62" fmla="*/ 960 w 1240"/>
                <a:gd name="T63" fmla="*/ 92 h 716"/>
                <a:gd name="T64" fmla="*/ 944 w 1240"/>
                <a:gd name="T65" fmla="*/ 97 h 716"/>
                <a:gd name="T66" fmla="*/ 921 w 1240"/>
                <a:gd name="T67" fmla="*/ 124 h 716"/>
                <a:gd name="T68" fmla="*/ 869 w 1240"/>
                <a:gd name="T69" fmla="*/ 159 h 716"/>
                <a:gd name="T70" fmla="*/ 792 w 1240"/>
                <a:gd name="T71" fmla="*/ 182 h 716"/>
                <a:gd name="T72" fmla="*/ 718 w 1240"/>
                <a:gd name="T73" fmla="*/ 185 h 716"/>
                <a:gd name="T74" fmla="*/ 677 w 1240"/>
                <a:gd name="T75" fmla="*/ 188 h 716"/>
                <a:gd name="T76" fmla="*/ 658 w 1240"/>
                <a:gd name="T77" fmla="*/ 201 h 716"/>
                <a:gd name="T78" fmla="*/ 628 w 1240"/>
                <a:gd name="T79" fmla="*/ 202 h 716"/>
                <a:gd name="T80" fmla="*/ 579 w 1240"/>
                <a:gd name="T81" fmla="*/ 190 h 716"/>
                <a:gd name="T82" fmla="*/ 497 w 1240"/>
                <a:gd name="T83" fmla="*/ 173 h 716"/>
                <a:gd name="T84" fmla="*/ 426 w 1240"/>
                <a:gd name="T85" fmla="*/ 134 h 716"/>
                <a:gd name="T86" fmla="*/ 376 w 1240"/>
                <a:gd name="T87" fmla="*/ 89 h 716"/>
                <a:gd name="T88" fmla="*/ 309 w 1240"/>
                <a:gd name="T89" fmla="*/ 27 h 716"/>
                <a:gd name="T90" fmla="*/ 256 w 1240"/>
                <a:gd name="T91" fmla="*/ 3 h 716"/>
                <a:gd name="T92" fmla="*/ 197 w 1240"/>
                <a:gd name="T93" fmla="*/ 3 h 716"/>
                <a:gd name="T94" fmla="*/ 154 w 1240"/>
                <a:gd name="T95" fmla="*/ 28 h 716"/>
                <a:gd name="T96" fmla="*/ 117 w 1240"/>
                <a:gd name="T97" fmla="*/ 61 h 716"/>
                <a:gd name="T98" fmla="*/ 74 w 1240"/>
                <a:gd name="T99" fmla="*/ 86 h 716"/>
                <a:gd name="T100" fmla="*/ 31 w 1240"/>
                <a:gd name="T101" fmla="*/ 87 h 716"/>
                <a:gd name="T102" fmla="*/ 10 w 1240"/>
                <a:gd name="T103" fmla="*/ 64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40" h="716">
                  <a:moveTo>
                    <a:pt x="4" y="48"/>
                  </a:moveTo>
                  <a:lnTo>
                    <a:pt x="3" y="61"/>
                  </a:lnTo>
                  <a:lnTo>
                    <a:pt x="2" y="73"/>
                  </a:lnTo>
                  <a:lnTo>
                    <a:pt x="1" y="86"/>
                  </a:lnTo>
                  <a:lnTo>
                    <a:pt x="0" y="99"/>
                  </a:lnTo>
                  <a:lnTo>
                    <a:pt x="1" y="109"/>
                  </a:lnTo>
                  <a:lnTo>
                    <a:pt x="2" y="119"/>
                  </a:lnTo>
                  <a:lnTo>
                    <a:pt x="3" y="128"/>
                  </a:lnTo>
                  <a:lnTo>
                    <a:pt x="6" y="137"/>
                  </a:lnTo>
                  <a:lnTo>
                    <a:pt x="9" y="146"/>
                  </a:lnTo>
                  <a:lnTo>
                    <a:pt x="12" y="154"/>
                  </a:lnTo>
                  <a:lnTo>
                    <a:pt x="15" y="162"/>
                  </a:lnTo>
                  <a:lnTo>
                    <a:pt x="21" y="170"/>
                  </a:lnTo>
                  <a:lnTo>
                    <a:pt x="25" y="177"/>
                  </a:lnTo>
                  <a:lnTo>
                    <a:pt x="30" y="184"/>
                  </a:lnTo>
                  <a:lnTo>
                    <a:pt x="37" y="190"/>
                  </a:lnTo>
                  <a:lnTo>
                    <a:pt x="43" y="197"/>
                  </a:lnTo>
                  <a:lnTo>
                    <a:pt x="57" y="20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81" y="225"/>
                  </a:lnTo>
                  <a:lnTo>
                    <a:pt x="89" y="229"/>
                  </a:lnTo>
                  <a:lnTo>
                    <a:pt x="97" y="234"/>
                  </a:lnTo>
                  <a:lnTo>
                    <a:pt x="106" y="238"/>
                  </a:lnTo>
                  <a:lnTo>
                    <a:pt x="131" y="245"/>
                  </a:lnTo>
                  <a:lnTo>
                    <a:pt x="155" y="251"/>
                  </a:lnTo>
                  <a:lnTo>
                    <a:pt x="165" y="254"/>
                  </a:lnTo>
                  <a:lnTo>
                    <a:pt x="176" y="258"/>
                  </a:lnTo>
                  <a:lnTo>
                    <a:pt x="187" y="264"/>
                  </a:lnTo>
                  <a:lnTo>
                    <a:pt x="198" y="271"/>
                  </a:lnTo>
                  <a:lnTo>
                    <a:pt x="225" y="296"/>
                  </a:lnTo>
                  <a:lnTo>
                    <a:pt x="249" y="319"/>
                  </a:lnTo>
                  <a:lnTo>
                    <a:pt x="260" y="329"/>
                  </a:lnTo>
                  <a:lnTo>
                    <a:pt x="273" y="339"/>
                  </a:lnTo>
                  <a:lnTo>
                    <a:pt x="289" y="349"/>
                  </a:lnTo>
                  <a:lnTo>
                    <a:pt x="305" y="359"/>
                  </a:lnTo>
                  <a:lnTo>
                    <a:pt x="318" y="364"/>
                  </a:lnTo>
                  <a:lnTo>
                    <a:pt x="331" y="370"/>
                  </a:lnTo>
                  <a:lnTo>
                    <a:pt x="343" y="373"/>
                  </a:lnTo>
                  <a:lnTo>
                    <a:pt x="354" y="377"/>
                  </a:lnTo>
                  <a:lnTo>
                    <a:pt x="365" y="381"/>
                  </a:lnTo>
                  <a:lnTo>
                    <a:pt x="376" y="387"/>
                  </a:lnTo>
                  <a:lnTo>
                    <a:pt x="387" y="394"/>
                  </a:lnTo>
                  <a:lnTo>
                    <a:pt x="398" y="403"/>
                  </a:lnTo>
                  <a:lnTo>
                    <a:pt x="406" y="414"/>
                  </a:lnTo>
                  <a:lnTo>
                    <a:pt x="415" y="424"/>
                  </a:lnTo>
                  <a:lnTo>
                    <a:pt x="421" y="433"/>
                  </a:lnTo>
                  <a:lnTo>
                    <a:pt x="428" y="443"/>
                  </a:lnTo>
                  <a:lnTo>
                    <a:pt x="440" y="462"/>
                  </a:lnTo>
                  <a:lnTo>
                    <a:pt x="451" y="482"/>
                  </a:lnTo>
                  <a:lnTo>
                    <a:pt x="462" y="501"/>
                  </a:lnTo>
                  <a:lnTo>
                    <a:pt x="474" y="521"/>
                  </a:lnTo>
                  <a:lnTo>
                    <a:pt x="481" y="531"/>
                  </a:lnTo>
                  <a:lnTo>
                    <a:pt x="488" y="540"/>
                  </a:lnTo>
                  <a:lnTo>
                    <a:pt x="497" y="550"/>
                  </a:lnTo>
                  <a:lnTo>
                    <a:pt x="507" y="561"/>
                  </a:lnTo>
                  <a:lnTo>
                    <a:pt x="532" y="583"/>
                  </a:lnTo>
                  <a:lnTo>
                    <a:pt x="556" y="604"/>
                  </a:lnTo>
                  <a:lnTo>
                    <a:pt x="579" y="621"/>
                  </a:lnTo>
                  <a:lnTo>
                    <a:pt x="603" y="637"/>
                  </a:lnTo>
                  <a:lnTo>
                    <a:pt x="626" y="654"/>
                  </a:lnTo>
                  <a:lnTo>
                    <a:pt x="648" y="671"/>
                  </a:lnTo>
                  <a:lnTo>
                    <a:pt x="659" y="681"/>
                  </a:lnTo>
                  <a:lnTo>
                    <a:pt x="671" y="691"/>
                  </a:lnTo>
                  <a:lnTo>
                    <a:pt x="683" y="703"/>
                  </a:lnTo>
                  <a:lnTo>
                    <a:pt x="695" y="716"/>
                  </a:lnTo>
                  <a:lnTo>
                    <a:pt x="695" y="716"/>
                  </a:lnTo>
                  <a:lnTo>
                    <a:pt x="709" y="704"/>
                  </a:lnTo>
                  <a:lnTo>
                    <a:pt x="723" y="690"/>
                  </a:lnTo>
                  <a:lnTo>
                    <a:pt x="737" y="675"/>
                  </a:lnTo>
                  <a:lnTo>
                    <a:pt x="751" y="658"/>
                  </a:lnTo>
                  <a:lnTo>
                    <a:pt x="761" y="645"/>
                  </a:lnTo>
                  <a:lnTo>
                    <a:pt x="771" y="634"/>
                  </a:lnTo>
                  <a:lnTo>
                    <a:pt x="782" y="624"/>
                  </a:lnTo>
                  <a:lnTo>
                    <a:pt x="793" y="615"/>
                  </a:lnTo>
                  <a:lnTo>
                    <a:pt x="816" y="597"/>
                  </a:lnTo>
                  <a:lnTo>
                    <a:pt x="840" y="577"/>
                  </a:lnTo>
                  <a:lnTo>
                    <a:pt x="853" y="565"/>
                  </a:lnTo>
                  <a:lnTo>
                    <a:pt x="864" y="553"/>
                  </a:lnTo>
                  <a:lnTo>
                    <a:pt x="874" y="542"/>
                  </a:lnTo>
                  <a:lnTo>
                    <a:pt x="884" y="532"/>
                  </a:lnTo>
                  <a:lnTo>
                    <a:pt x="903" y="509"/>
                  </a:lnTo>
                  <a:lnTo>
                    <a:pt x="927" y="484"/>
                  </a:lnTo>
                  <a:lnTo>
                    <a:pt x="950" y="465"/>
                  </a:lnTo>
                  <a:lnTo>
                    <a:pt x="971" y="448"/>
                  </a:lnTo>
                  <a:lnTo>
                    <a:pt x="982" y="440"/>
                  </a:lnTo>
                  <a:lnTo>
                    <a:pt x="993" y="431"/>
                  </a:lnTo>
                  <a:lnTo>
                    <a:pt x="1002" y="420"/>
                  </a:lnTo>
                  <a:lnTo>
                    <a:pt x="1014" y="408"/>
                  </a:lnTo>
                  <a:lnTo>
                    <a:pt x="1033" y="386"/>
                  </a:lnTo>
                  <a:lnTo>
                    <a:pt x="1050" y="363"/>
                  </a:lnTo>
                  <a:lnTo>
                    <a:pt x="1065" y="342"/>
                  </a:lnTo>
                  <a:lnTo>
                    <a:pt x="1080" y="321"/>
                  </a:lnTo>
                  <a:lnTo>
                    <a:pt x="1095" y="302"/>
                  </a:lnTo>
                  <a:lnTo>
                    <a:pt x="1112" y="282"/>
                  </a:lnTo>
                  <a:lnTo>
                    <a:pt x="1121" y="272"/>
                  </a:lnTo>
                  <a:lnTo>
                    <a:pt x="1131" y="263"/>
                  </a:lnTo>
                  <a:lnTo>
                    <a:pt x="1142" y="253"/>
                  </a:lnTo>
                  <a:lnTo>
                    <a:pt x="1154" y="243"/>
                  </a:lnTo>
                  <a:lnTo>
                    <a:pt x="1169" y="231"/>
                  </a:lnTo>
                  <a:lnTo>
                    <a:pt x="1182" y="218"/>
                  </a:lnTo>
                  <a:lnTo>
                    <a:pt x="1194" y="205"/>
                  </a:lnTo>
                  <a:lnTo>
                    <a:pt x="1204" y="192"/>
                  </a:lnTo>
                  <a:lnTo>
                    <a:pt x="1223" y="165"/>
                  </a:lnTo>
                  <a:lnTo>
                    <a:pt x="1240" y="136"/>
                  </a:lnTo>
                  <a:lnTo>
                    <a:pt x="1240" y="136"/>
                  </a:lnTo>
                  <a:lnTo>
                    <a:pt x="1214" y="123"/>
                  </a:lnTo>
                  <a:lnTo>
                    <a:pt x="1189" y="111"/>
                  </a:lnTo>
                  <a:lnTo>
                    <a:pt x="1176" y="107"/>
                  </a:lnTo>
                  <a:lnTo>
                    <a:pt x="1163" y="104"/>
                  </a:lnTo>
                  <a:lnTo>
                    <a:pt x="1149" y="102"/>
                  </a:lnTo>
                  <a:lnTo>
                    <a:pt x="1134" y="101"/>
                  </a:lnTo>
                  <a:lnTo>
                    <a:pt x="1123" y="102"/>
                  </a:lnTo>
                  <a:lnTo>
                    <a:pt x="1115" y="104"/>
                  </a:lnTo>
                  <a:lnTo>
                    <a:pt x="1106" y="107"/>
                  </a:lnTo>
                  <a:lnTo>
                    <a:pt x="1098" y="110"/>
                  </a:lnTo>
                  <a:lnTo>
                    <a:pt x="1090" y="114"/>
                  </a:lnTo>
                  <a:lnTo>
                    <a:pt x="1081" y="117"/>
                  </a:lnTo>
                  <a:lnTo>
                    <a:pt x="1072" y="119"/>
                  </a:lnTo>
                  <a:lnTo>
                    <a:pt x="1062" y="120"/>
                  </a:lnTo>
                  <a:lnTo>
                    <a:pt x="1049" y="120"/>
                  </a:lnTo>
                  <a:lnTo>
                    <a:pt x="1036" y="119"/>
                  </a:lnTo>
                  <a:lnTo>
                    <a:pt x="1025" y="118"/>
                  </a:lnTo>
                  <a:lnTo>
                    <a:pt x="1014" y="116"/>
                  </a:lnTo>
                  <a:lnTo>
                    <a:pt x="993" y="111"/>
                  </a:lnTo>
                  <a:lnTo>
                    <a:pt x="969" y="104"/>
                  </a:lnTo>
                  <a:lnTo>
                    <a:pt x="965" y="97"/>
                  </a:lnTo>
                  <a:lnTo>
                    <a:pt x="960" y="92"/>
                  </a:lnTo>
                  <a:lnTo>
                    <a:pt x="956" y="92"/>
                  </a:lnTo>
                  <a:lnTo>
                    <a:pt x="952" y="93"/>
                  </a:lnTo>
                  <a:lnTo>
                    <a:pt x="947" y="95"/>
                  </a:lnTo>
                  <a:lnTo>
                    <a:pt x="944" y="97"/>
                  </a:lnTo>
                  <a:lnTo>
                    <a:pt x="938" y="103"/>
                  </a:lnTo>
                  <a:lnTo>
                    <a:pt x="932" y="109"/>
                  </a:lnTo>
                  <a:lnTo>
                    <a:pt x="927" y="117"/>
                  </a:lnTo>
                  <a:lnTo>
                    <a:pt x="921" y="124"/>
                  </a:lnTo>
                  <a:lnTo>
                    <a:pt x="915" y="131"/>
                  </a:lnTo>
                  <a:lnTo>
                    <a:pt x="907" y="137"/>
                  </a:lnTo>
                  <a:lnTo>
                    <a:pt x="887" y="149"/>
                  </a:lnTo>
                  <a:lnTo>
                    <a:pt x="869" y="159"/>
                  </a:lnTo>
                  <a:lnTo>
                    <a:pt x="849" y="168"/>
                  </a:lnTo>
                  <a:lnTo>
                    <a:pt x="831" y="174"/>
                  </a:lnTo>
                  <a:lnTo>
                    <a:pt x="811" y="178"/>
                  </a:lnTo>
                  <a:lnTo>
                    <a:pt x="792" y="182"/>
                  </a:lnTo>
                  <a:lnTo>
                    <a:pt x="770" y="184"/>
                  </a:lnTo>
                  <a:lnTo>
                    <a:pt x="746" y="185"/>
                  </a:lnTo>
                  <a:lnTo>
                    <a:pt x="731" y="185"/>
                  </a:lnTo>
                  <a:lnTo>
                    <a:pt x="718" y="185"/>
                  </a:lnTo>
                  <a:lnTo>
                    <a:pt x="704" y="185"/>
                  </a:lnTo>
                  <a:lnTo>
                    <a:pt x="689" y="185"/>
                  </a:lnTo>
                  <a:lnTo>
                    <a:pt x="683" y="186"/>
                  </a:lnTo>
                  <a:lnTo>
                    <a:pt x="677" y="188"/>
                  </a:lnTo>
                  <a:lnTo>
                    <a:pt x="672" y="191"/>
                  </a:lnTo>
                  <a:lnTo>
                    <a:pt x="668" y="195"/>
                  </a:lnTo>
                  <a:lnTo>
                    <a:pt x="662" y="198"/>
                  </a:lnTo>
                  <a:lnTo>
                    <a:pt x="658" y="201"/>
                  </a:lnTo>
                  <a:lnTo>
                    <a:pt x="651" y="203"/>
                  </a:lnTo>
                  <a:lnTo>
                    <a:pt x="645" y="204"/>
                  </a:lnTo>
                  <a:lnTo>
                    <a:pt x="636" y="204"/>
                  </a:lnTo>
                  <a:lnTo>
                    <a:pt x="628" y="202"/>
                  </a:lnTo>
                  <a:lnTo>
                    <a:pt x="620" y="201"/>
                  </a:lnTo>
                  <a:lnTo>
                    <a:pt x="613" y="199"/>
                  </a:lnTo>
                  <a:lnTo>
                    <a:pt x="596" y="194"/>
                  </a:lnTo>
                  <a:lnTo>
                    <a:pt x="579" y="190"/>
                  </a:lnTo>
                  <a:lnTo>
                    <a:pt x="556" y="187"/>
                  </a:lnTo>
                  <a:lnTo>
                    <a:pt x="536" y="183"/>
                  </a:lnTo>
                  <a:lnTo>
                    <a:pt x="516" y="178"/>
                  </a:lnTo>
                  <a:lnTo>
                    <a:pt x="497" y="173"/>
                  </a:lnTo>
                  <a:lnTo>
                    <a:pt x="480" y="167"/>
                  </a:lnTo>
                  <a:lnTo>
                    <a:pt x="461" y="158"/>
                  </a:lnTo>
                  <a:lnTo>
                    <a:pt x="444" y="147"/>
                  </a:lnTo>
                  <a:lnTo>
                    <a:pt x="426" y="134"/>
                  </a:lnTo>
                  <a:lnTo>
                    <a:pt x="412" y="123"/>
                  </a:lnTo>
                  <a:lnTo>
                    <a:pt x="399" y="111"/>
                  </a:lnTo>
                  <a:lnTo>
                    <a:pt x="387" y="100"/>
                  </a:lnTo>
                  <a:lnTo>
                    <a:pt x="376" y="89"/>
                  </a:lnTo>
                  <a:lnTo>
                    <a:pt x="353" y="66"/>
                  </a:lnTo>
                  <a:lnTo>
                    <a:pt x="332" y="45"/>
                  </a:lnTo>
                  <a:lnTo>
                    <a:pt x="321" y="36"/>
                  </a:lnTo>
                  <a:lnTo>
                    <a:pt x="309" y="27"/>
                  </a:lnTo>
                  <a:lnTo>
                    <a:pt x="297" y="19"/>
                  </a:lnTo>
                  <a:lnTo>
                    <a:pt x="284" y="12"/>
                  </a:lnTo>
                  <a:lnTo>
                    <a:pt x="271" y="7"/>
                  </a:lnTo>
                  <a:lnTo>
                    <a:pt x="256" y="3"/>
                  </a:lnTo>
                  <a:lnTo>
                    <a:pt x="240" y="0"/>
                  </a:lnTo>
                  <a:lnTo>
                    <a:pt x="224" y="0"/>
                  </a:lnTo>
                  <a:lnTo>
                    <a:pt x="210" y="0"/>
                  </a:lnTo>
                  <a:lnTo>
                    <a:pt x="197" y="3"/>
                  </a:lnTo>
                  <a:lnTo>
                    <a:pt x="185" y="8"/>
                  </a:lnTo>
                  <a:lnTo>
                    <a:pt x="174" y="14"/>
                  </a:lnTo>
                  <a:lnTo>
                    <a:pt x="164" y="21"/>
                  </a:lnTo>
                  <a:lnTo>
                    <a:pt x="154" y="28"/>
                  </a:lnTo>
                  <a:lnTo>
                    <a:pt x="145" y="36"/>
                  </a:lnTo>
                  <a:lnTo>
                    <a:pt x="135" y="45"/>
                  </a:lnTo>
                  <a:lnTo>
                    <a:pt x="125" y="53"/>
                  </a:lnTo>
                  <a:lnTo>
                    <a:pt x="117" y="61"/>
                  </a:lnTo>
                  <a:lnTo>
                    <a:pt x="106" y="68"/>
                  </a:lnTo>
                  <a:lnTo>
                    <a:pt x="96" y="76"/>
                  </a:lnTo>
                  <a:lnTo>
                    <a:pt x="85" y="81"/>
                  </a:lnTo>
                  <a:lnTo>
                    <a:pt x="74" y="86"/>
                  </a:lnTo>
                  <a:lnTo>
                    <a:pt x="61" y="89"/>
                  </a:lnTo>
                  <a:lnTo>
                    <a:pt x="47" y="90"/>
                  </a:lnTo>
                  <a:lnTo>
                    <a:pt x="39" y="89"/>
                  </a:lnTo>
                  <a:lnTo>
                    <a:pt x="31" y="87"/>
                  </a:lnTo>
                  <a:lnTo>
                    <a:pt x="24" y="82"/>
                  </a:lnTo>
                  <a:lnTo>
                    <a:pt x="19" y="77"/>
                  </a:lnTo>
                  <a:lnTo>
                    <a:pt x="13" y="70"/>
                  </a:lnTo>
                  <a:lnTo>
                    <a:pt x="10" y="64"/>
                  </a:lnTo>
                  <a:lnTo>
                    <a:pt x="7" y="55"/>
                  </a:lnTo>
                  <a:lnTo>
                    <a:pt x="4" y="48"/>
                  </a:lnTo>
                  <a:lnTo>
                    <a:pt x="4" y="48"/>
                  </a:lnTo>
                  <a:close/>
                </a:path>
              </a:pathLst>
            </a:custGeom>
            <a:solidFill>
              <a:srgbClr val="1496D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10">
              <a:extLst>
                <a:ext uri="{FF2B5EF4-FFF2-40B4-BE49-F238E27FC236}">
                  <a16:creationId xmlns:a16="http://schemas.microsoft.com/office/drawing/2014/main" id="{D9A79AE7-60E4-45B2-A602-ABB13A4E6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5700" y="2722563"/>
              <a:ext cx="492125" cy="284163"/>
            </a:xfrm>
            <a:custGeom>
              <a:avLst/>
              <a:gdLst>
                <a:gd name="T0" fmla="*/ 1 w 1240"/>
                <a:gd name="T1" fmla="*/ 86 h 716"/>
                <a:gd name="T2" fmla="*/ 3 w 1240"/>
                <a:gd name="T3" fmla="*/ 128 h 716"/>
                <a:gd name="T4" fmla="*/ 15 w 1240"/>
                <a:gd name="T5" fmla="*/ 162 h 716"/>
                <a:gd name="T6" fmla="*/ 37 w 1240"/>
                <a:gd name="T7" fmla="*/ 190 h 716"/>
                <a:gd name="T8" fmla="*/ 74 w 1240"/>
                <a:gd name="T9" fmla="*/ 219 h 716"/>
                <a:gd name="T10" fmla="*/ 106 w 1240"/>
                <a:gd name="T11" fmla="*/ 238 h 716"/>
                <a:gd name="T12" fmla="*/ 176 w 1240"/>
                <a:gd name="T13" fmla="*/ 258 h 716"/>
                <a:gd name="T14" fmla="*/ 249 w 1240"/>
                <a:gd name="T15" fmla="*/ 319 h 716"/>
                <a:gd name="T16" fmla="*/ 305 w 1240"/>
                <a:gd name="T17" fmla="*/ 359 h 716"/>
                <a:gd name="T18" fmla="*/ 354 w 1240"/>
                <a:gd name="T19" fmla="*/ 377 h 716"/>
                <a:gd name="T20" fmla="*/ 398 w 1240"/>
                <a:gd name="T21" fmla="*/ 403 h 716"/>
                <a:gd name="T22" fmla="*/ 428 w 1240"/>
                <a:gd name="T23" fmla="*/ 443 h 716"/>
                <a:gd name="T24" fmla="*/ 474 w 1240"/>
                <a:gd name="T25" fmla="*/ 521 h 716"/>
                <a:gd name="T26" fmla="*/ 507 w 1240"/>
                <a:gd name="T27" fmla="*/ 561 h 716"/>
                <a:gd name="T28" fmla="*/ 603 w 1240"/>
                <a:gd name="T29" fmla="*/ 637 h 716"/>
                <a:gd name="T30" fmla="*/ 671 w 1240"/>
                <a:gd name="T31" fmla="*/ 691 h 716"/>
                <a:gd name="T32" fmla="*/ 709 w 1240"/>
                <a:gd name="T33" fmla="*/ 704 h 716"/>
                <a:gd name="T34" fmla="*/ 761 w 1240"/>
                <a:gd name="T35" fmla="*/ 645 h 716"/>
                <a:gd name="T36" fmla="*/ 816 w 1240"/>
                <a:gd name="T37" fmla="*/ 597 h 716"/>
                <a:gd name="T38" fmla="*/ 874 w 1240"/>
                <a:gd name="T39" fmla="*/ 542 h 716"/>
                <a:gd name="T40" fmla="*/ 950 w 1240"/>
                <a:gd name="T41" fmla="*/ 465 h 716"/>
                <a:gd name="T42" fmla="*/ 1002 w 1240"/>
                <a:gd name="T43" fmla="*/ 420 h 716"/>
                <a:gd name="T44" fmla="*/ 1065 w 1240"/>
                <a:gd name="T45" fmla="*/ 342 h 716"/>
                <a:gd name="T46" fmla="*/ 1121 w 1240"/>
                <a:gd name="T47" fmla="*/ 272 h 716"/>
                <a:gd name="T48" fmla="*/ 1169 w 1240"/>
                <a:gd name="T49" fmla="*/ 231 h 716"/>
                <a:gd name="T50" fmla="*/ 1223 w 1240"/>
                <a:gd name="T51" fmla="*/ 165 h 716"/>
                <a:gd name="T52" fmla="*/ 1189 w 1240"/>
                <a:gd name="T53" fmla="*/ 111 h 716"/>
                <a:gd name="T54" fmla="*/ 1134 w 1240"/>
                <a:gd name="T55" fmla="*/ 101 h 716"/>
                <a:gd name="T56" fmla="*/ 1098 w 1240"/>
                <a:gd name="T57" fmla="*/ 110 h 716"/>
                <a:gd name="T58" fmla="*/ 1062 w 1240"/>
                <a:gd name="T59" fmla="*/ 120 h 716"/>
                <a:gd name="T60" fmla="*/ 1014 w 1240"/>
                <a:gd name="T61" fmla="*/ 116 h 716"/>
                <a:gd name="T62" fmla="*/ 960 w 1240"/>
                <a:gd name="T63" fmla="*/ 92 h 716"/>
                <a:gd name="T64" fmla="*/ 944 w 1240"/>
                <a:gd name="T65" fmla="*/ 97 h 716"/>
                <a:gd name="T66" fmla="*/ 921 w 1240"/>
                <a:gd name="T67" fmla="*/ 124 h 716"/>
                <a:gd name="T68" fmla="*/ 869 w 1240"/>
                <a:gd name="T69" fmla="*/ 159 h 716"/>
                <a:gd name="T70" fmla="*/ 792 w 1240"/>
                <a:gd name="T71" fmla="*/ 182 h 716"/>
                <a:gd name="T72" fmla="*/ 718 w 1240"/>
                <a:gd name="T73" fmla="*/ 185 h 716"/>
                <a:gd name="T74" fmla="*/ 677 w 1240"/>
                <a:gd name="T75" fmla="*/ 188 h 716"/>
                <a:gd name="T76" fmla="*/ 658 w 1240"/>
                <a:gd name="T77" fmla="*/ 201 h 716"/>
                <a:gd name="T78" fmla="*/ 628 w 1240"/>
                <a:gd name="T79" fmla="*/ 202 h 716"/>
                <a:gd name="T80" fmla="*/ 579 w 1240"/>
                <a:gd name="T81" fmla="*/ 190 h 716"/>
                <a:gd name="T82" fmla="*/ 497 w 1240"/>
                <a:gd name="T83" fmla="*/ 173 h 716"/>
                <a:gd name="T84" fmla="*/ 426 w 1240"/>
                <a:gd name="T85" fmla="*/ 134 h 716"/>
                <a:gd name="T86" fmla="*/ 376 w 1240"/>
                <a:gd name="T87" fmla="*/ 89 h 716"/>
                <a:gd name="T88" fmla="*/ 309 w 1240"/>
                <a:gd name="T89" fmla="*/ 27 h 716"/>
                <a:gd name="T90" fmla="*/ 256 w 1240"/>
                <a:gd name="T91" fmla="*/ 3 h 716"/>
                <a:gd name="T92" fmla="*/ 197 w 1240"/>
                <a:gd name="T93" fmla="*/ 3 h 716"/>
                <a:gd name="T94" fmla="*/ 154 w 1240"/>
                <a:gd name="T95" fmla="*/ 28 h 716"/>
                <a:gd name="T96" fmla="*/ 117 w 1240"/>
                <a:gd name="T97" fmla="*/ 61 h 716"/>
                <a:gd name="T98" fmla="*/ 74 w 1240"/>
                <a:gd name="T99" fmla="*/ 86 h 716"/>
                <a:gd name="T100" fmla="*/ 31 w 1240"/>
                <a:gd name="T101" fmla="*/ 87 h 716"/>
                <a:gd name="T102" fmla="*/ 10 w 1240"/>
                <a:gd name="T103" fmla="*/ 64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40" h="716">
                  <a:moveTo>
                    <a:pt x="4" y="48"/>
                  </a:moveTo>
                  <a:lnTo>
                    <a:pt x="3" y="61"/>
                  </a:lnTo>
                  <a:lnTo>
                    <a:pt x="2" y="73"/>
                  </a:lnTo>
                  <a:lnTo>
                    <a:pt x="1" y="86"/>
                  </a:lnTo>
                  <a:lnTo>
                    <a:pt x="0" y="99"/>
                  </a:lnTo>
                  <a:lnTo>
                    <a:pt x="1" y="109"/>
                  </a:lnTo>
                  <a:lnTo>
                    <a:pt x="2" y="119"/>
                  </a:lnTo>
                  <a:lnTo>
                    <a:pt x="3" y="128"/>
                  </a:lnTo>
                  <a:lnTo>
                    <a:pt x="6" y="137"/>
                  </a:lnTo>
                  <a:lnTo>
                    <a:pt x="9" y="146"/>
                  </a:lnTo>
                  <a:lnTo>
                    <a:pt x="12" y="154"/>
                  </a:lnTo>
                  <a:lnTo>
                    <a:pt x="15" y="162"/>
                  </a:lnTo>
                  <a:lnTo>
                    <a:pt x="21" y="170"/>
                  </a:lnTo>
                  <a:lnTo>
                    <a:pt x="25" y="177"/>
                  </a:lnTo>
                  <a:lnTo>
                    <a:pt x="30" y="184"/>
                  </a:lnTo>
                  <a:lnTo>
                    <a:pt x="37" y="190"/>
                  </a:lnTo>
                  <a:lnTo>
                    <a:pt x="43" y="197"/>
                  </a:lnTo>
                  <a:lnTo>
                    <a:pt x="57" y="20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81" y="225"/>
                  </a:lnTo>
                  <a:lnTo>
                    <a:pt x="89" y="229"/>
                  </a:lnTo>
                  <a:lnTo>
                    <a:pt x="97" y="234"/>
                  </a:lnTo>
                  <a:lnTo>
                    <a:pt x="106" y="238"/>
                  </a:lnTo>
                  <a:lnTo>
                    <a:pt x="131" y="245"/>
                  </a:lnTo>
                  <a:lnTo>
                    <a:pt x="155" y="251"/>
                  </a:lnTo>
                  <a:lnTo>
                    <a:pt x="165" y="254"/>
                  </a:lnTo>
                  <a:lnTo>
                    <a:pt x="176" y="258"/>
                  </a:lnTo>
                  <a:lnTo>
                    <a:pt x="187" y="264"/>
                  </a:lnTo>
                  <a:lnTo>
                    <a:pt x="198" y="271"/>
                  </a:lnTo>
                  <a:lnTo>
                    <a:pt x="225" y="296"/>
                  </a:lnTo>
                  <a:lnTo>
                    <a:pt x="249" y="319"/>
                  </a:lnTo>
                  <a:lnTo>
                    <a:pt x="260" y="329"/>
                  </a:lnTo>
                  <a:lnTo>
                    <a:pt x="273" y="339"/>
                  </a:lnTo>
                  <a:lnTo>
                    <a:pt x="289" y="349"/>
                  </a:lnTo>
                  <a:lnTo>
                    <a:pt x="305" y="359"/>
                  </a:lnTo>
                  <a:lnTo>
                    <a:pt x="318" y="364"/>
                  </a:lnTo>
                  <a:lnTo>
                    <a:pt x="331" y="370"/>
                  </a:lnTo>
                  <a:lnTo>
                    <a:pt x="343" y="373"/>
                  </a:lnTo>
                  <a:lnTo>
                    <a:pt x="354" y="377"/>
                  </a:lnTo>
                  <a:lnTo>
                    <a:pt x="365" y="381"/>
                  </a:lnTo>
                  <a:lnTo>
                    <a:pt x="376" y="387"/>
                  </a:lnTo>
                  <a:lnTo>
                    <a:pt x="387" y="394"/>
                  </a:lnTo>
                  <a:lnTo>
                    <a:pt x="398" y="403"/>
                  </a:lnTo>
                  <a:lnTo>
                    <a:pt x="406" y="414"/>
                  </a:lnTo>
                  <a:lnTo>
                    <a:pt x="415" y="424"/>
                  </a:lnTo>
                  <a:lnTo>
                    <a:pt x="421" y="433"/>
                  </a:lnTo>
                  <a:lnTo>
                    <a:pt x="428" y="443"/>
                  </a:lnTo>
                  <a:lnTo>
                    <a:pt x="440" y="462"/>
                  </a:lnTo>
                  <a:lnTo>
                    <a:pt x="451" y="482"/>
                  </a:lnTo>
                  <a:lnTo>
                    <a:pt x="462" y="501"/>
                  </a:lnTo>
                  <a:lnTo>
                    <a:pt x="474" y="521"/>
                  </a:lnTo>
                  <a:lnTo>
                    <a:pt x="481" y="531"/>
                  </a:lnTo>
                  <a:lnTo>
                    <a:pt x="488" y="540"/>
                  </a:lnTo>
                  <a:lnTo>
                    <a:pt x="497" y="550"/>
                  </a:lnTo>
                  <a:lnTo>
                    <a:pt x="507" y="561"/>
                  </a:lnTo>
                  <a:lnTo>
                    <a:pt x="532" y="583"/>
                  </a:lnTo>
                  <a:lnTo>
                    <a:pt x="556" y="604"/>
                  </a:lnTo>
                  <a:lnTo>
                    <a:pt x="579" y="621"/>
                  </a:lnTo>
                  <a:lnTo>
                    <a:pt x="603" y="637"/>
                  </a:lnTo>
                  <a:lnTo>
                    <a:pt x="626" y="654"/>
                  </a:lnTo>
                  <a:lnTo>
                    <a:pt x="648" y="671"/>
                  </a:lnTo>
                  <a:lnTo>
                    <a:pt x="659" y="681"/>
                  </a:lnTo>
                  <a:lnTo>
                    <a:pt x="671" y="691"/>
                  </a:lnTo>
                  <a:lnTo>
                    <a:pt x="683" y="703"/>
                  </a:lnTo>
                  <a:lnTo>
                    <a:pt x="695" y="716"/>
                  </a:lnTo>
                  <a:lnTo>
                    <a:pt x="695" y="716"/>
                  </a:lnTo>
                  <a:lnTo>
                    <a:pt x="709" y="704"/>
                  </a:lnTo>
                  <a:lnTo>
                    <a:pt x="723" y="690"/>
                  </a:lnTo>
                  <a:lnTo>
                    <a:pt x="737" y="675"/>
                  </a:lnTo>
                  <a:lnTo>
                    <a:pt x="751" y="658"/>
                  </a:lnTo>
                  <a:lnTo>
                    <a:pt x="761" y="645"/>
                  </a:lnTo>
                  <a:lnTo>
                    <a:pt x="771" y="634"/>
                  </a:lnTo>
                  <a:lnTo>
                    <a:pt x="782" y="624"/>
                  </a:lnTo>
                  <a:lnTo>
                    <a:pt x="793" y="615"/>
                  </a:lnTo>
                  <a:lnTo>
                    <a:pt x="816" y="597"/>
                  </a:lnTo>
                  <a:lnTo>
                    <a:pt x="840" y="577"/>
                  </a:lnTo>
                  <a:lnTo>
                    <a:pt x="853" y="565"/>
                  </a:lnTo>
                  <a:lnTo>
                    <a:pt x="864" y="553"/>
                  </a:lnTo>
                  <a:lnTo>
                    <a:pt x="874" y="542"/>
                  </a:lnTo>
                  <a:lnTo>
                    <a:pt x="884" y="532"/>
                  </a:lnTo>
                  <a:lnTo>
                    <a:pt x="903" y="509"/>
                  </a:lnTo>
                  <a:lnTo>
                    <a:pt x="927" y="484"/>
                  </a:lnTo>
                  <a:lnTo>
                    <a:pt x="950" y="465"/>
                  </a:lnTo>
                  <a:lnTo>
                    <a:pt x="971" y="448"/>
                  </a:lnTo>
                  <a:lnTo>
                    <a:pt x="982" y="440"/>
                  </a:lnTo>
                  <a:lnTo>
                    <a:pt x="993" y="431"/>
                  </a:lnTo>
                  <a:lnTo>
                    <a:pt x="1002" y="420"/>
                  </a:lnTo>
                  <a:lnTo>
                    <a:pt x="1014" y="408"/>
                  </a:lnTo>
                  <a:lnTo>
                    <a:pt x="1033" y="386"/>
                  </a:lnTo>
                  <a:lnTo>
                    <a:pt x="1050" y="363"/>
                  </a:lnTo>
                  <a:lnTo>
                    <a:pt x="1065" y="342"/>
                  </a:lnTo>
                  <a:lnTo>
                    <a:pt x="1080" y="321"/>
                  </a:lnTo>
                  <a:lnTo>
                    <a:pt x="1095" y="302"/>
                  </a:lnTo>
                  <a:lnTo>
                    <a:pt x="1112" y="282"/>
                  </a:lnTo>
                  <a:lnTo>
                    <a:pt x="1121" y="272"/>
                  </a:lnTo>
                  <a:lnTo>
                    <a:pt x="1131" y="263"/>
                  </a:lnTo>
                  <a:lnTo>
                    <a:pt x="1142" y="253"/>
                  </a:lnTo>
                  <a:lnTo>
                    <a:pt x="1154" y="243"/>
                  </a:lnTo>
                  <a:lnTo>
                    <a:pt x="1169" y="231"/>
                  </a:lnTo>
                  <a:lnTo>
                    <a:pt x="1182" y="218"/>
                  </a:lnTo>
                  <a:lnTo>
                    <a:pt x="1194" y="205"/>
                  </a:lnTo>
                  <a:lnTo>
                    <a:pt x="1204" y="192"/>
                  </a:lnTo>
                  <a:lnTo>
                    <a:pt x="1223" y="165"/>
                  </a:lnTo>
                  <a:lnTo>
                    <a:pt x="1240" y="136"/>
                  </a:lnTo>
                  <a:lnTo>
                    <a:pt x="1240" y="136"/>
                  </a:lnTo>
                  <a:lnTo>
                    <a:pt x="1214" y="123"/>
                  </a:lnTo>
                  <a:lnTo>
                    <a:pt x="1189" y="111"/>
                  </a:lnTo>
                  <a:lnTo>
                    <a:pt x="1176" y="107"/>
                  </a:lnTo>
                  <a:lnTo>
                    <a:pt x="1163" y="104"/>
                  </a:lnTo>
                  <a:lnTo>
                    <a:pt x="1149" y="102"/>
                  </a:lnTo>
                  <a:lnTo>
                    <a:pt x="1134" y="101"/>
                  </a:lnTo>
                  <a:lnTo>
                    <a:pt x="1123" y="102"/>
                  </a:lnTo>
                  <a:lnTo>
                    <a:pt x="1115" y="104"/>
                  </a:lnTo>
                  <a:lnTo>
                    <a:pt x="1106" y="107"/>
                  </a:lnTo>
                  <a:lnTo>
                    <a:pt x="1098" y="110"/>
                  </a:lnTo>
                  <a:lnTo>
                    <a:pt x="1090" y="114"/>
                  </a:lnTo>
                  <a:lnTo>
                    <a:pt x="1081" y="117"/>
                  </a:lnTo>
                  <a:lnTo>
                    <a:pt x="1072" y="119"/>
                  </a:lnTo>
                  <a:lnTo>
                    <a:pt x="1062" y="120"/>
                  </a:lnTo>
                  <a:lnTo>
                    <a:pt x="1049" y="120"/>
                  </a:lnTo>
                  <a:lnTo>
                    <a:pt x="1036" y="119"/>
                  </a:lnTo>
                  <a:lnTo>
                    <a:pt x="1025" y="118"/>
                  </a:lnTo>
                  <a:lnTo>
                    <a:pt x="1014" y="116"/>
                  </a:lnTo>
                  <a:lnTo>
                    <a:pt x="993" y="111"/>
                  </a:lnTo>
                  <a:lnTo>
                    <a:pt x="969" y="104"/>
                  </a:lnTo>
                  <a:lnTo>
                    <a:pt x="965" y="97"/>
                  </a:lnTo>
                  <a:lnTo>
                    <a:pt x="960" y="92"/>
                  </a:lnTo>
                  <a:lnTo>
                    <a:pt x="956" y="92"/>
                  </a:lnTo>
                  <a:lnTo>
                    <a:pt x="952" y="93"/>
                  </a:lnTo>
                  <a:lnTo>
                    <a:pt x="947" y="95"/>
                  </a:lnTo>
                  <a:lnTo>
                    <a:pt x="944" y="97"/>
                  </a:lnTo>
                  <a:lnTo>
                    <a:pt x="938" y="103"/>
                  </a:lnTo>
                  <a:lnTo>
                    <a:pt x="932" y="109"/>
                  </a:lnTo>
                  <a:lnTo>
                    <a:pt x="927" y="117"/>
                  </a:lnTo>
                  <a:lnTo>
                    <a:pt x="921" y="124"/>
                  </a:lnTo>
                  <a:lnTo>
                    <a:pt x="915" y="131"/>
                  </a:lnTo>
                  <a:lnTo>
                    <a:pt x="907" y="137"/>
                  </a:lnTo>
                  <a:lnTo>
                    <a:pt x="887" y="149"/>
                  </a:lnTo>
                  <a:lnTo>
                    <a:pt x="869" y="159"/>
                  </a:lnTo>
                  <a:lnTo>
                    <a:pt x="849" y="168"/>
                  </a:lnTo>
                  <a:lnTo>
                    <a:pt x="831" y="174"/>
                  </a:lnTo>
                  <a:lnTo>
                    <a:pt x="811" y="178"/>
                  </a:lnTo>
                  <a:lnTo>
                    <a:pt x="792" y="182"/>
                  </a:lnTo>
                  <a:lnTo>
                    <a:pt x="770" y="184"/>
                  </a:lnTo>
                  <a:lnTo>
                    <a:pt x="746" y="185"/>
                  </a:lnTo>
                  <a:lnTo>
                    <a:pt x="731" y="185"/>
                  </a:lnTo>
                  <a:lnTo>
                    <a:pt x="718" y="185"/>
                  </a:lnTo>
                  <a:lnTo>
                    <a:pt x="704" y="185"/>
                  </a:lnTo>
                  <a:lnTo>
                    <a:pt x="689" y="185"/>
                  </a:lnTo>
                  <a:lnTo>
                    <a:pt x="683" y="186"/>
                  </a:lnTo>
                  <a:lnTo>
                    <a:pt x="677" y="188"/>
                  </a:lnTo>
                  <a:lnTo>
                    <a:pt x="672" y="191"/>
                  </a:lnTo>
                  <a:lnTo>
                    <a:pt x="668" y="195"/>
                  </a:lnTo>
                  <a:lnTo>
                    <a:pt x="662" y="198"/>
                  </a:lnTo>
                  <a:lnTo>
                    <a:pt x="658" y="201"/>
                  </a:lnTo>
                  <a:lnTo>
                    <a:pt x="651" y="203"/>
                  </a:lnTo>
                  <a:lnTo>
                    <a:pt x="645" y="204"/>
                  </a:lnTo>
                  <a:lnTo>
                    <a:pt x="636" y="204"/>
                  </a:lnTo>
                  <a:lnTo>
                    <a:pt x="628" y="202"/>
                  </a:lnTo>
                  <a:lnTo>
                    <a:pt x="620" y="201"/>
                  </a:lnTo>
                  <a:lnTo>
                    <a:pt x="613" y="199"/>
                  </a:lnTo>
                  <a:lnTo>
                    <a:pt x="596" y="194"/>
                  </a:lnTo>
                  <a:lnTo>
                    <a:pt x="579" y="190"/>
                  </a:lnTo>
                  <a:lnTo>
                    <a:pt x="556" y="187"/>
                  </a:lnTo>
                  <a:lnTo>
                    <a:pt x="536" y="183"/>
                  </a:lnTo>
                  <a:lnTo>
                    <a:pt x="516" y="178"/>
                  </a:lnTo>
                  <a:lnTo>
                    <a:pt x="497" y="173"/>
                  </a:lnTo>
                  <a:lnTo>
                    <a:pt x="480" y="167"/>
                  </a:lnTo>
                  <a:lnTo>
                    <a:pt x="461" y="158"/>
                  </a:lnTo>
                  <a:lnTo>
                    <a:pt x="444" y="147"/>
                  </a:lnTo>
                  <a:lnTo>
                    <a:pt x="426" y="134"/>
                  </a:lnTo>
                  <a:lnTo>
                    <a:pt x="412" y="123"/>
                  </a:lnTo>
                  <a:lnTo>
                    <a:pt x="399" y="111"/>
                  </a:lnTo>
                  <a:lnTo>
                    <a:pt x="387" y="100"/>
                  </a:lnTo>
                  <a:lnTo>
                    <a:pt x="376" y="89"/>
                  </a:lnTo>
                  <a:lnTo>
                    <a:pt x="353" y="66"/>
                  </a:lnTo>
                  <a:lnTo>
                    <a:pt x="332" y="45"/>
                  </a:lnTo>
                  <a:lnTo>
                    <a:pt x="321" y="36"/>
                  </a:lnTo>
                  <a:lnTo>
                    <a:pt x="309" y="27"/>
                  </a:lnTo>
                  <a:lnTo>
                    <a:pt x="297" y="19"/>
                  </a:lnTo>
                  <a:lnTo>
                    <a:pt x="284" y="12"/>
                  </a:lnTo>
                  <a:lnTo>
                    <a:pt x="271" y="7"/>
                  </a:lnTo>
                  <a:lnTo>
                    <a:pt x="256" y="3"/>
                  </a:lnTo>
                  <a:lnTo>
                    <a:pt x="240" y="0"/>
                  </a:lnTo>
                  <a:lnTo>
                    <a:pt x="224" y="0"/>
                  </a:lnTo>
                  <a:lnTo>
                    <a:pt x="210" y="0"/>
                  </a:lnTo>
                  <a:lnTo>
                    <a:pt x="197" y="3"/>
                  </a:lnTo>
                  <a:lnTo>
                    <a:pt x="185" y="8"/>
                  </a:lnTo>
                  <a:lnTo>
                    <a:pt x="174" y="14"/>
                  </a:lnTo>
                  <a:lnTo>
                    <a:pt x="164" y="21"/>
                  </a:lnTo>
                  <a:lnTo>
                    <a:pt x="154" y="28"/>
                  </a:lnTo>
                  <a:lnTo>
                    <a:pt x="145" y="36"/>
                  </a:lnTo>
                  <a:lnTo>
                    <a:pt x="135" y="45"/>
                  </a:lnTo>
                  <a:lnTo>
                    <a:pt x="125" y="53"/>
                  </a:lnTo>
                  <a:lnTo>
                    <a:pt x="117" y="61"/>
                  </a:lnTo>
                  <a:lnTo>
                    <a:pt x="106" y="68"/>
                  </a:lnTo>
                  <a:lnTo>
                    <a:pt x="96" y="76"/>
                  </a:lnTo>
                  <a:lnTo>
                    <a:pt x="85" y="81"/>
                  </a:lnTo>
                  <a:lnTo>
                    <a:pt x="74" y="86"/>
                  </a:lnTo>
                  <a:lnTo>
                    <a:pt x="61" y="89"/>
                  </a:lnTo>
                  <a:lnTo>
                    <a:pt x="47" y="90"/>
                  </a:lnTo>
                  <a:lnTo>
                    <a:pt x="39" y="89"/>
                  </a:lnTo>
                  <a:lnTo>
                    <a:pt x="31" y="87"/>
                  </a:lnTo>
                  <a:lnTo>
                    <a:pt x="24" y="82"/>
                  </a:lnTo>
                  <a:lnTo>
                    <a:pt x="19" y="77"/>
                  </a:lnTo>
                  <a:lnTo>
                    <a:pt x="13" y="70"/>
                  </a:lnTo>
                  <a:lnTo>
                    <a:pt x="10" y="64"/>
                  </a:lnTo>
                  <a:lnTo>
                    <a:pt x="7" y="55"/>
                  </a:lnTo>
                  <a:lnTo>
                    <a:pt x="4" y="48"/>
                  </a:lnTo>
                  <a:lnTo>
                    <a:pt x="4" y="48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9D5D9096-2D48-4117-AA7D-BBD902990D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28775" y="2403476"/>
              <a:ext cx="1035050" cy="400050"/>
            </a:xfrm>
            <a:custGeom>
              <a:avLst/>
              <a:gdLst>
                <a:gd name="T0" fmla="*/ 804 w 2607"/>
                <a:gd name="T1" fmla="*/ 613 h 1008"/>
                <a:gd name="T2" fmla="*/ 709 w 2607"/>
                <a:gd name="T3" fmla="*/ 587 h 1008"/>
                <a:gd name="T4" fmla="*/ 632 w 2607"/>
                <a:gd name="T5" fmla="*/ 635 h 1008"/>
                <a:gd name="T6" fmla="*/ 465 w 2607"/>
                <a:gd name="T7" fmla="*/ 785 h 1008"/>
                <a:gd name="T8" fmla="*/ 399 w 2607"/>
                <a:gd name="T9" fmla="*/ 800 h 1008"/>
                <a:gd name="T10" fmla="*/ 330 w 2607"/>
                <a:gd name="T11" fmla="*/ 782 h 1008"/>
                <a:gd name="T12" fmla="*/ 310 w 2607"/>
                <a:gd name="T13" fmla="*/ 878 h 1008"/>
                <a:gd name="T14" fmla="*/ 249 w 2607"/>
                <a:gd name="T15" fmla="*/ 900 h 1008"/>
                <a:gd name="T16" fmla="*/ 179 w 2607"/>
                <a:gd name="T17" fmla="*/ 843 h 1008"/>
                <a:gd name="T18" fmla="*/ 134 w 2607"/>
                <a:gd name="T19" fmla="*/ 734 h 1008"/>
                <a:gd name="T20" fmla="*/ 134 w 2607"/>
                <a:gd name="T21" fmla="*/ 664 h 1008"/>
                <a:gd name="T22" fmla="*/ 51 w 2607"/>
                <a:gd name="T23" fmla="*/ 587 h 1008"/>
                <a:gd name="T24" fmla="*/ 16 w 2607"/>
                <a:gd name="T25" fmla="*/ 528 h 1008"/>
                <a:gd name="T26" fmla="*/ 137 w 2607"/>
                <a:gd name="T27" fmla="*/ 463 h 1008"/>
                <a:gd name="T28" fmla="*/ 247 w 2607"/>
                <a:gd name="T29" fmla="*/ 333 h 1008"/>
                <a:gd name="T30" fmla="*/ 286 w 2607"/>
                <a:gd name="T31" fmla="*/ 262 h 1008"/>
                <a:gd name="T32" fmla="*/ 275 w 2607"/>
                <a:gd name="T33" fmla="*/ 205 h 1008"/>
                <a:gd name="T34" fmla="*/ 247 w 2607"/>
                <a:gd name="T35" fmla="*/ 85 h 1008"/>
                <a:gd name="T36" fmla="*/ 344 w 2607"/>
                <a:gd name="T37" fmla="*/ 29 h 1008"/>
                <a:gd name="T38" fmla="*/ 628 w 2607"/>
                <a:gd name="T39" fmla="*/ 2 h 1008"/>
                <a:gd name="T40" fmla="*/ 728 w 2607"/>
                <a:gd name="T41" fmla="*/ 30 h 1008"/>
                <a:gd name="T42" fmla="*/ 822 w 2607"/>
                <a:gd name="T43" fmla="*/ 103 h 1008"/>
                <a:gd name="T44" fmla="*/ 889 w 2607"/>
                <a:gd name="T45" fmla="*/ 239 h 1008"/>
                <a:gd name="T46" fmla="*/ 924 w 2607"/>
                <a:gd name="T47" fmla="*/ 271 h 1008"/>
                <a:gd name="T48" fmla="*/ 991 w 2607"/>
                <a:gd name="T49" fmla="*/ 217 h 1008"/>
                <a:gd name="T50" fmla="*/ 1115 w 2607"/>
                <a:gd name="T51" fmla="*/ 162 h 1008"/>
                <a:gd name="T52" fmla="*/ 1250 w 2607"/>
                <a:gd name="T53" fmla="*/ 235 h 1008"/>
                <a:gd name="T54" fmla="*/ 1289 w 2607"/>
                <a:gd name="T55" fmla="*/ 273 h 1008"/>
                <a:gd name="T56" fmla="*/ 1333 w 2607"/>
                <a:gd name="T57" fmla="*/ 259 h 1008"/>
                <a:gd name="T58" fmla="*/ 1458 w 2607"/>
                <a:gd name="T59" fmla="*/ 195 h 1008"/>
                <a:gd name="T60" fmla="*/ 1562 w 2607"/>
                <a:gd name="T61" fmla="*/ 157 h 1008"/>
                <a:gd name="T62" fmla="*/ 1681 w 2607"/>
                <a:gd name="T63" fmla="*/ 159 h 1008"/>
                <a:gd name="T64" fmla="*/ 1734 w 2607"/>
                <a:gd name="T65" fmla="*/ 189 h 1008"/>
                <a:gd name="T66" fmla="*/ 1739 w 2607"/>
                <a:gd name="T67" fmla="*/ 261 h 1008"/>
                <a:gd name="T68" fmla="*/ 1652 w 2607"/>
                <a:gd name="T69" fmla="*/ 431 h 1008"/>
                <a:gd name="T70" fmla="*/ 1671 w 2607"/>
                <a:gd name="T71" fmla="*/ 523 h 1008"/>
                <a:gd name="T72" fmla="*/ 1751 w 2607"/>
                <a:gd name="T73" fmla="*/ 577 h 1008"/>
                <a:gd name="T74" fmla="*/ 1820 w 2607"/>
                <a:gd name="T75" fmla="*/ 559 h 1008"/>
                <a:gd name="T76" fmla="*/ 1916 w 2607"/>
                <a:gd name="T77" fmla="*/ 425 h 1008"/>
                <a:gd name="T78" fmla="*/ 2043 w 2607"/>
                <a:gd name="T79" fmla="*/ 381 h 1008"/>
                <a:gd name="T80" fmla="*/ 2190 w 2607"/>
                <a:gd name="T81" fmla="*/ 382 h 1008"/>
                <a:gd name="T82" fmla="*/ 2263 w 2607"/>
                <a:gd name="T83" fmla="*/ 388 h 1008"/>
                <a:gd name="T84" fmla="*/ 2366 w 2607"/>
                <a:gd name="T85" fmla="*/ 313 h 1008"/>
                <a:gd name="T86" fmla="*/ 2604 w 2607"/>
                <a:gd name="T87" fmla="*/ 318 h 1008"/>
                <a:gd name="T88" fmla="*/ 2590 w 2607"/>
                <a:gd name="T89" fmla="*/ 395 h 1008"/>
                <a:gd name="T90" fmla="*/ 2562 w 2607"/>
                <a:gd name="T91" fmla="*/ 442 h 1008"/>
                <a:gd name="T92" fmla="*/ 2590 w 2607"/>
                <a:gd name="T93" fmla="*/ 548 h 1008"/>
                <a:gd name="T94" fmla="*/ 2591 w 2607"/>
                <a:gd name="T95" fmla="*/ 628 h 1008"/>
                <a:gd name="T96" fmla="*/ 2525 w 2607"/>
                <a:gd name="T97" fmla="*/ 812 h 1008"/>
                <a:gd name="T98" fmla="*/ 2458 w 2607"/>
                <a:gd name="T99" fmla="*/ 896 h 1008"/>
                <a:gd name="T100" fmla="*/ 2368 w 2607"/>
                <a:gd name="T101" fmla="*/ 911 h 1008"/>
                <a:gd name="T102" fmla="*/ 2282 w 2607"/>
                <a:gd name="T103" fmla="*/ 918 h 1008"/>
                <a:gd name="T104" fmla="*/ 2185 w 2607"/>
                <a:gd name="T105" fmla="*/ 915 h 1008"/>
                <a:gd name="T106" fmla="*/ 2130 w 2607"/>
                <a:gd name="T107" fmla="*/ 907 h 1008"/>
                <a:gd name="T108" fmla="*/ 2041 w 2607"/>
                <a:gd name="T109" fmla="*/ 972 h 1008"/>
                <a:gd name="T110" fmla="*/ 1896 w 2607"/>
                <a:gd name="T111" fmla="*/ 989 h 1008"/>
                <a:gd name="T112" fmla="*/ 1843 w 2607"/>
                <a:gd name="T113" fmla="*/ 1007 h 1008"/>
                <a:gd name="T114" fmla="*/ 1748 w 2607"/>
                <a:gd name="T115" fmla="*/ 991 h 1008"/>
                <a:gd name="T116" fmla="*/ 1604 w 2607"/>
                <a:gd name="T117" fmla="*/ 927 h 1008"/>
                <a:gd name="T118" fmla="*/ 1489 w 2607"/>
                <a:gd name="T119" fmla="*/ 823 h 1008"/>
                <a:gd name="T120" fmla="*/ 1377 w 2607"/>
                <a:gd name="T121" fmla="*/ 812 h 1008"/>
                <a:gd name="T122" fmla="*/ 1298 w 2607"/>
                <a:gd name="T123" fmla="*/ 872 h 1008"/>
                <a:gd name="T124" fmla="*/ 1216 w 2607"/>
                <a:gd name="T125" fmla="*/ 886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07" h="1008">
                  <a:moveTo>
                    <a:pt x="1196" y="852"/>
                  </a:moveTo>
                  <a:lnTo>
                    <a:pt x="961" y="664"/>
                  </a:lnTo>
                  <a:lnTo>
                    <a:pt x="919" y="651"/>
                  </a:lnTo>
                  <a:lnTo>
                    <a:pt x="881" y="642"/>
                  </a:lnTo>
                  <a:lnTo>
                    <a:pt x="863" y="637"/>
                  </a:lnTo>
                  <a:lnTo>
                    <a:pt x="844" y="631"/>
                  </a:lnTo>
                  <a:lnTo>
                    <a:pt x="825" y="623"/>
                  </a:lnTo>
                  <a:lnTo>
                    <a:pt x="804" y="613"/>
                  </a:lnTo>
                  <a:lnTo>
                    <a:pt x="786" y="603"/>
                  </a:lnTo>
                  <a:lnTo>
                    <a:pt x="769" y="594"/>
                  </a:lnTo>
                  <a:lnTo>
                    <a:pt x="760" y="590"/>
                  </a:lnTo>
                  <a:lnTo>
                    <a:pt x="751" y="587"/>
                  </a:lnTo>
                  <a:lnTo>
                    <a:pt x="741" y="586"/>
                  </a:lnTo>
                  <a:lnTo>
                    <a:pt x="730" y="585"/>
                  </a:lnTo>
                  <a:lnTo>
                    <a:pt x="719" y="586"/>
                  </a:lnTo>
                  <a:lnTo>
                    <a:pt x="709" y="587"/>
                  </a:lnTo>
                  <a:lnTo>
                    <a:pt x="701" y="589"/>
                  </a:lnTo>
                  <a:lnTo>
                    <a:pt x="691" y="591"/>
                  </a:lnTo>
                  <a:lnTo>
                    <a:pt x="683" y="595"/>
                  </a:lnTo>
                  <a:lnTo>
                    <a:pt x="675" y="599"/>
                  </a:lnTo>
                  <a:lnTo>
                    <a:pt x="667" y="604"/>
                  </a:lnTo>
                  <a:lnTo>
                    <a:pt x="660" y="609"/>
                  </a:lnTo>
                  <a:lnTo>
                    <a:pt x="646" y="621"/>
                  </a:lnTo>
                  <a:lnTo>
                    <a:pt x="632" y="635"/>
                  </a:lnTo>
                  <a:lnTo>
                    <a:pt x="618" y="649"/>
                  </a:lnTo>
                  <a:lnTo>
                    <a:pt x="602" y="664"/>
                  </a:lnTo>
                  <a:lnTo>
                    <a:pt x="577" y="688"/>
                  </a:lnTo>
                  <a:lnTo>
                    <a:pt x="553" y="708"/>
                  </a:lnTo>
                  <a:lnTo>
                    <a:pt x="529" y="728"/>
                  </a:lnTo>
                  <a:lnTo>
                    <a:pt x="502" y="750"/>
                  </a:lnTo>
                  <a:lnTo>
                    <a:pt x="483" y="769"/>
                  </a:lnTo>
                  <a:lnTo>
                    <a:pt x="465" y="785"/>
                  </a:lnTo>
                  <a:lnTo>
                    <a:pt x="456" y="791"/>
                  </a:lnTo>
                  <a:lnTo>
                    <a:pt x="445" y="797"/>
                  </a:lnTo>
                  <a:lnTo>
                    <a:pt x="439" y="799"/>
                  </a:lnTo>
                  <a:lnTo>
                    <a:pt x="434" y="800"/>
                  </a:lnTo>
                  <a:lnTo>
                    <a:pt x="427" y="801"/>
                  </a:lnTo>
                  <a:lnTo>
                    <a:pt x="420" y="801"/>
                  </a:lnTo>
                  <a:lnTo>
                    <a:pt x="409" y="801"/>
                  </a:lnTo>
                  <a:lnTo>
                    <a:pt x="399" y="800"/>
                  </a:lnTo>
                  <a:lnTo>
                    <a:pt x="390" y="798"/>
                  </a:lnTo>
                  <a:lnTo>
                    <a:pt x="381" y="796"/>
                  </a:lnTo>
                  <a:lnTo>
                    <a:pt x="372" y="791"/>
                  </a:lnTo>
                  <a:lnTo>
                    <a:pt x="364" y="787"/>
                  </a:lnTo>
                  <a:lnTo>
                    <a:pt x="356" y="780"/>
                  </a:lnTo>
                  <a:lnTo>
                    <a:pt x="348" y="773"/>
                  </a:lnTo>
                  <a:lnTo>
                    <a:pt x="339" y="777"/>
                  </a:lnTo>
                  <a:lnTo>
                    <a:pt x="330" y="782"/>
                  </a:lnTo>
                  <a:lnTo>
                    <a:pt x="330" y="802"/>
                  </a:lnTo>
                  <a:lnTo>
                    <a:pt x="328" y="823"/>
                  </a:lnTo>
                  <a:lnTo>
                    <a:pt x="327" y="832"/>
                  </a:lnTo>
                  <a:lnTo>
                    <a:pt x="325" y="843"/>
                  </a:lnTo>
                  <a:lnTo>
                    <a:pt x="322" y="853"/>
                  </a:lnTo>
                  <a:lnTo>
                    <a:pt x="318" y="861"/>
                  </a:lnTo>
                  <a:lnTo>
                    <a:pt x="315" y="870"/>
                  </a:lnTo>
                  <a:lnTo>
                    <a:pt x="310" y="878"/>
                  </a:lnTo>
                  <a:lnTo>
                    <a:pt x="304" y="884"/>
                  </a:lnTo>
                  <a:lnTo>
                    <a:pt x="299" y="891"/>
                  </a:lnTo>
                  <a:lnTo>
                    <a:pt x="292" y="895"/>
                  </a:lnTo>
                  <a:lnTo>
                    <a:pt x="284" y="899"/>
                  </a:lnTo>
                  <a:lnTo>
                    <a:pt x="276" y="901"/>
                  </a:lnTo>
                  <a:lnTo>
                    <a:pt x="267" y="901"/>
                  </a:lnTo>
                  <a:lnTo>
                    <a:pt x="258" y="901"/>
                  </a:lnTo>
                  <a:lnTo>
                    <a:pt x="249" y="900"/>
                  </a:lnTo>
                  <a:lnTo>
                    <a:pt x="242" y="899"/>
                  </a:lnTo>
                  <a:lnTo>
                    <a:pt x="234" y="897"/>
                  </a:lnTo>
                  <a:lnTo>
                    <a:pt x="220" y="892"/>
                  </a:lnTo>
                  <a:lnTo>
                    <a:pt x="205" y="885"/>
                  </a:lnTo>
                  <a:lnTo>
                    <a:pt x="198" y="876"/>
                  </a:lnTo>
                  <a:lnTo>
                    <a:pt x="192" y="865"/>
                  </a:lnTo>
                  <a:lnTo>
                    <a:pt x="184" y="854"/>
                  </a:lnTo>
                  <a:lnTo>
                    <a:pt x="179" y="843"/>
                  </a:lnTo>
                  <a:lnTo>
                    <a:pt x="168" y="817"/>
                  </a:lnTo>
                  <a:lnTo>
                    <a:pt x="157" y="792"/>
                  </a:lnTo>
                  <a:lnTo>
                    <a:pt x="151" y="780"/>
                  </a:lnTo>
                  <a:lnTo>
                    <a:pt x="143" y="770"/>
                  </a:lnTo>
                  <a:lnTo>
                    <a:pt x="134" y="760"/>
                  </a:lnTo>
                  <a:lnTo>
                    <a:pt x="123" y="750"/>
                  </a:lnTo>
                  <a:lnTo>
                    <a:pt x="128" y="742"/>
                  </a:lnTo>
                  <a:lnTo>
                    <a:pt x="134" y="734"/>
                  </a:lnTo>
                  <a:lnTo>
                    <a:pt x="136" y="731"/>
                  </a:lnTo>
                  <a:lnTo>
                    <a:pt x="138" y="726"/>
                  </a:lnTo>
                  <a:lnTo>
                    <a:pt x="140" y="722"/>
                  </a:lnTo>
                  <a:lnTo>
                    <a:pt x="140" y="717"/>
                  </a:lnTo>
                  <a:lnTo>
                    <a:pt x="140" y="703"/>
                  </a:lnTo>
                  <a:lnTo>
                    <a:pt x="139" y="689"/>
                  </a:lnTo>
                  <a:lnTo>
                    <a:pt x="137" y="676"/>
                  </a:lnTo>
                  <a:lnTo>
                    <a:pt x="134" y="664"/>
                  </a:lnTo>
                  <a:lnTo>
                    <a:pt x="129" y="652"/>
                  </a:lnTo>
                  <a:lnTo>
                    <a:pt x="123" y="641"/>
                  </a:lnTo>
                  <a:lnTo>
                    <a:pt x="114" y="631"/>
                  </a:lnTo>
                  <a:lnTo>
                    <a:pt x="103" y="622"/>
                  </a:lnTo>
                  <a:lnTo>
                    <a:pt x="89" y="611"/>
                  </a:lnTo>
                  <a:lnTo>
                    <a:pt x="76" y="602"/>
                  </a:lnTo>
                  <a:lnTo>
                    <a:pt x="63" y="595"/>
                  </a:lnTo>
                  <a:lnTo>
                    <a:pt x="51" y="587"/>
                  </a:lnTo>
                  <a:lnTo>
                    <a:pt x="39" y="580"/>
                  </a:lnTo>
                  <a:lnTo>
                    <a:pt x="26" y="571"/>
                  </a:lnTo>
                  <a:lnTo>
                    <a:pt x="13" y="560"/>
                  </a:lnTo>
                  <a:lnTo>
                    <a:pt x="0" y="548"/>
                  </a:lnTo>
                  <a:lnTo>
                    <a:pt x="0" y="548"/>
                  </a:lnTo>
                  <a:lnTo>
                    <a:pt x="5" y="541"/>
                  </a:lnTo>
                  <a:lnTo>
                    <a:pt x="11" y="533"/>
                  </a:lnTo>
                  <a:lnTo>
                    <a:pt x="16" y="528"/>
                  </a:lnTo>
                  <a:lnTo>
                    <a:pt x="21" y="521"/>
                  </a:lnTo>
                  <a:lnTo>
                    <a:pt x="34" y="513"/>
                  </a:lnTo>
                  <a:lnTo>
                    <a:pt x="48" y="505"/>
                  </a:lnTo>
                  <a:lnTo>
                    <a:pt x="79" y="493"/>
                  </a:lnTo>
                  <a:lnTo>
                    <a:pt x="112" y="479"/>
                  </a:lnTo>
                  <a:lnTo>
                    <a:pt x="121" y="474"/>
                  </a:lnTo>
                  <a:lnTo>
                    <a:pt x="129" y="468"/>
                  </a:lnTo>
                  <a:lnTo>
                    <a:pt x="137" y="463"/>
                  </a:lnTo>
                  <a:lnTo>
                    <a:pt x="144" y="458"/>
                  </a:lnTo>
                  <a:lnTo>
                    <a:pt x="156" y="445"/>
                  </a:lnTo>
                  <a:lnTo>
                    <a:pt x="167" y="432"/>
                  </a:lnTo>
                  <a:lnTo>
                    <a:pt x="188" y="402"/>
                  </a:lnTo>
                  <a:lnTo>
                    <a:pt x="213" y="372"/>
                  </a:lnTo>
                  <a:lnTo>
                    <a:pt x="225" y="358"/>
                  </a:lnTo>
                  <a:lnTo>
                    <a:pt x="236" y="346"/>
                  </a:lnTo>
                  <a:lnTo>
                    <a:pt x="247" y="333"/>
                  </a:lnTo>
                  <a:lnTo>
                    <a:pt x="258" y="319"/>
                  </a:lnTo>
                  <a:lnTo>
                    <a:pt x="267" y="309"/>
                  </a:lnTo>
                  <a:lnTo>
                    <a:pt x="276" y="299"/>
                  </a:lnTo>
                  <a:lnTo>
                    <a:pt x="279" y="294"/>
                  </a:lnTo>
                  <a:lnTo>
                    <a:pt x="283" y="289"/>
                  </a:lnTo>
                  <a:lnTo>
                    <a:pt x="285" y="283"/>
                  </a:lnTo>
                  <a:lnTo>
                    <a:pt x="286" y="276"/>
                  </a:lnTo>
                  <a:lnTo>
                    <a:pt x="286" y="262"/>
                  </a:lnTo>
                  <a:lnTo>
                    <a:pt x="286" y="249"/>
                  </a:lnTo>
                  <a:lnTo>
                    <a:pt x="286" y="236"/>
                  </a:lnTo>
                  <a:lnTo>
                    <a:pt x="286" y="221"/>
                  </a:lnTo>
                  <a:lnTo>
                    <a:pt x="286" y="218"/>
                  </a:lnTo>
                  <a:lnTo>
                    <a:pt x="284" y="215"/>
                  </a:lnTo>
                  <a:lnTo>
                    <a:pt x="283" y="212"/>
                  </a:lnTo>
                  <a:lnTo>
                    <a:pt x="281" y="210"/>
                  </a:lnTo>
                  <a:lnTo>
                    <a:pt x="275" y="205"/>
                  </a:lnTo>
                  <a:lnTo>
                    <a:pt x="272" y="198"/>
                  </a:lnTo>
                  <a:lnTo>
                    <a:pt x="262" y="174"/>
                  </a:lnTo>
                  <a:lnTo>
                    <a:pt x="255" y="152"/>
                  </a:lnTo>
                  <a:lnTo>
                    <a:pt x="251" y="140"/>
                  </a:lnTo>
                  <a:lnTo>
                    <a:pt x="249" y="128"/>
                  </a:lnTo>
                  <a:lnTo>
                    <a:pt x="247" y="116"/>
                  </a:lnTo>
                  <a:lnTo>
                    <a:pt x="247" y="102"/>
                  </a:lnTo>
                  <a:lnTo>
                    <a:pt x="247" y="85"/>
                  </a:lnTo>
                  <a:lnTo>
                    <a:pt x="247" y="69"/>
                  </a:lnTo>
                  <a:lnTo>
                    <a:pt x="247" y="54"/>
                  </a:lnTo>
                  <a:lnTo>
                    <a:pt x="247" y="36"/>
                  </a:lnTo>
                  <a:lnTo>
                    <a:pt x="276" y="36"/>
                  </a:lnTo>
                  <a:lnTo>
                    <a:pt x="303" y="35"/>
                  </a:lnTo>
                  <a:lnTo>
                    <a:pt x="316" y="34"/>
                  </a:lnTo>
                  <a:lnTo>
                    <a:pt x="330" y="32"/>
                  </a:lnTo>
                  <a:lnTo>
                    <a:pt x="344" y="29"/>
                  </a:lnTo>
                  <a:lnTo>
                    <a:pt x="358" y="24"/>
                  </a:lnTo>
                  <a:lnTo>
                    <a:pt x="358" y="24"/>
                  </a:lnTo>
                  <a:lnTo>
                    <a:pt x="560" y="5"/>
                  </a:lnTo>
                  <a:lnTo>
                    <a:pt x="575" y="5"/>
                  </a:lnTo>
                  <a:lnTo>
                    <a:pt x="588" y="5"/>
                  </a:lnTo>
                  <a:lnTo>
                    <a:pt x="601" y="5"/>
                  </a:lnTo>
                  <a:lnTo>
                    <a:pt x="615" y="5"/>
                  </a:lnTo>
                  <a:lnTo>
                    <a:pt x="628" y="2"/>
                  </a:lnTo>
                  <a:lnTo>
                    <a:pt x="641" y="0"/>
                  </a:lnTo>
                  <a:lnTo>
                    <a:pt x="651" y="0"/>
                  </a:lnTo>
                  <a:lnTo>
                    <a:pt x="659" y="1"/>
                  </a:lnTo>
                  <a:lnTo>
                    <a:pt x="667" y="2"/>
                  </a:lnTo>
                  <a:lnTo>
                    <a:pt x="675" y="4"/>
                  </a:lnTo>
                  <a:lnTo>
                    <a:pt x="689" y="8"/>
                  </a:lnTo>
                  <a:lnTo>
                    <a:pt x="702" y="15"/>
                  </a:lnTo>
                  <a:lnTo>
                    <a:pt x="728" y="30"/>
                  </a:lnTo>
                  <a:lnTo>
                    <a:pt x="757" y="47"/>
                  </a:lnTo>
                  <a:lnTo>
                    <a:pt x="769" y="54"/>
                  </a:lnTo>
                  <a:lnTo>
                    <a:pt x="780" y="61"/>
                  </a:lnTo>
                  <a:lnTo>
                    <a:pt x="789" y="68"/>
                  </a:lnTo>
                  <a:lnTo>
                    <a:pt x="798" y="75"/>
                  </a:lnTo>
                  <a:lnTo>
                    <a:pt x="807" y="84"/>
                  </a:lnTo>
                  <a:lnTo>
                    <a:pt x="814" y="93"/>
                  </a:lnTo>
                  <a:lnTo>
                    <a:pt x="822" y="103"/>
                  </a:lnTo>
                  <a:lnTo>
                    <a:pt x="829" y="114"/>
                  </a:lnTo>
                  <a:lnTo>
                    <a:pt x="843" y="137"/>
                  </a:lnTo>
                  <a:lnTo>
                    <a:pt x="855" y="158"/>
                  </a:lnTo>
                  <a:lnTo>
                    <a:pt x="865" y="179"/>
                  </a:lnTo>
                  <a:lnTo>
                    <a:pt x="875" y="204"/>
                  </a:lnTo>
                  <a:lnTo>
                    <a:pt x="879" y="216"/>
                  </a:lnTo>
                  <a:lnTo>
                    <a:pt x="883" y="228"/>
                  </a:lnTo>
                  <a:lnTo>
                    <a:pt x="889" y="239"/>
                  </a:lnTo>
                  <a:lnTo>
                    <a:pt x="894" y="249"/>
                  </a:lnTo>
                  <a:lnTo>
                    <a:pt x="897" y="255"/>
                  </a:lnTo>
                  <a:lnTo>
                    <a:pt x="901" y="259"/>
                  </a:lnTo>
                  <a:lnTo>
                    <a:pt x="905" y="262"/>
                  </a:lnTo>
                  <a:lnTo>
                    <a:pt x="909" y="265"/>
                  </a:lnTo>
                  <a:lnTo>
                    <a:pt x="913" y="267"/>
                  </a:lnTo>
                  <a:lnTo>
                    <a:pt x="919" y="270"/>
                  </a:lnTo>
                  <a:lnTo>
                    <a:pt x="924" y="271"/>
                  </a:lnTo>
                  <a:lnTo>
                    <a:pt x="931" y="272"/>
                  </a:lnTo>
                  <a:lnTo>
                    <a:pt x="938" y="271"/>
                  </a:lnTo>
                  <a:lnTo>
                    <a:pt x="945" y="267"/>
                  </a:lnTo>
                  <a:lnTo>
                    <a:pt x="950" y="263"/>
                  </a:lnTo>
                  <a:lnTo>
                    <a:pt x="956" y="258"/>
                  </a:lnTo>
                  <a:lnTo>
                    <a:pt x="965" y="245"/>
                  </a:lnTo>
                  <a:lnTo>
                    <a:pt x="975" y="232"/>
                  </a:lnTo>
                  <a:lnTo>
                    <a:pt x="991" y="217"/>
                  </a:lnTo>
                  <a:lnTo>
                    <a:pt x="1007" y="205"/>
                  </a:lnTo>
                  <a:lnTo>
                    <a:pt x="1023" y="194"/>
                  </a:lnTo>
                  <a:lnTo>
                    <a:pt x="1039" y="184"/>
                  </a:lnTo>
                  <a:lnTo>
                    <a:pt x="1056" y="177"/>
                  </a:lnTo>
                  <a:lnTo>
                    <a:pt x="1074" y="171"/>
                  </a:lnTo>
                  <a:lnTo>
                    <a:pt x="1094" y="166"/>
                  </a:lnTo>
                  <a:lnTo>
                    <a:pt x="1115" y="162"/>
                  </a:lnTo>
                  <a:lnTo>
                    <a:pt x="1115" y="162"/>
                  </a:lnTo>
                  <a:lnTo>
                    <a:pt x="1133" y="174"/>
                  </a:lnTo>
                  <a:lnTo>
                    <a:pt x="1150" y="183"/>
                  </a:lnTo>
                  <a:lnTo>
                    <a:pt x="1166" y="191"/>
                  </a:lnTo>
                  <a:lnTo>
                    <a:pt x="1182" y="198"/>
                  </a:lnTo>
                  <a:lnTo>
                    <a:pt x="1200" y="206"/>
                  </a:lnTo>
                  <a:lnTo>
                    <a:pt x="1216" y="215"/>
                  </a:lnTo>
                  <a:lnTo>
                    <a:pt x="1233" y="223"/>
                  </a:lnTo>
                  <a:lnTo>
                    <a:pt x="1250" y="235"/>
                  </a:lnTo>
                  <a:lnTo>
                    <a:pt x="1257" y="240"/>
                  </a:lnTo>
                  <a:lnTo>
                    <a:pt x="1262" y="247"/>
                  </a:lnTo>
                  <a:lnTo>
                    <a:pt x="1267" y="253"/>
                  </a:lnTo>
                  <a:lnTo>
                    <a:pt x="1272" y="260"/>
                  </a:lnTo>
                  <a:lnTo>
                    <a:pt x="1277" y="265"/>
                  </a:lnTo>
                  <a:lnTo>
                    <a:pt x="1283" y="270"/>
                  </a:lnTo>
                  <a:lnTo>
                    <a:pt x="1286" y="272"/>
                  </a:lnTo>
                  <a:lnTo>
                    <a:pt x="1289" y="273"/>
                  </a:lnTo>
                  <a:lnTo>
                    <a:pt x="1294" y="274"/>
                  </a:lnTo>
                  <a:lnTo>
                    <a:pt x="1298" y="274"/>
                  </a:lnTo>
                  <a:lnTo>
                    <a:pt x="1303" y="274"/>
                  </a:lnTo>
                  <a:lnTo>
                    <a:pt x="1309" y="273"/>
                  </a:lnTo>
                  <a:lnTo>
                    <a:pt x="1313" y="272"/>
                  </a:lnTo>
                  <a:lnTo>
                    <a:pt x="1317" y="270"/>
                  </a:lnTo>
                  <a:lnTo>
                    <a:pt x="1325" y="265"/>
                  </a:lnTo>
                  <a:lnTo>
                    <a:pt x="1333" y="259"/>
                  </a:lnTo>
                  <a:lnTo>
                    <a:pt x="1340" y="252"/>
                  </a:lnTo>
                  <a:lnTo>
                    <a:pt x="1348" y="245"/>
                  </a:lnTo>
                  <a:lnTo>
                    <a:pt x="1355" y="238"/>
                  </a:lnTo>
                  <a:lnTo>
                    <a:pt x="1365" y="232"/>
                  </a:lnTo>
                  <a:lnTo>
                    <a:pt x="1388" y="219"/>
                  </a:lnTo>
                  <a:lnTo>
                    <a:pt x="1409" y="209"/>
                  </a:lnTo>
                  <a:lnTo>
                    <a:pt x="1432" y="202"/>
                  </a:lnTo>
                  <a:lnTo>
                    <a:pt x="1458" y="195"/>
                  </a:lnTo>
                  <a:lnTo>
                    <a:pt x="1474" y="191"/>
                  </a:lnTo>
                  <a:lnTo>
                    <a:pt x="1490" y="184"/>
                  </a:lnTo>
                  <a:lnTo>
                    <a:pt x="1504" y="178"/>
                  </a:lnTo>
                  <a:lnTo>
                    <a:pt x="1517" y="171"/>
                  </a:lnTo>
                  <a:lnTo>
                    <a:pt x="1531" y="166"/>
                  </a:lnTo>
                  <a:lnTo>
                    <a:pt x="1545" y="161"/>
                  </a:lnTo>
                  <a:lnTo>
                    <a:pt x="1553" y="159"/>
                  </a:lnTo>
                  <a:lnTo>
                    <a:pt x="1562" y="157"/>
                  </a:lnTo>
                  <a:lnTo>
                    <a:pt x="1570" y="156"/>
                  </a:lnTo>
                  <a:lnTo>
                    <a:pt x="1579" y="156"/>
                  </a:lnTo>
                  <a:lnTo>
                    <a:pt x="1597" y="156"/>
                  </a:lnTo>
                  <a:lnTo>
                    <a:pt x="1613" y="156"/>
                  </a:lnTo>
                  <a:lnTo>
                    <a:pt x="1630" y="156"/>
                  </a:lnTo>
                  <a:lnTo>
                    <a:pt x="1647" y="156"/>
                  </a:lnTo>
                  <a:lnTo>
                    <a:pt x="1664" y="157"/>
                  </a:lnTo>
                  <a:lnTo>
                    <a:pt x="1681" y="159"/>
                  </a:lnTo>
                  <a:lnTo>
                    <a:pt x="1689" y="162"/>
                  </a:lnTo>
                  <a:lnTo>
                    <a:pt x="1698" y="164"/>
                  </a:lnTo>
                  <a:lnTo>
                    <a:pt x="1705" y="167"/>
                  </a:lnTo>
                  <a:lnTo>
                    <a:pt x="1712" y="170"/>
                  </a:lnTo>
                  <a:lnTo>
                    <a:pt x="1718" y="174"/>
                  </a:lnTo>
                  <a:lnTo>
                    <a:pt x="1725" y="178"/>
                  </a:lnTo>
                  <a:lnTo>
                    <a:pt x="1730" y="183"/>
                  </a:lnTo>
                  <a:lnTo>
                    <a:pt x="1734" y="189"/>
                  </a:lnTo>
                  <a:lnTo>
                    <a:pt x="1739" y="195"/>
                  </a:lnTo>
                  <a:lnTo>
                    <a:pt x="1741" y="202"/>
                  </a:lnTo>
                  <a:lnTo>
                    <a:pt x="1743" y="209"/>
                  </a:lnTo>
                  <a:lnTo>
                    <a:pt x="1743" y="217"/>
                  </a:lnTo>
                  <a:lnTo>
                    <a:pt x="1743" y="229"/>
                  </a:lnTo>
                  <a:lnTo>
                    <a:pt x="1742" y="239"/>
                  </a:lnTo>
                  <a:lnTo>
                    <a:pt x="1741" y="250"/>
                  </a:lnTo>
                  <a:lnTo>
                    <a:pt x="1739" y="261"/>
                  </a:lnTo>
                  <a:lnTo>
                    <a:pt x="1733" y="280"/>
                  </a:lnTo>
                  <a:lnTo>
                    <a:pt x="1726" y="299"/>
                  </a:lnTo>
                  <a:lnTo>
                    <a:pt x="1708" y="334"/>
                  </a:lnTo>
                  <a:lnTo>
                    <a:pt x="1687" y="375"/>
                  </a:lnTo>
                  <a:lnTo>
                    <a:pt x="1675" y="395"/>
                  </a:lnTo>
                  <a:lnTo>
                    <a:pt x="1662" y="413"/>
                  </a:lnTo>
                  <a:lnTo>
                    <a:pt x="1657" y="422"/>
                  </a:lnTo>
                  <a:lnTo>
                    <a:pt x="1652" y="431"/>
                  </a:lnTo>
                  <a:lnTo>
                    <a:pt x="1649" y="441"/>
                  </a:lnTo>
                  <a:lnTo>
                    <a:pt x="1648" y="453"/>
                  </a:lnTo>
                  <a:lnTo>
                    <a:pt x="1649" y="466"/>
                  </a:lnTo>
                  <a:lnTo>
                    <a:pt x="1651" y="479"/>
                  </a:lnTo>
                  <a:lnTo>
                    <a:pt x="1653" y="491"/>
                  </a:lnTo>
                  <a:lnTo>
                    <a:pt x="1659" y="503"/>
                  </a:lnTo>
                  <a:lnTo>
                    <a:pt x="1664" y="514"/>
                  </a:lnTo>
                  <a:lnTo>
                    <a:pt x="1671" y="523"/>
                  </a:lnTo>
                  <a:lnTo>
                    <a:pt x="1677" y="533"/>
                  </a:lnTo>
                  <a:lnTo>
                    <a:pt x="1686" y="543"/>
                  </a:lnTo>
                  <a:lnTo>
                    <a:pt x="1694" y="550"/>
                  </a:lnTo>
                  <a:lnTo>
                    <a:pt x="1705" y="558"/>
                  </a:lnTo>
                  <a:lnTo>
                    <a:pt x="1715" y="564"/>
                  </a:lnTo>
                  <a:lnTo>
                    <a:pt x="1727" y="570"/>
                  </a:lnTo>
                  <a:lnTo>
                    <a:pt x="1738" y="574"/>
                  </a:lnTo>
                  <a:lnTo>
                    <a:pt x="1751" y="577"/>
                  </a:lnTo>
                  <a:lnTo>
                    <a:pt x="1762" y="579"/>
                  </a:lnTo>
                  <a:lnTo>
                    <a:pt x="1775" y="580"/>
                  </a:lnTo>
                  <a:lnTo>
                    <a:pt x="1783" y="580"/>
                  </a:lnTo>
                  <a:lnTo>
                    <a:pt x="1789" y="579"/>
                  </a:lnTo>
                  <a:lnTo>
                    <a:pt x="1795" y="576"/>
                  </a:lnTo>
                  <a:lnTo>
                    <a:pt x="1800" y="574"/>
                  </a:lnTo>
                  <a:lnTo>
                    <a:pt x="1810" y="568"/>
                  </a:lnTo>
                  <a:lnTo>
                    <a:pt x="1820" y="559"/>
                  </a:lnTo>
                  <a:lnTo>
                    <a:pt x="1836" y="540"/>
                  </a:lnTo>
                  <a:lnTo>
                    <a:pt x="1853" y="518"/>
                  </a:lnTo>
                  <a:lnTo>
                    <a:pt x="1866" y="503"/>
                  </a:lnTo>
                  <a:lnTo>
                    <a:pt x="1879" y="489"/>
                  </a:lnTo>
                  <a:lnTo>
                    <a:pt x="1890" y="474"/>
                  </a:lnTo>
                  <a:lnTo>
                    <a:pt x="1901" y="456"/>
                  </a:lnTo>
                  <a:lnTo>
                    <a:pt x="1908" y="439"/>
                  </a:lnTo>
                  <a:lnTo>
                    <a:pt x="1916" y="425"/>
                  </a:lnTo>
                  <a:lnTo>
                    <a:pt x="1921" y="419"/>
                  </a:lnTo>
                  <a:lnTo>
                    <a:pt x="1927" y="413"/>
                  </a:lnTo>
                  <a:lnTo>
                    <a:pt x="1934" y="409"/>
                  </a:lnTo>
                  <a:lnTo>
                    <a:pt x="1943" y="406"/>
                  </a:lnTo>
                  <a:lnTo>
                    <a:pt x="1971" y="399"/>
                  </a:lnTo>
                  <a:lnTo>
                    <a:pt x="1996" y="393"/>
                  </a:lnTo>
                  <a:lnTo>
                    <a:pt x="2021" y="386"/>
                  </a:lnTo>
                  <a:lnTo>
                    <a:pt x="2043" y="381"/>
                  </a:lnTo>
                  <a:lnTo>
                    <a:pt x="2067" y="377"/>
                  </a:lnTo>
                  <a:lnTo>
                    <a:pt x="2091" y="372"/>
                  </a:lnTo>
                  <a:lnTo>
                    <a:pt x="2117" y="370"/>
                  </a:lnTo>
                  <a:lnTo>
                    <a:pt x="2146" y="369"/>
                  </a:lnTo>
                  <a:lnTo>
                    <a:pt x="2158" y="370"/>
                  </a:lnTo>
                  <a:lnTo>
                    <a:pt x="2170" y="373"/>
                  </a:lnTo>
                  <a:lnTo>
                    <a:pt x="2180" y="378"/>
                  </a:lnTo>
                  <a:lnTo>
                    <a:pt x="2190" y="382"/>
                  </a:lnTo>
                  <a:lnTo>
                    <a:pt x="2201" y="386"/>
                  </a:lnTo>
                  <a:lnTo>
                    <a:pt x="2211" y="391"/>
                  </a:lnTo>
                  <a:lnTo>
                    <a:pt x="2223" y="394"/>
                  </a:lnTo>
                  <a:lnTo>
                    <a:pt x="2236" y="395"/>
                  </a:lnTo>
                  <a:lnTo>
                    <a:pt x="2243" y="394"/>
                  </a:lnTo>
                  <a:lnTo>
                    <a:pt x="2251" y="393"/>
                  </a:lnTo>
                  <a:lnTo>
                    <a:pt x="2257" y="391"/>
                  </a:lnTo>
                  <a:lnTo>
                    <a:pt x="2263" y="388"/>
                  </a:lnTo>
                  <a:lnTo>
                    <a:pt x="2274" y="381"/>
                  </a:lnTo>
                  <a:lnTo>
                    <a:pt x="2284" y="372"/>
                  </a:lnTo>
                  <a:lnTo>
                    <a:pt x="2295" y="361"/>
                  </a:lnTo>
                  <a:lnTo>
                    <a:pt x="2305" y="352"/>
                  </a:lnTo>
                  <a:lnTo>
                    <a:pt x="2317" y="342"/>
                  </a:lnTo>
                  <a:lnTo>
                    <a:pt x="2329" y="333"/>
                  </a:lnTo>
                  <a:lnTo>
                    <a:pt x="2348" y="321"/>
                  </a:lnTo>
                  <a:lnTo>
                    <a:pt x="2366" y="313"/>
                  </a:lnTo>
                  <a:lnTo>
                    <a:pt x="2383" y="304"/>
                  </a:lnTo>
                  <a:lnTo>
                    <a:pt x="2401" y="298"/>
                  </a:lnTo>
                  <a:lnTo>
                    <a:pt x="2418" y="291"/>
                  </a:lnTo>
                  <a:lnTo>
                    <a:pt x="2436" y="287"/>
                  </a:lnTo>
                  <a:lnTo>
                    <a:pt x="2456" y="283"/>
                  </a:lnTo>
                  <a:lnTo>
                    <a:pt x="2477" y="279"/>
                  </a:lnTo>
                  <a:lnTo>
                    <a:pt x="2604" y="318"/>
                  </a:lnTo>
                  <a:lnTo>
                    <a:pt x="2604" y="318"/>
                  </a:lnTo>
                  <a:lnTo>
                    <a:pt x="2606" y="333"/>
                  </a:lnTo>
                  <a:lnTo>
                    <a:pt x="2607" y="348"/>
                  </a:lnTo>
                  <a:lnTo>
                    <a:pt x="2607" y="355"/>
                  </a:lnTo>
                  <a:lnTo>
                    <a:pt x="2606" y="363"/>
                  </a:lnTo>
                  <a:lnTo>
                    <a:pt x="2604" y="370"/>
                  </a:lnTo>
                  <a:lnTo>
                    <a:pt x="2601" y="378"/>
                  </a:lnTo>
                  <a:lnTo>
                    <a:pt x="2595" y="386"/>
                  </a:lnTo>
                  <a:lnTo>
                    <a:pt x="2590" y="395"/>
                  </a:lnTo>
                  <a:lnTo>
                    <a:pt x="2583" y="401"/>
                  </a:lnTo>
                  <a:lnTo>
                    <a:pt x="2577" y="409"/>
                  </a:lnTo>
                  <a:lnTo>
                    <a:pt x="2571" y="415"/>
                  </a:lnTo>
                  <a:lnTo>
                    <a:pt x="2566" y="423"/>
                  </a:lnTo>
                  <a:lnTo>
                    <a:pt x="2564" y="427"/>
                  </a:lnTo>
                  <a:lnTo>
                    <a:pt x="2563" y="432"/>
                  </a:lnTo>
                  <a:lnTo>
                    <a:pt x="2562" y="437"/>
                  </a:lnTo>
                  <a:lnTo>
                    <a:pt x="2562" y="442"/>
                  </a:lnTo>
                  <a:lnTo>
                    <a:pt x="2562" y="452"/>
                  </a:lnTo>
                  <a:lnTo>
                    <a:pt x="2563" y="463"/>
                  </a:lnTo>
                  <a:lnTo>
                    <a:pt x="2565" y="472"/>
                  </a:lnTo>
                  <a:lnTo>
                    <a:pt x="2567" y="481"/>
                  </a:lnTo>
                  <a:lnTo>
                    <a:pt x="2572" y="498"/>
                  </a:lnTo>
                  <a:lnTo>
                    <a:pt x="2579" y="515"/>
                  </a:lnTo>
                  <a:lnTo>
                    <a:pt x="2584" y="531"/>
                  </a:lnTo>
                  <a:lnTo>
                    <a:pt x="2590" y="548"/>
                  </a:lnTo>
                  <a:lnTo>
                    <a:pt x="2592" y="557"/>
                  </a:lnTo>
                  <a:lnTo>
                    <a:pt x="2594" y="567"/>
                  </a:lnTo>
                  <a:lnTo>
                    <a:pt x="2595" y="576"/>
                  </a:lnTo>
                  <a:lnTo>
                    <a:pt x="2595" y="586"/>
                  </a:lnTo>
                  <a:lnTo>
                    <a:pt x="2595" y="598"/>
                  </a:lnTo>
                  <a:lnTo>
                    <a:pt x="2594" y="609"/>
                  </a:lnTo>
                  <a:lnTo>
                    <a:pt x="2593" y="618"/>
                  </a:lnTo>
                  <a:lnTo>
                    <a:pt x="2591" y="628"/>
                  </a:lnTo>
                  <a:lnTo>
                    <a:pt x="2587" y="647"/>
                  </a:lnTo>
                  <a:lnTo>
                    <a:pt x="2580" y="665"/>
                  </a:lnTo>
                  <a:lnTo>
                    <a:pt x="2564" y="699"/>
                  </a:lnTo>
                  <a:lnTo>
                    <a:pt x="2548" y="739"/>
                  </a:lnTo>
                  <a:lnTo>
                    <a:pt x="2539" y="765"/>
                  </a:lnTo>
                  <a:lnTo>
                    <a:pt x="2534" y="789"/>
                  </a:lnTo>
                  <a:lnTo>
                    <a:pt x="2529" y="800"/>
                  </a:lnTo>
                  <a:lnTo>
                    <a:pt x="2525" y="812"/>
                  </a:lnTo>
                  <a:lnTo>
                    <a:pt x="2520" y="823"/>
                  </a:lnTo>
                  <a:lnTo>
                    <a:pt x="2511" y="834"/>
                  </a:lnTo>
                  <a:lnTo>
                    <a:pt x="2497" y="851"/>
                  </a:lnTo>
                  <a:lnTo>
                    <a:pt x="2484" y="865"/>
                  </a:lnTo>
                  <a:lnTo>
                    <a:pt x="2477" y="871"/>
                  </a:lnTo>
                  <a:lnTo>
                    <a:pt x="2471" y="879"/>
                  </a:lnTo>
                  <a:lnTo>
                    <a:pt x="2464" y="887"/>
                  </a:lnTo>
                  <a:lnTo>
                    <a:pt x="2458" y="896"/>
                  </a:lnTo>
                  <a:lnTo>
                    <a:pt x="2452" y="908"/>
                  </a:lnTo>
                  <a:lnTo>
                    <a:pt x="2444" y="919"/>
                  </a:lnTo>
                  <a:lnTo>
                    <a:pt x="2439" y="930"/>
                  </a:lnTo>
                  <a:lnTo>
                    <a:pt x="2432" y="940"/>
                  </a:lnTo>
                  <a:lnTo>
                    <a:pt x="2432" y="940"/>
                  </a:lnTo>
                  <a:lnTo>
                    <a:pt x="2406" y="927"/>
                  </a:lnTo>
                  <a:lnTo>
                    <a:pt x="2381" y="915"/>
                  </a:lnTo>
                  <a:lnTo>
                    <a:pt x="2368" y="911"/>
                  </a:lnTo>
                  <a:lnTo>
                    <a:pt x="2355" y="908"/>
                  </a:lnTo>
                  <a:lnTo>
                    <a:pt x="2341" y="906"/>
                  </a:lnTo>
                  <a:lnTo>
                    <a:pt x="2326" y="905"/>
                  </a:lnTo>
                  <a:lnTo>
                    <a:pt x="2315" y="906"/>
                  </a:lnTo>
                  <a:lnTo>
                    <a:pt x="2307" y="908"/>
                  </a:lnTo>
                  <a:lnTo>
                    <a:pt x="2298" y="911"/>
                  </a:lnTo>
                  <a:lnTo>
                    <a:pt x="2290" y="914"/>
                  </a:lnTo>
                  <a:lnTo>
                    <a:pt x="2282" y="918"/>
                  </a:lnTo>
                  <a:lnTo>
                    <a:pt x="2273" y="921"/>
                  </a:lnTo>
                  <a:lnTo>
                    <a:pt x="2264" y="923"/>
                  </a:lnTo>
                  <a:lnTo>
                    <a:pt x="2254" y="924"/>
                  </a:lnTo>
                  <a:lnTo>
                    <a:pt x="2241" y="924"/>
                  </a:lnTo>
                  <a:lnTo>
                    <a:pt x="2228" y="923"/>
                  </a:lnTo>
                  <a:lnTo>
                    <a:pt x="2217" y="922"/>
                  </a:lnTo>
                  <a:lnTo>
                    <a:pt x="2206" y="920"/>
                  </a:lnTo>
                  <a:lnTo>
                    <a:pt x="2185" y="915"/>
                  </a:lnTo>
                  <a:lnTo>
                    <a:pt x="2161" y="908"/>
                  </a:lnTo>
                  <a:lnTo>
                    <a:pt x="2157" y="901"/>
                  </a:lnTo>
                  <a:lnTo>
                    <a:pt x="2152" y="896"/>
                  </a:lnTo>
                  <a:lnTo>
                    <a:pt x="2148" y="896"/>
                  </a:lnTo>
                  <a:lnTo>
                    <a:pt x="2144" y="897"/>
                  </a:lnTo>
                  <a:lnTo>
                    <a:pt x="2139" y="899"/>
                  </a:lnTo>
                  <a:lnTo>
                    <a:pt x="2136" y="901"/>
                  </a:lnTo>
                  <a:lnTo>
                    <a:pt x="2130" y="907"/>
                  </a:lnTo>
                  <a:lnTo>
                    <a:pt x="2124" y="913"/>
                  </a:lnTo>
                  <a:lnTo>
                    <a:pt x="2119" y="921"/>
                  </a:lnTo>
                  <a:lnTo>
                    <a:pt x="2113" y="928"/>
                  </a:lnTo>
                  <a:lnTo>
                    <a:pt x="2107" y="935"/>
                  </a:lnTo>
                  <a:lnTo>
                    <a:pt x="2099" y="941"/>
                  </a:lnTo>
                  <a:lnTo>
                    <a:pt x="2079" y="953"/>
                  </a:lnTo>
                  <a:lnTo>
                    <a:pt x="2061" y="963"/>
                  </a:lnTo>
                  <a:lnTo>
                    <a:pt x="2041" y="972"/>
                  </a:lnTo>
                  <a:lnTo>
                    <a:pt x="2023" y="978"/>
                  </a:lnTo>
                  <a:lnTo>
                    <a:pt x="2003" y="982"/>
                  </a:lnTo>
                  <a:lnTo>
                    <a:pt x="1984" y="986"/>
                  </a:lnTo>
                  <a:lnTo>
                    <a:pt x="1962" y="988"/>
                  </a:lnTo>
                  <a:lnTo>
                    <a:pt x="1938" y="989"/>
                  </a:lnTo>
                  <a:lnTo>
                    <a:pt x="1923" y="989"/>
                  </a:lnTo>
                  <a:lnTo>
                    <a:pt x="1910" y="989"/>
                  </a:lnTo>
                  <a:lnTo>
                    <a:pt x="1896" y="989"/>
                  </a:lnTo>
                  <a:lnTo>
                    <a:pt x="1881" y="989"/>
                  </a:lnTo>
                  <a:lnTo>
                    <a:pt x="1875" y="990"/>
                  </a:lnTo>
                  <a:lnTo>
                    <a:pt x="1869" y="992"/>
                  </a:lnTo>
                  <a:lnTo>
                    <a:pt x="1864" y="995"/>
                  </a:lnTo>
                  <a:lnTo>
                    <a:pt x="1860" y="999"/>
                  </a:lnTo>
                  <a:lnTo>
                    <a:pt x="1854" y="1002"/>
                  </a:lnTo>
                  <a:lnTo>
                    <a:pt x="1850" y="1005"/>
                  </a:lnTo>
                  <a:lnTo>
                    <a:pt x="1843" y="1007"/>
                  </a:lnTo>
                  <a:lnTo>
                    <a:pt x="1837" y="1008"/>
                  </a:lnTo>
                  <a:lnTo>
                    <a:pt x="1828" y="1008"/>
                  </a:lnTo>
                  <a:lnTo>
                    <a:pt x="1820" y="1006"/>
                  </a:lnTo>
                  <a:lnTo>
                    <a:pt x="1812" y="1005"/>
                  </a:lnTo>
                  <a:lnTo>
                    <a:pt x="1805" y="1003"/>
                  </a:lnTo>
                  <a:lnTo>
                    <a:pt x="1788" y="998"/>
                  </a:lnTo>
                  <a:lnTo>
                    <a:pt x="1771" y="994"/>
                  </a:lnTo>
                  <a:lnTo>
                    <a:pt x="1748" y="991"/>
                  </a:lnTo>
                  <a:lnTo>
                    <a:pt x="1728" y="987"/>
                  </a:lnTo>
                  <a:lnTo>
                    <a:pt x="1708" y="982"/>
                  </a:lnTo>
                  <a:lnTo>
                    <a:pt x="1689" y="977"/>
                  </a:lnTo>
                  <a:lnTo>
                    <a:pt x="1672" y="971"/>
                  </a:lnTo>
                  <a:lnTo>
                    <a:pt x="1653" y="962"/>
                  </a:lnTo>
                  <a:lnTo>
                    <a:pt x="1636" y="951"/>
                  </a:lnTo>
                  <a:lnTo>
                    <a:pt x="1618" y="938"/>
                  </a:lnTo>
                  <a:lnTo>
                    <a:pt x="1604" y="927"/>
                  </a:lnTo>
                  <a:lnTo>
                    <a:pt x="1591" y="915"/>
                  </a:lnTo>
                  <a:lnTo>
                    <a:pt x="1579" y="904"/>
                  </a:lnTo>
                  <a:lnTo>
                    <a:pt x="1568" y="893"/>
                  </a:lnTo>
                  <a:lnTo>
                    <a:pt x="1545" y="870"/>
                  </a:lnTo>
                  <a:lnTo>
                    <a:pt x="1524" y="849"/>
                  </a:lnTo>
                  <a:lnTo>
                    <a:pt x="1513" y="840"/>
                  </a:lnTo>
                  <a:lnTo>
                    <a:pt x="1501" y="831"/>
                  </a:lnTo>
                  <a:lnTo>
                    <a:pt x="1489" y="823"/>
                  </a:lnTo>
                  <a:lnTo>
                    <a:pt x="1476" y="816"/>
                  </a:lnTo>
                  <a:lnTo>
                    <a:pt x="1463" y="811"/>
                  </a:lnTo>
                  <a:lnTo>
                    <a:pt x="1448" y="807"/>
                  </a:lnTo>
                  <a:lnTo>
                    <a:pt x="1432" y="804"/>
                  </a:lnTo>
                  <a:lnTo>
                    <a:pt x="1416" y="804"/>
                  </a:lnTo>
                  <a:lnTo>
                    <a:pt x="1402" y="804"/>
                  </a:lnTo>
                  <a:lnTo>
                    <a:pt x="1389" y="807"/>
                  </a:lnTo>
                  <a:lnTo>
                    <a:pt x="1377" y="812"/>
                  </a:lnTo>
                  <a:lnTo>
                    <a:pt x="1366" y="818"/>
                  </a:lnTo>
                  <a:lnTo>
                    <a:pt x="1356" y="825"/>
                  </a:lnTo>
                  <a:lnTo>
                    <a:pt x="1346" y="832"/>
                  </a:lnTo>
                  <a:lnTo>
                    <a:pt x="1337" y="840"/>
                  </a:lnTo>
                  <a:lnTo>
                    <a:pt x="1327" y="849"/>
                  </a:lnTo>
                  <a:lnTo>
                    <a:pt x="1317" y="857"/>
                  </a:lnTo>
                  <a:lnTo>
                    <a:pt x="1309" y="865"/>
                  </a:lnTo>
                  <a:lnTo>
                    <a:pt x="1298" y="872"/>
                  </a:lnTo>
                  <a:lnTo>
                    <a:pt x="1288" y="880"/>
                  </a:lnTo>
                  <a:lnTo>
                    <a:pt x="1277" y="885"/>
                  </a:lnTo>
                  <a:lnTo>
                    <a:pt x="1266" y="890"/>
                  </a:lnTo>
                  <a:lnTo>
                    <a:pt x="1253" y="893"/>
                  </a:lnTo>
                  <a:lnTo>
                    <a:pt x="1239" y="894"/>
                  </a:lnTo>
                  <a:lnTo>
                    <a:pt x="1231" y="893"/>
                  </a:lnTo>
                  <a:lnTo>
                    <a:pt x="1223" y="891"/>
                  </a:lnTo>
                  <a:lnTo>
                    <a:pt x="1216" y="886"/>
                  </a:lnTo>
                  <a:lnTo>
                    <a:pt x="1211" y="881"/>
                  </a:lnTo>
                  <a:lnTo>
                    <a:pt x="1205" y="874"/>
                  </a:lnTo>
                  <a:lnTo>
                    <a:pt x="1202" y="868"/>
                  </a:lnTo>
                  <a:lnTo>
                    <a:pt x="1199" y="859"/>
                  </a:lnTo>
                  <a:lnTo>
                    <a:pt x="1196" y="852"/>
                  </a:lnTo>
                  <a:lnTo>
                    <a:pt x="1196" y="852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12">
              <a:extLst>
                <a:ext uri="{FF2B5EF4-FFF2-40B4-BE49-F238E27FC236}">
                  <a16:creationId xmlns:a16="http://schemas.microsoft.com/office/drawing/2014/main" id="{9A7B1A8D-6B7B-4319-96F3-E5C808406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28775" y="2403476"/>
              <a:ext cx="1035050" cy="400050"/>
            </a:xfrm>
            <a:custGeom>
              <a:avLst/>
              <a:gdLst>
                <a:gd name="T0" fmla="*/ 804 w 2607"/>
                <a:gd name="T1" fmla="*/ 613 h 1008"/>
                <a:gd name="T2" fmla="*/ 709 w 2607"/>
                <a:gd name="T3" fmla="*/ 587 h 1008"/>
                <a:gd name="T4" fmla="*/ 632 w 2607"/>
                <a:gd name="T5" fmla="*/ 635 h 1008"/>
                <a:gd name="T6" fmla="*/ 465 w 2607"/>
                <a:gd name="T7" fmla="*/ 785 h 1008"/>
                <a:gd name="T8" fmla="*/ 399 w 2607"/>
                <a:gd name="T9" fmla="*/ 800 h 1008"/>
                <a:gd name="T10" fmla="*/ 330 w 2607"/>
                <a:gd name="T11" fmla="*/ 782 h 1008"/>
                <a:gd name="T12" fmla="*/ 310 w 2607"/>
                <a:gd name="T13" fmla="*/ 878 h 1008"/>
                <a:gd name="T14" fmla="*/ 249 w 2607"/>
                <a:gd name="T15" fmla="*/ 900 h 1008"/>
                <a:gd name="T16" fmla="*/ 179 w 2607"/>
                <a:gd name="T17" fmla="*/ 843 h 1008"/>
                <a:gd name="T18" fmla="*/ 134 w 2607"/>
                <a:gd name="T19" fmla="*/ 734 h 1008"/>
                <a:gd name="T20" fmla="*/ 134 w 2607"/>
                <a:gd name="T21" fmla="*/ 664 h 1008"/>
                <a:gd name="T22" fmla="*/ 51 w 2607"/>
                <a:gd name="T23" fmla="*/ 587 h 1008"/>
                <a:gd name="T24" fmla="*/ 16 w 2607"/>
                <a:gd name="T25" fmla="*/ 528 h 1008"/>
                <a:gd name="T26" fmla="*/ 137 w 2607"/>
                <a:gd name="T27" fmla="*/ 463 h 1008"/>
                <a:gd name="T28" fmla="*/ 247 w 2607"/>
                <a:gd name="T29" fmla="*/ 333 h 1008"/>
                <a:gd name="T30" fmla="*/ 286 w 2607"/>
                <a:gd name="T31" fmla="*/ 262 h 1008"/>
                <a:gd name="T32" fmla="*/ 275 w 2607"/>
                <a:gd name="T33" fmla="*/ 205 h 1008"/>
                <a:gd name="T34" fmla="*/ 247 w 2607"/>
                <a:gd name="T35" fmla="*/ 85 h 1008"/>
                <a:gd name="T36" fmla="*/ 344 w 2607"/>
                <a:gd name="T37" fmla="*/ 29 h 1008"/>
                <a:gd name="T38" fmla="*/ 628 w 2607"/>
                <a:gd name="T39" fmla="*/ 2 h 1008"/>
                <a:gd name="T40" fmla="*/ 728 w 2607"/>
                <a:gd name="T41" fmla="*/ 30 h 1008"/>
                <a:gd name="T42" fmla="*/ 822 w 2607"/>
                <a:gd name="T43" fmla="*/ 103 h 1008"/>
                <a:gd name="T44" fmla="*/ 889 w 2607"/>
                <a:gd name="T45" fmla="*/ 239 h 1008"/>
                <a:gd name="T46" fmla="*/ 924 w 2607"/>
                <a:gd name="T47" fmla="*/ 271 h 1008"/>
                <a:gd name="T48" fmla="*/ 991 w 2607"/>
                <a:gd name="T49" fmla="*/ 217 h 1008"/>
                <a:gd name="T50" fmla="*/ 1115 w 2607"/>
                <a:gd name="T51" fmla="*/ 162 h 1008"/>
                <a:gd name="T52" fmla="*/ 1250 w 2607"/>
                <a:gd name="T53" fmla="*/ 235 h 1008"/>
                <a:gd name="T54" fmla="*/ 1289 w 2607"/>
                <a:gd name="T55" fmla="*/ 273 h 1008"/>
                <a:gd name="T56" fmla="*/ 1333 w 2607"/>
                <a:gd name="T57" fmla="*/ 259 h 1008"/>
                <a:gd name="T58" fmla="*/ 1458 w 2607"/>
                <a:gd name="T59" fmla="*/ 195 h 1008"/>
                <a:gd name="T60" fmla="*/ 1562 w 2607"/>
                <a:gd name="T61" fmla="*/ 157 h 1008"/>
                <a:gd name="T62" fmla="*/ 1681 w 2607"/>
                <a:gd name="T63" fmla="*/ 159 h 1008"/>
                <a:gd name="T64" fmla="*/ 1734 w 2607"/>
                <a:gd name="T65" fmla="*/ 189 h 1008"/>
                <a:gd name="T66" fmla="*/ 1739 w 2607"/>
                <a:gd name="T67" fmla="*/ 261 h 1008"/>
                <a:gd name="T68" fmla="*/ 1652 w 2607"/>
                <a:gd name="T69" fmla="*/ 431 h 1008"/>
                <a:gd name="T70" fmla="*/ 1671 w 2607"/>
                <a:gd name="T71" fmla="*/ 523 h 1008"/>
                <a:gd name="T72" fmla="*/ 1751 w 2607"/>
                <a:gd name="T73" fmla="*/ 577 h 1008"/>
                <a:gd name="T74" fmla="*/ 1820 w 2607"/>
                <a:gd name="T75" fmla="*/ 559 h 1008"/>
                <a:gd name="T76" fmla="*/ 1916 w 2607"/>
                <a:gd name="T77" fmla="*/ 425 h 1008"/>
                <a:gd name="T78" fmla="*/ 2043 w 2607"/>
                <a:gd name="T79" fmla="*/ 381 h 1008"/>
                <a:gd name="T80" fmla="*/ 2190 w 2607"/>
                <a:gd name="T81" fmla="*/ 382 h 1008"/>
                <a:gd name="T82" fmla="*/ 2263 w 2607"/>
                <a:gd name="T83" fmla="*/ 388 h 1008"/>
                <a:gd name="T84" fmla="*/ 2366 w 2607"/>
                <a:gd name="T85" fmla="*/ 313 h 1008"/>
                <a:gd name="T86" fmla="*/ 2604 w 2607"/>
                <a:gd name="T87" fmla="*/ 318 h 1008"/>
                <a:gd name="T88" fmla="*/ 2590 w 2607"/>
                <a:gd name="T89" fmla="*/ 395 h 1008"/>
                <a:gd name="T90" fmla="*/ 2562 w 2607"/>
                <a:gd name="T91" fmla="*/ 442 h 1008"/>
                <a:gd name="T92" fmla="*/ 2590 w 2607"/>
                <a:gd name="T93" fmla="*/ 548 h 1008"/>
                <a:gd name="T94" fmla="*/ 2591 w 2607"/>
                <a:gd name="T95" fmla="*/ 628 h 1008"/>
                <a:gd name="T96" fmla="*/ 2525 w 2607"/>
                <a:gd name="T97" fmla="*/ 812 h 1008"/>
                <a:gd name="T98" fmla="*/ 2458 w 2607"/>
                <a:gd name="T99" fmla="*/ 896 h 1008"/>
                <a:gd name="T100" fmla="*/ 2368 w 2607"/>
                <a:gd name="T101" fmla="*/ 911 h 1008"/>
                <a:gd name="T102" fmla="*/ 2282 w 2607"/>
                <a:gd name="T103" fmla="*/ 918 h 1008"/>
                <a:gd name="T104" fmla="*/ 2185 w 2607"/>
                <a:gd name="T105" fmla="*/ 915 h 1008"/>
                <a:gd name="T106" fmla="*/ 2130 w 2607"/>
                <a:gd name="T107" fmla="*/ 907 h 1008"/>
                <a:gd name="T108" fmla="*/ 2041 w 2607"/>
                <a:gd name="T109" fmla="*/ 972 h 1008"/>
                <a:gd name="T110" fmla="*/ 1896 w 2607"/>
                <a:gd name="T111" fmla="*/ 989 h 1008"/>
                <a:gd name="T112" fmla="*/ 1843 w 2607"/>
                <a:gd name="T113" fmla="*/ 1007 h 1008"/>
                <a:gd name="T114" fmla="*/ 1748 w 2607"/>
                <a:gd name="T115" fmla="*/ 991 h 1008"/>
                <a:gd name="T116" fmla="*/ 1604 w 2607"/>
                <a:gd name="T117" fmla="*/ 927 h 1008"/>
                <a:gd name="T118" fmla="*/ 1489 w 2607"/>
                <a:gd name="T119" fmla="*/ 823 h 1008"/>
                <a:gd name="T120" fmla="*/ 1377 w 2607"/>
                <a:gd name="T121" fmla="*/ 812 h 1008"/>
                <a:gd name="T122" fmla="*/ 1298 w 2607"/>
                <a:gd name="T123" fmla="*/ 872 h 1008"/>
                <a:gd name="T124" fmla="*/ 1216 w 2607"/>
                <a:gd name="T125" fmla="*/ 886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07" h="1008">
                  <a:moveTo>
                    <a:pt x="1196" y="852"/>
                  </a:moveTo>
                  <a:lnTo>
                    <a:pt x="961" y="664"/>
                  </a:lnTo>
                  <a:lnTo>
                    <a:pt x="919" y="651"/>
                  </a:lnTo>
                  <a:lnTo>
                    <a:pt x="881" y="642"/>
                  </a:lnTo>
                  <a:lnTo>
                    <a:pt x="863" y="637"/>
                  </a:lnTo>
                  <a:lnTo>
                    <a:pt x="844" y="631"/>
                  </a:lnTo>
                  <a:lnTo>
                    <a:pt x="825" y="623"/>
                  </a:lnTo>
                  <a:lnTo>
                    <a:pt x="804" y="613"/>
                  </a:lnTo>
                  <a:lnTo>
                    <a:pt x="786" y="603"/>
                  </a:lnTo>
                  <a:lnTo>
                    <a:pt x="769" y="594"/>
                  </a:lnTo>
                  <a:lnTo>
                    <a:pt x="760" y="590"/>
                  </a:lnTo>
                  <a:lnTo>
                    <a:pt x="751" y="587"/>
                  </a:lnTo>
                  <a:lnTo>
                    <a:pt x="741" y="586"/>
                  </a:lnTo>
                  <a:lnTo>
                    <a:pt x="730" y="585"/>
                  </a:lnTo>
                  <a:lnTo>
                    <a:pt x="719" y="586"/>
                  </a:lnTo>
                  <a:lnTo>
                    <a:pt x="709" y="587"/>
                  </a:lnTo>
                  <a:lnTo>
                    <a:pt x="701" y="589"/>
                  </a:lnTo>
                  <a:lnTo>
                    <a:pt x="691" y="591"/>
                  </a:lnTo>
                  <a:lnTo>
                    <a:pt x="683" y="595"/>
                  </a:lnTo>
                  <a:lnTo>
                    <a:pt x="675" y="599"/>
                  </a:lnTo>
                  <a:lnTo>
                    <a:pt x="667" y="604"/>
                  </a:lnTo>
                  <a:lnTo>
                    <a:pt x="660" y="609"/>
                  </a:lnTo>
                  <a:lnTo>
                    <a:pt x="646" y="621"/>
                  </a:lnTo>
                  <a:lnTo>
                    <a:pt x="632" y="635"/>
                  </a:lnTo>
                  <a:lnTo>
                    <a:pt x="618" y="649"/>
                  </a:lnTo>
                  <a:lnTo>
                    <a:pt x="602" y="664"/>
                  </a:lnTo>
                  <a:lnTo>
                    <a:pt x="577" y="688"/>
                  </a:lnTo>
                  <a:lnTo>
                    <a:pt x="553" y="708"/>
                  </a:lnTo>
                  <a:lnTo>
                    <a:pt x="529" y="728"/>
                  </a:lnTo>
                  <a:lnTo>
                    <a:pt x="502" y="750"/>
                  </a:lnTo>
                  <a:lnTo>
                    <a:pt x="483" y="769"/>
                  </a:lnTo>
                  <a:lnTo>
                    <a:pt x="465" y="785"/>
                  </a:lnTo>
                  <a:lnTo>
                    <a:pt x="456" y="791"/>
                  </a:lnTo>
                  <a:lnTo>
                    <a:pt x="445" y="797"/>
                  </a:lnTo>
                  <a:lnTo>
                    <a:pt x="439" y="799"/>
                  </a:lnTo>
                  <a:lnTo>
                    <a:pt x="434" y="800"/>
                  </a:lnTo>
                  <a:lnTo>
                    <a:pt x="427" y="801"/>
                  </a:lnTo>
                  <a:lnTo>
                    <a:pt x="420" y="801"/>
                  </a:lnTo>
                  <a:lnTo>
                    <a:pt x="409" y="801"/>
                  </a:lnTo>
                  <a:lnTo>
                    <a:pt x="399" y="800"/>
                  </a:lnTo>
                  <a:lnTo>
                    <a:pt x="390" y="798"/>
                  </a:lnTo>
                  <a:lnTo>
                    <a:pt x="381" y="796"/>
                  </a:lnTo>
                  <a:lnTo>
                    <a:pt x="372" y="791"/>
                  </a:lnTo>
                  <a:lnTo>
                    <a:pt x="364" y="787"/>
                  </a:lnTo>
                  <a:lnTo>
                    <a:pt x="356" y="780"/>
                  </a:lnTo>
                  <a:lnTo>
                    <a:pt x="348" y="773"/>
                  </a:lnTo>
                  <a:lnTo>
                    <a:pt x="339" y="777"/>
                  </a:lnTo>
                  <a:lnTo>
                    <a:pt x="330" y="782"/>
                  </a:lnTo>
                  <a:lnTo>
                    <a:pt x="330" y="802"/>
                  </a:lnTo>
                  <a:lnTo>
                    <a:pt x="328" y="823"/>
                  </a:lnTo>
                  <a:lnTo>
                    <a:pt x="327" y="832"/>
                  </a:lnTo>
                  <a:lnTo>
                    <a:pt x="325" y="843"/>
                  </a:lnTo>
                  <a:lnTo>
                    <a:pt x="322" y="853"/>
                  </a:lnTo>
                  <a:lnTo>
                    <a:pt x="318" y="861"/>
                  </a:lnTo>
                  <a:lnTo>
                    <a:pt x="315" y="870"/>
                  </a:lnTo>
                  <a:lnTo>
                    <a:pt x="310" y="878"/>
                  </a:lnTo>
                  <a:lnTo>
                    <a:pt x="304" y="884"/>
                  </a:lnTo>
                  <a:lnTo>
                    <a:pt x="299" y="891"/>
                  </a:lnTo>
                  <a:lnTo>
                    <a:pt x="292" y="895"/>
                  </a:lnTo>
                  <a:lnTo>
                    <a:pt x="284" y="899"/>
                  </a:lnTo>
                  <a:lnTo>
                    <a:pt x="276" y="901"/>
                  </a:lnTo>
                  <a:lnTo>
                    <a:pt x="267" y="901"/>
                  </a:lnTo>
                  <a:lnTo>
                    <a:pt x="258" y="901"/>
                  </a:lnTo>
                  <a:lnTo>
                    <a:pt x="249" y="900"/>
                  </a:lnTo>
                  <a:lnTo>
                    <a:pt x="242" y="899"/>
                  </a:lnTo>
                  <a:lnTo>
                    <a:pt x="234" y="897"/>
                  </a:lnTo>
                  <a:lnTo>
                    <a:pt x="220" y="892"/>
                  </a:lnTo>
                  <a:lnTo>
                    <a:pt x="205" y="885"/>
                  </a:lnTo>
                  <a:lnTo>
                    <a:pt x="198" y="876"/>
                  </a:lnTo>
                  <a:lnTo>
                    <a:pt x="192" y="865"/>
                  </a:lnTo>
                  <a:lnTo>
                    <a:pt x="184" y="854"/>
                  </a:lnTo>
                  <a:lnTo>
                    <a:pt x="179" y="843"/>
                  </a:lnTo>
                  <a:lnTo>
                    <a:pt x="168" y="817"/>
                  </a:lnTo>
                  <a:lnTo>
                    <a:pt x="157" y="792"/>
                  </a:lnTo>
                  <a:lnTo>
                    <a:pt x="151" y="780"/>
                  </a:lnTo>
                  <a:lnTo>
                    <a:pt x="143" y="770"/>
                  </a:lnTo>
                  <a:lnTo>
                    <a:pt x="134" y="760"/>
                  </a:lnTo>
                  <a:lnTo>
                    <a:pt x="123" y="750"/>
                  </a:lnTo>
                  <a:lnTo>
                    <a:pt x="128" y="742"/>
                  </a:lnTo>
                  <a:lnTo>
                    <a:pt x="134" y="734"/>
                  </a:lnTo>
                  <a:lnTo>
                    <a:pt x="136" y="731"/>
                  </a:lnTo>
                  <a:lnTo>
                    <a:pt x="138" y="726"/>
                  </a:lnTo>
                  <a:lnTo>
                    <a:pt x="140" y="722"/>
                  </a:lnTo>
                  <a:lnTo>
                    <a:pt x="140" y="717"/>
                  </a:lnTo>
                  <a:lnTo>
                    <a:pt x="140" y="703"/>
                  </a:lnTo>
                  <a:lnTo>
                    <a:pt x="139" y="689"/>
                  </a:lnTo>
                  <a:lnTo>
                    <a:pt x="137" y="676"/>
                  </a:lnTo>
                  <a:lnTo>
                    <a:pt x="134" y="664"/>
                  </a:lnTo>
                  <a:lnTo>
                    <a:pt x="129" y="652"/>
                  </a:lnTo>
                  <a:lnTo>
                    <a:pt x="123" y="641"/>
                  </a:lnTo>
                  <a:lnTo>
                    <a:pt x="114" y="631"/>
                  </a:lnTo>
                  <a:lnTo>
                    <a:pt x="103" y="622"/>
                  </a:lnTo>
                  <a:lnTo>
                    <a:pt x="89" y="611"/>
                  </a:lnTo>
                  <a:lnTo>
                    <a:pt x="76" y="602"/>
                  </a:lnTo>
                  <a:lnTo>
                    <a:pt x="63" y="595"/>
                  </a:lnTo>
                  <a:lnTo>
                    <a:pt x="51" y="587"/>
                  </a:lnTo>
                  <a:lnTo>
                    <a:pt x="39" y="580"/>
                  </a:lnTo>
                  <a:lnTo>
                    <a:pt x="26" y="571"/>
                  </a:lnTo>
                  <a:lnTo>
                    <a:pt x="13" y="560"/>
                  </a:lnTo>
                  <a:lnTo>
                    <a:pt x="0" y="548"/>
                  </a:lnTo>
                  <a:lnTo>
                    <a:pt x="0" y="548"/>
                  </a:lnTo>
                  <a:lnTo>
                    <a:pt x="5" y="541"/>
                  </a:lnTo>
                  <a:lnTo>
                    <a:pt x="11" y="533"/>
                  </a:lnTo>
                  <a:lnTo>
                    <a:pt x="16" y="528"/>
                  </a:lnTo>
                  <a:lnTo>
                    <a:pt x="21" y="521"/>
                  </a:lnTo>
                  <a:lnTo>
                    <a:pt x="34" y="513"/>
                  </a:lnTo>
                  <a:lnTo>
                    <a:pt x="48" y="505"/>
                  </a:lnTo>
                  <a:lnTo>
                    <a:pt x="79" y="493"/>
                  </a:lnTo>
                  <a:lnTo>
                    <a:pt x="112" y="479"/>
                  </a:lnTo>
                  <a:lnTo>
                    <a:pt x="121" y="474"/>
                  </a:lnTo>
                  <a:lnTo>
                    <a:pt x="129" y="468"/>
                  </a:lnTo>
                  <a:lnTo>
                    <a:pt x="137" y="463"/>
                  </a:lnTo>
                  <a:lnTo>
                    <a:pt x="144" y="458"/>
                  </a:lnTo>
                  <a:lnTo>
                    <a:pt x="156" y="445"/>
                  </a:lnTo>
                  <a:lnTo>
                    <a:pt x="167" y="432"/>
                  </a:lnTo>
                  <a:lnTo>
                    <a:pt x="188" y="402"/>
                  </a:lnTo>
                  <a:lnTo>
                    <a:pt x="213" y="372"/>
                  </a:lnTo>
                  <a:lnTo>
                    <a:pt x="225" y="358"/>
                  </a:lnTo>
                  <a:lnTo>
                    <a:pt x="236" y="346"/>
                  </a:lnTo>
                  <a:lnTo>
                    <a:pt x="247" y="333"/>
                  </a:lnTo>
                  <a:lnTo>
                    <a:pt x="258" y="319"/>
                  </a:lnTo>
                  <a:lnTo>
                    <a:pt x="267" y="309"/>
                  </a:lnTo>
                  <a:lnTo>
                    <a:pt x="276" y="299"/>
                  </a:lnTo>
                  <a:lnTo>
                    <a:pt x="279" y="294"/>
                  </a:lnTo>
                  <a:lnTo>
                    <a:pt x="283" y="289"/>
                  </a:lnTo>
                  <a:lnTo>
                    <a:pt x="285" y="283"/>
                  </a:lnTo>
                  <a:lnTo>
                    <a:pt x="286" y="276"/>
                  </a:lnTo>
                  <a:lnTo>
                    <a:pt x="286" y="262"/>
                  </a:lnTo>
                  <a:lnTo>
                    <a:pt x="286" y="249"/>
                  </a:lnTo>
                  <a:lnTo>
                    <a:pt x="286" y="236"/>
                  </a:lnTo>
                  <a:lnTo>
                    <a:pt x="286" y="221"/>
                  </a:lnTo>
                  <a:lnTo>
                    <a:pt x="286" y="218"/>
                  </a:lnTo>
                  <a:lnTo>
                    <a:pt x="284" y="215"/>
                  </a:lnTo>
                  <a:lnTo>
                    <a:pt x="283" y="212"/>
                  </a:lnTo>
                  <a:lnTo>
                    <a:pt x="281" y="210"/>
                  </a:lnTo>
                  <a:lnTo>
                    <a:pt x="275" y="205"/>
                  </a:lnTo>
                  <a:lnTo>
                    <a:pt x="272" y="198"/>
                  </a:lnTo>
                  <a:lnTo>
                    <a:pt x="262" y="174"/>
                  </a:lnTo>
                  <a:lnTo>
                    <a:pt x="255" y="152"/>
                  </a:lnTo>
                  <a:lnTo>
                    <a:pt x="251" y="140"/>
                  </a:lnTo>
                  <a:lnTo>
                    <a:pt x="249" y="128"/>
                  </a:lnTo>
                  <a:lnTo>
                    <a:pt x="247" y="116"/>
                  </a:lnTo>
                  <a:lnTo>
                    <a:pt x="247" y="102"/>
                  </a:lnTo>
                  <a:lnTo>
                    <a:pt x="247" y="85"/>
                  </a:lnTo>
                  <a:lnTo>
                    <a:pt x="247" y="69"/>
                  </a:lnTo>
                  <a:lnTo>
                    <a:pt x="247" y="54"/>
                  </a:lnTo>
                  <a:lnTo>
                    <a:pt x="247" y="36"/>
                  </a:lnTo>
                  <a:lnTo>
                    <a:pt x="276" y="36"/>
                  </a:lnTo>
                  <a:lnTo>
                    <a:pt x="303" y="35"/>
                  </a:lnTo>
                  <a:lnTo>
                    <a:pt x="316" y="34"/>
                  </a:lnTo>
                  <a:lnTo>
                    <a:pt x="330" y="32"/>
                  </a:lnTo>
                  <a:lnTo>
                    <a:pt x="344" y="29"/>
                  </a:lnTo>
                  <a:lnTo>
                    <a:pt x="358" y="24"/>
                  </a:lnTo>
                  <a:lnTo>
                    <a:pt x="358" y="24"/>
                  </a:lnTo>
                  <a:lnTo>
                    <a:pt x="560" y="5"/>
                  </a:lnTo>
                  <a:lnTo>
                    <a:pt x="575" y="5"/>
                  </a:lnTo>
                  <a:lnTo>
                    <a:pt x="588" y="5"/>
                  </a:lnTo>
                  <a:lnTo>
                    <a:pt x="601" y="5"/>
                  </a:lnTo>
                  <a:lnTo>
                    <a:pt x="615" y="5"/>
                  </a:lnTo>
                  <a:lnTo>
                    <a:pt x="628" y="2"/>
                  </a:lnTo>
                  <a:lnTo>
                    <a:pt x="641" y="0"/>
                  </a:lnTo>
                  <a:lnTo>
                    <a:pt x="651" y="0"/>
                  </a:lnTo>
                  <a:lnTo>
                    <a:pt x="659" y="1"/>
                  </a:lnTo>
                  <a:lnTo>
                    <a:pt x="667" y="2"/>
                  </a:lnTo>
                  <a:lnTo>
                    <a:pt x="675" y="4"/>
                  </a:lnTo>
                  <a:lnTo>
                    <a:pt x="689" y="8"/>
                  </a:lnTo>
                  <a:lnTo>
                    <a:pt x="702" y="15"/>
                  </a:lnTo>
                  <a:lnTo>
                    <a:pt x="728" y="30"/>
                  </a:lnTo>
                  <a:lnTo>
                    <a:pt x="757" y="47"/>
                  </a:lnTo>
                  <a:lnTo>
                    <a:pt x="769" y="54"/>
                  </a:lnTo>
                  <a:lnTo>
                    <a:pt x="780" y="61"/>
                  </a:lnTo>
                  <a:lnTo>
                    <a:pt x="789" y="68"/>
                  </a:lnTo>
                  <a:lnTo>
                    <a:pt x="798" y="75"/>
                  </a:lnTo>
                  <a:lnTo>
                    <a:pt x="807" y="84"/>
                  </a:lnTo>
                  <a:lnTo>
                    <a:pt x="814" y="93"/>
                  </a:lnTo>
                  <a:lnTo>
                    <a:pt x="822" y="103"/>
                  </a:lnTo>
                  <a:lnTo>
                    <a:pt x="829" y="114"/>
                  </a:lnTo>
                  <a:lnTo>
                    <a:pt x="843" y="137"/>
                  </a:lnTo>
                  <a:lnTo>
                    <a:pt x="855" y="158"/>
                  </a:lnTo>
                  <a:lnTo>
                    <a:pt x="865" y="179"/>
                  </a:lnTo>
                  <a:lnTo>
                    <a:pt x="875" y="204"/>
                  </a:lnTo>
                  <a:lnTo>
                    <a:pt x="879" y="216"/>
                  </a:lnTo>
                  <a:lnTo>
                    <a:pt x="883" y="228"/>
                  </a:lnTo>
                  <a:lnTo>
                    <a:pt x="889" y="239"/>
                  </a:lnTo>
                  <a:lnTo>
                    <a:pt x="894" y="249"/>
                  </a:lnTo>
                  <a:lnTo>
                    <a:pt x="897" y="255"/>
                  </a:lnTo>
                  <a:lnTo>
                    <a:pt x="901" y="259"/>
                  </a:lnTo>
                  <a:lnTo>
                    <a:pt x="905" y="262"/>
                  </a:lnTo>
                  <a:lnTo>
                    <a:pt x="909" y="265"/>
                  </a:lnTo>
                  <a:lnTo>
                    <a:pt x="913" y="267"/>
                  </a:lnTo>
                  <a:lnTo>
                    <a:pt x="919" y="270"/>
                  </a:lnTo>
                  <a:lnTo>
                    <a:pt x="924" y="271"/>
                  </a:lnTo>
                  <a:lnTo>
                    <a:pt x="931" y="272"/>
                  </a:lnTo>
                  <a:lnTo>
                    <a:pt x="938" y="271"/>
                  </a:lnTo>
                  <a:lnTo>
                    <a:pt x="945" y="267"/>
                  </a:lnTo>
                  <a:lnTo>
                    <a:pt x="950" y="263"/>
                  </a:lnTo>
                  <a:lnTo>
                    <a:pt x="956" y="258"/>
                  </a:lnTo>
                  <a:lnTo>
                    <a:pt x="965" y="245"/>
                  </a:lnTo>
                  <a:lnTo>
                    <a:pt x="975" y="232"/>
                  </a:lnTo>
                  <a:lnTo>
                    <a:pt x="991" y="217"/>
                  </a:lnTo>
                  <a:lnTo>
                    <a:pt x="1007" y="205"/>
                  </a:lnTo>
                  <a:lnTo>
                    <a:pt x="1023" y="194"/>
                  </a:lnTo>
                  <a:lnTo>
                    <a:pt x="1039" y="184"/>
                  </a:lnTo>
                  <a:lnTo>
                    <a:pt x="1056" y="177"/>
                  </a:lnTo>
                  <a:lnTo>
                    <a:pt x="1074" y="171"/>
                  </a:lnTo>
                  <a:lnTo>
                    <a:pt x="1094" y="166"/>
                  </a:lnTo>
                  <a:lnTo>
                    <a:pt x="1115" y="162"/>
                  </a:lnTo>
                  <a:lnTo>
                    <a:pt x="1115" y="162"/>
                  </a:lnTo>
                  <a:lnTo>
                    <a:pt x="1133" y="174"/>
                  </a:lnTo>
                  <a:lnTo>
                    <a:pt x="1150" y="183"/>
                  </a:lnTo>
                  <a:lnTo>
                    <a:pt x="1166" y="191"/>
                  </a:lnTo>
                  <a:lnTo>
                    <a:pt x="1182" y="198"/>
                  </a:lnTo>
                  <a:lnTo>
                    <a:pt x="1200" y="206"/>
                  </a:lnTo>
                  <a:lnTo>
                    <a:pt x="1216" y="215"/>
                  </a:lnTo>
                  <a:lnTo>
                    <a:pt x="1233" y="223"/>
                  </a:lnTo>
                  <a:lnTo>
                    <a:pt x="1250" y="235"/>
                  </a:lnTo>
                  <a:lnTo>
                    <a:pt x="1257" y="240"/>
                  </a:lnTo>
                  <a:lnTo>
                    <a:pt x="1262" y="247"/>
                  </a:lnTo>
                  <a:lnTo>
                    <a:pt x="1267" y="253"/>
                  </a:lnTo>
                  <a:lnTo>
                    <a:pt x="1272" y="260"/>
                  </a:lnTo>
                  <a:lnTo>
                    <a:pt x="1277" y="265"/>
                  </a:lnTo>
                  <a:lnTo>
                    <a:pt x="1283" y="270"/>
                  </a:lnTo>
                  <a:lnTo>
                    <a:pt x="1286" y="272"/>
                  </a:lnTo>
                  <a:lnTo>
                    <a:pt x="1289" y="273"/>
                  </a:lnTo>
                  <a:lnTo>
                    <a:pt x="1294" y="274"/>
                  </a:lnTo>
                  <a:lnTo>
                    <a:pt x="1298" y="274"/>
                  </a:lnTo>
                  <a:lnTo>
                    <a:pt x="1303" y="274"/>
                  </a:lnTo>
                  <a:lnTo>
                    <a:pt x="1309" y="273"/>
                  </a:lnTo>
                  <a:lnTo>
                    <a:pt x="1313" y="272"/>
                  </a:lnTo>
                  <a:lnTo>
                    <a:pt x="1317" y="270"/>
                  </a:lnTo>
                  <a:lnTo>
                    <a:pt x="1325" y="265"/>
                  </a:lnTo>
                  <a:lnTo>
                    <a:pt x="1333" y="259"/>
                  </a:lnTo>
                  <a:lnTo>
                    <a:pt x="1340" y="252"/>
                  </a:lnTo>
                  <a:lnTo>
                    <a:pt x="1348" y="245"/>
                  </a:lnTo>
                  <a:lnTo>
                    <a:pt x="1355" y="238"/>
                  </a:lnTo>
                  <a:lnTo>
                    <a:pt x="1365" y="232"/>
                  </a:lnTo>
                  <a:lnTo>
                    <a:pt x="1388" y="219"/>
                  </a:lnTo>
                  <a:lnTo>
                    <a:pt x="1409" y="209"/>
                  </a:lnTo>
                  <a:lnTo>
                    <a:pt x="1432" y="202"/>
                  </a:lnTo>
                  <a:lnTo>
                    <a:pt x="1458" y="195"/>
                  </a:lnTo>
                  <a:lnTo>
                    <a:pt x="1474" y="191"/>
                  </a:lnTo>
                  <a:lnTo>
                    <a:pt x="1490" y="184"/>
                  </a:lnTo>
                  <a:lnTo>
                    <a:pt x="1504" y="178"/>
                  </a:lnTo>
                  <a:lnTo>
                    <a:pt x="1517" y="171"/>
                  </a:lnTo>
                  <a:lnTo>
                    <a:pt x="1531" y="166"/>
                  </a:lnTo>
                  <a:lnTo>
                    <a:pt x="1545" y="161"/>
                  </a:lnTo>
                  <a:lnTo>
                    <a:pt x="1553" y="159"/>
                  </a:lnTo>
                  <a:lnTo>
                    <a:pt x="1562" y="157"/>
                  </a:lnTo>
                  <a:lnTo>
                    <a:pt x="1570" y="156"/>
                  </a:lnTo>
                  <a:lnTo>
                    <a:pt x="1579" y="156"/>
                  </a:lnTo>
                  <a:lnTo>
                    <a:pt x="1597" y="156"/>
                  </a:lnTo>
                  <a:lnTo>
                    <a:pt x="1613" y="156"/>
                  </a:lnTo>
                  <a:lnTo>
                    <a:pt x="1630" y="156"/>
                  </a:lnTo>
                  <a:lnTo>
                    <a:pt x="1647" y="156"/>
                  </a:lnTo>
                  <a:lnTo>
                    <a:pt x="1664" y="157"/>
                  </a:lnTo>
                  <a:lnTo>
                    <a:pt x="1681" y="159"/>
                  </a:lnTo>
                  <a:lnTo>
                    <a:pt x="1689" y="162"/>
                  </a:lnTo>
                  <a:lnTo>
                    <a:pt x="1698" y="164"/>
                  </a:lnTo>
                  <a:lnTo>
                    <a:pt x="1705" y="167"/>
                  </a:lnTo>
                  <a:lnTo>
                    <a:pt x="1712" y="170"/>
                  </a:lnTo>
                  <a:lnTo>
                    <a:pt x="1718" y="174"/>
                  </a:lnTo>
                  <a:lnTo>
                    <a:pt x="1725" y="178"/>
                  </a:lnTo>
                  <a:lnTo>
                    <a:pt x="1730" y="183"/>
                  </a:lnTo>
                  <a:lnTo>
                    <a:pt x="1734" y="189"/>
                  </a:lnTo>
                  <a:lnTo>
                    <a:pt x="1739" y="195"/>
                  </a:lnTo>
                  <a:lnTo>
                    <a:pt x="1741" y="202"/>
                  </a:lnTo>
                  <a:lnTo>
                    <a:pt x="1743" y="209"/>
                  </a:lnTo>
                  <a:lnTo>
                    <a:pt x="1743" y="217"/>
                  </a:lnTo>
                  <a:lnTo>
                    <a:pt x="1743" y="229"/>
                  </a:lnTo>
                  <a:lnTo>
                    <a:pt x="1742" y="239"/>
                  </a:lnTo>
                  <a:lnTo>
                    <a:pt x="1741" y="250"/>
                  </a:lnTo>
                  <a:lnTo>
                    <a:pt x="1739" y="261"/>
                  </a:lnTo>
                  <a:lnTo>
                    <a:pt x="1733" y="280"/>
                  </a:lnTo>
                  <a:lnTo>
                    <a:pt x="1726" y="299"/>
                  </a:lnTo>
                  <a:lnTo>
                    <a:pt x="1708" y="334"/>
                  </a:lnTo>
                  <a:lnTo>
                    <a:pt x="1687" y="375"/>
                  </a:lnTo>
                  <a:lnTo>
                    <a:pt x="1675" y="395"/>
                  </a:lnTo>
                  <a:lnTo>
                    <a:pt x="1662" y="413"/>
                  </a:lnTo>
                  <a:lnTo>
                    <a:pt x="1657" y="422"/>
                  </a:lnTo>
                  <a:lnTo>
                    <a:pt x="1652" y="431"/>
                  </a:lnTo>
                  <a:lnTo>
                    <a:pt x="1649" y="441"/>
                  </a:lnTo>
                  <a:lnTo>
                    <a:pt x="1648" y="453"/>
                  </a:lnTo>
                  <a:lnTo>
                    <a:pt x="1649" y="466"/>
                  </a:lnTo>
                  <a:lnTo>
                    <a:pt x="1651" y="479"/>
                  </a:lnTo>
                  <a:lnTo>
                    <a:pt x="1653" y="491"/>
                  </a:lnTo>
                  <a:lnTo>
                    <a:pt x="1659" y="503"/>
                  </a:lnTo>
                  <a:lnTo>
                    <a:pt x="1664" y="514"/>
                  </a:lnTo>
                  <a:lnTo>
                    <a:pt x="1671" y="523"/>
                  </a:lnTo>
                  <a:lnTo>
                    <a:pt x="1677" y="533"/>
                  </a:lnTo>
                  <a:lnTo>
                    <a:pt x="1686" y="543"/>
                  </a:lnTo>
                  <a:lnTo>
                    <a:pt x="1694" y="550"/>
                  </a:lnTo>
                  <a:lnTo>
                    <a:pt x="1705" y="558"/>
                  </a:lnTo>
                  <a:lnTo>
                    <a:pt x="1715" y="564"/>
                  </a:lnTo>
                  <a:lnTo>
                    <a:pt x="1727" y="570"/>
                  </a:lnTo>
                  <a:lnTo>
                    <a:pt x="1738" y="574"/>
                  </a:lnTo>
                  <a:lnTo>
                    <a:pt x="1751" y="577"/>
                  </a:lnTo>
                  <a:lnTo>
                    <a:pt x="1762" y="579"/>
                  </a:lnTo>
                  <a:lnTo>
                    <a:pt x="1775" y="580"/>
                  </a:lnTo>
                  <a:lnTo>
                    <a:pt x="1783" y="580"/>
                  </a:lnTo>
                  <a:lnTo>
                    <a:pt x="1789" y="579"/>
                  </a:lnTo>
                  <a:lnTo>
                    <a:pt x="1795" y="576"/>
                  </a:lnTo>
                  <a:lnTo>
                    <a:pt x="1800" y="574"/>
                  </a:lnTo>
                  <a:lnTo>
                    <a:pt x="1810" y="568"/>
                  </a:lnTo>
                  <a:lnTo>
                    <a:pt x="1820" y="559"/>
                  </a:lnTo>
                  <a:lnTo>
                    <a:pt x="1836" y="540"/>
                  </a:lnTo>
                  <a:lnTo>
                    <a:pt x="1853" y="518"/>
                  </a:lnTo>
                  <a:lnTo>
                    <a:pt x="1866" y="503"/>
                  </a:lnTo>
                  <a:lnTo>
                    <a:pt x="1879" y="489"/>
                  </a:lnTo>
                  <a:lnTo>
                    <a:pt x="1890" y="474"/>
                  </a:lnTo>
                  <a:lnTo>
                    <a:pt x="1901" y="456"/>
                  </a:lnTo>
                  <a:lnTo>
                    <a:pt x="1908" y="439"/>
                  </a:lnTo>
                  <a:lnTo>
                    <a:pt x="1916" y="425"/>
                  </a:lnTo>
                  <a:lnTo>
                    <a:pt x="1921" y="419"/>
                  </a:lnTo>
                  <a:lnTo>
                    <a:pt x="1927" y="413"/>
                  </a:lnTo>
                  <a:lnTo>
                    <a:pt x="1934" y="409"/>
                  </a:lnTo>
                  <a:lnTo>
                    <a:pt x="1943" y="406"/>
                  </a:lnTo>
                  <a:lnTo>
                    <a:pt x="1971" y="399"/>
                  </a:lnTo>
                  <a:lnTo>
                    <a:pt x="1996" y="393"/>
                  </a:lnTo>
                  <a:lnTo>
                    <a:pt x="2021" y="386"/>
                  </a:lnTo>
                  <a:lnTo>
                    <a:pt x="2043" y="381"/>
                  </a:lnTo>
                  <a:lnTo>
                    <a:pt x="2067" y="377"/>
                  </a:lnTo>
                  <a:lnTo>
                    <a:pt x="2091" y="372"/>
                  </a:lnTo>
                  <a:lnTo>
                    <a:pt x="2117" y="370"/>
                  </a:lnTo>
                  <a:lnTo>
                    <a:pt x="2146" y="369"/>
                  </a:lnTo>
                  <a:lnTo>
                    <a:pt x="2158" y="370"/>
                  </a:lnTo>
                  <a:lnTo>
                    <a:pt x="2170" y="373"/>
                  </a:lnTo>
                  <a:lnTo>
                    <a:pt x="2180" y="378"/>
                  </a:lnTo>
                  <a:lnTo>
                    <a:pt x="2190" y="382"/>
                  </a:lnTo>
                  <a:lnTo>
                    <a:pt x="2201" y="386"/>
                  </a:lnTo>
                  <a:lnTo>
                    <a:pt x="2211" y="391"/>
                  </a:lnTo>
                  <a:lnTo>
                    <a:pt x="2223" y="394"/>
                  </a:lnTo>
                  <a:lnTo>
                    <a:pt x="2236" y="395"/>
                  </a:lnTo>
                  <a:lnTo>
                    <a:pt x="2243" y="394"/>
                  </a:lnTo>
                  <a:lnTo>
                    <a:pt x="2251" y="393"/>
                  </a:lnTo>
                  <a:lnTo>
                    <a:pt x="2257" y="391"/>
                  </a:lnTo>
                  <a:lnTo>
                    <a:pt x="2263" y="388"/>
                  </a:lnTo>
                  <a:lnTo>
                    <a:pt x="2274" y="381"/>
                  </a:lnTo>
                  <a:lnTo>
                    <a:pt x="2284" y="372"/>
                  </a:lnTo>
                  <a:lnTo>
                    <a:pt x="2295" y="361"/>
                  </a:lnTo>
                  <a:lnTo>
                    <a:pt x="2305" y="352"/>
                  </a:lnTo>
                  <a:lnTo>
                    <a:pt x="2317" y="342"/>
                  </a:lnTo>
                  <a:lnTo>
                    <a:pt x="2329" y="333"/>
                  </a:lnTo>
                  <a:lnTo>
                    <a:pt x="2348" y="321"/>
                  </a:lnTo>
                  <a:lnTo>
                    <a:pt x="2366" y="313"/>
                  </a:lnTo>
                  <a:lnTo>
                    <a:pt x="2383" y="304"/>
                  </a:lnTo>
                  <a:lnTo>
                    <a:pt x="2401" y="298"/>
                  </a:lnTo>
                  <a:lnTo>
                    <a:pt x="2418" y="291"/>
                  </a:lnTo>
                  <a:lnTo>
                    <a:pt x="2436" y="287"/>
                  </a:lnTo>
                  <a:lnTo>
                    <a:pt x="2456" y="283"/>
                  </a:lnTo>
                  <a:lnTo>
                    <a:pt x="2477" y="279"/>
                  </a:lnTo>
                  <a:lnTo>
                    <a:pt x="2604" y="318"/>
                  </a:lnTo>
                  <a:lnTo>
                    <a:pt x="2604" y="318"/>
                  </a:lnTo>
                  <a:lnTo>
                    <a:pt x="2606" y="333"/>
                  </a:lnTo>
                  <a:lnTo>
                    <a:pt x="2607" y="348"/>
                  </a:lnTo>
                  <a:lnTo>
                    <a:pt x="2607" y="355"/>
                  </a:lnTo>
                  <a:lnTo>
                    <a:pt x="2606" y="363"/>
                  </a:lnTo>
                  <a:lnTo>
                    <a:pt x="2604" y="370"/>
                  </a:lnTo>
                  <a:lnTo>
                    <a:pt x="2601" y="378"/>
                  </a:lnTo>
                  <a:lnTo>
                    <a:pt x="2595" y="386"/>
                  </a:lnTo>
                  <a:lnTo>
                    <a:pt x="2590" y="395"/>
                  </a:lnTo>
                  <a:lnTo>
                    <a:pt x="2583" y="401"/>
                  </a:lnTo>
                  <a:lnTo>
                    <a:pt x="2577" y="409"/>
                  </a:lnTo>
                  <a:lnTo>
                    <a:pt x="2571" y="415"/>
                  </a:lnTo>
                  <a:lnTo>
                    <a:pt x="2566" y="423"/>
                  </a:lnTo>
                  <a:lnTo>
                    <a:pt x="2564" y="427"/>
                  </a:lnTo>
                  <a:lnTo>
                    <a:pt x="2563" y="432"/>
                  </a:lnTo>
                  <a:lnTo>
                    <a:pt x="2562" y="437"/>
                  </a:lnTo>
                  <a:lnTo>
                    <a:pt x="2562" y="442"/>
                  </a:lnTo>
                  <a:lnTo>
                    <a:pt x="2562" y="452"/>
                  </a:lnTo>
                  <a:lnTo>
                    <a:pt x="2563" y="463"/>
                  </a:lnTo>
                  <a:lnTo>
                    <a:pt x="2565" y="472"/>
                  </a:lnTo>
                  <a:lnTo>
                    <a:pt x="2567" y="481"/>
                  </a:lnTo>
                  <a:lnTo>
                    <a:pt x="2572" y="498"/>
                  </a:lnTo>
                  <a:lnTo>
                    <a:pt x="2579" y="515"/>
                  </a:lnTo>
                  <a:lnTo>
                    <a:pt x="2584" y="531"/>
                  </a:lnTo>
                  <a:lnTo>
                    <a:pt x="2590" y="548"/>
                  </a:lnTo>
                  <a:lnTo>
                    <a:pt x="2592" y="557"/>
                  </a:lnTo>
                  <a:lnTo>
                    <a:pt x="2594" y="567"/>
                  </a:lnTo>
                  <a:lnTo>
                    <a:pt x="2595" y="576"/>
                  </a:lnTo>
                  <a:lnTo>
                    <a:pt x="2595" y="586"/>
                  </a:lnTo>
                  <a:lnTo>
                    <a:pt x="2595" y="598"/>
                  </a:lnTo>
                  <a:lnTo>
                    <a:pt x="2594" y="609"/>
                  </a:lnTo>
                  <a:lnTo>
                    <a:pt x="2593" y="618"/>
                  </a:lnTo>
                  <a:lnTo>
                    <a:pt x="2591" y="628"/>
                  </a:lnTo>
                  <a:lnTo>
                    <a:pt x="2587" y="647"/>
                  </a:lnTo>
                  <a:lnTo>
                    <a:pt x="2580" y="665"/>
                  </a:lnTo>
                  <a:lnTo>
                    <a:pt x="2564" y="699"/>
                  </a:lnTo>
                  <a:lnTo>
                    <a:pt x="2548" y="739"/>
                  </a:lnTo>
                  <a:lnTo>
                    <a:pt x="2539" y="765"/>
                  </a:lnTo>
                  <a:lnTo>
                    <a:pt x="2534" y="789"/>
                  </a:lnTo>
                  <a:lnTo>
                    <a:pt x="2529" y="800"/>
                  </a:lnTo>
                  <a:lnTo>
                    <a:pt x="2525" y="812"/>
                  </a:lnTo>
                  <a:lnTo>
                    <a:pt x="2520" y="823"/>
                  </a:lnTo>
                  <a:lnTo>
                    <a:pt x="2511" y="834"/>
                  </a:lnTo>
                  <a:lnTo>
                    <a:pt x="2497" y="851"/>
                  </a:lnTo>
                  <a:lnTo>
                    <a:pt x="2484" y="865"/>
                  </a:lnTo>
                  <a:lnTo>
                    <a:pt x="2477" y="871"/>
                  </a:lnTo>
                  <a:lnTo>
                    <a:pt x="2471" y="879"/>
                  </a:lnTo>
                  <a:lnTo>
                    <a:pt x="2464" y="887"/>
                  </a:lnTo>
                  <a:lnTo>
                    <a:pt x="2458" y="896"/>
                  </a:lnTo>
                  <a:lnTo>
                    <a:pt x="2452" y="908"/>
                  </a:lnTo>
                  <a:lnTo>
                    <a:pt x="2444" y="919"/>
                  </a:lnTo>
                  <a:lnTo>
                    <a:pt x="2439" y="930"/>
                  </a:lnTo>
                  <a:lnTo>
                    <a:pt x="2432" y="940"/>
                  </a:lnTo>
                  <a:lnTo>
                    <a:pt x="2432" y="940"/>
                  </a:lnTo>
                  <a:lnTo>
                    <a:pt x="2406" y="927"/>
                  </a:lnTo>
                  <a:lnTo>
                    <a:pt x="2381" y="915"/>
                  </a:lnTo>
                  <a:lnTo>
                    <a:pt x="2368" y="911"/>
                  </a:lnTo>
                  <a:lnTo>
                    <a:pt x="2355" y="908"/>
                  </a:lnTo>
                  <a:lnTo>
                    <a:pt x="2341" y="906"/>
                  </a:lnTo>
                  <a:lnTo>
                    <a:pt x="2326" y="905"/>
                  </a:lnTo>
                  <a:lnTo>
                    <a:pt x="2315" y="906"/>
                  </a:lnTo>
                  <a:lnTo>
                    <a:pt x="2307" y="908"/>
                  </a:lnTo>
                  <a:lnTo>
                    <a:pt x="2298" y="911"/>
                  </a:lnTo>
                  <a:lnTo>
                    <a:pt x="2290" y="914"/>
                  </a:lnTo>
                  <a:lnTo>
                    <a:pt x="2282" y="918"/>
                  </a:lnTo>
                  <a:lnTo>
                    <a:pt x="2273" y="921"/>
                  </a:lnTo>
                  <a:lnTo>
                    <a:pt x="2264" y="923"/>
                  </a:lnTo>
                  <a:lnTo>
                    <a:pt x="2254" y="924"/>
                  </a:lnTo>
                  <a:lnTo>
                    <a:pt x="2241" y="924"/>
                  </a:lnTo>
                  <a:lnTo>
                    <a:pt x="2228" y="923"/>
                  </a:lnTo>
                  <a:lnTo>
                    <a:pt x="2217" y="922"/>
                  </a:lnTo>
                  <a:lnTo>
                    <a:pt x="2206" y="920"/>
                  </a:lnTo>
                  <a:lnTo>
                    <a:pt x="2185" y="915"/>
                  </a:lnTo>
                  <a:lnTo>
                    <a:pt x="2161" y="908"/>
                  </a:lnTo>
                  <a:lnTo>
                    <a:pt x="2157" y="901"/>
                  </a:lnTo>
                  <a:lnTo>
                    <a:pt x="2152" y="896"/>
                  </a:lnTo>
                  <a:lnTo>
                    <a:pt x="2148" y="896"/>
                  </a:lnTo>
                  <a:lnTo>
                    <a:pt x="2144" y="897"/>
                  </a:lnTo>
                  <a:lnTo>
                    <a:pt x="2139" y="899"/>
                  </a:lnTo>
                  <a:lnTo>
                    <a:pt x="2136" y="901"/>
                  </a:lnTo>
                  <a:lnTo>
                    <a:pt x="2130" y="907"/>
                  </a:lnTo>
                  <a:lnTo>
                    <a:pt x="2124" y="913"/>
                  </a:lnTo>
                  <a:lnTo>
                    <a:pt x="2119" y="921"/>
                  </a:lnTo>
                  <a:lnTo>
                    <a:pt x="2113" y="928"/>
                  </a:lnTo>
                  <a:lnTo>
                    <a:pt x="2107" y="935"/>
                  </a:lnTo>
                  <a:lnTo>
                    <a:pt x="2099" y="941"/>
                  </a:lnTo>
                  <a:lnTo>
                    <a:pt x="2079" y="953"/>
                  </a:lnTo>
                  <a:lnTo>
                    <a:pt x="2061" y="963"/>
                  </a:lnTo>
                  <a:lnTo>
                    <a:pt x="2041" y="972"/>
                  </a:lnTo>
                  <a:lnTo>
                    <a:pt x="2023" y="978"/>
                  </a:lnTo>
                  <a:lnTo>
                    <a:pt x="2003" y="982"/>
                  </a:lnTo>
                  <a:lnTo>
                    <a:pt x="1984" y="986"/>
                  </a:lnTo>
                  <a:lnTo>
                    <a:pt x="1962" y="988"/>
                  </a:lnTo>
                  <a:lnTo>
                    <a:pt x="1938" y="989"/>
                  </a:lnTo>
                  <a:lnTo>
                    <a:pt x="1923" y="989"/>
                  </a:lnTo>
                  <a:lnTo>
                    <a:pt x="1910" y="989"/>
                  </a:lnTo>
                  <a:lnTo>
                    <a:pt x="1896" y="989"/>
                  </a:lnTo>
                  <a:lnTo>
                    <a:pt x="1881" y="989"/>
                  </a:lnTo>
                  <a:lnTo>
                    <a:pt x="1875" y="990"/>
                  </a:lnTo>
                  <a:lnTo>
                    <a:pt x="1869" y="992"/>
                  </a:lnTo>
                  <a:lnTo>
                    <a:pt x="1864" y="995"/>
                  </a:lnTo>
                  <a:lnTo>
                    <a:pt x="1860" y="999"/>
                  </a:lnTo>
                  <a:lnTo>
                    <a:pt x="1854" y="1002"/>
                  </a:lnTo>
                  <a:lnTo>
                    <a:pt x="1850" y="1005"/>
                  </a:lnTo>
                  <a:lnTo>
                    <a:pt x="1843" y="1007"/>
                  </a:lnTo>
                  <a:lnTo>
                    <a:pt x="1837" y="1008"/>
                  </a:lnTo>
                  <a:lnTo>
                    <a:pt x="1828" y="1008"/>
                  </a:lnTo>
                  <a:lnTo>
                    <a:pt x="1820" y="1006"/>
                  </a:lnTo>
                  <a:lnTo>
                    <a:pt x="1812" y="1005"/>
                  </a:lnTo>
                  <a:lnTo>
                    <a:pt x="1805" y="1003"/>
                  </a:lnTo>
                  <a:lnTo>
                    <a:pt x="1788" y="998"/>
                  </a:lnTo>
                  <a:lnTo>
                    <a:pt x="1771" y="994"/>
                  </a:lnTo>
                  <a:lnTo>
                    <a:pt x="1748" y="991"/>
                  </a:lnTo>
                  <a:lnTo>
                    <a:pt x="1728" y="987"/>
                  </a:lnTo>
                  <a:lnTo>
                    <a:pt x="1708" y="982"/>
                  </a:lnTo>
                  <a:lnTo>
                    <a:pt x="1689" y="977"/>
                  </a:lnTo>
                  <a:lnTo>
                    <a:pt x="1672" y="971"/>
                  </a:lnTo>
                  <a:lnTo>
                    <a:pt x="1653" y="962"/>
                  </a:lnTo>
                  <a:lnTo>
                    <a:pt x="1636" y="951"/>
                  </a:lnTo>
                  <a:lnTo>
                    <a:pt x="1618" y="938"/>
                  </a:lnTo>
                  <a:lnTo>
                    <a:pt x="1604" y="927"/>
                  </a:lnTo>
                  <a:lnTo>
                    <a:pt x="1591" y="915"/>
                  </a:lnTo>
                  <a:lnTo>
                    <a:pt x="1579" y="904"/>
                  </a:lnTo>
                  <a:lnTo>
                    <a:pt x="1568" y="893"/>
                  </a:lnTo>
                  <a:lnTo>
                    <a:pt x="1545" y="870"/>
                  </a:lnTo>
                  <a:lnTo>
                    <a:pt x="1524" y="849"/>
                  </a:lnTo>
                  <a:lnTo>
                    <a:pt x="1513" y="840"/>
                  </a:lnTo>
                  <a:lnTo>
                    <a:pt x="1501" y="831"/>
                  </a:lnTo>
                  <a:lnTo>
                    <a:pt x="1489" y="823"/>
                  </a:lnTo>
                  <a:lnTo>
                    <a:pt x="1476" y="816"/>
                  </a:lnTo>
                  <a:lnTo>
                    <a:pt x="1463" y="811"/>
                  </a:lnTo>
                  <a:lnTo>
                    <a:pt x="1448" y="807"/>
                  </a:lnTo>
                  <a:lnTo>
                    <a:pt x="1432" y="804"/>
                  </a:lnTo>
                  <a:lnTo>
                    <a:pt x="1416" y="804"/>
                  </a:lnTo>
                  <a:lnTo>
                    <a:pt x="1402" y="804"/>
                  </a:lnTo>
                  <a:lnTo>
                    <a:pt x="1389" y="807"/>
                  </a:lnTo>
                  <a:lnTo>
                    <a:pt x="1377" y="812"/>
                  </a:lnTo>
                  <a:lnTo>
                    <a:pt x="1366" y="818"/>
                  </a:lnTo>
                  <a:lnTo>
                    <a:pt x="1356" y="825"/>
                  </a:lnTo>
                  <a:lnTo>
                    <a:pt x="1346" y="832"/>
                  </a:lnTo>
                  <a:lnTo>
                    <a:pt x="1337" y="840"/>
                  </a:lnTo>
                  <a:lnTo>
                    <a:pt x="1327" y="849"/>
                  </a:lnTo>
                  <a:lnTo>
                    <a:pt x="1317" y="857"/>
                  </a:lnTo>
                  <a:lnTo>
                    <a:pt x="1309" y="865"/>
                  </a:lnTo>
                  <a:lnTo>
                    <a:pt x="1298" y="872"/>
                  </a:lnTo>
                  <a:lnTo>
                    <a:pt x="1288" y="880"/>
                  </a:lnTo>
                  <a:lnTo>
                    <a:pt x="1277" y="885"/>
                  </a:lnTo>
                  <a:lnTo>
                    <a:pt x="1266" y="890"/>
                  </a:lnTo>
                  <a:lnTo>
                    <a:pt x="1253" y="893"/>
                  </a:lnTo>
                  <a:lnTo>
                    <a:pt x="1239" y="894"/>
                  </a:lnTo>
                  <a:lnTo>
                    <a:pt x="1231" y="893"/>
                  </a:lnTo>
                  <a:lnTo>
                    <a:pt x="1223" y="891"/>
                  </a:lnTo>
                  <a:lnTo>
                    <a:pt x="1216" y="886"/>
                  </a:lnTo>
                  <a:lnTo>
                    <a:pt x="1211" y="881"/>
                  </a:lnTo>
                  <a:lnTo>
                    <a:pt x="1205" y="874"/>
                  </a:lnTo>
                  <a:lnTo>
                    <a:pt x="1202" y="868"/>
                  </a:lnTo>
                  <a:lnTo>
                    <a:pt x="1199" y="859"/>
                  </a:lnTo>
                  <a:lnTo>
                    <a:pt x="1196" y="852"/>
                  </a:lnTo>
                  <a:lnTo>
                    <a:pt x="1196" y="85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13">
              <a:extLst>
                <a:ext uri="{FF2B5EF4-FFF2-40B4-BE49-F238E27FC236}">
                  <a16:creationId xmlns:a16="http://schemas.microsoft.com/office/drawing/2014/main" id="{0C4EA69B-A353-454A-9FBA-BD4D8614D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5863" y="2262188"/>
              <a:ext cx="598488" cy="371475"/>
            </a:xfrm>
            <a:custGeom>
              <a:avLst/>
              <a:gdLst>
                <a:gd name="T0" fmla="*/ 1268 w 1508"/>
                <a:gd name="T1" fmla="*/ 663 h 939"/>
                <a:gd name="T2" fmla="*/ 1169 w 1508"/>
                <a:gd name="T3" fmla="*/ 731 h 939"/>
                <a:gd name="T4" fmla="*/ 1108 w 1508"/>
                <a:gd name="T5" fmla="*/ 753 h 939"/>
                <a:gd name="T6" fmla="*/ 1031 w 1508"/>
                <a:gd name="T7" fmla="*/ 728 h 939"/>
                <a:gd name="T8" fmla="*/ 856 w 1508"/>
                <a:gd name="T9" fmla="*/ 758 h 939"/>
                <a:gd name="T10" fmla="*/ 786 w 1508"/>
                <a:gd name="T11" fmla="*/ 815 h 939"/>
                <a:gd name="T12" fmla="*/ 695 w 1508"/>
                <a:gd name="T13" fmla="*/ 927 h 939"/>
                <a:gd name="T14" fmla="*/ 636 w 1508"/>
                <a:gd name="T15" fmla="*/ 936 h 939"/>
                <a:gd name="T16" fmla="*/ 562 w 1508"/>
                <a:gd name="T17" fmla="*/ 892 h 939"/>
                <a:gd name="T18" fmla="*/ 533 w 1508"/>
                <a:gd name="T19" fmla="*/ 812 h 939"/>
                <a:gd name="T20" fmla="*/ 593 w 1508"/>
                <a:gd name="T21" fmla="*/ 693 h 939"/>
                <a:gd name="T22" fmla="*/ 628 w 1508"/>
                <a:gd name="T23" fmla="*/ 576 h 939"/>
                <a:gd name="T24" fmla="*/ 603 w 1508"/>
                <a:gd name="T25" fmla="*/ 533 h 939"/>
                <a:gd name="T26" fmla="*/ 532 w 1508"/>
                <a:gd name="T27" fmla="*/ 515 h 939"/>
                <a:gd name="T28" fmla="*/ 438 w 1508"/>
                <a:gd name="T29" fmla="*/ 518 h 939"/>
                <a:gd name="T30" fmla="*/ 343 w 1508"/>
                <a:gd name="T31" fmla="*/ 554 h 939"/>
                <a:gd name="T32" fmla="*/ 225 w 1508"/>
                <a:gd name="T33" fmla="*/ 611 h 939"/>
                <a:gd name="T34" fmla="*/ 183 w 1508"/>
                <a:gd name="T35" fmla="*/ 633 h 939"/>
                <a:gd name="T36" fmla="*/ 152 w 1508"/>
                <a:gd name="T37" fmla="*/ 612 h 939"/>
                <a:gd name="T38" fmla="*/ 67 w 1508"/>
                <a:gd name="T39" fmla="*/ 557 h 939"/>
                <a:gd name="T40" fmla="*/ 9 w 1508"/>
                <a:gd name="T41" fmla="*/ 514 h 939"/>
                <a:gd name="T42" fmla="*/ 39 w 1508"/>
                <a:gd name="T43" fmla="*/ 459 h 939"/>
                <a:gd name="T44" fmla="*/ 60 w 1508"/>
                <a:gd name="T45" fmla="*/ 417 h 939"/>
                <a:gd name="T46" fmla="*/ 19 w 1508"/>
                <a:gd name="T47" fmla="*/ 318 h 939"/>
                <a:gd name="T48" fmla="*/ 3 w 1508"/>
                <a:gd name="T49" fmla="*/ 240 h 939"/>
                <a:gd name="T50" fmla="*/ 42 w 1508"/>
                <a:gd name="T51" fmla="*/ 173 h 939"/>
                <a:gd name="T52" fmla="*/ 46 w 1508"/>
                <a:gd name="T53" fmla="*/ 96 h 939"/>
                <a:gd name="T54" fmla="*/ 99 w 1508"/>
                <a:gd name="T55" fmla="*/ 70 h 939"/>
                <a:gd name="T56" fmla="*/ 182 w 1508"/>
                <a:gd name="T57" fmla="*/ 77 h 939"/>
                <a:gd name="T58" fmla="*/ 287 w 1508"/>
                <a:gd name="T59" fmla="*/ 70 h 939"/>
                <a:gd name="T60" fmla="*/ 395 w 1508"/>
                <a:gd name="T61" fmla="*/ 63 h 939"/>
                <a:gd name="T62" fmla="*/ 549 w 1508"/>
                <a:gd name="T63" fmla="*/ 17 h 939"/>
                <a:gd name="T64" fmla="*/ 579 w 1508"/>
                <a:gd name="T65" fmla="*/ 44 h 939"/>
                <a:gd name="T66" fmla="*/ 528 w 1508"/>
                <a:gd name="T67" fmla="*/ 182 h 939"/>
                <a:gd name="T68" fmla="*/ 534 w 1508"/>
                <a:gd name="T69" fmla="*/ 229 h 939"/>
                <a:gd name="T70" fmla="*/ 607 w 1508"/>
                <a:gd name="T71" fmla="*/ 268 h 939"/>
                <a:gd name="T72" fmla="*/ 666 w 1508"/>
                <a:gd name="T73" fmla="*/ 291 h 939"/>
                <a:gd name="T74" fmla="*/ 710 w 1508"/>
                <a:gd name="T75" fmla="*/ 265 h 939"/>
                <a:gd name="T76" fmla="*/ 738 w 1508"/>
                <a:gd name="T77" fmla="*/ 265 h 939"/>
                <a:gd name="T78" fmla="*/ 791 w 1508"/>
                <a:gd name="T79" fmla="*/ 311 h 939"/>
                <a:gd name="T80" fmla="*/ 847 w 1508"/>
                <a:gd name="T81" fmla="*/ 347 h 939"/>
                <a:gd name="T82" fmla="*/ 881 w 1508"/>
                <a:gd name="T83" fmla="*/ 302 h 939"/>
                <a:gd name="T84" fmla="*/ 867 w 1508"/>
                <a:gd name="T85" fmla="*/ 250 h 939"/>
                <a:gd name="T86" fmla="*/ 881 w 1508"/>
                <a:gd name="T87" fmla="*/ 230 h 939"/>
                <a:gd name="T88" fmla="*/ 920 w 1508"/>
                <a:gd name="T89" fmla="*/ 204 h 939"/>
                <a:gd name="T90" fmla="*/ 942 w 1508"/>
                <a:gd name="T91" fmla="*/ 109 h 939"/>
                <a:gd name="T92" fmla="*/ 970 w 1508"/>
                <a:gd name="T93" fmla="*/ 107 h 939"/>
                <a:gd name="T94" fmla="*/ 1015 w 1508"/>
                <a:gd name="T95" fmla="*/ 153 h 939"/>
                <a:gd name="T96" fmla="*/ 1153 w 1508"/>
                <a:gd name="T97" fmla="*/ 213 h 939"/>
                <a:gd name="T98" fmla="*/ 1259 w 1508"/>
                <a:gd name="T99" fmla="*/ 209 h 939"/>
                <a:gd name="T100" fmla="*/ 1335 w 1508"/>
                <a:gd name="T101" fmla="*/ 216 h 939"/>
                <a:gd name="T102" fmla="*/ 1478 w 1508"/>
                <a:gd name="T103" fmla="*/ 239 h 939"/>
                <a:gd name="T104" fmla="*/ 1480 w 1508"/>
                <a:gd name="T105" fmla="*/ 314 h 939"/>
                <a:gd name="T106" fmla="*/ 1500 w 1508"/>
                <a:gd name="T107" fmla="*/ 446 h 939"/>
                <a:gd name="T108" fmla="*/ 1502 w 1508"/>
                <a:gd name="T109" fmla="*/ 531 h 939"/>
                <a:gd name="T110" fmla="*/ 1496 w 1508"/>
                <a:gd name="T111" fmla="*/ 618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08" h="939">
                  <a:moveTo>
                    <a:pt x="1489" y="677"/>
                  </a:moveTo>
                  <a:lnTo>
                    <a:pt x="1362" y="638"/>
                  </a:lnTo>
                  <a:lnTo>
                    <a:pt x="1341" y="642"/>
                  </a:lnTo>
                  <a:lnTo>
                    <a:pt x="1321" y="646"/>
                  </a:lnTo>
                  <a:lnTo>
                    <a:pt x="1303" y="650"/>
                  </a:lnTo>
                  <a:lnTo>
                    <a:pt x="1286" y="657"/>
                  </a:lnTo>
                  <a:lnTo>
                    <a:pt x="1268" y="663"/>
                  </a:lnTo>
                  <a:lnTo>
                    <a:pt x="1251" y="672"/>
                  </a:lnTo>
                  <a:lnTo>
                    <a:pt x="1233" y="680"/>
                  </a:lnTo>
                  <a:lnTo>
                    <a:pt x="1214" y="692"/>
                  </a:lnTo>
                  <a:lnTo>
                    <a:pt x="1202" y="701"/>
                  </a:lnTo>
                  <a:lnTo>
                    <a:pt x="1190" y="711"/>
                  </a:lnTo>
                  <a:lnTo>
                    <a:pt x="1180" y="720"/>
                  </a:lnTo>
                  <a:lnTo>
                    <a:pt x="1169" y="731"/>
                  </a:lnTo>
                  <a:lnTo>
                    <a:pt x="1159" y="740"/>
                  </a:lnTo>
                  <a:lnTo>
                    <a:pt x="1148" y="747"/>
                  </a:lnTo>
                  <a:lnTo>
                    <a:pt x="1142" y="750"/>
                  </a:lnTo>
                  <a:lnTo>
                    <a:pt x="1136" y="752"/>
                  </a:lnTo>
                  <a:lnTo>
                    <a:pt x="1128" y="753"/>
                  </a:lnTo>
                  <a:lnTo>
                    <a:pt x="1121" y="754"/>
                  </a:lnTo>
                  <a:lnTo>
                    <a:pt x="1108" y="753"/>
                  </a:lnTo>
                  <a:lnTo>
                    <a:pt x="1096" y="750"/>
                  </a:lnTo>
                  <a:lnTo>
                    <a:pt x="1086" y="745"/>
                  </a:lnTo>
                  <a:lnTo>
                    <a:pt x="1075" y="741"/>
                  </a:lnTo>
                  <a:lnTo>
                    <a:pt x="1065" y="737"/>
                  </a:lnTo>
                  <a:lnTo>
                    <a:pt x="1055" y="732"/>
                  </a:lnTo>
                  <a:lnTo>
                    <a:pt x="1043" y="729"/>
                  </a:lnTo>
                  <a:lnTo>
                    <a:pt x="1031" y="728"/>
                  </a:lnTo>
                  <a:lnTo>
                    <a:pt x="1002" y="729"/>
                  </a:lnTo>
                  <a:lnTo>
                    <a:pt x="976" y="731"/>
                  </a:lnTo>
                  <a:lnTo>
                    <a:pt x="952" y="736"/>
                  </a:lnTo>
                  <a:lnTo>
                    <a:pt x="928" y="740"/>
                  </a:lnTo>
                  <a:lnTo>
                    <a:pt x="906" y="745"/>
                  </a:lnTo>
                  <a:lnTo>
                    <a:pt x="881" y="752"/>
                  </a:lnTo>
                  <a:lnTo>
                    <a:pt x="856" y="758"/>
                  </a:lnTo>
                  <a:lnTo>
                    <a:pt x="828" y="765"/>
                  </a:lnTo>
                  <a:lnTo>
                    <a:pt x="819" y="768"/>
                  </a:lnTo>
                  <a:lnTo>
                    <a:pt x="812" y="772"/>
                  </a:lnTo>
                  <a:lnTo>
                    <a:pt x="806" y="778"/>
                  </a:lnTo>
                  <a:lnTo>
                    <a:pt x="801" y="784"/>
                  </a:lnTo>
                  <a:lnTo>
                    <a:pt x="793" y="798"/>
                  </a:lnTo>
                  <a:lnTo>
                    <a:pt x="786" y="815"/>
                  </a:lnTo>
                  <a:lnTo>
                    <a:pt x="775" y="833"/>
                  </a:lnTo>
                  <a:lnTo>
                    <a:pt x="764" y="848"/>
                  </a:lnTo>
                  <a:lnTo>
                    <a:pt x="751" y="862"/>
                  </a:lnTo>
                  <a:lnTo>
                    <a:pt x="738" y="877"/>
                  </a:lnTo>
                  <a:lnTo>
                    <a:pt x="721" y="899"/>
                  </a:lnTo>
                  <a:lnTo>
                    <a:pt x="705" y="918"/>
                  </a:lnTo>
                  <a:lnTo>
                    <a:pt x="695" y="927"/>
                  </a:lnTo>
                  <a:lnTo>
                    <a:pt x="685" y="933"/>
                  </a:lnTo>
                  <a:lnTo>
                    <a:pt x="680" y="935"/>
                  </a:lnTo>
                  <a:lnTo>
                    <a:pt x="674" y="938"/>
                  </a:lnTo>
                  <a:lnTo>
                    <a:pt x="668" y="939"/>
                  </a:lnTo>
                  <a:lnTo>
                    <a:pt x="660" y="939"/>
                  </a:lnTo>
                  <a:lnTo>
                    <a:pt x="647" y="938"/>
                  </a:lnTo>
                  <a:lnTo>
                    <a:pt x="636" y="936"/>
                  </a:lnTo>
                  <a:lnTo>
                    <a:pt x="623" y="933"/>
                  </a:lnTo>
                  <a:lnTo>
                    <a:pt x="612" y="929"/>
                  </a:lnTo>
                  <a:lnTo>
                    <a:pt x="600" y="923"/>
                  </a:lnTo>
                  <a:lnTo>
                    <a:pt x="590" y="917"/>
                  </a:lnTo>
                  <a:lnTo>
                    <a:pt x="579" y="909"/>
                  </a:lnTo>
                  <a:lnTo>
                    <a:pt x="571" y="902"/>
                  </a:lnTo>
                  <a:lnTo>
                    <a:pt x="562" y="892"/>
                  </a:lnTo>
                  <a:lnTo>
                    <a:pt x="556" y="882"/>
                  </a:lnTo>
                  <a:lnTo>
                    <a:pt x="549" y="873"/>
                  </a:lnTo>
                  <a:lnTo>
                    <a:pt x="544" y="862"/>
                  </a:lnTo>
                  <a:lnTo>
                    <a:pt x="538" y="850"/>
                  </a:lnTo>
                  <a:lnTo>
                    <a:pt x="536" y="838"/>
                  </a:lnTo>
                  <a:lnTo>
                    <a:pt x="534" y="825"/>
                  </a:lnTo>
                  <a:lnTo>
                    <a:pt x="533" y="812"/>
                  </a:lnTo>
                  <a:lnTo>
                    <a:pt x="534" y="800"/>
                  </a:lnTo>
                  <a:lnTo>
                    <a:pt x="537" y="790"/>
                  </a:lnTo>
                  <a:lnTo>
                    <a:pt x="542" y="781"/>
                  </a:lnTo>
                  <a:lnTo>
                    <a:pt x="547" y="772"/>
                  </a:lnTo>
                  <a:lnTo>
                    <a:pt x="560" y="754"/>
                  </a:lnTo>
                  <a:lnTo>
                    <a:pt x="572" y="734"/>
                  </a:lnTo>
                  <a:lnTo>
                    <a:pt x="593" y="693"/>
                  </a:lnTo>
                  <a:lnTo>
                    <a:pt x="611" y="658"/>
                  </a:lnTo>
                  <a:lnTo>
                    <a:pt x="618" y="639"/>
                  </a:lnTo>
                  <a:lnTo>
                    <a:pt x="624" y="620"/>
                  </a:lnTo>
                  <a:lnTo>
                    <a:pt x="626" y="609"/>
                  </a:lnTo>
                  <a:lnTo>
                    <a:pt x="627" y="598"/>
                  </a:lnTo>
                  <a:lnTo>
                    <a:pt x="628" y="588"/>
                  </a:lnTo>
                  <a:lnTo>
                    <a:pt x="628" y="576"/>
                  </a:lnTo>
                  <a:lnTo>
                    <a:pt x="628" y="568"/>
                  </a:lnTo>
                  <a:lnTo>
                    <a:pt x="626" y="561"/>
                  </a:lnTo>
                  <a:lnTo>
                    <a:pt x="624" y="554"/>
                  </a:lnTo>
                  <a:lnTo>
                    <a:pt x="619" y="548"/>
                  </a:lnTo>
                  <a:lnTo>
                    <a:pt x="615" y="542"/>
                  </a:lnTo>
                  <a:lnTo>
                    <a:pt x="610" y="537"/>
                  </a:lnTo>
                  <a:lnTo>
                    <a:pt x="603" y="533"/>
                  </a:lnTo>
                  <a:lnTo>
                    <a:pt x="597" y="529"/>
                  </a:lnTo>
                  <a:lnTo>
                    <a:pt x="590" y="526"/>
                  </a:lnTo>
                  <a:lnTo>
                    <a:pt x="583" y="523"/>
                  </a:lnTo>
                  <a:lnTo>
                    <a:pt x="574" y="521"/>
                  </a:lnTo>
                  <a:lnTo>
                    <a:pt x="566" y="518"/>
                  </a:lnTo>
                  <a:lnTo>
                    <a:pt x="549" y="516"/>
                  </a:lnTo>
                  <a:lnTo>
                    <a:pt x="532" y="515"/>
                  </a:lnTo>
                  <a:lnTo>
                    <a:pt x="515" y="515"/>
                  </a:lnTo>
                  <a:lnTo>
                    <a:pt x="498" y="515"/>
                  </a:lnTo>
                  <a:lnTo>
                    <a:pt x="482" y="515"/>
                  </a:lnTo>
                  <a:lnTo>
                    <a:pt x="464" y="515"/>
                  </a:lnTo>
                  <a:lnTo>
                    <a:pt x="455" y="515"/>
                  </a:lnTo>
                  <a:lnTo>
                    <a:pt x="447" y="516"/>
                  </a:lnTo>
                  <a:lnTo>
                    <a:pt x="438" y="518"/>
                  </a:lnTo>
                  <a:lnTo>
                    <a:pt x="430" y="520"/>
                  </a:lnTo>
                  <a:lnTo>
                    <a:pt x="416" y="525"/>
                  </a:lnTo>
                  <a:lnTo>
                    <a:pt x="402" y="530"/>
                  </a:lnTo>
                  <a:lnTo>
                    <a:pt x="389" y="537"/>
                  </a:lnTo>
                  <a:lnTo>
                    <a:pt x="375" y="543"/>
                  </a:lnTo>
                  <a:lnTo>
                    <a:pt x="359" y="550"/>
                  </a:lnTo>
                  <a:lnTo>
                    <a:pt x="343" y="554"/>
                  </a:lnTo>
                  <a:lnTo>
                    <a:pt x="317" y="561"/>
                  </a:lnTo>
                  <a:lnTo>
                    <a:pt x="294" y="568"/>
                  </a:lnTo>
                  <a:lnTo>
                    <a:pt x="273" y="578"/>
                  </a:lnTo>
                  <a:lnTo>
                    <a:pt x="250" y="591"/>
                  </a:lnTo>
                  <a:lnTo>
                    <a:pt x="240" y="597"/>
                  </a:lnTo>
                  <a:lnTo>
                    <a:pt x="233" y="604"/>
                  </a:lnTo>
                  <a:lnTo>
                    <a:pt x="225" y="611"/>
                  </a:lnTo>
                  <a:lnTo>
                    <a:pt x="218" y="618"/>
                  </a:lnTo>
                  <a:lnTo>
                    <a:pt x="210" y="624"/>
                  </a:lnTo>
                  <a:lnTo>
                    <a:pt x="202" y="629"/>
                  </a:lnTo>
                  <a:lnTo>
                    <a:pt x="198" y="631"/>
                  </a:lnTo>
                  <a:lnTo>
                    <a:pt x="194" y="632"/>
                  </a:lnTo>
                  <a:lnTo>
                    <a:pt x="188" y="633"/>
                  </a:lnTo>
                  <a:lnTo>
                    <a:pt x="183" y="633"/>
                  </a:lnTo>
                  <a:lnTo>
                    <a:pt x="179" y="633"/>
                  </a:lnTo>
                  <a:lnTo>
                    <a:pt x="174" y="632"/>
                  </a:lnTo>
                  <a:lnTo>
                    <a:pt x="171" y="631"/>
                  </a:lnTo>
                  <a:lnTo>
                    <a:pt x="168" y="629"/>
                  </a:lnTo>
                  <a:lnTo>
                    <a:pt x="162" y="624"/>
                  </a:lnTo>
                  <a:lnTo>
                    <a:pt x="157" y="619"/>
                  </a:lnTo>
                  <a:lnTo>
                    <a:pt x="152" y="612"/>
                  </a:lnTo>
                  <a:lnTo>
                    <a:pt x="147" y="606"/>
                  </a:lnTo>
                  <a:lnTo>
                    <a:pt x="142" y="599"/>
                  </a:lnTo>
                  <a:lnTo>
                    <a:pt x="135" y="594"/>
                  </a:lnTo>
                  <a:lnTo>
                    <a:pt x="118" y="582"/>
                  </a:lnTo>
                  <a:lnTo>
                    <a:pt x="101" y="574"/>
                  </a:lnTo>
                  <a:lnTo>
                    <a:pt x="85" y="565"/>
                  </a:lnTo>
                  <a:lnTo>
                    <a:pt x="67" y="557"/>
                  </a:lnTo>
                  <a:lnTo>
                    <a:pt x="51" y="550"/>
                  </a:lnTo>
                  <a:lnTo>
                    <a:pt x="35" y="542"/>
                  </a:lnTo>
                  <a:lnTo>
                    <a:pt x="18" y="533"/>
                  </a:lnTo>
                  <a:lnTo>
                    <a:pt x="0" y="521"/>
                  </a:lnTo>
                  <a:lnTo>
                    <a:pt x="0" y="521"/>
                  </a:lnTo>
                  <a:lnTo>
                    <a:pt x="5" y="517"/>
                  </a:lnTo>
                  <a:lnTo>
                    <a:pt x="9" y="514"/>
                  </a:lnTo>
                  <a:lnTo>
                    <a:pt x="12" y="510"/>
                  </a:lnTo>
                  <a:lnTo>
                    <a:pt x="15" y="506"/>
                  </a:lnTo>
                  <a:lnTo>
                    <a:pt x="19" y="496"/>
                  </a:lnTo>
                  <a:lnTo>
                    <a:pt x="23" y="485"/>
                  </a:lnTo>
                  <a:lnTo>
                    <a:pt x="27" y="475"/>
                  </a:lnTo>
                  <a:lnTo>
                    <a:pt x="33" y="467"/>
                  </a:lnTo>
                  <a:lnTo>
                    <a:pt x="39" y="459"/>
                  </a:lnTo>
                  <a:lnTo>
                    <a:pt x="46" y="452"/>
                  </a:lnTo>
                  <a:lnTo>
                    <a:pt x="51" y="444"/>
                  </a:lnTo>
                  <a:lnTo>
                    <a:pt x="56" y="436"/>
                  </a:lnTo>
                  <a:lnTo>
                    <a:pt x="57" y="432"/>
                  </a:lnTo>
                  <a:lnTo>
                    <a:pt x="59" y="428"/>
                  </a:lnTo>
                  <a:lnTo>
                    <a:pt x="59" y="422"/>
                  </a:lnTo>
                  <a:lnTo>
                    <a:pt x="60" y="417"/>
                  </a:lnTo>
                  <a:lnTo>
                    <a:pt x="59" y="405"/>
                  </a:lnTo>
                  <a:lnTo>
                    <a:pt x="57" y="394"/>
                  </a:lnTo>
                  <a:lnTo>
                    <a:pt x="54" y="383"/>
                  </a:lnTo>
                  <a:lnTo>
                    <a:pt x="50" y="373"/>
                  </a:lnTo>
                  <a:lnTo>
                    <a:pt x="40" y="354"/>
                  </a:lnTo>
                  <a:lnTo>
                    <a:pt x="30" y="336"/>
                  </a:lnTo>
                  <a:lnTo>
                    <a:pt x="19" y="318"/>
                  </a:lnTo>
                  <a:lnTo>
                    <a:pt x="10" y="299"/>
                  </a:lnTo>
                  <a:lnTo>
                    <a:pt x="6" y="288"/>
                  </a:lnTo>
                  <a:lnTo>
                    <a:pt x="3" y="279"/>
                  </a:lnTo>
                  <a:lnTo>
                    <a:pt x="2" y="267"/>
                  </a:lnTo>
                  <a:lnTo>
                    <a:pt x="0" y="255"/>
                  </a:lnTo>
                  <a:lnTo>
                    <a:pt x="2" y="246"/>
                  </a:lnTo>
                  <a:lnTo>
                    <a:pt x="3" y="240"/>
                  </a:lnTo>
                  <a:lnTo>
                    <a:pt x="5" y="232"/>
                  </a:lnTo>
                  <a:lnTo>
                    <a:pt x="8" y="226"/>
                  </a:lnTo>
                  <a:lnTo>
                    <a:pt x="15" y="214"/>
                  </a:lnTo>
                  <a:lnTo>
                    <a:pt x="23" y="202"/>
                  </a:lnTo>
                  <a:lnTo>
                    <a:pt x="31" y="191"/>
                  </a:lnTo>
                  <a:lnTo>
                    <a:pt x="38" y="179"/>
                  </a:lnTo>
                  <a:lnTo>
                    <a:pt x="42" y="173"/>
                  </a:lnTo>
                  <a:lnTo>
                    <a:pt x="44" y="165"/>
                  </a:lnTo>
                  <a:lnTo>
                    <a:pt x="45" y="159"/>
                  </a:lnTo>
                  <a:lnTo>
                    <a:pt x="46" y="150"/>
                  </a:lnTo>
                  <a:lnTo>
                    <a:pt x="46" y="136"/>
                  </a:lnTo>
                  <a:lnTo>
                    <a:pt x="46" y="123"/>
                  </a:lnTo>
                  <a:lnTo>
                    <a:pt x="46" y="110"/>
                  </a:lnTo>
                  <a:lnTo>
                    <a:pt x="46" y="96"/>
                  </a:lnTo>
                  <a:lnTo>
                    <a:pt x="46" y="83"/>
                  </a:lnTo>
                  <a:lnTo>
                    <a:pt x="48" y="74"/>
                  </a:lnTo>
                  <a:lnTo>
                    <a:pt x="50" y="64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77" y="61"/>
                  </a:lnTo>
                  <a:lnTo>
                    <a:pt x="99" y="70"/>
                  </a:lnTo>
                  <a:lnTo>
                    <a:pt x="110" y="75"/>
                  </a:lnTo>
                  <a:lnTo>
                    <a:pt x="120" y="78"/>
                  </a:lnTo>
                  <a:lnTo>
                    <a:pt x="132" y="80"/>
                  </a:lnTo>
                  <a:lnTo>
                    <a:pt x="145" y="81"/>
                  </a:lnTo>
                  <a:lnTo>
                    <a:pt x="158" y="80"/>
                  </a:lnTo>
                  <a:lnTo>
                    <a:pt x="170" y="79"/>
                  </a:lnTo>
                  <a:lnTo>
                    <a:pt x="182" y="77"/>
                  </a:lnTo>
                  <a:lnTo>
                    <a:pt x="193" y="74"/>
                  </a:lnTo>
                  <a:lnTo>
                    <a:pt x="204" y="71"/>
                  </a:lnTo>
                  <a:lnTo>
                    <a:pt x="214" y="69"/>
                  </a:lnTo>
                  <a:lnTo>
                    <a:pt x="227" y="68"/>
                  </a:lnTo>
                  <a:lnTo>
                    <a:pt x="240" y="67"/>
                  </a:lnTo>
                  <a:lnTo>
                    <a:pt x="265" y="68"/>
                  </a:lnTo>
                  <a:lnTo>
                    <a:pt x="287" y="70"/>
                  </a:lnTo>
                  <a:lnTo>
                    <a:pt x="308" y="71"/>
                  </a:lnTo>
                  <a:lnTo>
                    <a:pt x="333" y="72"/>
                  </a:lnTo>
                  <a:lnTo>
                    <a:pt x="344" y="72"/>
                  </a:lnTo>
                  <a:lnTo>
                    <a:pt x="355" y="71"/>
                  </a:lnTo>
                  <a:lnTo>
                    <a:pt x="366" y="70"/>
                  </a:lnTo>
                  <a:lnTo>
                    <a:pt x="375" y="68"/>
                  </a:lnTo>
                  <a:lnTo>
                    <a:pt x="395" y="63"/>
                  </a:lnTo>
                  <a:lnTo>
                    <a:pt x="413" y="57"/>
                  </a:lnTo>
                  <a:lnTo>
                    <a:pt x="449" y="42"/>
                  </a:lnTo>
                  <a:lnTo>
                    <a:pt x="491" y="28"/>
                  </a:lnTo>
                  <a:lnTo>
                    <a:pt x="507" y="24"/>
                  </a:lnTo>
                  <a:lnTo>
                    <a:pt x="521" y="22"/>
                  </a:lnTo>
                  <a:lnTo>
                    <a:pt x="535" y="20"/>
                  </a:lnTo>
                  <a:lnTo>
                    <a:pt x="549" y="17"/>
                  </a:lnTo>
                  <a:lnTo>
                    <a:pt x="562" y="15"/>
                  </a:lnTo>
                  <a:lnTo>
                    <a:pt x="575" y="12"/>
                  </a:lnTo>
                  <a:lnTo>
                    <a:pt x="589" y="7"/>
                  </a:lnTo>
                  <a:lnTo>
                    <a:pt x="603" y="0"/>
                  </a:lnTo>
                  <a:lnTo>
                    <a:pt x="593" y="15"/>
                  </a:lnTo>
                  <a:lnTo>
                    <a:pt x="586" y="30"/>
                  </a:lnTo>
                  <a:lnTo>
                    <a:pt x="579" y="44"/>
                  </a:lnTo>
                  <a:lnTo>
                    <a:pt x="574" y="58"/>
                  </a:lnTo>
                  <a:lnTo>
                    <a:pt x="563" y="86"/>
                  </a:lnTo>
                  <a:lnTo>
                    <a:pt x="552" y="120"/>
                  </a:lnTo>
                  <a:lnTo>
                    <a:pt x="544" y="143"/>
                  </a:lnTo>
                  <a:lnTo>
                    <a:pt x="535" y="161"/>
                  </a:lnTo>
                  <a:lnTo>
                    <a:pt x="531" y="171"/>
                  </a:lnTo>
                  <a:lnTo>
                    <a:pt x="528" y="182"/>
                  </a:lnTo>
                  <a:lnTo>
                    <a:pt x="525" y="192"/>
                  </a:lnTo>
                  <a:lnTo>
                    <a:pt x="524" y="204"/>
                  </a:lnTo>
                  <a:lnTo>
                    <a:pt x="525" y="210"/>
                  </a:lnTo>
                  <a:lnTo>
                    <a:pt x="526" y="215"/>
                  </a:lnTo>
                  <a:lnTo>
                    <a:pt x="529" y="220"/>
                  </a:lnTo>
                  <a:lnTo>
                    <a:pt x="531" y="225"/>
                  </a:lnTo>
                  <a:lnTo>
                    <a:pt x="534" y="229"/>
                  </a:lnTo>
                  <a:lnTo>
                    <a:pt x="537" y="232"/>
                  </a:lnTo>
                  <a:lnTo>
                    <a:pt x="542" y="236"/>
                  </a:lnTo>
                  <a:lnTo>
                    <a:pt x="546" y="239"/>
                  </a:lnTo>
                  <a:lnTo>
                    <a:pt x="566" y="248"/>
                  </a:lnTo>
                  <a:lnTo>
                    <a:pt x="589" y="257"/>
                  </a:lnTo>
                  <a:lnTo>
                    <a:pt x="599" y="263"/>
                  </a:lnTo>
                  <a:lnTo>
                    <a:pt x="607" y="268"/>
                  </a:lnTo>
                  <a:lnTo>
                    <a:pt x="616" y="273"/>
                  </a:lnTo>
                  <a:lnTo>
                    <a:pt x="624" y="279"/>
                  </a:lnTo>
                  <a:lnTo>
                    <a:pt x="632" y="283"/>
                  </a:lnTo>
                  <a:lnTo>
                    <a:pt x="640" y="287"/>
                  </a:lnTo>
                  <a:lnTo>
                    <a:pt x="650" y="291"/>
                  </a:lnTo>
                  <a:lnTo>
                    <a:pt x="660" y="292"/>
                  </a:lnTo>
                  <a:lnTo>
                    <a:pt x="666" y="291"/>
                  </a:lnTo>
                  <a:lnTo>
                    <a:pt x="671" y="290"/>
                  </a:lnTo>
                  <a:lnTo>
                    <a:pt x="676" y="288"/>
                  </a:lnTo>
                  <a:lnTo>
                    <a:pt x="680" y="286"/>
                  </a:lnTo>
                  <a:lnTo>
                    <a:pt x="687" y="282"/>
                  </a:lnTo>
                  <a:lnTo>
                    <a:pt x="695" y="275"/>
                  </a:lnTo>
                  <a:lnTo>
                    <a:pt x="703" y="270"/>
                  </a:lnTo>
                  <a:lnTo>
                    <a:pt x="710" y="265"/>
                  </a:lnTo>
                  <a:lnTo>
                    <a:pt x="714" y="264"/>
                  </a:lnTo>
                  <a:lnTo>
                    <a:pt x="719" y="261"/>
                  </a:lnTo>
                  <a:lnTo>
                    <a:pt x="724" y="260"/>
                  </a:lnTo>
                  <a:lnTo>
                    <a:pt x="730" y="260"/>
                  </a:lnTo>
                  <a:lnTo>
                    <a:pt x="733" y="261"/>
                  </a:lnTo>
                  <a:lnTo>
                    <a:pt x="736" y="263"/>
                  </a:lnTo>
                  <a:lnTo>
                    <a:pt x="738" y="265"/>
                  </a:lnTo>
                  <a:lnTo>
                    <a:pt x="740" y="268"/>
                  </a:lnTo>
                  <a:lnTo>
                    <a:pt x="744" y="274"/>
                  </a:lnTo>
                  <a:lnTo>
                    <a:pt x="749" y="280"/>
                  </a:lnTo>
                  <a:lnTo>
                    <a:pt x="760" y="288"/>
                  </a:lnTo>
                  <a:lnTo>
                    <a:pt x="769" y="296"/>
                  </a:lnTo>
                  <a:lnTo>
                    <a:pt x="780" y="302"/>
                  </a:lnTo>
                  <a:lnTo>
                    <a:pt x="791" y="311"/>
                  </a:lnTo>
                  <a:lnTo>
                    <a:pt x="803" y="323"/>
                  </a:lnTo>
                  <a:lnTo>
                    <a:pt x="813" y="335"/>
                  </a:lnTo>
                  <a:lnTo>
                    <a:pt x="818" y="339"/>
                  </a:lnTo>
                  <a:lnTo>
                    <a:pt x="823" y="344"/>
                  </a:lnTo>
                  <a:lnTo>
                    <a:pt x="831" y="347"/>
                  </a:lnTo>
                  <a:lnTo>
                    <a:pt x="839" y="347"/>
                  </a:lnTo>
                  <a:lnTo>
                    <a:pt x="847" y="347"/>
                  </a:lnTo>
                  <a:lnTo>
                    <a:pt x="855" y="344"/>
                  </a:lnTo>
                  <a:lnTo>
                    <a:pt x="862" y="339"/>
                  </a:lnTo>
                  <a:lnTo>
                    <a:pt x="869" y="334"/>
                  </a:lnTo>
                  <a:lnTo>
                    <a:pt x="873" y="327"/>
                  </a:lnTo>
                  <a:lnTo>
                    <a:pt x="877" y="320"/>
                  </a:lnTo>
                  <a:lnTo>
                    <a:pt x="880" y="311"/>
                  </a:lnTo>
                  <a:lnTo>
                    <a:pt x="881" y="302"/>
                  </a:lnTo>
                  <a:lnTo>
                    <a:pt x="880" y="294"/>
                  </a:lnTo>
                  <a:lnTo>
                    <a:pt x="879" y="286"/>
                  </a:lnTo>
                  <a:lnTo>
                    <a:pt x="876" y="279"/>
                  </a:lnTo>
                  <a:lnTo>
                    <a:pt x="873" y="271"/>
                  </a:lnTo>
                  <a:lnTo>
                    <a:pt x="871" y="265"/>
                  </a:lnTo>
                  <a:lnTo>
                    <a:pt x="869" y="257"/>
                  </a:lnTo>
                  <a:lnTo>
                    <a:pt x="867" y="250"/>
                  </a:lnTo>
                  <a:lnTo>
                    <a:pt x="867" y="241"/>
                  </a:lnTo>
                  <a:lnTo>
                    <a:pt x="867" y="238"/>
                  </a:lnTo>
                  <a:lnTo>
                    <a:pt x="868" y="236"/>
                  </a:lnTo>
                  <a:lnTo>
                    <a:pt x="869" y="234"/>
                  </a:lnTo>
                  <a:lnTo>
                    <a:pt x="871" y="233"/>
                  </a:lnTo>
                  <a:lnTo>
                    <a:pt x="875" y="231"/>
                  </a:lnTo>
                  <a:lnTo>
                    <a:pt x="881" y="230"/>
                  </a:lnTo>
                  <a:lnTo>
                    <a:pt x="886" y="229"/>
                  </a:lnTo>
                  <a:lnTo>
                    <a:pt x="893" y="228"/>
                  </a:lnTo>
                  <a:lnTo>
                    <a:pt x="898" y="227"/>
                  </a:lnTo>
                  <a:lnTo>
                    <a:pt x="903" y="224"/>
                  </a:lnTo>
                  <a:lnTo>
                    <a:pt x="910" y="218"/>
                  </a:lnTo>
                  <a:lnTo>
                    <a:pt x="915" y="212"/>
                  </a:lnTo>
                  <a:lnTo>
                    <a:pt x="920" y="204"/>
                  </a:lnTo>
                  <a:lnTo>
                    <a:pt x="923" y="198"/>
                  </a:lnTo>
                  <a:lnTo>
                    <a:pt x="927" y="183"/>
                  </a:lnTo>
                  <a:lnTo>
                    <a:pt x="931" y="165"/>
                  </a:lnTo>
                  <a:lnTo>
                    <a:pt x="933" y="145"/>
                  </a:lnTo>
                  <a:lnTo>
                    <a:pt x="936" y="124"/>
                  </a:lnTo>
                  <a:lnTo>
                    <a:pt x="938" y="117"/>
                  </a:lnTo>
                  <a:lnTo>
                    <a:pt x="942" y="109"/>
                  </a:lnTo>
                  <a:lnTo>
                    <a:pt x="944" y="107"/>
                  </a:lnTo>
                  <a:lnTo>
                    <a:pt x="948" y="105"/>
                  </a:lnTo>
                  <a:lnTo>
                    <a:pt x="952" y="104"/>
                  </a:lnTo>
                  <a:lnTo>
                    <a:pt x="956" y="104"/>
                  </a:lnTo>
                  <a:lnTo>
                    <a:pt x="962" y="104"/>
                  </a:lnTo>
                  <a:lnTo>
                    <a:pt x="966" y="105"/>
                  </a:lnTo>
                  <a:lnTo>
                    <a:pt x="970" y="107"/>
                  </a:lnTo>
                  <a:lnTo>
                    <a:pt x="975" y="109"/>
                  </a:lnTo>
                  <a:lnTo>
                    <a:pt x="981" y="116"/>
                  </a:lnTo>
                  <a:lnTo>
                    <a:pt x="988" y="123"/>
                  </a:lnTo>
                  <a:lnTo>
                    <a:pt x="993" y="132"/>
                  </a:lnTo>
                  <a:lnTo>
                    <a:pt x="1000" y="139"/>
                  </a:lnTo>
                  <a:lnTo>
                    <a:pt x="1006" y="147"/>
                  </a:lnTo>
                  <a:lnTo>
                    <a:pt x="1015" y="153"/>
                  </a:lnTo>
                  <a:lnTo>
                    <a:pt x="1052" y="176"/>
                  </a:lnTo>
                  <a:lnTo>
                    <a:pt x="1087" y="196"/>
                  </a:lnTo>
                  <a:lnTo>
                    <a:pt x="1104" y="202"/>
                  </a:lnTo>
                  <a:lnTo>
                    <a:pt x="1123" y="207"/>
                  </a:lnTo>
                  <a:lnTo>
                    <a:pt x="1132" y="210"/>
                  </a:lnTo>
                  <a:lnTo>
                    <a:pt x="1142" y="212"/>
                  </a:lnTo>
                  <a:lnTo>
                    <a:pt x="1153" y="213"/>
                  </a:lnTo>
                  <a:lnTo>
                    <a:pt x="1165" y="213"/>
                  </a:lnTo>
                  <a:lnTo>
                    <a:pt x="1181" y="213"/>
                  </a:lnTo>
                  <a:lnTo>
                    <a:pt x="1195" y="213"/>
                  </a:lnTo>
                  <a:lnTo>
                    <a:pt x="1209" y="213"/>
                  </a:lnTo>
                  <a:lnTo>
                    <a:pt x="1224" y="213"/>
                  </a:lnTo>
                  <a:lnTo>
                    <a:pt x="1243" y="212"/>
                  </a:lnTo>
                  <a:lnTo>
                    <a:pt x="1259" y="209"/>
                  </a:lnTo>
                  <a:lnTo>
                    <a:pt x="1275" y="205"/>
                  </a:lnTo>
                  <a:lnTo>
                    <a:pt x="1292" y="204"/>
                  </a:lnTo>
                  <a:lnTo>
                    <a:pt x="1301" y="205"/>
                  </a:lnTo>
                  <a:lnTo>
                    <a:pt x="1308" y="206"/>
                  </a:lnTo>
                  <a:lnTo>
                    <a:pt x="1316" y="209"/>
                  </a:lnTo>
                  <a:lnTo>
                    <a:pt x="1322" y="211"/>
                  </a:lnTo>
                  <a:lnTo>
                    <a:pt x="1335" y="216"/>
                  </a:lnTo>
                  <a:lnTo>
                    <a:pt x="1352" y="221"/>
                  </a:lnTo>
                  <a:lnTo>
                    <a:pt x="1369" y="225"/>
                  </a:lnTo>
                  <a:lnTo>
                    <a:pt x="1385" y="228"/>
                  </a:lnTo>
                  <a:lnTo>
                    <a:pt x="1400" y="230"/>
                  </a:lnTo>
                  <a:lnTo>
                    <a:pt x="1414" y="232"/>
                  </a:lnTo>
                  <a:lnTo>
                    <a:pt x="1445" y="234"/>
                  </a:lnTo>
                  <a:lnTo>
                    <a:pt x="1478" y="239"/>
                  </a:lnTo>
                  <a:lnTo>
                    <a:pt x="1478" y="239"/>
                  </a:lnTo>
                  <a:lnTo>
                    <a:pt x="1480" y="253"/>
                  </a:lnTo>
                  <a:lnTo>
                    <a:pt x="1480" y="268"/>
                  </a:lnTo>
                  <a:lnTo>
                    <a:pt x="1480" y="281"/>
                  </a:lnTo>
                  <a:lnTo>
                    <a:pt x="1480" y="292"/>
                  </a:lnTo>
                  <a:lnTo>
                    <a:pt x="1480" y="301"/>
                  </a:lnTo>
                  <a:lnTo>
                    <a:pt x="1480" y="314"/>
                  </a:lnTo>
                  <a:lnTo>
                    <a:pt x="1481" y="336"/>
                  </a:lnTo>
                  <a:lnTo>
                    <a:pt x="1483" y="355"/>
                  </a:lnTo>
                  <a:lnTo>
                    <a:pt x="1487" y="374"/>
                  </a:lnTo>
                  <a:lnTo>
                    <a:pt x="1490" y="391"/>
                  </a:lnTo>
                  <a:lnTo>
                    <a:pt x="1494" y="408"/>
                  </a:lnTo>
                  <a:lnTo>
                    <a:pt x="1497" y="427"/>
                  </a:lnTo>
                  <a:lnTo>
                    <a:pt x="1500" y="446"/>
                  </a:lnTo>
                  <a:lnTo>
                    <a:pt x="1500" y="468"/>
                  </a:lnTo>
                  <a:lnTo>
                    <a:pt x="1500" y="480"/>
                  </a:lnTo>
                  <a:lnTo>
                    <a:pt x="1500" y="490"/>
                  </a:lnTo>
                  <a:lnTo>
                    <a:pt x="1499" y="500"/>
                  </a:lnTo>
                  <a:lnTo>
                    <a:pt x="1499" y="513"/>
                  </a:lnTo>
                  <a:lnTo>
                    <a:pt x="1500" y="523"/>
                  </a:lnTo>
                  <a:lnTo>
                    <a:pt x="1502" y="531"/>
                  </a:lnTo>
                  <a:lnTo>
                    <a:pt x="1505" y="539"/>
                  </a:lnTo>
                  <a:lnTo>
                    <a:pt x="1508" y="549"/>
                  </a:lnTo>
                  <a:lnTo>
                    <a:pt x="1508" y="565"/>
                  </a:lnTo>
                  <a:lnTo>
                    <a:pt x="1506" y="579"/>
                  </a:lnTo>
                  <a:lnTo>
                    <a:pt x="1503" y="592"/>
                  </a:lnTo>
                  <a:lnTo>
                    <a:pt x="1500" y="605"/>
                  </a:lnTo>
                  <a:lnTo>
                    <a:pt x="1496" y="618"/>
                  </a:lnTo>
                  <a:lnTo>
                    <a:pt x="1493" y="631"/>
                  </a:lnTo>
                  <a:lnTo>
                    <a:pt x="1491" y="646"/>
                  </a:lnTo>
                  <a:lnTo>
                    <a:pt x="1489" y="661"/>
                  </a:lnTo>
                  <a:lnTo>
                    <a:pt x="1489" y="670"/>
                  </a:lnTo>
                  <a:lnTo>
                    <a:pt x="1489" y="677"/>
                  </a:lnTo>
                  <a:lnTo>
                    <a:pt x="1489" y="677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14">
              <a:extLst>
                <a:ext uri="{FF2B5EF4-FFF2-40B4-BE49-F238E27FC236}">
                  <a16:creationId xmlns:a16="http://schemas.microsoft.com/office/drawing/2014/main" id="{BEE9352E-B1E3-4FBC-813A-0EE91D800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5863" y="2262188"/>
              <a:ext cx="598488" cy="371475"/>
            </a:xfrm>
            <a:custGeom>
              <a:avLst/>
              <a:gdLst>
                <a:gd name="T0" fmla="*/ 1268 w 1508"/>
                <a:gd name="T1" fmla="*/ 663 h 939"/>
                <a:gd name="T2" fmla="*/ 1169 w 1508"/>
                <a:gd name="T3" fmla="*/ 731 h 939"/>
                <a:gd name="T4" fmla="*/ 1108 w 1508"/>
                <a:gd name="T5" fmla="*/ 753 h 939"/>
                <a:gd name="T6" fmla="*/ 1031 w 1508"/>
                <a:gd name="T7" fmla="*/ 728 h 939"/>
                <a:gd name="T8" fmla="*/ 856 w 1508"/>
                <a:gd name="T9" fmla="*/ 758 h 939"/>
                <a:gd name="T10" fmla="*/ 786 w 1508"/>
                <a:gd name="T11" fmla="*/ 815 h 939"/>
                <a:gd name="T12" fmla="*/ 695 w 1508"/>
                <a:gd name="T13" fmla="*/ 927 h 939"/>
                <a:gd name="T14" fmla="*/ 636 w 1508"/>
                <a:gd name="T15" fmla="*/ 936 h 939"/>
                <a:gd name="T16" fmla="*/ 562 w 1508"/>
                <a:gd name="T17" fmla="*/ 892 h 939"/>
                <a:gd name="T18" fmla="*/ 533 w 1508"/>
                <a:gd name="T19" fmla="*/ 812 h 939"/>
                <a:gd name="T20" fmla="*/ 593 w 1508"/>
                <a:gd name="T21" fmla="*/ 693 h 939"/>
                <a:gd name="T22" fmla="*/ 628 w 1508"/>
                <a:gd name="T23" fmla="*/ 576 h 939"/>
                <a:gd name="T24" fmla="*/ 603 w 1508"/>
                <a:gd name="T25" fmla="*/ 533 h 939"/>
                <a:gd name="T26" fmla="*/ 532 w 1508"/>
                <a:gd name="T27" fmla="*/ 515 h 939"/>
                <a:gd name="T28" fmla="*/ 438 w 1508"/>
                <a:gd name="T29" fmla="*/ 518 h 939"/>
                <a:gd name="T30" fmla="*/ 343 w 1508"/>
                <a:gd name="T31" fmla="*/ 554 h 939"/>
                <a:gd name="T32" fmla="*/ 225 w 1508"/>
                <a:gd name="T33" fmla="*/ 611 h 939"/>
                <a:gd name="T34" fmla="*/ 183 w 1508"/>
                <a:gd name="T35" fmla="*/ 633 h 939"/>
                <a:gd name="T36" fmla="*/ 152 w 1508"/>
                <a:gd name="T37" fmla="*/ 612 h 939"/>
                <a:gd name="T38" fmla="*/ 67 w 1508"/>
                <a:gd name="T39" fmla="*/ 557 h 939"/>
                <a:gd name="T40" fmla="*/ 9 w 1508"/>
                <a:gd name="T41" fmla="*/ 514 h 939"/>
                <a:gd name="T42" fmla="*/ 39 w 1508"/>
                <a:gd name="T43" fmla="*/ 459 h 939"/>
                <a:gd name="T44" fmla="*/ 60 w 1508"/>
                <a:gd name="T45" fmla="*/ 417 h 939"/>
                <a:gd name="T46" fmla="*/ 19 w 1508"/>
                <a:gd name="T47" fmla="*/ 318 h 939"/>
                <a:gd name="T48" fmla="*/ 3 w 1508"/>
                <a:gd name="T49" fmla="*/ 240 h 939"/>
                <a:gd name="T50" fmla="*/ 42 w 1508"/>
                <a:gd name="T51" fmla="*/ 173 h 939"/>
                <a:gd name="T52" fmla="*/ 46 w 1508"/>
                <a:gd name="T53" fmla="*/ 96 h 939"/>
                <a:gd name="T54" fmla="*/ 99 w 1508"/>
                <a:gd name="T55" fmla="*/ 70 h 939"/>
                <a:gd name="T56" fmla="*/ 182 w 1508"/>
                <a:gd name="T57" fmla="*/ 77 h 939"/>
                <a:gd name="T58" fmla="*/ 287 w 1508"/>
                <a:gd name="T59" fmla="*/ 70 h 939"/>
                <a:gd name="T60" fmla="*/ 395 w 1508"/>
                <a:gd name="T61" fmla="*/ 63 h 939"/>
                <a:gd name="T62" fmla="*/ 549 w 1508"/>
                <a:gd name="T63" fmla="*/ 17 h 939"/>
                <a:gd name="T64" fmla="*/ 579 w 1508"/>
                <a:gd name="T65" fmla="*/ 44 h 939"/>
                <a:gd name="T66" fmla="*/ 528 w 1508"/>
                <a:gd name="T67" fmla="*/ 182 h 939"/>
                <a:gd name="T68" fmla="*/ 534 w 1508"/>
                <a:gd name="T69" fmla="*/ 229 h 939"/>
                <a:gd name="T70" fmla="*/ 607 w 1508"/>
                <a:gd name="T71" fmla="*/ 268 h 939"/>
                <a:gd name="T72" fmla="*/ 666 w 1508"/>
                <a:gd name="T73" fmla="*/ 291 h 939"/>
                <a:gd name="T74" fmla="*/ 710 w 1508"/>
                <a:gd name="T75" fmla="*/ 265 h 939"/>
                <a:gd name="T76" fmla="*/ 738 w 1508"/>
                <a:gd name="T77" fmla="*/ 265 h 939"/>
                <a:gd name="T78" fmla="*/ 791 w 1508"/>
                <a:gd name="T79" fmla="*/ 311 h 939"/>
                <a:gd name="T80" fmla="*/ 847 w 1508"/>
                <a:gd name="T81" fmla="*/ 347 h 939"/>
                <a:gd name="T82" fmla="*/ 881 w 1508"/>
                <a:gd name="T83" fmla="*/ 302 h 939"/>
                <a:gd name="T84" fmla="*/ 867 w 1508"/>
                <a:gd name="T85" fmla="*/ 250 h 939"/>
                <a:gd name="T86" fmla="*/ 881 w 1508"/>
                <a:gd name="T87" fmla="*/ 230 h 939"/>
                <a:gd name="T88" fmla="*/ 920 w 1508"/>
                <a:gd name="T89" fmla="*/ 204 h 939"/>
                <a:gd name="T90" fmla="*/ 942 w 1508"/>
                <a:gd name="T91" fmla="*/ 109 h 939"/>
                <a:gd name="T92" fmla="*/ 970 w 1508"/>
                <a:gd name="T93" fmla="*/ 107 h 939"/>
                <a:gd name="T94" fmla="*/ 1015 w 1508"/>
                <a:gd name="T95" fmla="*/ 153 h 939"/>
                <a:gd name="T96" fmla="*/ 1153 w 1508"/>
                <a:gd name="T97" fmla="*/ 213 h 939"/>
                <a:gd name="T98" fmla="*/ 1259 w 1508"/>
                <a:gd name="T99" fmla="*/ 209 h 939"/>
                <a:gd name="T100" fmla="*/ 1335 w 1508"/>
                <a:gd name="T101" fmla="*/ 216 h 939"/>
                <a:gd name="T102" fmla="*/ 1478 w 1508"/>
                <a:gd name="T103" fmla="*/ 239 h 939"/>
                <a:gd name="T104" fmla="*/ 1480 w 1508"/>
                <a:gd name="T105" fmla="*/ 314 h 939"/>
                <a:gd name="T106" fmla="*/ 1500 w 1508"/>
                <a:gd name="T107" fmla="*/ 446 h 939"/>
                <a:gd name="T108" fmla="*/ 1502 w 1508"/>
                <a:gd name="T109" fmla="*/ 531 h 939"/>
                <a:gd name="T110" fmla="*/ 1496 w 1508"/>
                <a:gd name="T111" fmla="*/ 618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08" h="939">
                  <a:moveTo>
                    <a:pt x="1489" y="677"/>
                  </a:moveTo>
                  <a:lnTo>
                    <a:pt x="1362" y="638"/>
                  </a:lnTo>
                  <a:lnTo>
                    <a:pt x="1341" y="642"/>
                  </a:lnTo>
                  <a:lnTo>
                    <a:pt x="1321" y="646"/>
                  </a:lnTo>
                  <a:lnTo>
                    <a:pt x="1303" y="650"/>
                  </a:lnTo>
                  <a:lnTo>
                    <a:pt x="1286" y="657"/>
                  </a:lnTo>
                  <a:lnTo>
                    <a:pt x="1268" y="663"/>
                  </a:lnTo>
                  <a:lnTo>
                    <a:pt x="1251" y="672"/>
                  </a:lnTo>
                  <a:lnTo>
                    <a:pt x="1233" y="680"/>
                  </a:lnTo>
                  <a:lnTo>
                    <a:pt x="1214" y="692"/>
                  </a:lnTo>
                  <a:lnTo>
                    <a:pt x="1202" y="701"/>
                  </a:lnTo>
                  <a:lnTo>
                    <a:pt x="1190" y="711"/>
                  </a:lnTo>
                  <a:lnTo>
                    <a:pt x="1180" y="720"/>
                  </a:lnTo>
                  <a:lnTo>
                    <a:pt x="1169" y="731"/>
                  </a:lnTo>
                  <a:lnTo>
                    <a:pt x="1159" y="740"/>
                  </a:lnTo>
                  <a:lnTo>
                    <a:pt x="1148" y="747"/>
                  </a:lnTo>
                  <a:lnTo>
                    <a:pt x="1142" y="750"/>
                  </a:lnTo>
                  <a:lnTo>
                    <a:pt x="1136" y="752"/>
                  </a:lnTo>
                  <a:lnTo>
                    <a:pt x="1128" y="753"/>
                  </a:lnTo>
                  <a:lnTo>
                    <a:pt x="1121" y="754"/>
                  </a:lnTo>
                  <a:lnTo>
                    <a:pt x="1108" y="753"/>
                  </a:lnTo>
                  <a:lnTo>
                    <a:pt x="1096" y="750"/>
                  </a:lnTo>
                  <a:lnTo>
                    <a:pt x="1086" y="745"/>
                  </a:lnTo>
                  <a:lnTo>
                    <a:pt x="1075" y="741"/>
                  </a:lnTo>
                  <a:lnTo>
                    <a:pt x="1065" y="737"/>
                  </a:lnTo>
                  <a:lnTo>
                    <a:pt x="1055" y="732"/>
                  </a:lnTo>
                  <a:lnTo>
                    <a:pt x="1043" y="729"/>
                  </a:lnTo>
                  <a:lnTo>
                    <a:pt x="1031" y="728"/>
                  </a:lnTo>
                  <a:lnTo>
                    <a:pt x="1002" y="729"/>
                  </a:lnTo>
                  <a:lnTo>
                    <a:pt x="976" y="731"/>
                  </a:lnTo>
                  <a:lnTo>
                    <a:pt x="952" y="736"/>
                  </a:lnTo>
                  <a:lnTo>
                    <a:pt x="928" y="740"/>
                  </a:lnTo>
                  <a:lnTo>
                    <a:pt x="906" y="745"/>
                  </a:lnTo>
                  <a:lnTo>
                    <a:pt x="881" y="752"/>
                  </a:lnTo>
                  <a:lnTo>
                    <a:pt x="856" y="758"/>
                  </a:lnTo>
                  <a:lnTo>
                    <a:pt x="828" y="765"/>
                  </a:lnTo>
                  <a:lnTo>
                    <a:pt x="819" y="768"/>
                  </a:lnTo>
                  <a:lnTo>
                    <a:pt x="812" y="772"/>
                  </a:lnTo>
                  <a:lnTo>
                    <a:pt x="806" y="778"/>
                  </a:lnTo>
                  <a:lnTo>
                    <a:pt x="801" y="784"/>
                  </a:lnTo>
                  <a:lnTo>
                    <a:pt x="793" y="798"/>
                  </a:lnTo>
                  <a:lnTo>
                    <a:pt x="786" y="815"/>
                  </a:lnTo>
                  <a:lnTo>
                    <a:pt x="775" y="833"/>
                  </a:lnTo>
                  <a:lnTo>
                    <a:pt x="764" y="848"/>
                  </a:lnTo>
                  <a:lnTo>
                    <a:pt x="751" y="862"/>
                  </a:lnTo>
                  <a:lnTo>
                    <a:pt x="738" y="877"/>
                  </a:lnTo>
                  <a:lnTo>
                    <a:pt x="721" y="899"/>
                  </a:lnTo>
                  <a:lnTo>
                    <a:pt x="705" y="918"/>
                  </a:lnTo>
                  <a:lnTo>
                    <a:pt x="695" y="927"/>
                  </a:lnTo>
                  <a:lnTo>
                    <a:pt x="685" y="933"/>
                  </a:lnTo>
                  <a:lnTo>
                    <a:pt x="680" y="935"/>
                  </a:lnTo>
                  <a:lnTo>
                    <a:pt x="674" y="938"/>
                  </a:lnTo>
                  <a:lnTo>
                    <a:pt x="668" y="939"/>
                  </a:lnTo>
                  <a:lnTo>
                    <a:pt x="660" y="939"/>
                  </a:lnTo>
                  <a:lnTo>
                    <a:pt x="647" y="938"/>
                  </a:lnTo>
                  <a:lnTo>
                    <a:pt x="636" y="936"/>
                  </a:lnTo>
                  <a:lnTo>
                    <a:pt x="623" y="933"/>
                  </a:lnTo>
                  <a:lnTo>
                    <a:pt x="612" y="929"/>
                  </a:lnTo>
                  <a:lnTo>
                    <a:pt x="600" y="923"/>
                  </a:lnTo>
                  <a:lnTo>
                    <a:pt x="590" y="917"/>
                  </a:lnTo>
                  <a:lnTo>
                    <a:pt x="579" y="909"/>
                  </a:lnTo>
                  <a:lnTo>
                    <a:pt x="571" y="902"/>
                  </a:lnTo>
                  <a:lnTo>
                    <a:pt x="562" y="892"/>
                  </a:lnTo>
                  <a:lnTo>
                    <a:pt x="556" y="882"/>
                  </a:lnTo>
                  <a:lnTo>
                    <a:pt x="549" y="873"/>
                  </a:lnTo>
                  <a:lnTo>
                    <a:pt x="544" y="862"/>
                  </a:lnTo>
                  <a:lnTo>
                    <a:pt x="538" y="850"/>
                  </a:lnTo>
                  <a:lnTo>
                    <a:pt x="536" y="838"/>
                  </a:lnTo>
                  <a:lnTo>
                    <a:pt x="534" y="825"/>
                  </a:lnTo>
                  <a:lnTo>
                    <a:pt x="533" y="812"/>
                  </a:lnTo>
                  <a:lnTo>
                    <a:pt x="534" y="800"/>
                  </a:lnTo>
                  <a:lnTo>
                    <a:pt x="537" y="790"/>
                  </a:lnTo>
                  <a:lnTo>
                    <a:pt x="542" y="781"/>
                  </a:lnTo>
                  <a:lnTo>
                    <a:pt x="547" y="772"/>
                  </a:lnTo>
                  <a:lnTo>
                    <a:pt x="560" y="754"/>
                  </a:lnTo>
                  <a:lnTo>
                    <a:pt x="572" y="734"/>
                  </a:lnTo>
                  <a:lnTo>
                    <a:pt x="593" y="693"/>
                  </a:lnTo>
                  <a:lnTo>
                    <a:pt x="611" y="658"/>
                  </a:lnTo>
                  <a:lnTo>
                    <a:pt x="618" y="639"/>
                  </a:lnTo>
                  <a:lnTo>
                    <a:pt x="624" y="620"/>
                  </a:lnTo>
                  <a:lnTo>
                    <a:pt x="626" y="609"/>
                  </a:lnTo>
                  <a:lnTo>
                    <a:pt x="627" y="598"/>
                  </a:lnTo>
                  <a:lnTo>
                    <a:pt x="628" y="588"/>
                  </a:lnTo>
                  <a:lnTo>
                    <a:pt x="628" y="576"/>
                  </a:lnTo>
                  <a:lnTo>
                    <a:pt x="628" y="568"/>
                  </a:lnTo>
                  <a:lnTo>
                    <a:pt x="626" y="561"/>
                  </a:lnTo>
                  <a:lnTo>
                    <a:pt x="624" y="554"/>
                  </a:lnTo>
                  <a:lnTo>
                    <a:pt x="619" y="548"/>
                  </a:lnTo>
                  <a:lnTo>
                    <a:pt x="615" y="542"/>
                  </a:lnTo>
                  <a:lnTo>
                    <a:pt x="610" y="537"/>
                  </a:lnTo>
                  <a:lnTo>
                    <a:pt x="603" y="533"/>
                  </a:lnTo>
                  <a:lnTo>
                    <a:pt x="597" y="529"/>
                  </a:lnTo>
                  <a:lnTo>
                    <a:pt x="590" y="526"/>
                  </a:lnTo>
                  <a:lnTo>
                    <a:pt x="583" y="523"/>
                  </a:lnTo>
                  <a:lnTo>
                    <a:pt x="574" y="521"/>
                  </a:lnTo>
                  <a:lnTo>
                    <a:pt x="566" y="518"/>
                  </a:lnTo>
                  <a:lnTo>
                    <a:pt x="549" y="516"/>
                  </a:lnTo>
                  <a:lnTo>
                    <a:pt x="532" y="515"/>
                  </a:lnTo>
                  <a:lnTo>
                    <a:pt x="515" y="515"/>
                  </a:lnTo>
                  <a:lnTo>
                    <a:pt x="498" y="515"/>
                  </a:lnTo>
                  <a:lnTo>
                    <a:pt x="482" y="515"/>
                  </a:lnTo>
                  <a:lnTo>
                    <a:pt x="464" y="515"/>
                  </a:lnTo>
                  <a:lnTo>
                    <a:pt x="455" y="515"/>
                  </a:lnTo>
                  <a:lnTo>
                    <a:pt x="447" y="516"/>
                  </a:lnTo>
                  <a:lnTo>
                    <a:pt x="438" y="518"/>
                  </a:lnTo>
                  <a:lnTo>
                    <a:pt x="430" y="520"/>
                  </a:lnTo>
                  <a:lnTo>
                    <a:pt x="416" y="525"/>
                  </a:lnTo>
                  <a:lnTo>
                    <a:pt x="402" y="530"/>
                  </a:lnTo>
                  <a:lnTo>
                    <a:pt x="389" y="537"/>
                  </a:lnTo>
                  <a:lnTo>
                    <a:pt x="375" y="543"/>
                  </a:lnTo>
                  <a:lnTo>
                    <a:pt x="359" y="550"/>
                  </a:lnTo>
                  <a:lnTo>
                    <a:pt x="343" y="554"/>
                  </a:lnTo>
                  <a:lnTo>
                    <a:pt x="317" y="561"/>
                  </a:lnTo>
                  <a:lnTo>
                    <a:pt x="294" y="568"/>
                  </a:lnTo>
                  <a:lnTo>
                    <a:pt x="273" y="578"/>
                  </a:lnTo>
                  <a:lnTo>
                    <a:pt x="250" y="591"/>
                  </a:lnTo>
                  <a:lnTo>
                    <a:pt x="240" y="597"/>
                  </a:lnTo>
                  <a:lnTo>
                    <a:pt x="233" y="604"/>
                  </a:lnTo>
                  <a:lnTo>
                    <a:pt x="225" y="611"/>
                  </a:lnTo>
                  <a:lnTo>
                    <a:pt x="218" y="618"/>
                  </a:lnTo>
                  <a:lnTo>
                    <a:pt x="210" y="624"/>
                  </a:lnTo>
                  <a:lnTo>
                    <a:pt x="202" y="629"/>
                  </a:lnTo>
                  <a:lnTo>
                    <a:pt x="198" y="631"/>
                  </a:lnTo>
                  <a:lnTo>
                    <a:pt x="194" y="632"/>
                  </a:lnTo>
                  <a:lnTo>
                    <a:pt x="188" y="633"/>
                  </a:lnTo>
                  <a:lnTo>
                    <a:pt x="183" y="633"/>
                  </a:lnTo>
                  <a:lnTo>
                    <a:pt x="179" y="633"/>
                  </a:lnTo>
                  <a:lnTo>
                    <a:pt x="174" y="632"/>
                  </a:lnTo>
                  <a:lnTo>
                    <a:pt x="171" y="631"/>
                  </a:lnTo>
                  <a:lnTo>
                    <a:pt x="168" y="629"/>
                  </a:lnTo>
                  <a:lnTo>
                    <a:pt x="162" y="624"/>
                  </a:lnTo>
                  <a:lnTo>
                    <a:pt x="157" y="619"/>
                  </a:lnTo>
                  <a:lnTo>
                    <a:pt x="152" y="612"/>
                  </a:lnTo>
                  <a:lnTo>
                    <a:pt x="147" y="606"/>
                  </a:lnTo>
                  <a:lnTo>
                    <a:pt x="142" y="599"/>
                  </a:lnTo>
                  <a:lnTo>
                    <a:pt x="135" y="594"/>
                  </a:lnTo>
                  <a:lnTo>
                    <a:pt x="118" y="582"/>
                  </a:lnTo>
                  <a:lnTo>
                    <a:pt x="101" y="574"/>
                  </a:lnTo>
                  <a:lnTo>
                    <a:pt x="85" y="565"/>
                  </a:lnTo>
                  <a:lnTo>
                    <a:pt x="67" y="557"/>
                  </a:lnTo>
                  <a:lnTo>
                    <a:pt x="51" y="550"/>
                  </a:lnTo>
                  <a:lnTo>
                    <a:pt x="35" y="542"/>
                  </a:lnTo>
                  <a:lnTo>
                    <a:pt x="18" y="533"/>
                  </a:lnTo>
                  <a:lnTo>
                    <a:pt x="0" y="521"/>
                  </a:lnTo>
                  <a:lnTo>
                    <a:pt x="0" y="521"/>
                  </a:lnTo>
                  <a:lnTo>
                    <a:pt x="5" y="517"/>
                  </a:lnTo>
                  <a:lnTo>
                    <a:pt x="9" y="514"/>
                  </a:lnTo>
                  <a:lnTo>
                    <a:pt x="12" y="510"/>
                  </a:lnTo>
                  <a:lnTo>
                    <a:pt x="15" y="506"/>
                  </a:lnTo>
                  <a:lnTo>
                    <a:pt x="19" y="496"/>
                  </a:lnTo>
                  <a:lnTo>
                    <a:pt x="23" y="485"/>
                  </a:lnTo>
                  <a:lnTo>
                    <a:pt x="27" y="475"/>
                  </a:lnTo>
                  <a:lnTo>
                    <a:pt x="33" y="467"/>
                  </a:lnTo>
                  <a:lnTo>
                    <a:pt x="39" y="459"/>
                  </a:lnTo>
                  <a:lnTo>
                    <a:pt x="46" y="452"/>
                  </a:lnTo>
                  <a:lnTo>
                    <a:pt x="51" y="444"/>
                  </a:lnTo>
                  <a:lnTo>
                    <a:pt x="56" y="436"/>
                  </a:lnTo>
                  <a:lnTo>
                    <a:pt x="57" y="432"/>
                  </a:lnTo>
                  <a:lnTo>
                    <a:pt x="59" y="428"/>
                  </a:lnTo>
                  <a:lnTo>
                    <a:pt x="59" y="422"/>
                  </a:lnTo>
                  <a:lnTo>
                    <a:pt x="60" y="417"/>
                  </a:lnTo>
                  <a:lnTo>
                    <a:pt x="59" y="405"/>
                  </a:lnTo>
                  <a:lnTo>
                    <a:pt x="57" y="394"/>
                  </a:lnTo>
                  <a:lnTo>
                    <a:pt x="54" y="383"/>
                  </a:lnTo>
                  <a:lnTo>
                    <a:pt x="50" y="373"/>
                  </a:lnTo>
                  <a:lnTo>
                    <a:pt x="40" y="354"/>
                  </a:lnTo>
                  <a:lnTo>
                    <a:pt x="30" y="336"/>
                  </a:lnTo>
                  <a:lnTo>
                    <a:pt x="19" y="318"/>
                  </a:lnTo>
                  <a:lnTo>
                    <a:pt x="10" y="299"/>
                  </a:lnTo>
                  <a:lnTo>
                    <a:pt x="6" y="288"/>
                  </a:lnTo>
                  <a:lnTo>
                    <a:pt x="3" y="279"/>
                  </a:lnTo>
                  <a:lnTo>
                    <a:pt x="2" y="267"/>
                  </a:lnTo>
                  <a:lnTo>
                    <a:pt x="0" y="255"/>
                  </a:lnTo>
                  <a:lnTo>
                    <a:pt x="2" y="246"/>
                  </a:lnTo>
                  <a:lnTo>
                    <a:pt x="3" y="240"/>
                  </a:lnTo>
                  <a:lnTo>
                    <a:pt x="5" y="232"/>
                  </a:lnTo>
                  <a:lnTo>
                    <a:pt x="8" y="226"/>
                  </a:lnTo>
                  <a:lnTo>
                    <a:pt x="15" y="214"/>
                  </a:lnTo>
                  <a:lnTo>
                    <a:pt x="23" y="202"/>
                  </a:lnTo>
                  <a:lnTo>
                    <a:pt x="31" y="191"/>
                  </a:lnTo>
                  <a:lnTo>
                    <a:pt x="38" y="179"/>
                  </a:lnTo>
                  <a:lnTo>
                    <a:pt x="42" y="173"/>
                  </a:lnTo>
                  <a:lnTo>
                    <a:pt x="44" y="165"/>
                  </a:lnTo>
                  <a:lnTo>
                    <a:pt x="45" y="159"/>
                  </a:lnTo>
                  <a:lnTo>
                    <a:pt x="46" y="150"/>
                  </a:lnTo>
                  <a:lnTo>
                    <a:pt x="46" y="136"/>
                  </a:lnTo>
                  <a:lnTo>
                    <a:pt x="46" y="123"/>
                  </a:lnTo>
                  <a:lnTo>
                    <a:pt x="46" y="110"/>
                  </a:lnTo>
                  <a:lnTo>
                    <a:pt x="46" y="96"/>
                  </a:lnTo>
                  <a:lnTo>
                    <a:pt x="46" y="83"/>
                  </a:lnTo>
                  <a:lnTo>
                    <a:pt x="48" y="74"/>
                  </a:lnTo>
                  <a:lnTo>
                    <a:pt x="50" y="64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77" y="61"/>
                  </a:lnTo>
                  <a:lnTo>
                    <a:pt x="99" y="70"/>
                  </a:lnTo>
                  <a:lnTo>
                    <a:pt x="110" y="75"/>
                  </a:lnTo>
                  <a:lnTo>
                    <a:pt x="120" y="78"/>
                  </a:lnTo>
                  <a:lnTo>
                    <a:pt x="132" y="80"/>
                  </a:lnTo>
                  <a:lnTo>
                    <a:pt x="145" y="81"/>
                  </a:lnTo>
                  <a:lnTo>
                    <a:pt x="158" y="80"/>
                  </a:lnTo>
                  <a:lnTo>
                    <a:pt x="170" y="79"/>
                  </a:lnTo>
                  <a:lnTo>
                    <a:pt x="182" y="77"/>
                  </a:lnTo>
                  <a:lnTo>
                    <a:pt x="193" y="74"/>
                  </a:lnTo>
                  <a:lnTo>
                    <a:pt x="204" y="71"/>
                  </a:lnTo>
                  <a:lnTo>
                    <a:pt x="214" y="69"/>
                  </a:lnTo>
                  <a:lnTo>
                    <a:pt x="227" y="68"/>
                  </a:lnTo>
                  <a:lnTo>
                    <a:pt x="240" y="67"/>
                  </a:lnTo>
                  <a:lnTo>
                    <a:pt x="265" y="68"/>
                  </a:lnTo>
                  <a:lnTo>
                    <a:pt x="287" y="70"/>
                  </a:lnTo>
                  <a:lnTo>
                    <a:pt x="308" y="71"/>
                  </a:lnTo>
                  <a:lnTo>
                    <a:pt x="333" y="72"/>
                  </a:lnTo>
                  <a:lnTo>
                    <a:pt x="344" y="72"/>
                  </a:lnTo>
                  <a:lnTo>
                    <a:pt x="355" y="71"/>
                  </a:lnTo>
                  <a:lnTo>
                    <a:pt x="366" y="70"/>
                  </a:lnTo>
                  <a:lnTo>
                    <a:pt x="375" y="68"/>
                  </a:lnTo>
                  <a:lnTo>
                    <a:pt x="395" y="63"/>
                  </a:lnTo>
                  <a:lnTo>
                    <a:pt x="413" y="57"/>
                  </a:lnTo>
                  <a:lnTo>
                    <a:pt x="449" y="42"/>
                  </a:lnTo>
                  <a:lnTo>
                    <a:pt x="491" y="28"/>
                  </a:lnTo>
                  <a:lnTo>
                    <a:pt x="507" y="24"/>
                  </a:lnTo>
                  <a:lnTo>
                    <a:pt x="521" y="22"/>
                  </a:lnTo>
                  <a:lnTo>
                    <a:pt x="535" y="20"/>
                  </a:lnTo>
                  <a:lnTo>
                    <a:pt x="549" y="17"/>
                  </a:lnTo>
                  <a:lnTo>
                    <a:pt x="562" y="15"/>
                  </a:lnTo>
                  <a:lnTo>
                    <a:pt x="575" y="12"/>
                  </a:lnTo>
                  <a:lnTo>
                    <a:pt x="589" y="7"/>
                  </a:lnTo>
                  <a:lnTo>
                    <a:pt x="603" y="0"/>
                  </a:lnTo>
                  <a:lnTo>
                    <a:pt x="593" y="15"/>
                  </a:lnTo>
                  <a:lnTo>
                    <a:pt x="586" y="30"/>
                  </a:lnTo>
                  <a:lnTo>
                    <a:pt x="579" y="44"/>
                  </a:lnTo>
                  <a:lnTo>
                    <a:pt x="574" y="58"/>
                  </a:lnTo>
                  <a:lnTo>
                    <a:pt x="563" y="86"/>
                  </a:lnTo>
                  <a:lnTo>
                    <a:pt x="552" y="120"/>
                  </a:lnTo>
                  <a:lnTo>
                    <a:pt x="544" y="143"/>
                  </a:lnTo>
                  <a:lnTo>
                    <a:pt x="535" y="161"/>
                  </a:lnTo>
                  <a:lnTo>
                    <a:pt x="531" y="171"/>
                  </a:lnTo>
                  <a:lnTo>
                    <a:pt x="528" y="182"/>
                  </a:lnTo>
                  <a:lnTo>
                    <a:pt x="525" y="192"/>
                  </a:lnTo>
                  <a:lnTo>
                    <a:pt x="524" y="204"/>
                  </a:lnTo>
                  <a:lnTo>
                    <a:pt x="525" y="210"/>
                  </a:lnTo>
                  <a:lnTo>
                    <a:pt x="526" y="215"/>
                  </a:lnTo>
                  <a:lnTo>
                    <a:pt x="529" y="220"/>
                  </a:lnTo>
                  <a:lnTo>
                    <a:pt x="531" y="225"/>
                  </a:lnTo>
                  <a:lnTo>
                    <a:pt x="534" y="229"/>
                  </a:lnTo>
                  <a:lnTo>
                    <a:pt x="537" y="232"/>
                  </a:lnTo>
                  <a:lnTo>
                    <a:pt x="542" y="236"/>
                  </a:lnTo>
                  <a:lnTo>
                    <a:pt x="546" y="239"/>
                  </a:lnTo>
                  <a:lnTo>
                    <a:pt x="566" y="248"/>
                  </a:lnTo>
                  <a:lnTo>
                    <a:pt x="589" y="257"/>
                  </a:lnTo>
                  <a:lnTo>
                    <a:pt x="599" y="263"/>
                  </a:lnTo>
                  <a:lnTo>
                    <a:pt x="607" y="268"/>
                  </a:lnTo>
                  <a:lnTo>
                    <a:pt x="616" y="273"/>
                  </a:lnTo>
                  <a:lnTo>
                    <a:pt x="624" y="279"/>
                  </a:lnTo>
                  <a:lnTo>
                    <a:pt x="632" y="283"/>
                  </a:lnTo>
                  <a:lnTo>
                    <a:pt x="640" y="287"/>
                  </a:lnTo>
                  <a:lnTo>
                    <a:pt x="650" y="291"/>
                  </a:lnTo>
                  <a:lnTo>
                    <a:pt x="660" y="292"/>
                  </a:lnTo>
                  <a:lnTo>
                    <a:pt x="666" y="291"/>
                  </a:lnTo>
                  <a:lnTo>
                    <a:pt x="671" y="290"/>
                  </a:lnTo>
                  <a:lnTo>
                    <a:pt x="676" y="288"/>
                  </a:lnTo>
                  <a:lnTo>
                    <a:pt x="680" y="286"/>
                  </a:lnTo>
                  <a:lnTo>
                    <a:pt x="687" y="282"/>
                  </a:lnTo>
                  <a:lnTo>
                    <a:pt x="695" y="275"/>
                  </a:lnTo>
                  <a:lnTo>
                    <a:pt x="703" y="270"/>
                  </a:lnTo>
                  <a:lnTo>
                    <a:pt x="710" y="265"/>
                  </a:lnTo>
                  <a:lnTo>
                    <a:pt x="714" y="264"/>
                  </a:lnTo>
                  <a:lnTo>
                    <a:pt x="719" y="261"/>
                  </a:lnTo>
                  <a:lnTo>
                    <a:pt x="724" y="260"/>
                  </a:lnTo>
                  <a:lnTo>
                    <a:pt x="730" y="260"/>
                  </a:lnTo>
                  <a:lnTo>
                    <a:pt x="733" y="261"/>
                  </a:lnTo>
                  <a:lnTo>
                    <a:pt x="736" y="263"/>
                  </a:lnTo>
                  <a:lnTo>
                    <a:pt x="738" y="265"/>
                  </a:lnTo>
                  <a:lnTo>
                    <a:pt x="740" y="268"/>
                  </a:lnTo>
                  <a:lnTo>
                    <a:pt x="744" y="274"/>
                  </a:lnTo>
                  <a:lnTo>
                    <a:pt x="749" y="280"/>
                  </a:lnTo>
                  <a:lnTo>
                    <a:pt x="760" y="288"/>
                  </a:lnTo>
                  <a:lnTo>
                    <a:pt x="769" y="296"/>
                  </a:lnTo>
                  <a:lnTo>
                    <a:pt x="780" y="302"/>
                  </a:lnTo>
                  <a:lnTo>
                    <a:pt x="791" y="311"/>
                  </a:lnTo>
                  <a:lnTo>
                    <a:pt x="803" y="323"/>
                  </a:lnTo>
                  <a:lnTo>
                    <a:pt x="813" y="335"/>
                  </a:lnTo>
                  <a:lnTo>
                    <a:pt x="818" y="339"/>
                  </a:lnTo>
                  <a:lnTo>
                    <a:pt x="823" y="344"/>
                  </a:lnTo>
                  <a:lnTo>
                    <a:pt x="831" y="347"/>
                  </a:lnTo>
                  <a:lnTo>
                    <a:pt x="839" y="347"/>
                  </a:lnTo>
                  <a:lnTo>
                    <a:pt x="847" y="347"/>
                  </a:lnTo>
                  <a:lnTo>
                    <a:pt x="855" y="344"/>
                  </a:lnTo>
                  <a:lnTo>
                    <a:pt x="862" y="339"/>
                  </a:lnTo>
                  <a:lnTo>
                    <a:pt x="869" y="334"/>
                  </a:lnTo>
                  <a:lnTo>
                    <a:pt x="873" y="327"/>
                  </a:lnTo>
                  <a:lnTo>
                    <a:pt x="877" y="320"/>
                  </a:lnTo>
                  <a:lnTo>
                    <a:pt x="880" y="311"/>
                  </a:lnTo>
                  <a:lnTo>
                    <a:pt x="881" y="302"/>
                  </a:lnTo>
                  <a:lnTo>
                    <a:pt x="880" y="294"/>
                  </a:lnTo>
                  <a:lnTo>
                    <a:pt x="879" y="286"/>
                  </a:lnTo>
                  <a:lnTo>
                    <a:pt x="876" y="279"/>
                  </a:lnTo>
                  <a:lnTo>
                    <a:pt x="873" y="271"/>
                  </a:lnTo>
                  <a:lnTo>
                    <a:pt x="871" y="265"/>
                  </a:lnTo>
                  <a:lnTo>
                    <a:pt x="869" y="257"/>
                  </a:lnTo>
                  <a:lnTo>
                    <a:pt x="867" y="250"/>
                  </a:lnTo>
                  <a:lnTo>
                    <a:pt x="867" y="241"/>
                  </a:lnTo>
                  <a:lnTo>
                    <a:pt x="867" y="238"/>
                  </a:lnTo>
                  <a:lnTo>
                    <a:pt x="868" y="236"/>
                  </a:lnTo>
                  <a:lnTo>
                    <a:pt x="869" y="234"/>
                  </a:lnTo>
                  <a:lnTo>
                    <a:pt x="871" y="233"/>
                  </a:lnTo>
                  <a:lnTo>
                    <a:pt x="875" y="231"/>
                  </a:lnTo>
                  <a:lnTo>
                    <a:pt x="881" y="230"/>
                  </a:lnTo>
                  <a:lnTo>
                    <a:pt x="886" y="229"/>
                  </a:lnTo>
                  <a:lnTo>
                    <a:pt x="893" y="228"/>
                  </a:lnTo>
                  <a:lnTo>
                    <a:pt x="898" y="227"/>
                  </a:lnTo>
                  <a:lnTo>
                    <a:pt x="903" y="224"/>
                  </a:lnTo>
                  <a:lnTo>
                    <a:pt x="910" y="218"/>
                  </a:lnTo>
                  <a:lnTo>
                    <a:pt x="915" y="212"/>
                  </a:lnTo>
                  <a:lnTo>
                    <a:pt x="920" y="204"/>
                  </a:lnTo>
                  <a:lnTo>
                    <a:pt x="923" y="198"/>
                  </a:lnTo>
                  <a:lnTo>
                    <a:pt x="927" y="183"/>
                  </a:lnTo>
                  <a:lnTo>
                    <a:pt x="931" y="165"/>
                  </a:lnTo>
                  <a:lnTo>
                    <a:pt x="933" y="145"/>
                  </a:lnTo>
                  <a:lnTo>
                    <a:pt x="936" y="124"/>
                  </a:lnTo>
                  <a:lnTo>
                    <a:pt x="938" y="117"/>
                  </a:lnTo>
                  <a:lnTo>
                    <a:pt x="942" y="109"/>
                  </a:lnTo>
                  <a:lnTo>
                    <a:pt x="944" y="107"/>
                  </a:lnTo>
                  <a:lnTo>
                    <a:pt x="948" y="105"/>
                  </a:lnTo>
                  <a:lnTo>
                    <a:pt x="952" y="104"/>
                  </a:lnTo>
                  <a:lnTo>
                    <a:pt x="956" y="104"/>
                  </a:lnTo>
                  <a:lnTo>
                    <a:pt x="962" y="104"/>
                  </a:lnTo>
                  <a:lnTo>
                    <a:pt x="966" y="105"/>
                  </a:lnTo>
                  <a:lnTo>
                    <a:pt x="970" y="107"/>
                  </a:lnTo>
                  <a:lnTo>
                    <a:pt x="975" y="109"/>
                  </a:lnTo>
                  <a:lnTo>
                    <a:pt x="981" y="116"/>
                  </a:lnTo>
                  <a:lnTo>
                    <a:pt x="988" y="123"/>
                  </a:lnTo>
                  <a:lnTo>
                    <a:pt x="993" y="132"/>
                  </a:lnTo>
                  <a:lnTo>
                    <a:pt x="1000" y="139"/>
                  </a:lnTo>
                  <a:lnTo>
                    <a:pt x="1006" y="147"/>
                  </a:lnTo>
                  <a:lnTo>
                    <a:pt x="1015" y="153"/>
                  </a:lnTo>
                  <a:lnTo>
                    <a:pt x="1052" y="176"/>
                  </a:lnTo>
                  <a:lnTo>
                    <a:pt x="1087" y="196"/>
                  </a:lnTo>
                  <a:lnTo>
                    <a:pt x="1104" y="202"/>
                  </a:lnTo>
                  <a:lnTo>
                    <a:pt x="1123" y="207"/>
                  </a:lnTo>
                  <a:lnTo>
                    <a:pt x="1132" y="210"/>
                  </a:lnTo>
                  <a:lnTo>
                    <a:pt x="1142" y="212"/>
                  </a:lnTo>
                  <a:lnTo>
                    <a:pt x="1153" y="213"/>
                  </a:lnTo>
                  <a:lnTo>
                    <a:pt x="1165" y="213"/>
                  </a:lnTo>
                  <a:lnTo>
                    <a:pt x="1181" y="213"/>
                  </a:lnTo>
                  <a:lnTo>
                    <a:pt x="1195" y="213"/>
                  </a:lnTo>
                  <a:lnTo>
                    <a:pt x="1209" y="213"/>
                  </a:lnTo>
                  <a:lnTo>
                    <a:pt x="1224" y="213"/>
                  </a:lnTo>
                  <a:lnTo>
                    <a:pt x="1243" y="212"/>
                  </a:lnTo>
                  <a:lnTo>
                    <a:pt x="1259" y="209"/>
                  </a:lnTo>
                  <a:lnTo>
                    <a:pt x="1275" y="205"/>
                  </a:lnTo>
                  <a:lnTo>
                    <a:pt x="1292" y="204"/>
                  </a:lnTo>
                  <a:lnTo>
                    <a:pt x="1301" y="205"/>
                  </a:lnTo>
                  <a:lnTo>
                    <a:pt x="1308" y="206"/>
                  </a:lnTo>
                  <a:lnTo>
                    <a:pt x="1316" y="209"/>
                  </a:lnTo>
                  <a:lnTo>
                    <a:pt x="1322" y="211"/>
                  </a:lnTo>
                  <a:lnTo>
                    <a:pt x="1335" y="216"/>
                  </a:lnTo>
                  <a:lnTo>
                    <a:pt x="1352" y="221"/>
                  </a:lnTo>
                  <a:lnTo>
                    <a:pt x="1369" y="225"/>
                  </a:lnTo>
                  <a:lnTo>
                    <a:pt x="1385" y="228"/>
                  </a:lnTo>
                  <a:lnTo>
                    <a:pt x="1400" y="230"/>
                  </a:lnTo>
                  <a:lnTo>
                    <a:pt x="1414" y="232"/>
                  </a:lnTo>
                  <a:lnTo>
                    <a:pt x="1445" y="234"/>
                  </a:lnTo>
                  <a:lnTo>
                    <a:pt x="1478" y="239"/>
                  </a:lnTo>
                  <a:lnTo>
                    <a:pt x="1478" y="239"/>
                  </a:lnTo>
                  <a:lnTo>
                    <a:pt x="1480" y="253"/>
                  </a:lnTo>
                  <a:lnTo>
                    <a:pt x="1480" y="268"/>
                  </a:lnTo>
                  <a:lnTo>
                    <a:pt x="1480" y="281"/>
                  </a:lnTo>
                  <a:lnTo>
                    <a:pt x="1480" y="292"/>
                  </a:lnTo>
                  <a:lnTo>
                    <a:pt x="1480" y="301"/>
                  </a:lnTo>
                  <a:lnTo>
                    <a:pt x="1480" y="314"/>
                  </a:lnTo>
                  <a:lnTo>
                    <a:pt x="1481" y="336"/>
                  </a:lnTo>
                  <a:lnTo>
                    <a:pt x="1483" y="355"/>
                  </a:lnTo>
                  <a:lnTo>
                    <a:pt x="1487" y="374"/>
                  </a:lnTo>
                  <a:lnTo>
                    <a:pt x="1490" y="391"/>
                  </a:lnTo>
                  <a:lnTo>
                    <a:pt x="1494" y="408"/>
                  </a:lnTo>
                  <a:lnTo>
                    <a:pt x="1497" y="427"/>
                  </a:lnTo>
                  <a:lnTo>
                    <a:pt x="1500" y="446"/>
                  </a:lnTo>
                  <a:lnTo>
                    <a:pt x="1500" y="468"/>
                  </a:lnTo>
                  <a:lnTo>
                    <a:pt x="1500" y="480"/>
                  </a:lnTo>
                  <a:lnTo>
                    <a:pt x="1500" y="490"/>
                  </a:lnTo>
                  <a:lnTo>
                    <a:pt x="1499" y="500"/>
                  </a:lnTo>
                  <a:lnTo>
                    <a:pt x="1499" y="513"/>
                  </a:lnTo>
                  <a:lnTo>
                    <a:pt x="1500" y="523"/>
                  </a:lnTo>
                  <a:lnTo>
                    <a:pt x="1502" y="531"/>
                  </a:lnTo>
                  <a:lnTo>
                    <a:pt x="1505" y="539"/>
                  </a:lnTo>
                  <a:lnTo>
                    <a:pt x="1508" y="549"/>
                  </a:lnTo>
                  <a:lnTo>
                    <a:pt x="1508" y="565"/>
                  </a:lnTo>
                  <a:lnTo>
                    <a:pt x="1506" y="579"/>
                  </a:lnTo>
                  <a:lnTo>
                    <a:pt x="1503" y="592"/>
                  </a:lnTo>
                  <a:lnTo>
                    <a:pt x="1500" y="605"/>
                  </a:lnTo>
                  <a:lnTo>
                    <a:pt x="1496" y="618"/>
                  </a:lnTo>
                  <a:lnTo>
                    <a:pt x="1493" y="631"/>
                  </a:lnTo>
                  <a:lnTo>
                    <a:pt x="1491" y="646"/>
                  </a:lnTo>
                  <a:lnTo>
                    <a:pt x="1489" y="661"/>
                  </a:lnTo>
                  <a:lnTo>
                    <a:pt x="1489" y="670"/>
                  </a:lnTo>
                  <a:lnTo>
                    <a:pt x="1489" y="677"/>
                  </a:lnTo>
                  <a:lnTo>
                    <a:pt x="1489" y="677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15">
              <a:extLst>
                <a:ext uri="{FF2B5EF4-FFF2-40B4-BE49-F238E27FC236}">
                  <a16:creationId xmlns:a16="http://schemas.microsoft.com/office/drawing/2014/main" id="{FA30C1CB-64D1-4AB5-9E74-518C97B57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5225" y="2038351"/>
              <a:ext cx="565150" cy="360363"/>
            </a:xfrm>
            <a:custGeom>
              <a:avLst/>
              <a:gdLst>
                <a:gd name="T0" fmla="*/ 80 w 1426"/>
                <a:gd name="T1" fmla="*/ 642 h 909"/>
                <a:gd name="T2" fmla="*/ 152 w 1426"/>
                <a:gd name="T3" fmla="*/ 633 h 909"/>
                <a:gd name="T4" fmla="*/ 256 w 1426"/>
                <a:gd name="T5" fmla="*/ 633 h 909"/>
                <a:gd name="T6" fmla="*/ 343 w 1426"/>
                <a:gd name="T7" fmla="*/ 625 h 909"/>
                <a:gd name="T8" fmla="*/ 483 w 1426"/>
                <a:gd name="T9" fmla="*/ 582 h 909"/>
                <a:gd name="T10" fmla="*/ 541 w 1426"/>
                <a:gd name="T11" fmla="*/ 577 h 909"/>
                <a:gd name="T12" fmla="*/ 492 w 1426"/>
                <a:gd name="T13" fmla="*/ 705 h 909"/>
                <a:gd name="T14" fmla="*/ 473 w 1426"/>
                <a:gd name="T15" fmla="*/ 772 h 909"/>
                <a:gd name="T16" fmla="*/ 490 w 1426"/>
                <a:gd name="T17" fmla="*/ 798 h 909"/>
                <a:gd name="T18" fmla="*/ 564 w 1426"/>
                <a:gd name="T19" fmla="*/ 835 h 909"/>
                <a:gd name="T20" fmla="*/ 614 w 1426"/>
                <a:gd name="T21" fmla="*/ 853 h 909"/>
                <a:gd name="T22" fmla="*/ 651 w 1426"/>
                <a:gd name="T23" fmla="*/ 832 h 909"/>
                <a:gd name="T24" fmla="*/ 681 w 1426"/>
                <a:gd name="T25" fmla="*/ 823 h 909"/>
                <a:gd name="T26" fmla="*/ 708 w 1426"/>
                <a:gd name="T27" fmla="*/ 850 h 909"/>
                <a:gd name="T28" fmla="*/ 766 w 1426"/>
                <a:gd name="T29" fmla="*/ 901 h 909"/>
                <a:gd name="T30" fmla="*/ 810 w 1426"/>
                <a:gd name="T31" fmla="*/ 901 h 909"/>
                <a:gd name="T32" fmla="*/ 828 w 1426"/>
                <a:gd name="T33" fmla="*/ 856 h 909"/>
                <a:gd name="T34" fmla="*/ 815 w 1426"/>
                <a:gd name="T35" fmla="*/ 812 h 909"/>
                <a:gd name="T36" fmla="*/ 823 w 1426"/>
                <a:gd name="T37" fmla="*/ 793 h 909"/>
                <a:gd name="T38" fmla="*/ 858 w 1426"/>
                <a:gd name="T39" fmla="*/ 780 h 909"/>
                <a:gd name="T40" fmla="*/ 881 w 1426"/>
                <a:gd name="T41" fmla="*/ 707 h 909"/>
                <a:gd name="T42" fmla="*/ 900 w 1426"/>
                <a:gd name="T43" fmla="*/ 666 h 909"/>
                <a:gd name="T44" fmla="*/ 929 w 1426"/>
                <a:gd name="T45" fmla="*/ 678 h 909"/>
                <a:gd name="T46" fmla="*/ 1000 w 1426"/>
                <a:gd name="T47" fmla="*/ 738 h 909"/>
                <a:gd name="T48" fmla="*/ 1101 w 1426"/>
                <a:gd name="T49" fmla="*/ 775 h 909"/>
                <a:gd name="T50" fmla="*/ 1191 w 1426"/>
                <a:gd name="T51" fmla="*/ 774 h 909"/>
                <a:gd name="T52" fmla="*/ 1264 w 1426"/>
                <a:gd name="T53" fmla="*/ 771 h 909"/>
                <a:gd name="T54" fmla="*/ 1348 w 1426"/>
                <a:gd name="T55" fmla="*/ 792 h 909"/>
                <a:gd name="T56" fmla="*/ 1418 w 1426"/>
                <a:gd name="T57" fmla="*/ 764 h 909"/>
                <a:gd name="T58" fmla="*/ 1394 w 1426"/>
                <a:gd name="T59" fmla="*/ 654 h 909"/>
                <a:gd name="T60" fmla="*/ 1390 w 1426"/>
                <a:gd name="T61" fmla="*/ 493 h 909"/>
                <a:gd name="T62" fmla="*/ 1367 w 1426"/>
                <a:gd name="T63" fmla="*/ 416 h 909"/>
                <a:gd name="T64" fmla="*/ 1333 w 1426"/>
                <a:gd name="T65" fmla="*/ 327 h 909"/>
                <a:gd name="T66" fmla="*/ 1305 w 1426"/>
                <a:gd name="T67" fmla="*/ 281 h 909"/>
                <a:gd name="T68" fmla="*/ 1162 w 1426"/>
                <a:gd name="T69" fmla="*/ 220 h 909"/>
                <a:gd name="T70" fmla="*/ 1107 w 1426"/>
                <a:gd name="T71" fmla="*/ 193 h 909"/>
                <a:gd name="T72" fmla="*/ 969 w 1426"/>
                <a:gd name="T73" fmla="*/ 189 h 909"/>
                <a:gd name="T74" fmla="*/ 900 w 1426"/>
                <a:gd name="T75" fmla="*/ 164 h 909"/>
                <a:gd name="T76" fmla="*/ 831 w 1426"/>
                <a:gd name="T77" fmla="*/ 139 h 909"/>
                <a:gd name="T78" fmla="*/ 774 w 1426"/>
                <a:gd name="T79" fmla="*/ 143 h 909"/>
                <a:gd name="T80" fmla="*/ 724 w 1426"/>
                <a:gd name="T81" fmla="*/ 125 h 909"/>
                <a:gd name="T82" fmla="*/ 688 w 1426"/>
                <a:gd name="T83" fmla="*/ 86 h 909"/>
                <a:gd name="T84" fmla="*/ 655 w 1426"/>
                <a:gd name="T85" fmla="*/ 39 h 909"/>
                <a:gd name="T86" fmla="*/ 576 w 1426"/>
                <a:gd name="T87" fmla="*/ 22 h 909"/>
                <a:gd name="T88" fmla="*/ 522 w 1426"/>
                <a:gd name="T89" fmla="*/ 0 h 909"/>
                <a:gd name="T90" fmla="*/ 442 w 1426"/>
                <a:gd name="T91" fmla="*/ 61 h 909"/>
                <a:gd name="T92" fmla="*/ 380 w 1426"/>
                <a:gd name="T93" fmla="*/ 79 h 909"/>
                <a:gd name="T94" fmla="*/ 322 w 1426"/>
                <a:gd name="T95" fmla="*/ 77 h 909"/>
                <a:gd name="T96" fmla="*/ 303 w 1426"/>
                <a:gd name="T97" fmla="*/ 94 h 909"/>
                <a:gd name="T98" fmla="*/ 281 w 1426"/>
                <a:gd name="T99" fmla="*/ 171 h 909"/>
                <a:gd name="T100" fmla="*/ 257 w 1426"/>
                <a:gd name="T101" fmla="*/ 238 h 909"/>
                <a:gd name="T102" fmla="*/ 212 w 1426"/>
                <a:gd name="T103" fmla="*/ 373 h 909"/>
                <a:gd name="T104" fmla="*/ 185 w 1426"/>
                <a:gd name="T105" fmla="*/ 421 h 909"/>
                <a:gd name="T106" fmla="*/ 108 w 1426"/>
                <a:gd name="T107" fmla="*/ 482 h 909"/>
                <a:gd name="T108" fmla="*/ 40 w 1426"/>
                <a:gd name="T109" fmla="*/ 513 h 909"/>
                <a:gd name="T110" fmla="*/ 12 w 1426"/>
                <a:gd name="T111" fmla="*/ 555 h 909"/>
                <a:gd name="T112" fmla="*/ 0 w 1426"/>
                <a:gd name="T113" fmla="*/ 614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26" h="909">
                  <a:moveTo>
                    <a:pt x="0" y="614"/>
                  </a:moveTo>
                  <a:lnTo>
                    <a:pt x="25" y="623"/>
                  </a:lnTo>
                  <a:lnTo>
                    <a:pt x="47" y="632"/>
                  </a:lnTo>
                  <a:lnTo>
                    <a:pt x="58" y="637"/>
                  </a:lnTo>
                  <a:lnTo>
                    <a:pt x="68" y="640"/>
                  </a:lnTo>
                  <a:lnTo>
                    <a:pt x="80" y="642"/>
                  </a:lnTo>
                  <a:lnTo>
                    <a:pt x="93" y="643"/>
                  </a:lnTo>
                  <a:lnTo>
                    <a:pt x="106" y="642"/>
                  </a:lnTo>
                  <a:lnTo>
                    <a:pt x="118" y="641"/>
                  </a:lnTo>
                  <a:lnTo>
                    <a:pt x="130" y="639"/>
                  </a:lnTo>
                  <a:lnTo>
                    <a:pt x="141" y="636"/>
                  </a:lnTo>
                  <a:lnTo>
                    <a:pt x="152" y="633"/>
                  </a:lnTo>
                  <a:lnTo>
                    <a:pt x="162" y="631"/>
                  </a:lnTo>
                  <a:lnTo>
                    <a:pt x="175" y="630"/>
                  </a:lnTo>
                  <a:lnTo>
                    <a:pt x="188" y="629"/>
                  </a:lnTo>
                  <a:lnTo>
                    <a:pt x="213" y="630"/>
                  </a:lnTo>
                  <a:lnTo>
                    <a:pt x="235" y="632"/>
                  </a:lnTo>
                  <a:lnTo>
                    <a:pt x="256" y="633"/>
                  </a:lnTo>
                  <a:lnTo>
                    <a:pt x="281" y="634"/>
                  </a:lnTo>
                  <a:lnTo>
                    <a:pt x="292" y="634"/>
                  </a:lnTo>
                  <a:lnTo>
                    <a:pt x="303" y="633"/>
                  </a:lnTo>
                  <a:lnTo>
                    <a:pt x="314" y="632"/>
                  </a:lnTo>
                  <a:lnTo>
                    <a:pt x="323" y="630"/>
                  </a:lnTo>
                  <a:lnTo>
                    <a:pt x="343" y="625"/>
                  </a:lnTo>
                  <a:lnTo>
                    <a:pt x="361" y="619"/>
                  </a:lnTo>
                  <a:lnTo>
                    <a:pt x="397" y="604"/>
                  </a:lnTo>
                  <a:lnTo>
                    <a:pt x="439" y="590"/>
                  </a:lnTo>
                  <a:lnTo>
                    <a:pt x="455" y="586"/>
                  </a:lnTo>
                  <a:lnTo>
                    <a:pt x="469" y="584"/>
                  </a:lnTo>
                  <a:lnTo>
                    <a:pt x="483" y="582"/>
                  </a:lnTo>
                  <a:lnTo>
                    <a:pt x="497" y="579"/>
                  </a:lnTo>
                  <a:lnTo>
                    <a:pt x="510" y="577"/>
                  </a:lnTo>
                  <a:lnTo>
                    <a:pt x="523" y="574"/>
                  </a:lnTo>
                  <a:lnTo>
                    <a:pt x="537" y="569"/>
                  </a:lnTo>
                  <a:lnTo>
                    <a:pt x="551" y="562"/>
                  </a:lnTo>
                  <a:lnTo>
                    <a:pt x="541" y="577"/>
                  </a:lnTo>
                  <a:lnTo>
                    <a:pt x="534" y="592"/>
                  </a:lnTo>
                  <a:lnTo>
                    <a:pt x="527" y="606"/>
                  </a:lnTo>
                  <a:lnTo>
                    <a:pt x="522" y="620"/>
                  </a:lnTo>
                  <a:lnTo>
                    <a:pt x="511" y="648"/>
                  </a:lnTo>
                  <a:lnTo>
                    <a:pt x="500" y="682"/>
                  </a:lnTo>
                  <a:lnTo>
                    <a:pt x="492" y="705"/>
                  </a:lnTo>
                  <a:lnTo>
                    <a:pt x="483" y="723"/>
                  </a:lnTo>
                  <a:lnTo>
                    <a:pt x="479" y="733"/>
                  </a:lnTo>
                  <a:lnTo>
                    <a:pt x="476" y="744"/>
                  </a:lnTo>
                  <a:lnTo>
                    <a:pt x="473" y="754"/>
                  </a:lnTo>
                  <a:lnTo>
                    <a:pt x="472" y="766"/>
                  </a:lnTo>
                  <a:lnTo>
                    <a:pt x="473" y="772"/>
                  </a:lnTo>
                  <a:lnTo>
                    <a:pt x="474" y="777"/>
                  </a:lnTo>
                  <a:lnTo>
                    <a:pt x="477" y="782"/>
                  </a:lnTo>
                  <a:lnTo>
                    <a:pt x="479" y="787"/>
                  </a:lnTo>
                  <a:lnTo>
                    <a:pt x="482" y="791"/>
                  </a:lnTo>
                  <a:lnTo>
                    <a:pt x="485" y="794"/>
                  </a:lnTo>
                  <a:lnTo>
                    <a:pt x="490" y="798"/>
                  </a:lnTo>
                  <a:lnTo>
                    <a:pt x="494" y="801"/>
                  </a:lnTo>
                  <a:lnTo>
                    <a:pt x="514" y="810"/>
                  </a:lnTo>
                  <a:lnTo>
                    <a:pt x="537" y="819"/>
                  </a:lnTo>
                  <a:lnTo>
                    <a:pt x="547" y="825"/>
                  </a:lnTo>
                  <a:lnTo>
                    <a:pt x="555" y="830"/>
                  </a:lnTo>
                  <a:lnTo>
                    <a:pt x="564" y="835"/>
                  </a:lnTo>
                  <a:lnTo>
                    <a:pt x="572" y="841"/>
                  </a:lnTo>
                  <a:lnTo>
                    <a:pt x="580" y="845"/>
                  </a:lnTo>
                  <a:lnTo>
                    <a:pt x="588" y="849"/>
                  </a:lnTo>
                  <a:lnTo>
                    <a:pt x="598" y="853"/>
                  </a:lnTo>
                  <a:lnTo>
                    <a:pt x="608" y="854"/>
                  </a:lnTo>
                  <a:lnTo>
                    <a:pt x="614" y="853"/>
                  </a:lnTo>
                  <a:lnTo>
                    <a:pt x="619" y="852"/>
                  </a:lnTo>
                  <a:lnTo>
                    <a:pt x="624" y="850"/>
                  </a:lnTo>
                  <a:lnTo>
                    <a:pt x="628" y="848"/>
                  </a:lnTo>
                  <a:lnTo>
                    <a:pt x="635" y="844"/>
                  </a:lnTo>
                  <a:lnTo>
                    <a:pt x="643" y="837"/>
                  </a:lnTo>
                  <a:lnTo>
                    <a:pt x="651" y="832"/>
                  </a:lnTo>
                  <a:lnTo>
                    <a:pt x="658" y="827"/>
                  </a:lnTo>
                  <a:lnTo>
                    <a:pt x="662" y="826"/>
                  </a:lnTo>
                  <a:lnTo>
                    <a:pt x="667" y="823"/>
                  </a:lnTo>
                  <a:lnTo>
                    <a:pt x="672" y="822"/>
                  </a:lnTo>
                  <a:lnTo>
                    <a:pt x="678" y="822"/>
                  </a:lnTo>
                  <a:lnTo>
                    <a:pt x="681" y="823"/>
                  </a:lnTo>
                  <a:lnTo>
                    <a:pt x="684" y="825"/>
                  </a:lnTo>
                  <a:lnTo>
                    <a:pt x="686" y="827"/>
                  </a:lnTo>
                  <a:lnTo>
                    <a:pt x="688" y="830"/>
                  </a:lnTo>
                  <a:lnTo>
                    <a:pt x="692" y="836"/>
                  </a:lnTo>
                  <a:lnTo>
                    <a:pt x="697" y="842"/>
                  </a:lnTo>
                  <a:lnTo>
                    <a:pt x="708" y="850"/>
                  </a:lnTo>
                  <a:lnTo>
                    <a:pt x="717" y="858"/>
                  </a:lnTo>
                  <a:lnTo>
                    <a:pt x="728" y="864"/>
                  </a:lnTo>
                  <a:lnTo>
                    <a:pt x="739" y="873"/>
                  </a:lnTo>
                  <a:lnTo>
                    <a:pt x="751" y="885"/>
                  </a:lnTo>
                  <a:lnTo>
                    <a:pt x="761" y="897"/>
                  </a:lnTo>
                  <a:lnTo>
                    <a:pt x="766" y="901"/>
                  </a:lnTo>
                  <a:lnTo>
                    <a:pt x="771" y="906"/>
                  </a:lnTo>
                  <a:lnTo>
                    <a:pt x="779" y="909"/>
                  </a:lnTo>
                  <a:lnTo>
                    <a:pt x="787" y="909"/>
                  </a:lnTo>
                  <a:lnTo>
                    <a:pt x="795" y="909"/>
                  </a:lnTo>
                  <a:lnTo>
                    <a:pt x="803" y="906"/>
                  </a:lnTo>
                  <a:lnTo>
                    <a:pt x="810" y="901"/>
                  </a:lnTo>
                  <a:lnTo>
                    <a:pt x="817" y="896"/>
                  </a:lnTo>
                  <a:lnTo>
                    <a:pt x="821" y="889"/>
                  </a:lnTo>
                  <a:lnTo>
                    <a:pt x="825" y="882"/>
                  </a:lnTo>
                  <a:lnTo>
                    <a:pt x="828" y="873"/>
                  </a:lnTo>
                  <a:lnTo>
                    <a:pt x="829" y="864"/>
                  </a:lnTo>
                  <a:lnTo>
                    <a:pt x="828" y="856"/>
                  </a:lnTo>
                  <a:lnTo>
                    <a:pt x="827" y="848"/>
                  </a:lnTo>
                  <a:lnTo>
                    <a:pt x="824" y="841"/>
                  </a:lnTo>
                  <a:lnTo>
                    <a:pt x="821" y="833"/>
                  </a:lnTo>
                  <a:lnTo>
                    <a:pt x="819" y="827"/>
                  </a:lnTo>
                  <a:lnTo>
                    <a:pt x="817" y="819"/>
                  </a:lnTo>
                  <a:lnTo>
                    <a:pt x="815" y="812"/>
                  </a:lnTo>
                  <a:lnTo>
                    <a:pt x="815" y="803"/>
                  </a:lnTo>
                  <a:lnTo>
                    <a:pt x="815" y="800"/>
                  </a:lnTo>
                  <a:lnTo>
                    <a:pt x="816" y="798"/>
                  </a:lnTo>
                  <a:lnTo>
                    <a:pt x="817" y="796"/>
                  </a:lnTo>
                  <a:lnTo>
                    <a:pt x="819" y="795"/>
                  </a:lnTo>
                  <a:lnTo>
                    <a:pt x="823" y="793"/>
                  </a:lnTo>
                  <a:lnTo>
                    <a:pt x="829" y="792"/>
                  </a:lnTo>
                  <a:lnTo>
                    <a:pt x="834" y="791"/>
                  </a:lnTo>
                  <a:lnTo>
                    <a:pt x="841" y="790"/>
                  </a:lnTo>
                  <a:lnTo>
                    <a:pt x="846" y="789"/>
                  </a:lnTo>
                  <a:lnTo>
                    <a:pt x="851" y="786"/>
                  </a:lnTo>
                  <a:lnTo>
                    <a:pt x="858" y="780"/>
                  </a:lnTo>
                  <a:lnTo>
                    <a:pt x="863" y="774"/>
                  </a:lnTo>
                  <a:lnTo>
                    <a:pt x="868" y="766"/>
                  </a:lnTo>
                  <a:lnTo>
                    <a:pt x="871" y="760"/>
                  </a:lnTo>
                  <a:lnTo>
                    <a:pt x="875" y="745"/>
                  </a:lnTo>
                  <a:lnTo>
                    <a:pt x="879" y="727"/>
                  </a:lnTo>
                  <a:lnTo>
                    <a:pt x="881" y="707"/>
                  </a:lnTo>
                  <a:lnTo>
                    <a:pt x="884" y="686"/>
                  </a:lnTo>
                  <a:lnTo>
                    <a:pt x="886" y="679"/>
                  </a:lnTo>
                  <a:lnTo>
                    <a:pt x="890" y="671"/>
                  </a:lnTo>
                  <a:lnTo>
                    <a:pt x="892" y="669"/>
                  </a:lnTo>
                  <a:lnTo>
                    <a:pt x="896" y="667"/>
                  </a:lnTo>
                  <a:lnTo>
                    <a:pt x="900" y="666"/>
                  </a:lnTo>
                  <a:lnTo>
                    <a:pt x="904" y="666"/>
                  </a:lnTo>
                  <a:lnTo>
                    <a:pt x="910" y="666"/>
                  </a:lnTo>
                  <a:lnTo>
                    <a:pt x="914" y="667"/>
                  </a:lnTo>
                  <a:lnTo>
                    <a:pt x="918" y="669"/>
                  </a:lnTo>
                  <a:lnTo>
                    <a:pt x="923" y="671"/>
                  </a:lnTo>
                  <a:lnTo>
                    <a:pt x="929" y="678"/>
                  </a:lnTo>
                  <a:lnTo>
                    <a:pt x="936" y="685"/>
                  </a:lnTo>
                  <a:lnTo>
                    <a:pt x="941" y="694"/>
                  </a:lnTo>
                  <a:lnTo>
                    <a:pt x="948" y="701"/>
                  </a:lnTo>
                  <a:lnTo>
                    <a:pt x="954" y="709"/>
                  </a:lnTo>
                  <a:lnTo>
                    <a:pt x="963" y="715"/>
                  </a:lnTo>
                  <a:lnTo>
                    <a:pt x="1000" y="738"/>
                  </a:lnTo>
                  <a:lnTo>
                    <a:pt x="1035" y="758"/>
                  </a:lnTo>
                  <a:lnTo>
                    <a:pt x="1052" y="764"/>
                  </a:lnTo>
                  <a:lnTo>
                    <a:pt x="1071" y="769"/>
                  </a:lnTo>
                  <a:lnTo>
                    <a:pt x="1080" y="772"/>
                  </a:lnTo>
                  <a:lnTo>
                    <a:pt x="1090" y="774"/>
                  </a:lnTo>
                  <a:lnTo>
                    <a:pt x="1101" y="775"/>
                  </a:lnTo>
                  <a:lnTo>
                    <a:pt x="1113" y="775"/>
                  </a:lnTo>
                  <a:lnTo>
                    <a:pt x="1129" y="775"/>
                  </a:lnTo>
                  <a:lnTo>
                    <a:pt x="1143" y="775"/>
                  </a:lnTo>
                  <a:lnTo>
                    <a:pt x="1157" y="775"/>
                  </a:lnTo>
                  <a:lnTo>
                    <a:pt x="1172" y="775"/>
                  </a:lnTo>
                  <a:lnTo>
                    <a:pt x="1191" y="774"/>
                  </a:lnTo>
                  <a:lnTo>
                    <a:pt x="1207" y="771"/>
                  </a:lnTo>
                  <a:lnTo>
                    <a:pt x="1223" y="767"/>
                  </a:lnTo>
                  <a:lnTo>
                    <a:pt x="1240" y="766"/>
                  </a:lnTo>
                  <a:lnTo>
                    <a:pt x="1249" y="767"/>
                  </a:lnTo>
                  <a:lnTo>
                    <a:pt x="1256" y="768"/>
                  </a:lnTo>
                  <a:lnTo>
                    <a:pt x="1264" y="771"/>
                  </a:lnTo>
                  <a:lnTo>
                    <a:pt x="1270" y="773"/>
                  </a:lnTo>
                  <a:lnTo>
                    <a:pt x="1283" y="778"/>
                  </a:lnTo>
                  <a:lnTo>
                    <a:pt x="1300" y="783"/>
                  </a:lnTo>
                  <a:lnTo>
                    <a:pt x="1317" y="787"/>
                  </a:lnTo>
                  <a:lnTo>
                    <a:pt x="1333" y="790"/>
                  </a:lnTo>
                  <a:lnTo>
                    <a:pt x="1348" y="792"/>
                  </a:lnTo>
                  <a:lnTo>
                    <a:pt x="1362" y="794"/>
                  </a:lnTo>
                  <a:lnTo>
                    <a:pt x="1393" y="796"/>
                  </a:lnTo>
                  <a:lnTo>
                    <a:pt x="1426" y="801"/>
                  </a:lnTo>
                  <a:lnTo>
                    <a:pt x="1426" y="801"/>
                  </a:lnTo>
                  <a:lnTo>
                    <a:pt x="1423" y="781"/>
                  </a:lnTo>
                  <a:lnTo>
                    <a:pt x="1418" y="764"/>
                  </a:lnTo>
                  <a:lnTo>
                    <a:pt x="1413" y="747"/>
                  </a:lnTo>
                  <a:lnTo>
                    <a:pt x="1407" y="729"/>
                  </a:lnTo>
                  <a:lnTo>
                    <a:pt x="1402" y="712"/>
                  </a:lnTo>
                  <a:lnTo>
                    <a:pt x="1398" y="694"/>
                  </a:lnTo>
                  <a:lnTo>
                    <a:pt x="1395" y="674"/>
                  </a:lnTo>
                  <a:lnTo>
                    <a:pt x="1394" y="654"/>
                  </a:lnTo>
                  <a:lnTo>
                    <a:pt x="1394" y="618"/>
                  </a:lnTo>
                  <a:lnTo>
                    <a:pt x="1394" y="588"/>
                  </a:lnTo>
                  <a:lnTo>
                    <a:pt x="1394" y="557"/>
                  </a:lnTo>
                  <a:lnTo>
                    <a:pt x="1394" y="522"/>
                  </a:lnTo>
                  <a:lnTo>
                    <a:pt x="1393" y="507"/>
                  </a:lnTo>
                  <a:lnTo>
                    <a:pt x="1390" y="493"/>
                  </a:lnTo>
                  <a:lnTo>
                    <a:pt x="1386" y="481"/>
                  </a:lnTo>
                  <a:lnTo>
                    <a:pt x="1382" y="469"/>
                  </a:lnTo>
                  <a:lnTo>
                    <a:pt x="1377" y="457"/>
                  </a:lnTo>
                  <a:lnTo>
                    <a:pt x="1373" y="444"/>
                  </a:lnTo>
                  <a:lnTo>
                    <a:pt x="1369" y="431"/>
                  </a:lnTo>
                  <a:lnTo>
                    <a:pt x="1367" y="416"/>
                  </a:lnTo>
                  <a:lnTo>
                    <a:pt x="1364" y="402"/>
                  </a:lnTo>
                  <a:lnTo>
                    <a:pt x="1362" y="390"/>
                  </a:lnTo>
                  <a:lnTo>
                    <a:pt x="1359" y="380"/>
                  </a:lnTo>
                  <a:lnTo>
                    <a:pt x="1355" y="369"/>
                  </a:lnTo>
                  <a:lnTo>
                    <a:pt x="1345" y="348"/>
                  </a:lnTo>
                  <a:lnTo>
                    <a:pt x="1333" y="327"/>
                  </a:lnTo>
                  <a:lnTo>
                    <a:pt x="1327" y="314"/>
                  </a:lnTo>
                  <a:lnTo>
                    <a:pt x="1321" y="302"/>
                  </a:lnTo>
                  <a:lnTo>
                    <a:pt x="1319" y="296"/>
                  </a:lnTo>
                  <a:lnTo>
                    <a:pt x="1315" y="291"/>
                  </a:lnTo>
                  <a:lnTo>
                    <a:pt x="1310" y="286"/>
                  </a:lnTo>
                  <a:lnTo>
                    <a:pt x="1305" y="281"/>
                  </a:lnTo>
                  <a:lnTo>
                    <a:pt x="1287" y="269"/>
                  </a:lnTo>
                  <a:lnTo>
                    <a:pt x="1269" y="260"/>
                  </a:lnTo>
                  <a:lnTo>
                    <a:pt x="1253" y="252"/>
                  </a:lnTo>
                  <a:lnTo>
                    <a:pt x="1237" y="245"/>
                  </a:lnTo>
                  <a:lnTo>
                    <a:pt x="1202" y="233"/>
                  </a:lnTo>
                  <a:lnTo>
                    <a:pt x="1162" y="220"/>
                  </a:lnTo>
                  <a:lnTo>
                    <a:pt x="1152" y="215"/>
                  </a:lnTo>
                  <a:lnTo>
                    <a:pt x="1142" y="211"/>
                  </a:lnTo>
                  <a:lnTo>
                    <a:pt x="1133" y="206"/>
                  </a:lnTo>
                  <a:lnTo>
                    <a:pt x="1125" y="201"/>
                  </a:lnTo>
                  <a:lnTo>
                    <a:pt x="1116" y="196"/>
                  </a:lnTo>
                  <a:lnTo>
                    <a:pt x="1107" y="193"/>
                  </a:lnTo>
                  <a:lnTo>
                    <a:pt x="1097" y="189"/>
                  </a:lnTo>
                  <a:lnTo>
                    <a:pt x="1086" y="189"/>
                  </a:lnTo>
                  <a:lnTo>
                    <a:pt x="1054" y="189"/>
                  </a:lnTo>
                  <a:lnTo>
                    <a:pt x="1027" y="189"/>
                  </a:lnTo>
                  <a:lnTo>
                    <a:pt x="1000" y="189"/>
                  </a:lnTo>
                  <a:lnTo>
                    <a:pt x="969" y="189"/>
                  </a:lnTo>
                  <a:lnTo>
                    <a:pt x="959" y="188"/>
                  </a:lnTo>
                  <a:lnTo>
                    <a:pt x="950" y="187"/>
                  </a:lnTo>
                  <a:lnTo>
                    <a:pt x="940" y="184"/>
                  </a:lnTo>
                  <a:lnTo>
                    <a:pt x="931" y="181"/>
                  </a:lnTo>
                  <a:lnTo>
                    <a:pt x="915" y="173"/>
                  </a:lnTo>
                  <a:lnTo>
                    <a:pt x="900" y="164"/>
                  </a:lnTo>
                  <a:lnTo>
                    <a:pt x="885" y="155"/>
                  </a:lnTo>
                  <a:lnTo>
                    <a:pt x="869" y="146"/>
                  </a:lnTo>
                  <a:lnTo>
                    <a:pt x="860" y="143"/>
                  </a:lnTo>
                  <a:lnTo>
                    <a:pt x="851" y="141"/>
                  </a:lnTo>
                  <a:lnTo>
                    <a:pt x="842" y="139"/>
                  </a:lnTo>
                  <a:lnTo>
                    <a:pt x="831" y="139"/>
                  </a:lnTo>
                  <a:lnTo>
                    <a:pt x="821" y="140"/>
                  </a:lnTo>
                  <a:lnTo>
                    <a:pt x="811" y="141"/>
                  </a:lnTo>
                  <a:lnTo>
                    <a:pt x="803" y="143"/>
                  </a:lnTo>
                  <a:lnTo>
                    <a:pt x="792" y="144"/>
                  </a:lnTo>
                  <a:lnTo>
                    <a:pt x="782" y="144"/>
                  </a:lnTo>
                  <a:lnTo>
                    <a:pt x="774" y="143"/>
                  </a:lnTo>
                  <a:lnTo>
                    <a:pt x="764" y="141"/>
                  </a:lnTo>
                  <a:lnTo>
                    <a:pt x="755" y="139"/>
                  </a:lnTo>
                  <a:lnTo>
                    <a:pt x="747" y="137"/>
                  </a:lnTo>
                  <a:lnTo>
                    <a:pt x="739" y="133"/>
                  </a:lnTo>
                  <a:lnTo>
                    <a:pt x="732" y="129"/>
                  </a:lnTo>
                  <a:lnTo>
                    <a:pt x="724" y="125"/>
                  </a:lnTo>
                  <a:lnTo>
                    <a:pt x="717" y="119"/>
                  </a:lnTo>
                  <a:lnTo>
                    <a:pt x="711" y="114"/>
                  </a:lnTo>
                  <a:lnTo>
                    <a:pt x="705" y="107"/>
                  </a:lnTo>
                  <a:lnTo>
                    <a:pt x="699" y="101"/>
                  </a:lnTo>
                  <a:lnTo>
                    <a:pt x="694" y="93"/>
                  </a:lnTo>
                  <a:lnTo>
                    <a:pt x="688" y="86"/>
                  </a:lnTo>
                  <a:lnTo>
                    <a:pt x="684" y="77"/>
                  </a:lnTo>
                  <a:lnTo>
                    <a:pt x="680" y="69"/>
                  </a:lnTo>
                  <a:lnTo>
                    <a:pt x="675" y="59"/>
                  </a:lnTo>
                  <a:lnTo>
                    <a:pt x="669" y="51"/>
                  </a:lnTo>
                  <a:lnTo>
                    <a:pt x="662" y="45"/>
                  </a:lnTo>
                  <a:lnTo>
                    <a:pt x="655" y="39"/>
                  </a:lnTo>
                  <a:lnTo>
                    <a:pt x="646" y="36"/>
                  </a:lnTo>
                  <a:lnTo>
                    <a:pt x="638" y="33"/>
                  </a:lnTo>
                  <a:lnTo>
                    <a:pt x="628" y="31"/>
                  </a:lnTo>
                  <a:lnTo>
                    <a:pt x="618" y="29"/>
                  </a:lnTo>
                  <a:lnTo>
                    <a:pt x="598" y="26"/>
                  </a:lnTo>
                  <a:lnTo>
                    <a:pt x="576" y="22"/>
                  </a:lnTo>
                  <a:lnTo>
                    <a:pt x="565" y="20"/>
                  </a:lnTo>
                  <a:lnTo>
                    <a:pt x="554" y="17"/>
                  </a:lnTo>
                  <a:lnTo>
                    <a:pt x="545" y="12"/>
                  </a:lnTo>
                  <a:lnTo>
                    <a:pt x="534" y="7"/>
                  </a:lnTo>
                  <a:lnTo>
                    <a:pt x="528" y="4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05" y="17"/>
                  </a:lnTo>
                  <a:lnTo>
                    <a:pt x="487" y="31"/>
                  </a:lnTo>
                  <a:lnTo>
                    <a:pt x="469" y="45"/>
                  </a:lnTo>
                  <a:lnTo>
                    <a:pt x="452" y="57"/>
                  </a:lnTo>
                  <a:lnTo>
                    <a:pt x="442" y="61"/>
                  </a:lnTo>
                  <a:lnTo>
                    <a:pt x="432" y="66"/>
                  </a:lnTo>
                  <a:lnTo>
                    <a:pt x="423" y="70"/>
                  </a:lnTo>
                  <a:lnTo>
                    <a:pt x="413" y="74"/>
                  </a:lnTo>
                  <a:lnTo>
                    <a:pt x="402" y="76"/>
                  </a:lnTo>
                  <a:lnTo>
                    <a:pt x="391" y="78"/>
                  </a:lnTo>
                  <a:lnTo>
                    <a:pt x="380" y="79"/>
                  </a:lnTo>
                  <a:lnTo>
                    <a:pt x="369" y="79"/>
                  </a:lnTo>
                  <a:lnTo>
                    <a:pt x="358" y="79"/>
                  </a:lnTo>
                  <a:lnTo>
                    <a:pt x="348" y="78"/>
                  </a:lnTo>
                  <a:lnTo>
                    <a:pt x="338" y="77"/>
                  </a:lnTo>
                  <a:lnTo>
                    <a:pt x="328" y="77"/>
                  </a:lnTo>
                  <a:lnTo>
                    <a:pt x="322" y="77"/>
                  </a:lnTo>
                  <a:lnTo>
                    <a:pt x="318" y="78"/>
                  </a:lnTo>
                  <a:lnTo>
                    <a:pt x="314" y="80"/>
                  </a:lnTo>
                  <a:lnTo>
                    <a:pt x="310" y="83"/>
                  </a:lnTo>
                  <a:lnTo>
                    <a:pt x="307" y="86"/>
                  </a:lnTo>
                  <a:lnTo>
                    <a:pt x="305" y="90"/>
                  </a:lnTo>
                  <a:lnTo>
                    <a:pt x="303" y="94"/>
                  </a:lnTo>
                  <a:lnTo>
                    <a:pt x="301" y="99"/>
                  </a:lnTo>
                  <a:lnTo>
                    <a:pt x="294" y="119"/>
                  </a:lnTo>
                  <a:lnTo>
                    <a:pt x="291" y="141"/>
                  </a:lnTo>
                  <a:lnTo>
                    <a:pt x="288" y="152"/>
                  </a:lnTo>
                  <a:lnTo>
                    <a:pt x="284" y="161"/>
                  </a:lnTo>
                  <a:lnTo>
                    <a:pt x="281" y="171"/>
                  </a:lnTo>
                  <a:lnTo>
                    <a:pt x="277" y="179"/>
                  </a:lnTo>
                  <a:lnTo>
                    <a:pt x="272" y="187"/>
                  </a:lnTo>
                  <a:lnTo>
                    <a:pt x="268" y="197"/>
                  </a:lnTo>
                  <a:lnTo>
                    <a:pt x="265" y="206"/>
                  </a:lnTo>
                  <a:lnTo>
                    <a:pt x="263" y="218"/>
                  </a:lnTo>
                  <a:lnTo>
                    <a:pt x="257" y="238"/>
                  </a:lnTo>
                  <a:lnTo>
                    <a:pt x="252" y="256"/>
                  </a:lnTo>
                  <a:lnTo>
                    <a:pt x="245" y="274"/>
                  </a:lnTo>
                  <a:lnTo>
                    <a:pt x="240" y="290"/>
                  </a:lnTo>
                  <a:lnTo>
                    <a:pt x="227" y="323"/>
                  </a:lnTo>
                  <a:lnTo>
                    <a:pt x="215" y="362"/>
                  </a:lnTo>
                  <a:lnTo>
                    <a:pt x="212" y="373"/>
                  </a:lnTo>
                  <a:lnTo>
                    <a:pt x="209" y="382"/>
                  </a:lnTo>
                  <a:lnTo>
                    <a:pt x="204" y="390"/>
                  </a:lnTo>
                  <a:lnTo>
                    <a:pt x="200" y="399"/>
                  </a:lnTo>
                  <a:lnTo>
                    <a:pt x="196" y="407"/>
                  </a:lnTo>
                  <a:lnTo>
                    <a:pt x="190" y="414"/>
                  </a:lnTo>
                  <a:lnTo>
                    <a:pt x="185" y="421"/>
                  </a:lnTo>
                  <a:lnTo>
                    <a:pt x="179" y="427"/>
                  </a:lnTo>
                  <a:lnTo>
                    <a:pt x="166" y="439"/>
                  </a:lnTo>
                  <a:lnTo>
                    <a:pt x="152" y="451"/>
                  </a:lnTo>
                  <a:lnTo>
                    <a:pt x="136" y="463"/>
                  </a:lnTo>
                  <a:lnTo>
                    <a:pt x="119" y="475"/>
                  </a:lnTo>
                  <a:lnTo>
                    <a:pt x="108" y="482"/>
                  </a:lnTo>
                  <a:lnTo>
                    <a:pt x="96" y="489"/>
                  </a:lnTo>
                  <a:lnTo>
                    <a:pt x="85" y="493"/>
                  </a:lnTo>
                  <a:lnTo>
                    <a:pt x="74" y="497"/>
                  </a:lnTo>
                  <a:lnTo>
                    <a:pt x="62" y="502"/>
                  </a:lnTo>
                  <a:lnTo>
                    <a:pt x="51" y="507"/>
                  </a:lnTo>
                  <a:lnTo>
                    <a:pt x="40" y="513"/>
                  </a:lnTo>
                  <a:lnTo>
                    <a:pt x="29" y="522"/>
                  </a:lnTo>
                  <a:lnTo>
                    <a:pt x="25" y="528"/>
                  </a:lnTo>
                  <a:lnTo>
                    <a:pt x="22" y="533"/>
                  </a:lnTo>
                  <a:lnTo>
                    <a:pt x="19" y="538"/>
                  </a:lnTo>
                  <a:lnTo>
                    <a:pt x="17" y="544"/>
                  </a:lnTo>
                  <a:lnTo>
                    <a:pt x="12" y="555"/>
                  </a:lnTo>
                  <a:lnTo>
                    <a:pt x="11" y="565"/>
                  </a:lnTo>
                  <a:lnTo>
                    <a:pt x="9" y="577"/>
                  </a:lnTo>
                  <a:lnTo>
                    <a:pt x="8" y="589"/>
                  </a:lnTo>
                  <a:lnTo>
                    <a:pt x="5" y="601"/>
                  </a:lnTo>
                  <a:lnTo>
                    <a:pt x="0" y="614"/>
                  </a:lnTo>
                  <a:lnTo>
                    <a:pt x="0" y="614"/>
                  </a:lnTo>
                  <a:close/>
                </a:path>
              </a:pathLst>
            </a:custGeom>
            <a:solidFill>
              <a:srgbClr val="FEFEFE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16">
              <a:extLst>
                <a:ext uri="{FF2B5EF4-FFF2-40B4-BE49-F238E27FC236}">
                  <a16:creationId xmlns:a16="http://schemas.microsoft.com/office/drawing/2014/main" id="{96163ADB-22C4-4516-AEA3-FA74E5B40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5225" y="2038351"/>
              <a:ext cx="565150" cy="360363"/>
            </a:xfrm>
            <a:custGeom>
              <a:avLst/>
              <a:gdLst>
                <a:gd name="T0" fmla="*/ 80 w 1426"/>
                <a:gd name="T1" fmla="*/ 642 h 909"/>
                <a:gd name="T2" fmla="*/ 152 w 1426"/>
                <a:gd name="T3" fmla="*/ 633 h 909"/>
                <a:gd name="T4" fmla="*/ 256 w 1426"/>
                <a:gd name="T5" fmla="*/ 633 h 909"/>
                <a:gd name="T6" fmla="*/ 343 w 1426"/>
                <a:gd name="T7" fmla="*/ 625 h 909"/>
                <a:gd name="T8" fmla="*/ 483 w 1426"/>
                <a:gd name="T9" fmla="*/ 582 h 909"/>
                <a:gd name="T10" fmla="*/ 541 w 1426"/>
                <a:gd name="T11" fmla="*/ 577 h 909"/>
                <a:gd name="T12" fmla="*/ 492 w 1426"/>
                <a:gd name="T13" fmla="*/ 705 h 909"/>
                <a:gd name="T14" fmla="*/ 473 w 1426"/>
                <a:gd name="T15" fmla="*/ 772 h 909"/>
                <a:gd name="T16" fmla="*/ 490 w 1426"/>
                <a:gd name="T17" fmla="*/ 798 h 909"/>
                <a:gd name="T18" fmla="*/ 564 w 1426"/>
                <a:gd name="T19" fmla="*/ 835 h 909"/>
                <a:gd name="T20" fmla="*/ 614 w 1426"/>
                <a:gd name="T21" fmla="*/ 853 h 909"/>
                <a:gd name="T22" fmla="*/ 651 w 1426"/>
                <a:gd name="T23" fmla="*/ 832 h 909"/>
                <a:gd name="T24" fmla="*/ 681 w 1426"/>
                <a:gd name="T25" fmla="*/ 823 h 909"/>
                <a:gd name="T26" fmla="*/ 708 w 1426"/>
                <a:gd name="T27" fmla="*/ 850 h 909"/>
                <a:gd name="T28" fmla="*/ 766 w 1426"/>
                <a:gd name="T29" fmla="*/ 901 h 909"/>
                <a:gd name="T30" fmla="*/ 810 w 1426"/>
                <a:gd name="T31" fmla="*/ 901 h 909"/>
                <a:gd name="T32" fmla="*/ 828 w 1426"/>
                <a:gd name="T33" fmla="*/ 856 h 909"/>
                <a:gd name="T34" fmla="*/ 815 w 1426"/>
                <a:gd name="T35" fmla="*/ 812 h 909"/>
                <a:gd name="T36" fmla="*/ 823 w 1426"/>
                <a:gd name="T37" fmla="*/ 793 h 909"/>
                <a:gd name="T38" fmla="*/ 858 w 1426"/>
                <a:gd name="T39" fmla="*/ 780 h 909"/>
                <a:gd name="T40" fmla="*/ 881 w 1426"/>
                <a:gd name="T41" fmla="*/ 707 h 909"/>
                <a:gd name="T42" fmla="*/ 900 w 1426"/>
                <a:gd name="T43" fmla="*/ 666 h 909"/>
                <a:gd name="T44" fmla="*/ 929 w 1426"/>
                <a:gd name="T45" fmla="*/ 678 h 909"/>
                <a:gd name="T46" fmla="*/ 1000 w 1426"/>
                <a:gd name="T47" fmla="*/ 738 h 909"/>
                <a:gd name="T48" fmla="*/ 1101 w 1426"/>
                <a:gd name="T49" fmla="*/ 775 h 909"/>
                <a:gd name="T50" fmla="*/ 1191 w 1426"/>
                <a:gd name="T51" fmla="*/ 774 h 909"/>
                <a:gd name="T52" fmla="*/ 1264 w 1426"/>
                <a:gd name="T53" fmla="*/ 771 h 909"/>
                <a:gd name="T54" fmla="*/ 1348 w 1426"/>
                <a:gd name="T55" fmla="*/ 792 h 909"/>
                <a:gd name="T56" fmla="*/ 1418 w 1426"/>
                <a:gd name="T57" fmla="*/ 764 h 909"/>
                <a:gd name="T58" fmla="*/ 1394 w 1426"/>
                <a:gd name="T59" fmla="*/ 654 h 909"/>
                <a:gd name="T60" fmla="*/ 1390 w 1426"/>
                <a:gd name="T61" fmla="*/ 493 h 909"/>
                <a:gd name="T62" fmla="*/ 1367 w 1426"/>
                <a:gd name="T63" fmla="*/ 416 h 909"/>
                <a:gd name="T64" fmla="*/ 1333 w 1426"/>
                <a:gd name="T65" fmla="*/ 327 h 909"/>
                <a:gd name="T66" fmla="*/ 1305 w 1426"/>
                <a:gd name="T67" fmla="*/ 281 h 909"/>
                <a:gd name="T68" fmla="*/ 1162 w 1426"/>
                <a:gd name="T69" fmla="*/ 220 h 909"/>
                <a:gd name="T70" fmla="*/ 1107 w 1426"/>
                <a:gd name="T71" fmla="*/ 193 h 909"/>
                <a:gd name="T72" fmla="*/ 969 w 1426"/>
                <a:gd name="T73" fmla="*/ 189 h 909"/>
                <a:gd name="T74" fmla="*/ 900 w 1426"/>
                <a:gd name="T75" fmla="*/ 164 h 909"/>
                <a:gd name="T76" fmla="*/ 831 w 1426"/>
                <a:gd name="T77" fmla="*/ 139 h 909"/>
                <a:gd name="T78" fmla="*/ 774 w 1426"/>
                <a:gd name="T79" fmla="*/ 143 h 909"/>
                <a:gd name="T80" fmla="*/ 724 w 1426"/>
                <a:gd name="T81" fmla="*/ 125 h 909"/>
                <a:gd name="T82" fmla="*/ 688 w 1426"/>
                <a:gd name="T83" fmla="*/ 86 h 909"/>
                <a:gd name="T84" fmla="*/ 655 w 1426"/>
                <a:gd name="T85" fmla="*/ 39 h 909"/>
                <a:gd name="T86" fmla="*/ 576 w 1426"/>
                <a:gd name="T87" fmla="*/ 22 h 909"/>
                <a:gd name="T88" fmla="*/ 522 w 1426"/>
                <a:gd name="T89" fmla="*/ 0 h 909"/>
                <a:gd name="T90" fmla="*/ 442 w 1426"/>
                <a:gd name="T91" fmla="*/ 61 h 909"/>
                <a:gd name="T92" fmla="*/ 380 w 1426"/>
                <a:gd name="T93" fmla="*/ 79 h 909"/>
                <a:gd name="T94" fmla="*/ 322 w 1426"/>
                <a:gd name="T95" fmla="*/ 77 h 909"/>
                <a:gd name="T96" fmla="*/ 303 w 1426"/>
                <a:gd name="T97" fmla="*/ 94 h 909"/>
                <a:gd name="T98" fmla="*/ 281 w 1426"/>
                <a:gd name="T99" fmla="*/ 171 h 909"/>
                <a:gd name="T100" fmla="*/ 257 w 1426"/>
                <a:gd name="T101" fmla="*/ 238 h 909"/>
                <a:gd name="T102" fmla="*/ 212 w 1426"/>
                <a:gd name="T103" fmla="*/ 373 h 909"/>
                <a:gd name="T104" fmla="*/ 185 w 1426"/>
                <a:gd name="T105" fmla="*/ 421 h 909"/>
                <a:gd name="T106" fmla="*/ 108 w 1426"/>
                <a:gd name="T107" fmla="*/ 482 h 909"/>
                <a:gd name="T108" fmla="*/ 40 w 1426"/>
                <a:gd name="T109" fmla="*/ 513 h 909"/>
                <a:gd name="T110" fmla="*/ 12 w 1426"/>
                <a:gd name="T111" fmla="*/ 555 h 909"/>
                <a:gd name="T112" fmla="*/ 0 w 1426"/>
                <a:gd name="T113" fmla="*/ 614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26" h="909">
                  <a:moveTo>
                    <a:pt x="0" y="614"/>
                  </a:moveTo>
                  <a:lnTo>
                    <a:pt x="25" y="623"/>
                  </a:lnTo>
                  <a:lnTo>
                    <a:pt x="47" y="632"/>
                  </a:lnTo>
                  <a:lnTo>
                    <a:pt x="58" y="637"/>
                  </a:lnTo>
                  <a:lnTo>
                    <a:pt x="68" y="640"/>
                  </a:lnTo>
                  <a:lnTo>
                    <a:pt x="80" y="642"/>
                  </a:lnTo>
                  <a:lnTo>
                    <a:pt x="93" y="643"/>
                  </a:lnTo>
                  <a:lnTo>
                    <a:pt x="106" y="642"/>
                  </a:lnTo>
                  <a:lnTo>
                    <a:pt x="118" y="641"/>
                  </a:lnTo>
                  <a:lnTo>
                    <a:pt x="130" y="639"/>
                  </a:lnTo>
                  <a:lnTo>
                    <a:pt x="141" y="636"/>
                  </a:lnTo>
                  <a:lnTo>
                    <a:pt x="152" y="633"/>
                  </a:lnTo>
                  <a:lnTo>
                    <a:pt x="162" y="631"/>
                  </a:lnTo>
                  <a:lnTo>
                    <a:pt x="175" y="630"/>
                  </a:lnTo>
                  <a:lnTo>
                    <a:pt x="188" y="629"/>
                  </a:lnTo>
                  <a:lnTo>
                    <a:pt x="213" y="630"/>
                  </a:lnTo>
                  <a:lnTo>
                    <a:pt x="235" y="632"/>
                  </a:lnTo>
                  <a:lnTo>
                    <a:pt x="256" y="633"/>
                  </a:lnTo>
                  <a:lnTo>
                    <a:pt x="281" y="634"/>
                  </a:lnTo>
                  <a:lnTo>
                    <a:pt x="292" y="634"/>
                  </a:lnTo>
                  <a:lnTo>
                    <a:pt x="303" y="633"/>
                  </a:lnTo>
                  <a:lnTo>
                    <a:pt x="314" y="632"/>
                  </a:lnTo>
                  <a:lnTo>
                    <a:pt x="323" y="630"/>
                  </a:lnTo>
                  <a:lnTo>
                    <a:pt x="343" y="625"/>
                  </a:lnTo>
                  <a:lnTo>
                    <a:pt x="361" y="619"/>
                  </a:lnTo>
                  <a:lnTo>
                    <a:pt x="397" y="604"/>
                  </a:lnTo>
                  <a:lnTo>
                    <a:pt x="439" y="590"/>
                  </a:lnTo>
                  <a:lnTo>
                    <a:pt x="455" y="586"/>
                  </a:lnTo>
                  <a:lnTo>
                    <a:pt x="469" y="584"/>
                  </a:lnTo>
                  <a:lnTo>
                    <a:pt x="483" y="582"/>
                  </a:lnTo>
                  <a:lnTo>
                    <a:pt x="497" y="579"/>
                  </a:lnTo>
                  <a:lnTo>
                    <a:pt x="510" y="577"/>
                  </a:lnTo>
                  <a:lnTo>
                    <a:pt x="523" y="574"/>
                  </a:lnTo>
                  <a:lnTo>
                    <a:pt x="537" y="569"/>
                  </a:lnTo>
                  <a:lnTo>
                    <a:pt x="551" y="562"/>
                  </a:lnTo>
                  <a:lnTo>
                    <a:pt x="541" y="577"/>
                  </a:lnTo>
                  <a:lnTo>
                    <a:pt x="534" y="592"/>
                  </a:lnTo>
                  <a:lnTo>
                    <a:pt x="527" y="606"/>
                  </a:lnTo>
                  <a:lnTo>
                    <a:pt x="522" y="620"/>
                  </a:lnTo>
                  <a:lnTo>
                    <a:pt x="511" y="648"/>
                  </a:lnTo>
                  <a:lnTo>
                    <a:pt x="500" y="682"/>
                  </a:lnTo>
                  <a:lnTo>
                    <a:pt x="492" y="705"/>
                  </a:lnTo>
                  <a:lnTo>
                    <a:pt x="483" y="723"/>
                  </a:lnTo>
                  <a:lnTo>
                    <a:pt x="479" y="733"/>
                  </a:lnTo>
                  <a:lnTo>
                    <a:pt x="476" y="744"/>
                  </a:lnTo>
                  <a:lnTo>
                    <a:pt x="473" y="754"/>
                  </a:lnTo>
                  <a:lnTo>
                    <a:pt x="472" y="766"/>
                  </a:lnTo>
                  <a:lnTo>
                    <a:pt x="473" y="772"/>
                  </a:lnTo>
                  <a:lnTo>
                    <a:pt x="474" y="777"/>
                  </a:lnTo>
                  <a:lnTo>
                    <a:pt x="477" y="782"/>
                  </a:lnTo>
                  <a:lnTo>
                    <a:pt x="479" y="787"/>
                  </a:lnTo>
                  <a:lnTo>
                    <a:pt x="482" y="791"/>
                  </a:lnTo>
                  <a:lnTo>
                    <a:pt x="485" y="794"/>
                  </a:lnTo>
                  <a:lnTo>
                    <a:pt x="490" y="798"/>
                  </a:lnTo>
                  <a:lnTo>
                    <a:pt x="494" y="801"/>
                  </a:lnTo>
                  <a:lnTo>
                    <a:pt x="514" y="810"/>
                  </a:lnTo>
                  <a:lnTo>
                    <a:pt x="537" y="819"/>
                  </a:lnTo>
                  <a:lnTo>
                    <a:pt x="547" y="825"/>
                  </a:lnTo>
                  <a:lnTo>
                    <a:pt x="555" y="830"/>
                  </a:lnTo>
                  <a:lnTo>
                    <a:pt x="564" y="835"/>
                  </a:lnTo>
                  <a:lnTo>
                    <a:pt x="572" y="841"/>
                  </a:lnTo>
                  <a:lnTo>
                    <a:pt x="580" y="845"/>
                  </a:lnTo>
                  <a:lnTo>
                    <a:pt x="588" y="849"/>
                  </a:lnTo>
                  <a:lnTo>
                    <a:pt x="598" y="853"/>
                  </a:lnTo>
                  <a:lnTo>
                    <a:pt x="608" y="854"/>
                  </a:lnTo>
                  <a:lnTo>
                    <a:pt x="614" y="853"/>
                  </a:lnTo>
                  <a:lnTo>
                    <a:pt x="619" y="852"/>
                  </a:lnTo>
                  <a:lnTo>
                    <a:pt x="624" y="850"/>
                  </a:lnTo>
                  <a:lnTo>
                    <a:pt x="628" y="848"/>
                  </a:lnTo>
                  <a:lnTo>
                    <a:pt x="635" y="844"/>
                  </a:lnTo>
                  <a:lnTo>
                    <a:pt x="643" y="837"/>
                  </a:lnTo>
                  <a:lnTo>
                    <a:pt x="651" y="832"/>
                  </a:lnTo>
                  <a:lnTo>
                    <a:pt x="658" y="827"/>
                  </a:lnTo>
                  <a:lnTo>
                    <a:pt x="662" y="826"/>
                  </a:lnTo>
                  <a:lnTo>
                    <a:pt x="667" y="823"/>
                  </a:lnTo>
                  <a:lnTo>
                    <a:pt x="672" y="822"/>
                  </a:lnTo>
                  <a:lnTo>
                    <a:pt x="678" y="822"/>
                  </a:lnTo>
                  <a:lnTo>
                    <a:pt x="681" y="823"/>
                  </a:lnTo>
                  <a:lnTo>
                    <a:pt x="684" y="825"/>
                  </a:lnTo>
                  <a:lnTo>
                    <a:pt x="686" y="827"/>
                  </a:lnTo>
                  <a:lnTo>
                    <a:pt x="688" y="830"/>
                  </a:lnTo>
                  <a:lnTo>
                    <a:pt x="692" y="836"/>
                  </a:lnTo>
                  <a:lnTo>
                    <a:pt x="697" y="842"/>
                  </a:lnTo>
                  <a:lnTo>
                    <a:pt x="708" y="850"/>
                  </a:lnTo>
                  <a:lnTo>
                    <a:pt x="717" y="858"/>
                  </a:lnTo>
                  <a:lnTo>
                    <a:pt x="728" y="864"/>
                  </a:lnTo>
                  <a:lnTo>
                    <a:pt x="739" y="873"/>
                  </a:lnTo>
                  <a:lnTo>
                    <a:pt x="751" y="885"/>
                  </a:lnTo>
                  <a:lnTo>
                    <a:pt x="761" y="897"/>
                  </a:lnTo>
                  <a:lnTo>
                    <a:pt x="766" y="901"/>
                  </a:lnTo>
                  <a:lnTo>
                    <a:pt x="771" y="906"/>
                  </a:lnTo>
                  <a:lnTo>
                    <a:pt x="779" y="909"/>
                  </a:lnTo>
                  <a:lnTo>
                    <a:pt x="787" y="909"/>
                  </a:lnTo>
                  <a:lnTo>
                    <a:pt x="795" y="909"/>
                  </a:lnTo>
                  <a:lnTo>
                    <a:pt x="803" y="906"/>
                  </a:lnTo>
                  <a:lnTo>
                    <a:pt x="810" y="901"/>
                  </a:lnTo>
                  <a:lnTo>
                    <a:pt x="817" y="896"/>
                  </a:lnTo>
                  <a:lnTo>
                    <a:pt x="821" y="889"/>
                  </a:lnTo>
                  <a:lnTo>
                    <a:pt x="825" y="882"/>
                  </a:lnTo>
                  <a:lnTo>
                    <a:pt x="828" y="873"/>
                  </a:lnTo>
                  <a:lnTo>
                    <a:pt x="829" y="864"/>
                  </a:lnTo>
                  <a:lnTo>
                    <a:pt x="828" y="856"/>
                  </a:lnTo>
                  <a:lnTo>
                    <a:pt x="827" y="848"/>
                  </a:lnTo>
                  <a:lnTo>
                    <a:pt x="824" y="841"/>
                  </a:lnTo>
                  <a:lnTo>
                    <a:pt x="821" y="833"/>
                  </a:lnTo>
                  <a:lnTo>
                    <a:pt x="819" y="827"/>
                  </a:lnTo>
                  <a:lnTo>
                    <a:pt x="817" y="819"/>
                  </a:lnTo>
                  <a:lnTo>
                    <a:pt x="815" y="812"/>
                  </a:lnTo>
                  <a:lnTo>
                    <a:pt x="815" y="803"/>
                  </a:lnTo>
                  <a:lnTo>
                    <a:pt x="815" y="800"/>
                  </a:lnTo>
                  <a:lnTo>
                    <a:pt x="816" y="798"/>
                  </a:lnTo>
                  <a:lnTo>
                    <a:pt x="817" y="796"/>
                  </a:lnTo>
                  <a:lnTo>
                    <a:pt x="819" y="795"/>
                  </a:lnTo>
                  <a:lnTo>
                    <a:pt x="823" y="793"/>
                  </a:lnTo>
                  <a:lnTo>
                    <a:pt x="829" y="792"/>
                  </a:lnTo>
                  <a:lnTo>
                    <a:pt x="834" y="791"/>
                  </a:lnTo>
                  <a:lnTo>
                    <a:pt x="841" y="790"/>
                  </a:lnTo>
                  <a:lnTo>
                    <a:pt x="846" y="789"/>
                  </a:lnTo>
                  <a:lnTo>
                    <a:pt x="851" y="786"/>
                  </a:lnTo>
                  <a:lnTo>
                    <a:pt x="858" y="780"/>
                  </a:lnTo>
                  <a:lnTo>
                    <a:pt x="863" y="774"/>
                  </a:lnTo>
                  <a:lnTo>
                    <a:pt x="868" y="766"/>
                  </a:lnTo>
                  <a:lnTo>
                    <a:pt x="871" y="760"/>
                  </a:lnTo>
                  <a:lnTo>
                    <a:pt x="875" y="745"/>
                  </a:lnTo>
                  <a:lnTo>
                    <a:pt x="879" y="727"/>
                  </a:lnTo>
                  <a:lnTo>
                    <a:pt x="881" y="707"/>
                  </a:lnTo>
                  <a:lnTo>
                    <a:pt x="884" y="686"/>
                  </a:lnTo>
                  <a:lnTo>
                    <a:pt x="886" y="679"/>
                  </a:lnTo>
                  <a:lnTo>
                    <a:pt x="890" y="671"/>
                  </a:lnTo>
                  <a:lnTo>
                    <a:pt x="892" y="669"/>
                  </a:lnTo>
                  <a:lnTo>
                    <a:pt x="896" y="667"/>
                  </a:lnTo>
                  <a:lnTo>
                    <a:pt x="900" y="666"/>
                  </a:lnTo>
                  <a:lnTo>
                    <a:pt x="904" y="666"/>
                  </a:lnTo>
                  <a:lnTo>
                    <a:pt x="910" y="666"/>
                  </a:lnTo>
                  <a:lnTo>
                    <a:pt x="914" y="667"/>
                  </a:lnTo>
                  <a:lnTo>
                    <a:pt x="918" y="669"/>
                  </a:lnTo>
                  <a:lnTo>
                    <a:pt x="923" y="671"/>
                  </a:lnTo>
                  <a:lnTo>
                    <a:pt x="929" y="678"/>
                  </a:lnTo>
                  <a:lnTo>
                    <a:pt x="936" y="685"/>
                  </a:lnTo>
                  <a:lnTo>
                    <a:pt x="941" y="694"/>
                  </a:lnTo>
                  <a:lnTo>
                    <a:pt x="948" y="701"/>
                  </a:lnTo>
                  <a:lnTo>
                    <a:pt x="954" y="709"/>
                  </a:lnTo>
                  <a:lnTo>
                    <a:pt x="963" y="715"/>
                  </a:lnTo>
                  <a:lnTo>
                    <a:pt x="1000" y="738"/>
                  </a:lnTo>
                  <a:lnTo>
                    <a:pt x="1035" y="758"/>
                  </a:lnTo>
                  <a:lnTo>
                    <a:pt x="1052" y="764"/>
                  </a:lnTo>
                  <a:lnTo>
                    <a:pt x="1071" y="769"/>
                  </a:lnTo>
                  <a:lnTo>
                    <a:pt x="1080" y="772"/>
                  </a:lnTo>
                  <a:lnTo>
                    <a:pt x="1090" y="774"/>
                  </a:lnTo>
                  <a:lnTo>
                    <a:pt x="1101" y="775"/>
                  </a:lnTo>
                  <a:lnTo>
                    <a:pt x="1113" y="775"/>
                  </a:lnTo>
                  <a:lnTo>
                    <a:pt x="1129" y="775"/>
                  </a:lnTo>
                  <a:lnTo>
                    <a:pt x="1143" y="775"/>
                  </a:lnTo>
                  <a:lnTo>
                    <a:pt x="1157" y="775"/>
                  </a:lnTo>
                  <a:lnTo>
                    <a:pt x="1172" y="775"/>
                  </a:lnTo>
                  <a:lnTo>
                    <a:pt x="1191" y="774"/>
                  </a:lnTo>
                  <a:lnTo>
                    <a:pt x="1207" y="771"/>
                  </a:lnTo>
                  <a:lnTo>
                    <a:pt x="1223" y="767"/>
                  </a:lnTo>
                  <a:lnTo>
                    <a:pt x="1240" y="766"/>
                  </a:lnTo>
                  <a:lnTo>
                    <a:pt x="1249" y="767"/>
                  </a:lnTo>
                  <a:lnTo>
                    <a:pt x="1256" y="768"/>
                  </a:lnTo>
                  <a:lnTo>
                    <a:pt x="1264" y="771"/>
                  </a:lnTo>
                  <a:lnTo>
                    <a:pt x="1270" y="773"/>
                  </a:lnTo>
                  <a:lnTo>
                    <a:pt x="1283" y="778"/>
                  </a:lnTo>
                  <a:lnTo>
                    <a:pt x="1300" y="783"/>
                  </a:lnTo>
                  <a:lnTo>
                    <a:pt x="1317" y="787"/>
                  </a:lnTo>
                  <a:lnTo>
                    <a:pt x="1333" y="790"/>
                  </a:lnTo>
                  <a:lnTo>
                    <a:pt x="1348" y="792"/>
                  </a:lnTo>
                  <a:lnTo>
                    <a:pt x="1362" y="794"/>
                  </a:lnTo>
                  <a:lnTo>
                    <a:pt x="1393" y="796"/>
                  </a:lnTo>
                  <a:lnTo>
                    <a:pt x="1426" y="801"/>
                  </a:lnTo>
                  <a:lnTo>
                    <a:pt x="1426" y="801"/>
                  </a:lnTo>
                  <a:lnTo>
                    <a:pt x="1423" y="781"/>
                  </a:lnTo>
                  <a:lnTo>
                    <a:pt x="1418" y="764"/>
                  </a:lnTo>
                  <a:lnTo>
                    <a:pt x="1413" y="747"/>
                  </a:lnTo>
                  <a:lnTo>
                    <a:pt x="1407" y="729"/>
                  </a:lnTo>
                  <a:lnTo>
                    <a:pt x="1402" y="712"/>
                  </a:lnTo>
                  <a:lnTo>
                    <a:pt x="1398" y="694"/>
                  </a:lnTo>
                  <a:lnTo>
                    <a:pt x="1395" y="674"/>
                  </a:lnTo>
                  <a:lnTo>
                    <a:pt x="1394" y="654"/>
                  </a:lnTo>
                  <a:lnTo>
                    <a:pt x="1394" y="618"/>
                  </a:lnTo>
                  <a:lnTo>
                    <a:pt x="1394" y="588"/>
                  </a:lnTo>
                  <a:lnTo>
                    <a:pt x="1394" y="557"/>
                  </a:lnTo>
                  <a:lnTo>
                    <a:pt x="1394" y="522"/>
                  </a:lnTo>
                  <a:lnTo>
                    <a:pt x="1393" y="507"/>
                  </a:lnTo>
                  <a:lnTo>
                    <a:pt x="1390" y="493"/>
                  </a:lnTo>
                  <a:lnTo>
                    <a:pt x="1386" y="481"/>
                  </a:lnTo>
                  <a:lnTo>
                    <a:pt x="1382" y="469"/>
                  </a:lnTo>
                  <a:lnTo>
                    <a:pt x="1377" y="457"/>
                  </a:lnTo>
                  <a:lnTo>
                    <a:pt x="1373" y="444"/>
                  </a:lnTo>
                  <a:lnTo>
                    <a:pt x="1369" y="431"/>
                  </a:lnTo>
                  <a:lnTo>
                    <a:pt x="1367" y="416"/>
                  </a:lnTo>
                  <a:lnTo>
                    <a:pt x="1364" y="402"/>
                  </a:lnTo>
                  <a:lnTo>
                    <a:pt x="1362" y="390"/>
                  </a:lnTo>
                  <a:lnTo>
                    <a:pt x="1359" y="380"/>
                  </a:lnTo>
                  <a:lnTo>
                    <a:pt x="1355" y="369"/>
                  </a:lnTo>
                  <a:lnTo>
                    <a:pt x="1345" y="348"/>
                  </a:lnTo>
                  <a:lnTo>
                    <a:pt x="1333" y="327"/>
                  </a:lnTo>
                  <a:lnTo>
                    <a:pt x="1327" y="314"/>
                  </a:lnTo>
                  <a:lnTo>
                    <a:pt x="1321" y="302"/>
                  </a:lnTo>
                  <a:lnTo>
                    <a:pt x="1319" y="296"/>
                  </a:lnTo>
                  <a:lnTo>
                    <a:pt x="1315" y="291"/>
                  </a:lnTo>
                  <a:lnTo>
                    <a:pt x="1310" y="286"/>
                  </a:lnTo>
                  <a:lnTo>
                    <a:pt x="1305" y="281"/>
                  </a:lnTo>
                  <a:lnTo>
                    <a:pt x="1287" y="269"/>
                  </a:lnTo>
                  <a:lnTo>
                    <a:pt x="1269" y="260"/>
                  </a:lnTo>
                  <a:lnTo>
                    <a:pt x="1253" y="252"/>
                  </a:lnTo>
                  <a:lnTo>
                    <a:pt x="1237" y="245"/>
                  </a:lnTo>
                  <a:lnTo>
                    <a:pt x="1202" y="233"/>
                  </a:lnTo>
                  <a:lnTo>
                    <a:pt x="1162" y="220"/>
                  </a:lnTo>
                  <a:lnTo>
                    <a:pt x="1152" y="215"/>
                  </a:lnTo>
                  <a:lnTo>
                    <a:pt x="1142" y="211"/>
                  </a:lnTo>
                  <a:lnTo>
                    <a:pt x="1133" y="206"/>
                  </a:lnTo>
                  <a:lnTo>
                    <a:pt x="1125" y="201"/>
                  </a:lnTo>
                  <a:lnTo>
                    <a:pt x="1116" y="196"/>
                  </a:lnTo>
                  <a:lnTo>
                    <a:pt x="1107" y="193"/>
                  </a:lnTo>
                  <a:lnTo>
                    <a:pt x="1097" y="189"/>
                  </a:lnTo>
                  <a:lnTo>
                    <a:pt x="1086" y="189"/>
                  </a:lnTo>
                  <a:lnTo>
                    <a:pt x="1054" y="189"/>
                  </a:lnTo>
                  <a:lnTo>
                    <a:pt x="1027" y="189"/>
                  </a:lnTo>
                  <a:lnTo>
                    <a:pt x="1000" y="189"/>
                  </a:lnTo>
                  <a:lnTo>
                    <a:pt x="969" y="189"/>
                  </a:lnTo>
                  <a:lnTo>
                    <a:pt x="959" y="188"/>
                  </a:lnTo>
                  <a:lnTo>
                    <a:pt x="950" y="187"/>
                  </a:lnTo>
                  <a:lnTo>
                    <a:pt x="940" y="184"/>
                  </a:lnTo>
                  <a:lnTo>
                    <a:pt x="931" y="181"/>
                  </a:lnTo>
                  <a:lnTo>
                    <a:pt x="915" y="173"/>
                  </a:lnTo>
                  <a:lnTo>
                    <a:pt x="900" y="164"/>
                  </a:lnTo>
                  <a:lnTo>
                    <a:pt x="885" y="155"/>
                  </a:lnTo>
                  <a:lnTo>
                    <a:pt x="869" y="146"/>
                  </a:lnTo>
                  <a:lnTo>
                    <a:pt x="860" y="143"/>
                  </a:lnTo>
                  <a:lnTo>
                    <a:pt x="851" y="141"/>
                  </a:lnTo>
                  <a:lnTo>
                    <a:pt x="842" y="139"/>
                  </a:lnTo>
                  <a:lnTo>
                    <a:pt x="831" y="139"/>
                  </a:lnTo>
                  <a:lnTo>
                    <a:pt x="821" y="140"/>
                  </a:lnTo>
                  <a:lnTo>
                    <a:pt x="811" y="141"/>
                  </a:lnTo>
                  <a:lnTo>
                    <a:pt x="803" y="143"/>
                  </a:lnTo>
                  <a:lnTo>
                    <a:pt x="792" y="144"/>
                  </a:lnTo>
                  <a:lnTo>
                    <a:pt x="782" y="144"/>
                  </a:lnTo>
                  <a:lnTo>
                    <a:pt x="774" y="143"/>
                  </a:lnTo>
                  <a:lnTo>
                    <a:pt x="764" y="141"/>
                  </a:lnTo>
                  <a:lnTo>
                    <a:pt x="755" y="139"/>
                  </a:lnTo>
                  <a:lnTo>
                    <a:pt x="747" y="137"/>
                  </a:lnTo>
                  <a:lnTo>
                    <a:pt x="739" y="133"/>
                  </a:lnTo>
                  <a:lnTo>
                    <a:pt x="732" y="129"/>
                  </a:lnTo>
                  <a:lnTo>
                    <a:pt x="724" y="125"/>
                  </a:lnTo>
                  <a:lnTo>
                    <a:pt x="717" y="119"/>
                  </a:lnTo>
                  <a:lnTo>
                    <a:pt x="711" y="114"/>
                  </a:lnTo>
                  <a:lnTo>
                    <a:pt x="705" y="107"/>
                  </a:lnTo>
                  <a:lnTo>
                    <a:pt x="699" y="101"/>
                  </a:lnTo>
                  <a:lnTo>
                    <a:pt x="694" y="93"/>
                  </a:lnTo>
                  <a:lnTo>
                    <a:pt x="688" y="86"/>
                  </a:lnTo>
                  <a:lnTo>
                    <a:pt x="684" y="77"/>
                  </a:lnTo>
                  <a:lnTo>
                    <a:pt x="680" y="69"/>
                  </a:lnTo>
                  <a:lnTo>
                    <a:pt x="675" y="59"/>
                  </a:lnTo>
                  <a:lnTo>
                    <a:pt x="669" y="51"/>
                  </a:lnTo>
                  <a:lnTo>
                    <a:pt x="662" y="45"/>
                  </a:lnTo>
                  <a:lnTo>
                    <a:pt x="655" y="39"/>
                  </a:lnTo>
                  <a:lnTo>
                    <a:pt x="646" y="36"/>
                  </a:lnTo>
                  <a:lnTo>
                    <a:pt x="638" y="33"/>
                  </a:lnTo>
                  <a:lnTo>
                    <a:pt x="628" y="31"/>
                  </a:lnTo>
                  <a:lnTo>
                    <a:pt x="618" y="29"/>
                  </a:lnTo>
                  <a:lnTo>
                    <a:pt x="598" y="26"/>
                  </a:lnTo>
                  <a:lnTo>
                    <a:pt x="576" y="22"/>
                  </a:lnTo>
                  <a:lnTo>
                    <a:pt x="565" y="20"/>
                  </a:lnTo>
                  <a:lnTo>
                    <a:pt x="554" y="17"/>
                  </a:lnTo>
                  <a:lnTo>
                    <a:pt x="545" y="12"/>
                  </a:lnTo>
                  <a:lnTo>
                    <a:pt x="534" y="7"/>
                  </a:lnTo>
                  <a:lnTo>
                    <a:pt x="528" y="4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05" y="17"/>
                  </a:lnTo>
                  <a:lnTo>
                    <a:pt x="487" y="31"/>
                  </a:lnTo>
                  <a:lnTo>
                    <a:pt x="469" y="45"/>
                  </a:lnTo>
                  <a:lnTo>
                    <a:pt x="452" y="57"/>
                  </a:lnTo>
                  <a:lnTo>
                    <a:pt x="442" y="61"/>
                  </a:lnTo>
                  <a:lnTo>
                    <a:pt x="432" y="66"/>
                  </a:lnTo>
                  <a:lnTo>
                    <a:pt x="423" y="70"/>
                  </a:lnTo>
                  <a:lnTo>
                    <a:pt x="413" y="74"/>
                  </a:lnTo>
                  <a:lnTo>
                    <a:pt x="402" y="76"/>
                  </a:lnTo>
                  <a:lnTo>
                    <a:pt x="391" y="78"/>
                  </a:lnTo>
                  <a:lnTo>
                    <a:pt x="380" y="79"/>
                  </a:lnTo>
                  <a:lnTo>
                    <a:pt x="369" y="79"/>
                  </a:lnTo>
                  <a:lnTo>
                    <a:pt x="358" y="79"/>
                  </a:lnTo>
                  <a:lnTo>
                    <a:pt x="348" y="78"/>
                  </a:lnTo>
                  <a:lnTo>
                    <a:pt x="338" y="77"/>
                  </a:lnTo>
                  <a:lnTo>
                    <a:pt x="328" y="77"/>
                  </a:lnTo>
                  <a:lnTo>
                    <a:pt x="322" y="77"/>
                  </a:lnTo>
                  <a:lnTo>
                    <a:pt x="318" y="78"/>
                  </a:lnTo>
                  <a:lnTo>
                    <a:pt x="314" y="80"/>
                  </a:lnTo>
                  <a:lnTo>
                    <a:pt x="310" y="83"/>
                  </a:lnTo>
                  <a:lnTo>
                    <a:pt x="307" y="86"/>
                  </a:lnTo>
                  <a:lnTo>
                    <a:pt x="305" y="90"/>
                  </a:lnTo>
                  <a:lnTo>
                    <a:pt x="303" y="94"/>
                  </a:lnTo>
                  <a:lnTo>
                    <a:pt x="301" y="99"/>
                  </a:lnTo>
                  <a:lnTo>
                    <a:pt x="294" y="119"/>
                  </a:lnTo>
                  <a:lnTo>
                    <a:pt x="291" y="141"/>
                  </a:lnTo>
                  <a:lnTo>
                    <a:pt x="288" y="152"/>
                  </a:lnTo>
                  <a:lnTo>
                    <a:pt x="284" y="161"/>
                  </a:lnTo>
                  <a:lnTo>
                    <a:pt x="281" y="171"/>
                  </a:lnTo>
                  <a:lnTo>
                    <a:pt x="277" y="179"/>
                  </a:lnTo>
                  <a:lnTo>
                    <a:pt x="272" y="187"/>
                  </a:lnTo>
                  <a:lnTo>
                    <a:pt x="268" y="197"/>
                  </a:lnTo>
                  <a:lnTo>
                    <a:pt x="265" y="206"/>
                  </a:lnTo>
                  <a:lnTo>
                    <a:pt x="263" y="218"/>
                  </a:lnTo>
                  <a:lnTo>
                    <a:pt x="257" y="238"/>
                  </a:lnTo>
                  <a:lnTo>
                    <a:pt x="252" y="256"/>
                  </a:lnTo>
                  <a:lnTo>
                    <a:pt x="245" y="274"/>
                  </a:lnTo>
                  <a:lnTo>
                    <a:pt x="240" y="290"/>
                  </a:lnTo>
                  <a:lnTo>
                    <a:pt x="227" y="323"/>
                  </a:lnTo>
                  <a:lnTo>
                    <a:pt x="215" y="362"/>
                  </a:lnTo>
                  <a:lnTo>
                    <a:pt x="212" y="373"/>
                  </a:lnTo>
                  <a:lnTo>
                    <a:pt x="209" y="382"/>
                  </a:lnTo>
                  <a:lnTo>
                    <a:pt x="204" y="390"/>
                  </a:lnTo>
                  <a:lnTo>
                    <a:pt x="200" y="399"/>
                  </a:lnTo>
                  <a:lnTo>
                    <a:pt x="196" y="407"/>
                  </a:lnTo>
                  <a:lnTo>
                    <a:pt x="190" y="414"/>
                  </a:lnTo>
                  <a:lnTo>
                    <a:pt x="185" y="421"/>
                  </a:lnTo>
                  <a:lnTo>
                    <a:pt x="179" y="427"/>
                  </a:lnTo>
                  <a:lnTo>
                    <a:pt x="166" y="439"/>
                  </a:lnTo>
                  <a:lnTo>
                    <a:pt x="152" y="451"/>
                  </a:lnTo>
                  <a:lnTo>
                    <a:pt x="136" y="463"/>
                  </a:lnTo>
                  <a:lnTo>
                    <a:pt x="119" y="475"/>
                  </a:lnTo>
                  <a:lnTo>
                    <a:pt x="108" y="482"/>
                  </a:lnTo>
                  <a:lnTo>
                    <a:pt x="96" y="489"/>
                  </a:lnTo>
                  <a:lnTo>
                    <a:pt x="85" y="493"/>
                  </a:lnTo>
                  <a:lnTo>
                    <a:pt x="74" y="497"/>
                  </a:lnTo>
                  <a:lnTo>
                    <a:pt x="62" y="502"/>
                  </a:lnTo>
                  <a:lnTo>
                    <a:pt x="51" y="507"/>
                  </a:lnTo>
                  <a:lnTo>
                    <a:pt x="40" y="513"/>
                  </a:lnTo>
                  <a:lnTo>
                    <a:pt x="29" y="522"/>
                  </a:lnTo>
                  <a:lnTo>
                    <a:pt x="25" y="528"/>
                  </a:lnTo>
                  <a:lnTo>
                    <a:pt x="22" y="533"/>
                  </a:lnTo>
                  <a:lnTo>
                    <a:pt x="19" y="538"/>
                  </a:lnTo>
                  <a:lnTo>
                    <a:pt x="17" y="544"/>
                  </a:lnTo>
                  <a:lnTo>
                    <a:pt x="12" y="555"/>
                  </a:lnTo>
                  <a:lnTo>
                    <a:pt x="11" y="565"/>
                  </a:lnTo>
                  <a:lnTo>
                    <a:pt x="9" y="577"/>
                  </a:lnTo>
                  <a:lnTo>
                    <a:pt x="8" y="589"/>
                  </a:lnTo>
                  <a:lnTo>
                    <a:pt x="5" y="601"/>
                  </a:lnTo>
                  <a:lnTo>
                    <a:pt x="0" y="614"/>
                  </a:lnTo>
                  <a:lnTo>
                    <a:pt x="0" y="614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17">
              <a:extLst>
                <a:ext uri="{FF2B5EF4-FFF2-40B4-BE49-F238E27FC236}">
                  <a16:creationId xmlns:a16="http://schemas.microsoft.com/office/drawing/2014/main" id="{467F30F8-7926-48A6-9987-5701CA530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8613" y="1644651"/>
              <a:ext cx="639763" cy="866775"/>
            </a:xfrm>
            <a:custGeom>
              <a:avLst/>
              <a:gdLst>
                <a:gd name="T0" fmla="*/ 1067 w 1614"/>
                <a:gd name="T1" fmla="*/ 2028 h 2184"/>
                <a:gd name="T2" fmla="*/ 1099 w 1614"/>
                <a:gd name="T3" fmla="*/ 1975 h 2184"/>
                <a:gd name="T4" fmla="*/ 1059 w 1614"/>
                <a:gd name="T5" fmla="*/ 1871 h 2184"/>
                <a:gd name="T6" fmla="*/ 1045 w 1614"/>
                <a:gd name="T7" fmla="*/ 1785 h 2184"/>
                <a:gd name="T8" fmla="*/ 1085 w 1614"/>
                <a:gd name="T9" fmla="*/ 1712 h 2184"/>
                <a:gd name="T10" fmla="*/ 1090 w 1614"/>
                <a:gd name="T11" fmla="*/ 1617 h 2184"/>
                <a:gd name="T12" fmla="*/ 1109 w 1614"/>
                <a:gd name="T13" fmla="*/ 1535 h 2184"/>
                <a:gd name="T14" fmla="*/ 1166 w 1614"/>
                <a:gd name="T15" fmla="*/ 1488 h 2184"/>
                <a:gd name="T16" fmla="*/ 1271 w 1614"/>
                <a:gd name="T17" fmla="*/ 1418 h 2184"/>
                <a:gd name="T18" fmla="*/ 1307 w 1614"/>
                <a:gd name="T19" fmla="*/ 1353 h 2184"/>
                <a:gd name="T20" fmla="*/ 1360 w 1614"/>
                <a:gd name="T21" fmla="*/ 1188 h 2184"/>
                <a:gd name="T22" fmla="*/ 1393 w 1614"/>
                <a:gd name="T23" fmla="*/ 1090 h 2184"/>
                <a:gd name="T24" fmla="*/ 1420 w 1614"/>
                <a:gd name="T25" fmla="*/ 1068 h 2184"/>
                <a:gd name="T26" fmla="*/ 1505 w 1614"/>
                <a:gd name="T27" fmla="*/ 1065 h 2184"/>
                <a:gd name="T28" fmla="*/ 1614 w 1614"/>
                <a:gd name="T29" fmla="*/ 991 h 2184"/>
                <a:gd name="T30" fmla="*/ 1588 w 1614"/>
                <a:gd name="T31" fmla="*/ 958 h 2184"/>
                <a:gd name="T32" fmla="*/ 1577 w 1614"/>
                <a:gd name="T33" fmla="*/ 891 h 2184"/>
                <a:gd name="T34" fmla="*/ 1509 w 1614"/>
                <a:gd name="T35" fmla="*/ 829 h 2184"/>
                <a:gd name="T36" fmla="*/ 1362 w 1614"/>
                <a:gd name="T37" fmla="*/ 727 h 2184"/>
                <a:gd name="T38" fmla="*/ 1250 w 1614"/>
                <a:gd name="T39" fmla="*/ 554 h 2184"/>
                <a:gd name="T40" fmla="*/ 1152 w 1614"/>
                <a:gd name="T41" fmla="*/ 434 h 2184"/>
                <a:gd name="T42" fmla="*/ 1084 w 1614"/>
                <a:gd name="T43" fmla="*/ 403 h 2184"/>
                <a:gd name="T44" fmla="*/ 965 w 1614"/>
                <a:gd name="T45" fmla="*/ 314 h 2184"/>
                <a:gd name="T46" fmla="*/ 894 w 1614"/>
                <a:gd name="T47" fmla="*/ 265 h 2184"/>
                <a:gd name="T48" fmla="*/ 822 w 1614"/>
                <a:gd name="T49" fmla="*/ 212 h 2184"/>
                <a:gd name="T50" fmla="*/ 735 w 1614"/>
                <a:gd name="T51" fmla="*/ 163 h 2184"/>
                <a:gd name="T52" fmla="*/ 624 w 1614"/>
                <a:gd name="T53" fmla="*/ 154 h 2184"/>
                <a:gd name="T54" fmla="*/ 578 w 1614"/>
                <a:gd name="T55" fmla="*/ 100 h 2184"/>
                <a:gd name="T56" fmla="*/ 506 w 1614"/>
                <a:gd name="T57" fmla="*/ 54 h 2184"/>
                <a:gd name="T58" fmla="*/ 409 w 1614"/>
                <a:gd name="T59" fmla="*/ 3 h 2184"/>
                <a:gd name="T60" fmla="*/ 268 w 1614"/>
                <a:gd name="T61" fmla="*/ 17 h 2184"/>
                <a:gd name="T62" fmla="*/ 59 w 1614"/>
                <a:gd name="T63" fmla="*/ 17 h 2184"/>
                <a:gd name="T64" fmla="*/ 52 w 1614"/>
                <a:gd name="T65" fmla="*/ 153 h 2184"/>
                <a:gd name="T66" fmla="*/ 54 w 1614"/>
                <a:gd name="T67" fmla="*/ 238 h 2184"/>
                <a:gd name="T68" fmla="*/ 155 w 1614"/>
                <a:gd name="T69" fmla="*/ 345 h 2184"/>
                <a:gd name="T70" fmla="*/ 186 w 1614"/>
                <a:gd name="T71" fmla="*/ 412 h 2184"/>
                <a:gd name="T72" fmla="*/ 171 w 1614"/>
                <a:gd name="T73" fmla="*/ 524 h 2184"/>
                <a:gd name="T74" fmla="*/ 115 w 1614"/>
                <a:gd name="T75" fmla="*/ 575 h 2184"/>
                <a:gd name="T76" fmla="*/ 76 w 1614"/>
                <a:gd name="T77" fmla="*/ 716 h 2184"/>
                <a:gd name="T78" fmla="*/ 51 w 1614"/>
                <a:gd name="T79" fmla="*/ 838 h 2184"/>
                <a:gd name="T80" fmla="*/ 65 w 1614"/>
                <a:gd name="T81" fmla="*/ 906 h 2184"/>
                <a:gd name="T82" fmla="*/ 65 w 1614"/>
                <a:gd name="T83" fmla="*/ 1030 h 2184"/>
                <a:gd name="T84" fmla="*/ 4 w 1614"/>
                <a:gd name="T85" fmla="*/ 1220 h 2184"/>
                <a:gd name="T86" fmla="*/ 36 w 1614"/>
                <a:gd name="T87" fmla="*/ 1336 h 2184"/>
                <a:gd name="T88" fmla="*/ 66 w 1614"/>
                <a:gd name="T89" fmla="*/ 1446 h 2184"/>
                <a:gd name="T90" fmla="*/ 63 w 1614"/>
                <a:gd name="T91" fmla="*/ 1580 h 2184"/>
                <a:gd name="T92" fmla="*/ 90 w 1614"/>
                <a:gd name="T93" fmla="*/ 1634 h 2184"/>
                <a:gd name="T94" fmla="*/ 224 w 1614"/>
                <a:gd name="T95" fmla="*/ 1671 h 2184"/>
                <a:gd name="T96" fmla="*/ 265 w 1614"/>
                <a:gd name="T97" fmla="*/ 1709 h 2184"/>
                <a:gd name="T98" fmla="*/ 269 w 1614"/>
                <a:gd name="T99" fmla="*/ 1861 h 2184"/>
                <a:gd name="T100" fmla="*/ 513 w 1614"/>
                <a:gd name="T101" fmla="*/ 1917 h 2184"/>
                <a:gd name="T102" fmla="*/ 600 w 1614"/>
                <a:gd name="T103" fmla="*/ 1916 h 2184"/>
                <a:gd name="T104" fmla="*/ 723 w 1614"/>
                <a:gd name="T105" fmla="*/ 1987 h 2184"/>
                <a:gd name="T106" fmla="*/ 800 w 1614"/>
                <a:gd name="T107" fmla="*/ 2116 h 2184"/>
                <a:gd name="T108" fmla="*/ 834 w 1614"/>
                <a:gd name="T109" fmla="*/ 2177 h 2184"/>
                <a:gd name="T110" fmla="*/ 881 w 1614"/>
                <a:gd name="T111" fmla="*/ 2170 h 2184"/>
                <a:gd name="T112" fmla="*/ 999 w 1614"/>
                <a:gd name="T113" fmla="*/ 2083 h 2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14" h="2184">
                  <a:moveTo>
                    <a:pt x="1040" y="2074"/>
                  </a:moveTo>
                  <a:lnTo>
                    <a:pt x="1045" y="2070"/>
                  </a:lnTo>
                  <a:lnTo>
                    <a:pt x="1049" y="2067"/>
                  </a:lnTo>
                  <a:lnTo>
                    <a:pt x="1052" y="2063"/>
                  </a:lnTo>
                  <a:lnTo>
                    <a:pt x="1055" y="2059"/>
                  </a:lnTo>
                  <a:lnTo>
                    <a:pt x="1059" y="2049"/>
                  </a:lnTo>
                  <a:lnTo>
                    <a:pt x="1063" y="2038"/>
                  </a:lnTo>
                  <a:lnTo>
                    <a:pt x="1067" y="2028"/>
                  </a:lnTo>
                  <a:lnTo>
                    <a:pt x="1073" y="2020"/>
                  </a:lnTo>
                  <a:lnTo>
                    <a:pt x="1079" y="2012"/>
                  </a:lnTo>
                  <a:lnTo>
                    <a:pt x="1086" y="2005"/>
                  </a:lnTo>
                  <a:lnTo>
                    <a:pt x="1091" y="1997"/>
                  </a:lnTo>
                  <a:lnTo>
                    <a:pt x="1096" y="1989"/>
                  </a:lnTo>
                  <a:lnTo>
                    <a:pt x="1097" y="1985"/>
                  </a:lnTo>
                  <a:lnTo>
                    <a:pt x="1099" y="1981"/>
                  </a:lnTo>
                  <a:lnTo>
                    <a:pt x="1099" y="1975"/>
                  </a:lnTo>
                  <a:lnTo>
                    <a:pt x="1100" y="1970"/>
                  </a:lnTo>
                  <a:lnTo>
                    <a:pt x="1099" y="1958"/>
                  </a:lnTo>
                  <a:lnTo>
                    <a:pt x="1097" y="1947"/>
                  </a:lnTo>
                  <a:lnTo>
                    <a:pt x="1094" y="1936"/>
                  </a:lnTo>
                  <a:lnTo>
                    <a:pt x="1090" y="1926"/>
                  </a:lnTo>
                  <a:lnTo>
                    <a:pt x="1080" y="1907"/>
                  </a:lnTo>
                  <a:lnTo>
                    <a:pt x="1070" y="1889"/>
                  </a:lnTo>
                  <a:lnTo>
                    <a:pt x="1059" y="1871"/>
                  </a:lnTo>
                  <a:lnTo>
                    <a:pt x="1050" y="1852"/>
                  </a:lnTo>
                  <a:lnTo>
                    <a:pt x="1046" y="1841"/>
                  </a:lnTo>
                  <a:lnTo>
                    <a:pt x="1043" y="1832"/>
                  </a:lnTo>
                  <a:lnTo>
                    <a:pt x="1042" y="1820"/>
                  </a:lnTo>
                  <a:lnTo>
                    <a:pt x="1040" y="1808"/>
                  </a:lnTo>
                  <a:lnTo>
                    <a:pt x="1042" y="1799"/>
                  </a:lnTo>
                  <a:lnTo>
                    <a:pt x="1043" y="1793"/>
                  </a:lnTo>
                  <a:lnTo>
                    <a:pt x="1045" y="1785"/>
                  </a:lnTo>
                  <a:lnTo>
                    <a:pt x="1048" y="1779"/>
                  </a:lnTo>
                  <a:lnTo>
                    <a:pt x="1055" y="1767"/>
                  </a:lnTo>
                  <a:lnTo>
                    <a:pt x="1063" y="1755"/>
                  </a:lnTo>
                  <a:lnTo>
                    <a:pt x="1071" y="1744"/>
                  </a:lnTo>
                  <a:lnTo>
                    <a:pt x="1078" y="1732"/>
                  </a:lnTo>
                  <a:lnTo>
                    <a:pt x="1082" y="1726"/>
                  </a:lnTo>
                  <a:lnTo>
                    <a:pt x="1084" y="1718"/>
                  </a:lnTo>
                  <a:lnTo>
                    <a:pt x="1085" y="1712"/>
                  </a:lnTo>
                  <a:lnTo>
                    <a:pt x="1086" y="1703"/>
                  </a:lnTo>
                  <a:lnTo>
                    <a:pt x="1086" y="1689"/>
                  </a:lnTo>
                  <a:lnTo>
                    <a:pt x="1086" y="1676"/>
                  </a:lnTo>
                  <a:lnTo>
                    <a:pt x="1086" y="1663"/>
                  </a:lnTo>
                  <a:lnTo>
                    <a:pt x="1086" y="1649"/>
                  </a:lnTo>
                  <a:lnTo>
                    <a:pt x="1086" y="1636"/>
                  </a:lnTo>
                  <a:lnTo>
                    <a:pt x="1088" y="1627"/>
                  </a:lnTo>
                  <a:lnTo>
                    <a:pt x="1090" y="1617"/>
                  </a:lnTo>
                  <a:lnTo>
                    <a:pt x="1092" y="1605"/>
                  </a:lnTo>
                  <a:lnTo>
                    <a:pt x="1092" y="1605"/>
                  </a:lnTo>
                  <a:lnTo>
                    <a:pt x="1097" y="1592"/>
                  </a:lnTo>
                  <a:lnTo>
                    <a:pt x="1100" y="1580"/>
                  </a:lnTo>
                  <a:lnTo>
                    <a:pt x="1101" y="1568"/>
                  </a:lnTo>
                  <a:lnTo>
                    <a:pt x="1103" y="1556"/>
                  </a:lnTo>
                  <a:lnTo>
                    <a:pt x="1104" y="1546"/>
                  </a:lnTo>
                  <a:lnTo>
                    <a:pt x="1109" y="1535"/>
                  </a:lnTo>
                  <a:lnTo>
                    <a:pt x="1111" y="1529"/>
                  </a:lnTo>
                  <a:lnTo>
                    <a:pt x="1114" y="1524"/>
                  </a:lnTo>
                  <a:lnTo>
                    <a:pt x="1117" y="1519"/>
                  </a:lnTo>
                  <a:lnTo>
                    <a:pt x="1121" y="1513"/>
                  </a:lnTo>
                  <a:lnTo>
                    <a:pt x="1132" y="1504"/>
                  </a:lnTo>
                  <a:lnTo>
                    <a:pt x="1143" y="1498"/>
                  </a:lnTo>
                  <a:lnTo>
                    <a:pt x="1154" y="1493"/>
                  </a:lnTo>
                  <a:lnTo>
                    <a:pt x="1166" y="1488"/>
                  </a:lnTo>
                  <a:lnTo>
                    <a:pt x="1177" y="1484"/>
                  </a:lnTo>
                  <a:lnTo>
                    <a:pt x="1188" y="1480"/>
                  </a:lnTo>
                  <a:lnTo>
                    <a:pt x="1200" y="1473"/>
                  </a:lnTo>
                  <a:lnTo>
                    <a:pt x="1211" y="1466"/>
                  </a:lnTo>
                  <a:lnTo>
                    <a:pt x="1228" y="1454"/>
                  </a:lnTo>
                  <a:lnTo>
                    <a:pt x="1244" y="1442"/>
                  </a:lnTo>
                  <a:lnTo>
                    <a:pt x="1258" y="1430"/>
                  </a:lnTo>
                  <a:lnTo>
                    <a:pt x="1271" y="1418"/>
                  </a:lnTo>
                  <a:lnTo>
                    <a:pt x="1277" y="1412"/>
                  </a:lnTo>
                  <a:lnTo>
                    <a:pt x="1282" y="1405"/>
                  </a:lnTo>
                  <a:lnTo>
                    <a:pt x="1288" y="1398"/>
                  </a:lnTo>
                  <a:lnTo>
                    <a:pt x="1292" y="1390"/>
                  </a:lnTo>
                  <a:lnTo>
                    <a:pt x="1296" y="1381"/>
                  </a:lnTo>
                  <a:lnTo>
                    <a:pt x="1301" y="1373"/>
                  </a:lnTo>
                  <a:lnTo>
                    <a:pt x="1304" y="1364"/>
                  </a:lnTo>
                  <a:lnTo>
                    <a:pt x="1307" y="1353"/>
                  </a:lnTo>
                  <a:lnTo>
                    <a:pt x="1319" y="1314"/>
                  </a:lnTo>
                  <a:lnTo>
                    <a:pt x="1332" y="1281"/>
                  </a:lnTo>
                  <a:lnTo>
                    <a:pt x="1337" y="1265"/>
                  </a:lnTo>
                  <a:lnTo>
                    <a:pt x="1344" y="1247"/>
                  </a:lnTo>
                  <a:lnTo>
                    <a:pt x="1349" y="1229"/>
                  </a:lnTo>
                  <a:lnTo>
                    <a:pt x="1355" y="1209"/>
                  </a:lnTo>
                  <a:lnTo>
                    <a:pt x="1357" y="1197"/>
                  </a:lnTo>
                  <a:lnTo>
                    <a:pt x="1360" y="1188"/>
                  </a:lnTo>
                  <a:lnTo>
                    <a:pt x="1364" y="1178"/>
                  </a:lnTo>
                  <a:lnTo>
                    <a:pt x="1369" y="1170"/>
                  </a:lnTo>
                  <a:lnTo>
                    <a:pt x="1373" y="1162"/>
                  </a:lnTo>
                  <a:lnTo>
                    <a:pt x="1376" y="1152"/>
                  </a:lnTo>
                  <a:lnTo>
                    <a:pt x="1380" y="1143"/>
                  </a:lnTo>
                  <a:lnTo>
                    <a:pt x="1383" y="1132"/>
                  </a:lnTo>
                  <a:lnTo>
                    <a:pt x="1386" y="1110"/>
                  </a:lnTo>
                  <a:lnTo>
                    <a:pt x="1393" y="1090"/>
                  </a:lnTo>
                  <a:lnTo>
                    <a:pt x="1395" y="1085"/>
                  </a:lnTo>
                  <a:lnTo>
                    <a:pt x="1397" y="1081"/>
                  </a:lnTo>
                  <a:lnTo>
                    <a:pt x="1399" y="1077"/>
                  </a:lnTo>
                  <a:lnTo>
                    <a:pt x="1402" y="1074"/>
                  </a:lnTo>
                  <a:lnTo>
                    <a:pt x="1406" y="1071"/>
                  </a:lnTo>
                  <a:lnTo>
                    <a:pt x="1410" y="1069"/>
                  </a:lnTo>
                  <a:lnTo>
                    <a:pt x="1414" y="1068"/>
                  </a:lnTo>
                  <a:lnTo>
                    <a:pt x="1420" y="1068"/>
                  </a:lnTo>
                  <a:lnTo>
                    <a:pt x="1430" y="1068"/>
                  </a:lnTo>
                  <a:lnTo>
                    <a:pt x="1440" y="1069"/>
                  </a:lnTo>
                  <a:lnTo>
                    <a:pt x="1450" y="1070"/>
                  </a:lnTo>
                  <a:lnTo>
                    <a:pt x="1461" y="1070"/>
                  </a:lnTo>
                  <a:lnTo>
                    <a:pt x="1472" y="1070"/>
                  </a:lnTo>
                  <a:lnTo>
                    <a:pt x="1483" y="1069"/>
                  </a:lnTo>
                  <a:lnTo>
                    <a:pt x="1494" y="1067"/>
                  </a:lnTo>
                  <a:lnTo>
                    <a:pt x="1505" y="1065"/>
                  </a:lnTo>
                  <a:lnTo>
                    <a:pt x="1515" y="1061"/>
                  </a:lnTo>
                  <a:lnTo>
                    <a:pt x="1524" y="1057"/>
                  </a:lnTo>
                  <a:lnTo>
                    <a:pt x="1534" y="1052"/>
                  </a:lnTo>
                  <a:lnTo>
                    <a:pt x="1544" y="1048"/>
                  </a:lnTo>
                  <a:lnTo>
                    <a:pt x="1561" y="1036"/>
                  </a:lnTo>
                  <a:lnTo>
                    <a:pt x="1579" y="1022"/>
                  </a:lnTo>
                  <a:lnTo>
                    <a:pt x="1597" y="1008"/>
                  </a:lnTo>
                  <a:lnTo>
                    <a:pt x="1614" y="991"/>
                  </a:lnTo>
                  <a:lnTo>
                    <a:pt x="1614" y="991"/>
                  </a:lnTo>
                  <a:lnTo>
                    <a:pt x="1608" y="988"/>
                  </a:lnTo>
                  <a:lnTo>
                    <a:pt x="1602" y="985"/>
                  </a:lnTo>
                  <a:lnTo>
                    <a:pt x="1597" y="981"/>
                  </a:lnTo>
                  <a:lnTo>
                    <a:pt x="1592" y="975"/>
                  </a:lnTo>
                  <a:lnTo>
                    <a:pt x="1590" y="970"/>
                  </a:lnTo>
                  <a:lnTo>
                    <a:pt x="1588" y="963"/>
                  </a:lnTo>
                  <a:lnTo>
                    <a:pt x="1588" y="958"/>
                  </a:lnTo>
                  <a:lnTo>
                    <a:pt x="1589" y="953"/>
                  </a:lnTo>
                  <a:lnTo>
                    <a:pt x="1590" y="941"/>
                  </a:lnTo>
                  <a:lnTo>
                    <a:pt x="1590" y="928"/>
                  </a:lnTo>
                  <a:lnTo>
                    <a:pt x="1588" y="919"/>
                  </a:lnTo>
                  <a:lnTo>
                    <a:pt x="1586" y="912"/>
                  </a:lnTo>
                  <a:lnTo>
                    <a:pt x="1584" y="904"/>
                  </a:lnTo>
                  <a:lnTo>
                    <a:pt x="1581" y="898"/>
                  </a:lnTo>
                  <a:lnTo>
                    <a:pt x="1577" y="891"/>
                  </a:lnTo>
                  <a:lnTo>
                    <a:pt x="1573" y="885"/>
                  </a:lnTo>
                  <a:lnTo>
                    <a:pt x="1568" y="878"/>
                  </a:lnTo>
                  <a:lnTo>
                    <a:pt x="1562" y="872"/>
                  </a:lnTo>
                  <a:lnTo>
                    <a:pt x="1554" y="863"/>
                  </a:lnTo>
                  <a:lnTo>
                    <a:pt x="1544" y="854"/>
                  </a:lnTo>
                  <a:lnTo>
                    <a:pt x="1535" y="847"/>
                  </a:lnTo>
                  <a:lnTo>
                    <a:pt x="1526" y="840"/>
                  </a:lnTo>
                  <a:lnTo>
                    <a:pt x="1509" y="829"/>
                  </a:lnTo>
                  <a:lnTo>
                    <a:pt x="1491" y="819"/>
                  </a:lnTo>
                  <a:lnTo>
                    <a:pt x="1472" y="809"/>
                  </a:lnTo>
                  <a:lnTo>
                    <a:pt x="1453" y="799"/>
                  </a:lnTo>
                  <a:lnTo>
                    <a:pt x="1434" y="787"/>
                  </a:lnTo>
                  <a:lnTo>
                    <a:pt x="1413" y="773"/>
                  </a:lnTo>
                  <a:lnTo>
                    <a:pt x="1395" y="758"/>
                  </a:lnTo>
                  <a:lnTo>
                    <a:pt x="1377" y="743"/>
                  </a:lnTo>
                  <a:lnTo>
                    <a:pt x="1362" y="727"/>
                  </a:lnTo>
                  <a:lnTo>
                    <a:pt x="1348" y="711"/>
                  </a:lnTo>
                  <a:lnTo>
                    <a:pt x="1336" y="694"/>
                  </a:lnTo>
                  <a:lnTo>
                    <a:pt x="1325" y="678"/>
                  </a:lnTo>
                  <a:lnTo>
                    <a:pt x="1314" y="661"/>
                  </a:lnTo>
                  <a:lnTo>
                    <a:pt x="1304" y="644"/>
                  </a:lnTo>
                  <a:lnTo>
                    <a:pt x="1283" y="608"/>
                  </a:lnTo>
                  <a:lnTo>
                    <a:pt x="1262" y="572"/>
                  </a:lnTo>
                  <a:lnTo>
                    <a:pt x="1250" y="554"/>
                  </a:lnTo>
                  <a:lnTo>
                    <a:pt x="1236" y="536"/>
                  </a:lnTo>
                  <a:lnTo>
                    <a:pt x="1222" y="517"/>
                  </a:lnTo>
                  <a:lnTo>
                    <a:pt x="1206" y="499"/>
                  </a:lnTo>
                  <a:lnTo>
                    <a:pt x="1190" y="478"/>
                  </a:lnTo>
                  <a:lnTo>
                    <a:pt x="1175" y="460"/>
                  </a:lnTo>
                  <a:lnTo>
                    <a:pt x="1168" y="451"/>
                  </a:lnTo>
                  <a:lnTo>
                    <a:pt x="1160" y="443"/>
                  </a:lnTo>
                  <a:lnTo>
                    <a:pt x="1152" y="434"/>
                  </a:lnTo>
                  <a:lnTo>
                    <a:pt x="1141" y="427"/>
                  </a:lnTo>
                  <a:lnTo>
                    <a:pt x="1133" y="420"/>
                  </a:lnTo>
                  <a:lnTo>
                    <a:pt x="1125" y="417"/>
                  </a:lnTo>
                  <a:lnTo>
                    <a:pt x="1117" y="414"/>
                  </a:lnTo>
                  <a:lnTo>
                    <a:pt x="1109" y="412"/>
                  </a:lnTo>
                  <a:lnTo>
                    <a:pt x="1100" y="408"/>
                  </a:lnTo>
                  <a:lnTo>
                    <a:pt x="1092" y="406"/>
                  </a:lnTo>
                  <a:lnTo>
                    <a:pt x="1084" y="403"/>
                  </a:lnTo>
                  <a:lnTo>
                    <a:pt x="1074" y="399"/>
                  </a:lnTo>
                  <a:lnTo>
                    <a:pt x="1056" y="387"/>
                  </a:lnTo>
                  <a:lnTo>
                    <a:pt x="1037" y="376"/>
                  </a:lnTo>
                  <a:lnTo>
                    <a:pt x="1021" y="366"/>
                  </a:lnTo>
                  <a:lnTo>
                    <a:pt x="1007" y="354"/>
                  </a:lnTo>
                  <a:lnTo>
                    <a:pt x="992" y="342"/>
                  </a:lnTo>
                  <a:lnTo>
                    <a:pt x="978" y="329"/>
                  </a:lnTo>
                  <a:lnTo>
                    <a:pt x="965" y="314"/>
                  </a:lnTo>
                  <a:lnTo>
                    <a:pt x="951" y="297"/>
                  </a:lnTo>
                  <a:lnTo>
                    <a:pt x="946" y="292"/>
                  </a:lnTo>
                  <a:lnTo>
                    <a:pt x="942" y="286"/>
                  </a:lnTo>
                  <a:lnTo>
                    <a:pt x="937" y="282"/>
                  </a:lnTo>
                  <a:lnTo>
                    <a:pt x="931" y="279"/>
                  </a:lnTo>
                  <a:lnTo>
                    <a:pt x="919" y="273"/>
                  </a:lnTo>
                  <a:lnTo>
                    <a:pt x="907" y="269"/>
                  </a:lnTo>
                  <a:lnTo>
                    <a:pt x="894" y="265"/>
                  </a:lnTo>
                  <a:lnTo>
                    <a:pt x="882" y="260"/>
                  </a:lnTo>
                  <a:lnTo>
                    <a:pt x="875" y="257"/>
                  </a:lnTo>
                  <a:lnTo>
                    <a:pt x="869" y="254"/>
                  </a:lnTo>
                  <a:lnTo>
                    <a:pt x="863" y="250"/>
                  </a:lnTo>
                  <a:lnTo>
                    <a:pt x="858" y="244"/>
                  </a:lnTo>
                  <a:lnTo>
                    <a:pt x="846" y="232"/>
                  </a:lnTo>
                  <a:lnTo>
                    <a:pt x="834" y="221"/>
                  </a:lnTo>
                  <a:lnTo>
                    <a:pt x="822" y="212"/>
                  </a:lnTo>
                  <a:lnTo>
                    <a:pt x="808" y="202"/>
                  </a:lnTo>
                  <a:lnTo>
                    <a:pt x="794" y="189"/>
                  </a:lnTo>
                  <a:lnTo>
                    <a:pt x="781" y="176"/>
                  </a:lnTo>
                  <a:lnTo>
                    <a:pt x="775" y="171"/>
                  </a:lnTo>
                  <a:lnTo>
                    <a:pt x="768" y="166"/>
                  </a:lnTo>
                  <a:lnTo>
                    <a:pt x="761" y="164"/>
                  </a:lnTo>
                  <a:lnTo>
                    <a:pt x="751" y="163"/>
                  </a:lnTo>
                  <a:lnTo>
                    <a:pt x="735" y="163"/>
                  </a:lnTo>
                  <a:lnTo>
                    <a:pt x="721" y="163"/>
                  </a:lnTo>
                  <a:lnTo>
                    <a:pt x="707" y="163"/>
                  </a:lnTo>
                  <a:lnTo>
                    <a:pt x="691" y="163"/>
                  </a:lnTo>
                  <a:lnTo>
                    <a:pt x="676" y="163"/>
                  </a:lnTo>
                  <a:lnTo>
                    <a:pt x="661" y="162"/>
                  </a:lnTo>
                  <a:lnTo>
                    <a:pt x="648" y="161"/>
                  </a:lnTo>
                  <a:lnTo>
                    <a:pt x="635" y="158"/>
                  </a:lnTo>
                  <a:lnTo>
                    <a:pt x="624" y="154"/>
                  </a:lnTo>
                  <a:lnTo>
                    <a:pt x="612" y="148"/>
                  </a:lnTo>
                  <a:lnTo>
                    <a:pt x="606" y="145"/>
                  </a:lnTo>
                  <a:lnTo>
                    <a:pt x="602" y="140"/>
                  </a:lnTo>
                  <a:lnTo>
                    <a:pt x="597" y="135"/>
                  </a:lnTo>
                  <a:lnTo>
                    <a:pt x="592" y="129"/>
                  </a:lnTo>
                  <a:lnTo>
                    <a:pt x="586" y="118"/>
                  </a:lnTo>
                  <a:lnTo>
                    <a:pt x="580" y="106"/>
                  </a:lnTo>
                  <a:lnTo>
                    <a:pt x="578" y="100"/>
                  </a:lnTo>
                  <a:lnTo>
                    <a:pt x="575" y="95"/>
                  </a:lnTo>
                  <a:lnTo>
                    <a:pt x="572" y="90"/>
                  </a:lnTo>
                  <a:lnTo>
                    <a:pt x="566" y="84"/>
                  </a:lnTo>
                  <a:lnTo>
                    <a:pt x="558" y="76"/>
                  </a:lnTo>
                  <a:lnTo>
                    <a:pt x="548" y="69"/>
                  </a:lnTo>
                  <a:lnTo>
                    <a:pt x="537" y="65"/>
                  </a:lnTo>
                  <a:lnTo>
                    <a:pt x="527" y="61"/>
                  </a:lnTo>
                  <a:lnTo>
                    <a:pt x="506" y="54"/>
                  </a:lnTo>
                  <a:lnTo>
                    <a:pt x="483" y="45"/>
                  </a:lnTo>
                  <a:lnTo>
                    <a:pt x="469" y="39"/>
                  </a:lnTo>
                  <a:lnTo>
                    <a:pt x="457" y="31"/>
                  </a:lnTo>
                  <a:lnTo>
                    <a:pt x="446" y="24"/>
                  </a:lnTo>
                  <a:lnTo>
                    <a:pt x="437" y="16"/>
                  </a:lnTo>
                  <a:lnTo>
                    <a:pt x="426" y="10"/>
                  </a:lnTo>
                  <a:lnTo>
                    <a:pt x="414" y="5"/>
                  </a:lnTo>
                  <a:lnTo>
                    <a:pt x="409" y="3"/>
                  </a:lnTo>
                  <a:lnTo>
                    <a:pt x="402" y="1"/>
                  </a:lnTo>
                  <a:lnTo>
                    <a:pt x="395" y="0"/>
                  </a:lnTo>
                  <a:lnTo>
                    <a:pt x="387" y="0"/>
                  </a:lnTo>
                  <a:lnTo>
                    <a:pt x="360" y="1"/>
                  </a:lnTo>
                  <a:lnTo>
                    <a:pt x="336" y="4"/>
                  </a:lnTo>
                  <a:lnTo>
                    <a:pt x="312" y="9"/>
                  </a:lnTo>
                  <a:lnTo>
                    <a:pt x="291" y="13"/>
                  </a:lnTo>
                  <a:lnTo>
                    <a:pt x="268" y="17"/>
                  </a:lnTo>
                  <a:lnTo>
                    <a:pt x="246" y="22"/>
                  </a:lnTo>
                  <a:lnTo>
                    <a:pt x="221" y="24"/>
                  </a:lnTo>
                  <a:lnTo>
                    <a:pt x="194" y="25"/>
                  </a:lnTo>
                  <a:lnTo>
                    <a:pt x="158" y="24"/>
                  </a:lnTo>
                  <a:lnTo>
                    <a:pt x="126" y="22"/>
                  </a:lnTo>
                  <a:lnTo>
                    <a:pt x="94" y="18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0" y="35"/>
                  </a:lnTo>
                  <a:lnTo>
                    <a:pt x="60" y="51"/>
                  </a:lnTo>
                  <a:lnTo>
                    <a:pt x="59" y="68"/>
                  </a:lnTo>
                  <a:lnTo>
                    <a:pt x="59" y="85"/>
                  </a:lnTo>
                  <a:lnTo>
                    <a:pt x="58" y="104"/>
                  </a:lnTo>
                  <a:lnTo>
                    <a:pt x="57" y="121"/>
                  </a:lnTo>
                  <a:lnTo>
                    <a:pt x="54" y="137"/>
                  </a:lnTo>
                  <a:lnTo>
                    <a:pt x="52" y="153"/>
                  </a:lnTo>
                  <a:lnTo>
                    <a:pt x="50" y="169"/>
                  </a:lnTo>
                  <a:lnTo>
                    <a:pt x="48" y="185"/>
                  </a:lnTo>
                  <a:lnTo>
                    <a:pt x="46" y="203"/>
                  </a:lnTo>
                  <a:lnTo>
                    <a:pt x="46" y="221"/>
                  </a:lnTo>
                  <a:lnTo>
                    <a:pt x="46" y="227"/>
                  </a:lnTo>
                  <a:lnTo>
                    <a:pt x="48" y="231"/>
                  </a:lnTo>
                  <a:lnTo>
                    <a:pt x="51" y="234"/>
                  </a:lnTo>
                  <a:lnTo>
                    <a:pt x="54" y="238"/>
                  </a:lnTo>
                  <a:lnTo>
                    <a:pt x="62" y="244"/>
                  </a:lnTo>
                  <a:lnTo>
                    <a:pt x="68" y="253"/>
                  </a:lnTo>
                  <a:lnTo>
                    <a:pt x="76" y="268"/>
                  </a:lnTo>
                  <a:lnTo>
                    <a:pt x="86" y="281"/>
                  </a:lnTo>
                  <a:lnTo>
                    <a:pt x="94" y="294"/>
                  </a:lnTo>
                  <a:lnTo>
                    <a:pt x="105" y="305"/>
                  </a:lnTo>
                  <a:lnTo>
                    <a:pt x="128" y="324"/>
                  </a:lnTo>
                  <a:lnTo>
                    <a:pt x="155" y="345"/>
                  </a:lnTo>
                  <a:lnTo>
                    <a:pt x="168" y="354"/>
                  </a:lnTo>
                  <a:lnTo>
                    <a:pt x="179" y="365"/>
                  </a:lnTo>
                  <a:lnTo>
                    <a:pt x="183" y="372"/>
                  </a:lnTo>
                  <a:lnTo>
                    <a:pt x="186" y="377"/>
                  </a:lnTo>
                  <a:lnTo>
                    <a:pt x="187" y="385"/>
                  </a:lnTo>
                  <a:lnTo>
                    <a:pt x="188" y="392"/>
                  </a:lnTo>
                  <a:lnTo>
                    <a:pt x="188" y="402"/>
                  </a:lnTo>
                  <a:lnTo>
                    <a:pt x="186" y="412"/>
                  </a:lnTo>
                  <a:lnTo>
                    <a:pt x="185" y="419"/>
                  </a:lnTo>
                  <a:lnTo>
                    <a:pt x="182" y="428"/>
                  </a:lnTo>
                  <a:lnTo>
                    <a:pt x="177" y="444"/>
                  </a:lnTo>
                  <a:lnTo>
                    <a:pt x="174" y="462"/>
                  </a:lnTo>
                  <a:lnTo>
                    <a:pt x="174" y="485"/>
                  </a:lnTo>
                  <a:lnTo>
                    <a:pt x="174" y="504"/>
                  </a:lnTo>
                  <a:lnTo>
                    <a:pt x="173" y="514"/>
                  </a:lnTo>
                  <a:lnTo>
                    <a:pt x="171" y="524"/>
                  </a:lnTo>
                  <a:lnTo>
                    <a:pt x="167" y="532"/>
                  </a:lnTo>
                  <a:lnTo>
                    <a:pt x="160" y="541"/>
                  </a:lnTo>
                  <a:lnTo>
                    <a:pt x="153" y="549"/>
                  </a:lnTo>
                  <a:lnTo>
                    <a:pt x="145" y="554"/>
                  </a:lnTo>
                  <a:lnTo>
                    <a:pt x="138" y="559"/>
                  </a:lnTo>
                  <a:lnTo>
                    <a:pt x="129" y="564"/>
                  </a:lnTo>
                  <a:lnTo>
                    <a:pt x="121" y="569"/>
                  </a:lnTo>
                  <a:lnTo>
                    <a:pt x="115" y="575"/>
                  </a:lnTo>
                  <a:lnTo>
                    <a:pt x="108" y="582"/>
                  </a:lnTo>
                  <a:lnTo>
                    <a:pt x="104" y="592"/>
                  </a:lnTo>
                  <a:lnTo>
                    <a:pt x="96" y="615"/>
                  </a:lnTo>
                  <a:lnTo>
                    <a:pt x="90" y="635"/>
                  </a:lnTo>
                  <a:lnTo>
                    <a:pt x="86" y="656"/>
                  </a:lnTo>
                  <a:lnTo>
                    <a:pt x="81" y="675"/>
                  </a:lnTo>
                  <a:lnTo>
                    <a:pt x="78" y="696"/>
                  </a:lnTo>
                  <a:lnTo>
                    <a:pt x="76" y="716"/>
                  </a:lnTo>
                  <a:lnTo>
                    <a:pt x="74" y="738"/>
                  </a:lnTo>
                  <a:lnTo>
                    <a:pt x="71" y="763"/>
                  </a:lnTo>
                  <a:lnTo>
                    <a:pt x="68" y="777"/>
                  </a:lnTo>
                  <a:lnTo>
                    <a:pt x="65" y="791"/>
                  </a:lnTo>
                  <a:lnTo>
                    <a:pt x="62" y="802"/>
                  </a:lnTo>
                  <a:lnTo>
                    <a:pt x="58" y="814"/>
                  </a:lnTo>
                  <a:lnTo>
                    <a:pt x="54" y="826"/>
                  </a:lnTo>
                  <a:lnTo>
                    <a:pt x="51" y="838"/>
                  </a:lnTo>
                  <a:lnTo>
                    <a:pt x="49" y="851"/>
                  </a:lnTo>
                  <a:lnTo>
                    <a:pt x="48" y="866"/>
                  </a:lnTo>
                  <a:lnTo>
                    <a:pt x="49" y="874"/>
                  </a:lnTo>
                  <a:lnTo>
                    <a:pt x="51" y="881"/>
                  </a:lnTo>
                  <a:lnTo>
                    <a:pt x="54" y="888"/>
                  </a:lnTo>
                  <a:lnTo>
                    <a:pt x="59" y="894"/>
                  </a:lnTo>
                  <a:lnTo>
                    <a:pt x="62" y="900"/>
                  </a:lnTo>
                  <a:lnTo>
                    <a:pt x="65" y="906"/>
                  </a:lnTo>
                  <a:lnTo>
                    <a:pt x="67" y="914"/>
                  </a:lnTo>
                  <a:lnTo>
                    <a:pt x="68" y="921"/>
                  </a:lnTo>
                  <a:lnTo>
                    <a:pt x="68" y="941"/>
                  </a:lnTo>
                  <a:lnTo>
                    <a:pt x="68" y="957"/>
                  </a:lnTo>
                  <a:lnTo>
                    <a:pt x="68" y="974"/>
                  </a:lnTo>
                  <a:lnTo>
                    <a:pt x="68" y="993"/>
                  </a:lnTo>
                  <a:lnTo>
                    <a:pt x="67" y="1012"/>
                  </a:lnTo>
                  <a:lnTo>
                    <a:pt x="65" y="1030"/>
                  </a:lnTo>
                  <a:lnTo>
                    <a:pt x="62" y="1048"/>
                  </a:lnTo>
                  <a:lnTo>
                    <a:pt x="58" y="1065"/>
                  </a:lnTo>
                  <a:lnTo>
                    <a:pt x="47" y="1095"/>
                  </a:lnTo>
                  <a:lnTo>
                    <a:pt x="34" y="1125"/>
                  </a:lnTo>
                  <a:lnTo>
                    <a:pt x="22" y="1156"/>
                  </a:lnTo>
                  <a:lnTo>
                    <a:pt x="11" y="1187"/>
                  </a:lnTo>
                  <a:lnTo>
                    <a:pt x="7" y="1203"/>
                  </a:lnTo>
                  <a:lnTo>
                    <a:pt x="4" y="1220"/>
                  </a:lnTo>
                  <a:lnTo>
                    <a:pt x="1" y="1239"/>
                  </a:lnTo>
                  <a:lnTo>
                    <a:pt x="0" y="1258"/>
                  </a:lnTo>
                  <a:lnTo>
                    <a:pt x="1" y="1270"/>
                  </a:lnTo>
                  <a:lnTo>
                    <a:pt x="4" y="1281"/>
                  </a:lnTo>
                  <a:lnTo>
                    <a:pt x="7" y="1292"/>
                  </a:lnTo>
                  <a:lnTo>
                    <a:pt x="11" y="1301"/>
                  </a:lnTo>
                  <a:lnTo>
                    <a:pt x="23" y="1319"/>
                  </a:lnTo>
                  <a:lnTo>
                    <a:pt x="36" y="1336"/>
                  </a:lnTo>
                  <a:lnTo>
                    <a:pt x="49" y="1352"/>
                  </a:lnTo>
                  <a:lnTo>
                    <a:pt x="60" y="1369"/>
                  </a:lnTo>
                  <a:lnTo>
                    <a:pt x="64" y="1379"/>
                  </a:lnTo>
                  <a:lnTo>
                    <a:pt x="67" y="1390"/>
                  </a:lnTo>
                  <a:lnTo>
                    <a:pt x="69" y="1401"/>
                  </a:lnTo>
                  <a:lnTo>
                    <a:pt x="71" y="1413"/>
                  </a:lnTo>
                  <a:lnTo>
                    <a:pt x="69" y="1430"/>
                  </a:lnTo>
                  <a:lnTo>
                    <a:pt x="66" y="1446"/>
                  </a:lnTo>
                  <a:lnTo>
                    <a:pt x="64" y="1461"/>
                  </a:lnTo>
                  <a:lnTo>
                    <a:pt x="62" y="1480"/>
                  </a:lnTo>
                  <a:lnTo>
                    <a:pt x="62" y="1500"/>
                  </a:lnTo>
                  <a:lnTo>
                    <a:pt x="62" y="1517"/>
                  </a:lnTo>
                  <a:lnTo>
                    <a:pt x="62" y="1536"/>
                  </a:lnTo>
                  <a:lnTo>
                    <a:pt x="62" y="1556"/>
                  </a:lnTo>
                  <a:lnTo>
                    <a:pt x="62" y="1568"/>
                  </a:lnTo>
                  <a:lnTo>
                    <a:pt x="63" y="1580"/>
                  </a:lnTo>
                  <a:lnTo>
                    <a:pt x="63" y="1592"/>
                  </a:lnTo>
                  <a:lnTo>
                    <a:pt x="65" y="1603"/>
                  </a:lnTo>
                  <a:lnTo>
                    <a:pt x="68" y="1612"/>
                  </a:lnTo>
                  <a:lnTo>
                    <a:pt x="74" y="1621"/>
                  </a:lnTo>
                  <a:lnTo>
                    <a:pt x="77" y="1625"/>
                  </a:lnTo>
                  <a:lnTo>
                    <a:pt x="80" y="1629"/>
                  </a:lnTo>
                  <a:lnTo>
                    <a:pt x="86" y="1632"/>
                  </a:lnTo>
                  <a:lnTo>
                    <a:pt x="90" y="1634"/>
                  </a:lnTo>
                  <a:lnTo>
                    <a:pt x="105" y="1639"/>
                  </a:lnTo>
                  <a:lnTo>
                    <a:pt x="118" y="1644"/>
                  </a:lnTo>
                  <a:lnTo>
                    <a:pt x="132" y="1647"/>
                  </a:lnTo>
                  <a:lnTo>
                    <a:pt x="144" y="1649"/>
                  </a:lnTo>
                  <a:lnTo>
                    <a:pt x="171" y="1655"/>
                  </a:lnTo>
                  <a:lnTo>
                    <a:pt x="200" y="1662"/>
                  </a:lnTo>
                  <a:lnTo>
                    <a:pt x="212" y="1666"/>
                  </a:lnTo>
                  <a:lnTo>
                    <a:pt x="224" y="1671"/>
                  </a:lnTo>
                  <a:lnTo>
                    <a:pt x="235" y="1676"/>
                  </a:lnTo>
                  <a:lnTo>
                    <a:pt x="246" y="1683"/>
                  </a:lnTo>
                  <a:lnTo>
                    <a:pt x="250" y="1686"/>
                  </a:lnTo>
                  <a:lnTo>
                    <a:pt x="254" y="1689"/>
                  </a:lnTo>
                  <a:lnTo>
                    <a:pt x="257" y="1693"/>
                  </a:lnTo>
                  <a:lnTo>
                    <a:pt x="261" y="1698"/>
                  </a:lnTo>
                  <a:lnTo>
                    <a:pt x="264" y="1703"/>
                  </a:lnTo>
                  <a:lnTo>
                    <a:pt x="265" y="1709"/>
                  </a:lnTo>
                  <a:lnTo>
                    <a:pt x="266" y="1714"/>
                  </a:lnTo>
                  <a:lnTo>
                    <a:pt x="267" y="1720"/>
                  </a:lnTo>
                  <a:lnTo>
                    <a:pt x="267" y="1751"/>
                  </a:lnTo>
                  <a:lnTo>
                    <a:pt x="267" y="1777"/>
                  </a:lnTo>
                  <a:lnTo>
                    <a:pt x="267" y="1804"/>
                  </a:lnTo>
                  <a:lnTo>
                    <a:pt x="267" y="1834"/>
                  </a:lnTo>
                  <a:lnTo>
                    <a:pt x="267" y="1848"/>
                  </a:lnTo>
                  <a:lnTo>
                    <a:pt x="269" y="1861"/>
                  </a:lnTo>
                  <a:lnTo>
                    <a:pt x="270" y="1874"/>
                  </a:lnTo>
                  <a:lnTo>
                    <a:pt x="274" y="1885"/>
                  </a:lnTo>
                  <a:lnTo>
                    <a:pt x="279" y="1909"/>
                  </a:lnTo>
                  <a:lnTo>
                    <a:pt x="283" y="1936"/>
                  </a:lnTo>
                  <a:lnTo>
                    <a:pt x="283" y="1936"/>
                  </a:lnTo>
                  <a:lnTo>
                    <a:pt x="485" y="1917"/>
                  </a:lnTo>
                  <a:lnTo>
                    <a:pt x="500" y="1917"/>
                  </a:lnTo>
                  <a:lnTo>
                    <a:pt x="513" y="1917"/>
                  </a:lnTo>
                  <a:lnTo>
                    <a:pt x="526" y="1917"/>
                  </a:lnTo>
                  <a:lnTo>
                    <a:pt x="540" y="1917"/>
                  </a:lnTo>
                  <a:lnTo>
                    <a:pt x="553" y="1914"/>
                  </a:lnTo>
                  <a:lnTo>
                    <a:pt x="566" y="1912"/>
                  </a:lnTo>
                  <a:lnTo>
                    <a:pt x="576" y="1912"/>
                  </a:lnTo>
                  <a:lnTo>
                    <a:pt x="584" y="1913"/>
                  </a:lnTo>
                  <a:lnTo>
                    <a:pt x="592" y="1914"/>
                  </a:lnTo>
                  <a:lnTo>
                    <a:pt x="600" y="1916"/>
                  </a:lnTo>
                  <a:lnTo>
                    <a:pt x="614" y="1920"/>
                  </a:lnTo>
                  <a:lnTo>
                    <a:pt x="627" y="1927"/>
                  </a:lnTo>
                  <a:lnTo>
                    <a:pt x="653" y="1942"/>
                  </a:lnTo>
                  <a:lnTo>
                    <a:pt x="682" y="1959"/>
                  </a:lnTo>
                  <a:lnTo>
                    <a:pt x="694" y="1966"/>
                  </a:lnTo>
                  <a:lnTo>
                    <a:pt x="705" y="1973"/>
                  </a:lnTo>
                  <a:lnTo>
                    <a:pt x="714" y="1980"/>
                  </a:lnTo>
                  <a:lnTo>
                    <a:pt x="723" y="1987"/>
                  </a:lnTo>
                  <a:lnTo>
                    <a:pt x="732" y="1996"/>
                  </a:lnTo>
                  <a:lnTo>
                    <a:pt x="739" y="2005"/>
                  </a:lnTo>
                  <a:lnTo>
                    <a:pt x="747" y="2015"/>
                  </a:lnTo>
                  <a:lnTo>
                    <a:pt x="754" y="2026"/>
                  </a:lnTo>
                  <a:lnTo>
                    <a:pt x="768" y="2049"/>
                  </a:lnTo>
                  <a:lnTo>
                    <a:pt x="780" y="2070"/>
                  </a:lnTo>
                  <a:lnTo>
                    <a:pt x="790" y="2091"/>
                  </a:lnTo>
                  <a:lnTo>
                    <a:pt x="800" y="2116"/>
                  </a:lnTo>
                  <a:lnTo>
                    <a:pt x="804" y="2128"/>
                  </a:lnTo>
                  <a:lnTo>
                    <a:pt x="808" y="2140"/>
                  </a:lnTo>
                  <a:lnTo>
                    <a:pt x="814" y="2151"/>
                  </a:lnTo>
                  <a:lnTo>
                    <a:pt x="819" y="2161"/>
                  </a:lnTo>
                  <a:lnTo>
                    <a:pt x="822" y="2167"/>
                  </a:lnTo>
                  <a:lnTo>
                    <a:pt x="826" y="2171"/>
                  </a:lnTo>
                  <a:lnTo>
                    <a:pt x="830" y="2174"/>
                  </a:lnTo>
                  <a:lnTo>
                    <a:pt x="834" y="2177"/>
                  </a:lnTo>
                  <a:lnTo>
                    <a:pt x="838" y="2179"/>
                  </a:lnTo>
                  <a:lnTo>
                    <a:pt x="844" y="2182"/>
                  </a:lnTo>
                  <a:lnTo>
                    <a:pt x="849" y="2183"/>
                  </a:lnTo>
                  <a:lnTo>
                    <a:pt x="856" y="2184"/>
                  </a:lnTo>
                  <a:lnTo>
                    <a:pt x="863" y="2183"/>
                  </a:lnTo>
                  <a:lnTo>
                    <a:pt x="870" y="2179"/>
                  </a:lnTo>
                  <a:lnTo>
                    <a:pt x="875" y="2175"/>
                  </a:lnTo>
                  <a:lnTo>
                    <a:pt x="881" y="2170"/>
                  </a:lnTo>
                  <a:lnTo>
                    <a:pt x="890" y="2157"/>
                  </a:lnTo>
                  <a:lnTo>
                    <a:pt x="900" y="2144"/>
                  </a:lnTo>
                  <a:lnTo>
                    <a:pt x="916" y="2129"/>
                  </a:lnTo>
                  <a:lnTo>
                    <a:pt x="932" y="2117"/>
                  </a:lnTo>
                  <a:lnTo>
                    <a:pt x="948" y="2106"/>
                  </a:lnTo>
                  <a:lnTo>
                    <a:pt x="964" y="2096"/>
                  </a:lnTo>
                  <a:lnTo>
                    <a:pt x="981" y="2089"/>
                  </a:lnTo>
                  <a:lnTo>
                    <a:pt x="999" y="2083"/>
                  </a:lnTo>
                  <a:lnTo>
                    <a:pt x="1019" y="2078"/>
                  </a:lnTo>
                  <a:lnTo>
                    <a:pt x="1040" y="2074"/>
                  </a:lnTo>
                  <a:lnTo>
                    <a:pt x="1040" y="2074"/>
                  </a:lnTo>
                  <a:close/>
                </a:path>
              </a:pathLst>
            </a:custGeom>
            <a:solidFill>
              <a:srgbClr val="1496D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18">
              <a:extLst>
                <a:ext uri="{FF2B5EF4-FFF2-40B4-BE49-F238E27FC236}">
                  <a16:creationId xmlns:a16="http://schemas.microsoft.com/office/drawing/2014/main" id="{43ED2403-F198-4064-8F93-95A82AD73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8613" y="1644651"/>
              <a:ext cx="639763" cy="866775"/>
            </a:xfrm>
            <a:custGeom>
              <a:avLst/>
              <a:gdLst>
                <a:gd name="T0" fmla="*/ 1067 w 1614"/>
                <a:gd name="T1" fmla="*/ 2028 h 2184"/>
                <a:gd name="T2" fmla="*/ 1099 w 1614"/>
                <a:gd name="T3" fmla="*/ 1975 h 2184"/>
                <a:gd name="T4" fmla="*/ 1059 w 1614"/>
                <a:gd name="T5" fmla="*/ 1871 h 2184"/>
                <a:gd name="T6" fmla="*/ 1045 w 1614"/>
                <a:gd name="T7" fmla="*/ 1785 h 2184"/>
                <a:gd name="T8" fmla="*/ 1085 w 1614"/>
                <a:gd name="T9" fmla="*/ 1712 h 2184"/>
                <a:gd name="T10" fmla="*/ 1090 w 1614"/>
                <a:gd name="T11" fmla="*/ 1617 h 2184"/>
                <a:gd name="T12" fmla="*/ 1109 w 1614"/>
                <a:gd name="T13" fmla="*/ 1535 h 2184"/>
                <a:gd name="T14" fmla="*/ 1166 w 1614"/>
                <a:gd name="T15" fmla="*/ 1488 h 2184"/>
                <a:gd name="T16" fmla="*/ 1271 w 1614"/>
                <a:gd name="T17" fmla="*/ 1418 h 2184"/>
                <a:gd name="T18" fmla="*/ 1307 w 1614"/>
                <a:gd name="T19" fmla="*/ 1353 h 2184"/>
                <a:gd name="T20" fmla="*/ 1360 w 1614"/>
                <a:gd name="T21" fmla="*/ 1188 h 2184"/>
                <a:gd name="T22" fmla="*/ 1393 w 1614"/>
                <a:gd name="T23" fmla="*/ 1090 h 2184"/>
                <a:gd name="T24" fmla="*/ 1420 w 1614"/>
                <a:gd name="T25" fmla="*/ 1068 h 2184"/>
                <a:gd name="T26" fmla="*/ 1505 w 1614"/>
                <a:gd name="T27" fmla="*/ 1065 h 2184"/>
                <a:gd name="T28" fmla="*/ 1614 w 1614"/>
                <a:gd name="T29" fmla="*/ 991 h 2184"/>
                <a:gd name="T30" fmla="*/ 1588 w 1614"/>
                <a:gd name="T31" fmla="*/ 958 h 2184"/>
                <a:gd name="T32" fmla="*/ 1577 w 1614"/>
                <a:gd name="T33" fmla="*/ 891 h 2184"/>
                <a:gd name="T34" fmla="*/ 1509 w 1614"/>
                <a:gd name="T35" fmla="*/ 829 h 2184"/>
                <a:gd name="T36" fmla="*/ 1362 w 1614"/>
                <a:gd name="T37" fmla="*/ 727 h 2184"/>
                <a:gd name="T38" fmla="*/ 1250 w 1614"/>
                <a:gd name="T39" fmla="*/ 554 h 2184"/>
                <a:gd name="T40" fmla="*/ 1152 w 1614"/>
                <a:gd name="T41" fmla="*/ 434 h 2184"/>
                <a:gd name="T42" fmla="*/ 1084 w 1614"/>
                <a:gd name="T43" fmla="*/ 403 h 2184"/>
                <a:gd name="T44" fmla="*/ 965 w 1614"/>
                <a:gd name="T45" fmla="*/ 314 h 2184"/>
                <a:gd name="T46" fmla="*/ 894 w 1614"/>
                <a:gd name="T47" fmla="*/ 265 h 2184"/>
                <a:gd name="T48" fmla="*/ 822 w 1614"/>
                <a:gd name="T49" fmla="*/ 212 h 2184"/>
                <a:gd name="T50" fmla="*/ 735 w 1614"/>
                <a:gd name="T51" fmla="*/ 163 h 2184"/>
                <a:gd name="T52" fmla="*/ 624 w 1614"/>
                <a:gd name="T53" fmla="*/ 154 h 2184"/>
                <a:gd name="T54" fmla="*/ 578 w 1614"/>
                <a:gd name="T55" fmla="*/ 100 h 2184"/>
                <a:gd name="T56" fmla="*/ 506 w 1614"/>
                <a:gd name="T57" fmla="*/ 54 h 2184"/>
                <a:gd name="T58" fmla="*/ 409 w 1614"/>
                <a:gd name="T59" fmla="*/ 3 h 2184"/>
                <a:gd name="T60" fmla="*/ 268 w 1614"/>
                <a:gd name="T61" fmla="*/ 17 h 2184"/>
                <a:gd name="T62" fmla="*/ 59 w 1614"/>
                <a:gd name="T63" fmla="*/ 17 h 2184"/>
                <a:gd name="T64" fmla="*/ 52 w 1614"/>
                <a:gd name="T65" fmla="*/ 153 h 2184"/>
                <a:gd name="T66" fmla="*/ 54 w 1614"/>
                <a:gd name="T67" fmla="*/ 238 h 2184"/>
                <a:gd name="T68" fmla="*/ 155 w 1614"/>
                <a:gd name="T69" fmla="*/ 345 h 2184"/>
                <a:gd name="T70" fmla="*/ 186 w 1614"/>
                <a:gd name="T71" fmla="*/ 412 h 2184"/>
                <a:gd name="T72" fmla="*/ 171 w 1614"/>
                <a:gd name="T73" fmla="*/ 524 h 2184"/>
                <a:gd name="T74" fmla="*/ 115 w 1614"/>
                <a:gd name="T75" fmla="*/ 575 h 2184"/>
                <a:gd name="T76" fmla="*/ 76 w 1614"/>
                <a:gd name="T77" fmla="*/ 716 h 2184"/>
                <a:gd name="T78" fmla="*/ 51 w 1614"/>
                <a:gd name="T79" fmla="*/ 838 h 2184"/>
                <a:gd name="T80" fmla="*/ 65 w 1614"/>
                <a:gd name="T81" fmla="*/ 906 h 2184"/>
                <a:gd name="T82" fmla="*/ 65 w 1614"/>
                <a:gd name="T83" fmla="*/ 1030 h 2184"/>
                <a:gd name="T84" fmla="*/ 4 w 1614"/>
                <a:gd name="T85" fmla="*/ 1220 h 2184"/>
                <a:gd name="T86" fmla="*/ 36 w 1614"/>
                <a:gd name="T87" fmla="*/ 1336 h 2184"/>
                <a:gd name="T88" fmla="*/ 66 w 1614"/>
                <a:gd name="T89" fmla="*/ 1446 h 2184"/>
                <a:gd name="T90" fmla="*/ 63 w 1614"/>
                <a:gd name="T91" fmla="*/ 1580 h 2184"/>
                <a:gd name="T92" fmla="*/ 90 w 1614"/>
                <a:gd name="T93" fmla="*/ 1634 h 2184"/>
                <a:gd name="T94" fmla="*/ 224 w 1614"/>
                <a:gd name="T95" fmla="*/ 1671 h 2184"/>
                <a:gd name="T96" fmla="*/ 265 w 1614"/>
                <a:gd name="T97" fmla="*/ 1709 h 2184"/>
                <a:gd name="T98" fmla="*/ 269 w 1614"/>
                <a:gd name="T99" fmla="*/ 1861 h 2184"/>
                <a:gd name="T100" fmla="*/ 513 w 1614"/>
                <a:gd name="T101" fmla="*/ 1917 h 2184"/>
                <a:gd name="T102" fmla="*/ 600 w 1614"/>
                <a:gd name="T103" fmla="*/ 1916 h 2184"/>
                <a:gd name="T104" fmla="*/ 723 w 1614"/>
                <a:gd name="T105" fmla="*/ 1987 h 2184"/>
                <a:gd name="T106" fmla="*/ 800 w 1614"/>
                <a:gd name="T107" fmla="*/ 2116 h 2184"/>
                <a:gd name="T108" fmla="*/ 834 w 1614"/>
                <a:gd name="T109" fmla="*/ 2177 h 2184"/>
                <a:gd name="T110" fmla="*/ 881 w 1614"/>
                <a:gd name="T111" fmla="*/ 2170 h 2184"/>
                <a:gd name="T112" fmla="*/ 999 w 1614"/>
                <a:gd name="T113" fmla="*/ 2083 h 2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14" h="2184">
                  <a:moveTo>
                    <a:pt x="1040" y="2074"/>
                  </a:moveTo>
                  <a:lnTo>
                    <a:pt x="1045" y="2070"/>
                  </a:lnTo>
                  <a:lnTo>
                    <a:pt x="1049" y="2067"/>
                  </a:lnTo>
                  <a:lnTo>
                    <a:pt x="1052" y="2063"/>
                  </a:lnTo>
                  <a:lnTo>
                    <a:pt x="1055" y="2059"/>
                  </a:lnTo>
                  <a:lnTo>
                    <a:pt x="1059" y="2049"/>
                  </a:lnTo>
                  <a:lnTo>
                    <a:pt x="1063" y="2038"/>
                  </a:lnTo>
                  <a:lnTo>
                    <a:pt x="1067" y="2028"/>
                  </a:lnTo>
                  <a:lnTo>
                    <a:pt x="1073" y="2020"/>
                  </a:lnTo>
                  <a:lnTo>
                    <a:pt x="1079" y="2012"/>
                  </a:lnTo>
                  <a:lnTo>
                    <a:pt x="1086" y="2005"/>
                  </a:lnTo>
                  <a:lnTo>
                    <a:pt x="1091" y="1997"/>
                  </a:lnTo>
                  <a:lnTo>
                    <a:pt x="1096" y="1989"/>
                  </a:lnTo>
                  <a:lnTo>
                    <a:pt x="1097" y="1985"/>
                  </a:lnTo>
                  <a:lnTo>
                    <a:pt x="1099" y="1981"/>
                  </a:lnTo>
                  <a:lnTo>
                    <a:pt x="1099" y="1975"/>
                  </a:lnTo>
                  <a:lnTo>
                    <a:pt x="1100" y="1970"/>
                  </a:lnTo>
                  <a:lnTo>
                    <a:pt x="1099" y="1958"/>
                  </a:lnTo>
                  <a:lnTo>
                    <a:pt x="1097" y="1947"/>
                  </a:lnTo>
                  <a:lnTo>
                    <a:pt x="1094" y="1936"/>
                  </a:lnTo>
                  <a:lnTo>
                    <a:pt x="1090" y="1926"/>
                  </a:lnTo>
                  <a:lnTo>
                    <a:pt x="1080" y="1907"/>
                  </a:lnTo>
                  <a:lnTo>
                    <a:pt x="1070" y="1889"/>
                  </a:lnTo>
                  <a:lnTo>
                    <a:pt x="1059" y="1871"/>
                  </a:lnTo>
                  <a:lnTo>
                    <a:pt x="1050" y="1852"/>
                  </a:lnTo>
                  <a:lnTo>
                    <a:pt x="1046" y="1841"/>
                  </a:lnTo>
                  <a:lnTo>
                    <a:pt x="1043" y="1832"/>
                  </a:lnTo>
                  <a:lnTo>
                    <a:pt x="1042" y="1820"/>
                  </a:lnTo>
                  <a:lnTo>
                    <a:pt x="1040" y="1808"/>
                  </a:lnTo>
                  <a:lnTo>
                    <a:pt x="1042" y="1799"/>
                  </a:lnTo>
                  <a:lnTo>
                    <a:pt x="1043" y="1793"/>
                  </a:lnTo>
                  <a:lnTo>
                    <a:pt x="1045" y="1785"/>
                  </a:lnTo>
                  <a:lnTo>
                    <a:pt x="1048" y="1779"/>
                  </a:lnTo>
                  <a:lnTo>
                    <a:pt x="1055" y="1767"/>
                  </a:lnTo>
                  <a:lnTo>
                    <a:pt x="1063" y="1755"/>
                  </a:lnTo>
                  <a:lnTo>
                    <a:pt x="1071" y="1744"/>
                  </a:lnTo>
                  <a:lnTo>
                    <a:pt x="1078" y="1732"/>
                  </a:lnTo>
                  <a:lnTo>
                    <a:pt x="1082" y="1726"/>
                  </a:lnTo>
                  <a:lnTo>
                    <a:pt x="1084" y="1718"/>
                  </a:lnTo>
                  <a:lnTo>
                    <a:pt x="1085" y="1712"/>
                  </a:lnTo>
                  <a:lnTo>
                    <a:pt x="1086" y="1703"/>
                  </a:lnTo>
                  <a:lnTo>
                    <a:pt x="1086" y="1689"/>
                  </a:lnTo>
                  <a:lnTo>
                    <a:pt x="1086" y="1676"/>
                  </a:lnTo>
                  <a:lnTo>
                    <a:pt x="1086" y="1663"/>
                  </a:lnTo>
                  <a:lnTo>
                    <a:pt x="1086" y="1649"/>
                  </a:lnTo>
                  <a:lnTo>
                    <a:pt x="1086" y="1636"/>
                  </a:lnTo>
                  <a:lnTo>
                    <a:pt x="1088" y="1627"/>
                  </a:lnTo>
                  <a:lnTo>
                    <a:pt x="1090" y="1617"/>
                  </a:lnTo>
                  <a:lnTo>
                    <a:pt x="1092" y="1605"/>
                  </a:lnTo>
                  <a:lnTo>
                    <a:pt x="1092" y="1605"/>
                  </a:lnTo>
                  <a:lnTo>
                    <a:pt x="1097" y="1592"/>
                  </a:lnTo>
                  <a:lnTo>
                    <a:pt x="1100" y="1580"/>
                  </a:lnTo>
                  <a:lnTo>
                    <a:pt x="1101" y="1568"/>
                  </a:lnTo>
                  <a:lnTo>
                    <a:pt x="1103" y="1556"/>
                  </a:lnTo>
                  <a:lnTo>
                    <a:pt x="1104" y="1546"/>
                  </a:lnTo>
                  <a:lnTo>
                    <a:pt x="1109" y="1535"/>
                  </a:lnTo>
                  <a:lnTo>
                    <a:pt x="1111" y="1529"/>
                  </a:lnTo>
                  <a:lnTo>
                    <a:pt x="1114" y="1524"/>
                  </a:lnTo>
                  <a:lnTo>
                    <a:pt x="1117" y="1519"/>
                  </a:lnTo>
                  <a:lnTo>
                    <a:pt x="1121" y="1513"/>
                  </a:lnTo>
                  <a:lnTo>
                    <a:pt x="1132" y="1504"/>
                  </a:lnTo>
                  <a:lnTo>
                    <a:pt x="1143" y="1498"/>
                  </a:lnTo>
                  <a:lnTo>
                    <a:pt x="1154" y="1493"/>
                  </a:lnTo>
                  <a:lnTo>
                    <a:pt x="1166" y="1488"/>
                  </a:lnTo>
                  <a:lnTo>
                    <a:pt x="1177" y="1484"/>
                  </a:lnTo>
                  <a:lnTo>
                    <a:pt x="1188" y="1480"/>
                  </a:lnTo>
                  <a:lnTo>
                    <a:pt x="1200" y="1473"/>
                  </a:lnTo>
                  <a:lnTo>
                    <a:pt x="1211" y="1466"/>
                  </a:lnTo>
                  <a:lnTo>
                    <a:pt x="1228" y="1454"/>
                  </a:lnTo>
                  <a:lnTo>
                    <a:pt x="1244" y="1442"/>
                  </a:lnTo>
                  <a:lnTo>
                    <a:pt x="1258" y="1430"/>
                  </a:lnTo>
                  <a:lnTo>
                    <a:pt x="1271" y="1418"/>
                  </a:lnTo>
                  <a:lnTo>
                    <a:pt x="1277" y="1412"/>
                  </a:lnTo>
                  <a:lnTo>
                    <a:pt x="1282" y="1405"/>
                  </a:lnTo>
                  <a:lnTo>
                    <a:pt x="1288" y="1398"/>
                  </a:lnTo>
                  <a:lnTo>
                    <a:pt x="1292" y="1390"/>
                  </a:lnTo>
                  <a:lnTo>
                    <a:pt x="1296" y="1381"/>
                  </a:lnTo>
                  <a:lnTo>
                    <a:pt x="1301" y="1373"/>
                  </a:lnTo>
                  <a:lnTo>
                    <a:pt x="1304" y="1364"/>
                  </a:lnTo>
                  <a:lnTo>
                    <a:pt x="1307" y="1353"/>
                  </a:lnTo>
                  <a:lnTo>
                    <a:pt x="1319" y="1314"/>
                  </a:lnTo>
                  <a:lnTo>
                    <a:pt x="1332" y="1281"/>
                  </a:lnTo>
                  <a:lnTo>
                    <a:pt x="1337" y="1265"/>
                  </a:lnTo>
                  <a:lnTo>
                    <a:pt x="1344" y="1247"/>
                  </a:lnTo>
                  <a:lnTo>
                    <a:pt x="1349" y="1229"/>
                  </a:lnTo>
                  <a:lnTo>
                    <a:pt x="1355" y="1209"/>
                  </a:lnTo>
                  <a:lnTo>
                    <a:pt x="1357" y="1197"/>
                  </a:lnTo>
                  <a:lnTo>
                    <a:pt x="1360" y="1188"/>
                  </a:lnTo>
                  <a:lnTo>
                    <a:pt x="1364" y="1178"/>
                  </a:lnTo>
                  <a:lnTo>
                    <a:pt x="1369" y="1170"/>
                  </a:lnTo>
                  <a:lnTo>
                    <a:pt x="1373" y="1162"/>
                  </a:lnTo>
                  <a:lnTo>
                    <a:pt x="1376" y="1152"/>
                  </a:lnTo>
                  <a:lnTo>
                    <a:pt x="1380" y="1143"/>
                  </a:lnTo>
                  <a:lnTo>
                    <a:pt x="1383" y="1132"/>
                  </a:lnTo>
                  <a:lnTo>
                    <a:pt x="1386" y="1110"/>
                  </a:lnTo>
                  <a:lnTo>
                    <a:pt x="1393" y="1090"/>
                  </a:lnTo>
                  <a:lnTo>
                    <a:pt x="1395" y="1085"/>
                  </a:lnTo>
                  <a:lnTo>
                    <a:pt x="1397" y="1081"/>
                  </a:lnTo>
                  <a:lnTo>
                    <a:pt x="1399" y="1077"/>
                  </a:lnTo>
                  <a:lnTo>
                    <a:pt x="1402" y="1074"/>
                  </a:lnTo>
                  <a:lnTo>
                    <a:pt x="1406" y="1071"/>
                  </a:lnTo>
                  <a:lnTo>
                    <a:pt x="1410" y="1069"/>
                  </a:lnTo>
                  <a:lnTo>
                    <a:pt x="1414" y="1068"/>
                  </a:lnTo>
                  <a:lnTo>
                    <a:pt x="1420" y="1068"/>
                  </a:lnTo>
                  <a:lnTo>
                    <a:pt x="1430" y="1068"/>
                  </a:lnTo>
                  <a:lnTo>
                    <a:pt x="1440" y="1069"/>
                  </a:lnTo>
                  <a:lnTo>
                    <a:pt x="1450" y="1070"/>
                  </a:lnTo>
                  <a:lnTo>
                    <a:pt x="1461" y="1070"/>
                  </a:lnTo>
                  <a:lnTo>
                    <a:pt x="1472" y="1070"/>
                  </a:lnTo>
                  <a:lnTo>
                    <a:pt x="1483" y="1069"/>
                  </a:lnTo>
                  <a:lnTo>
                    <a:pt x="1494" y="1067"/>
                  </a:lnTo>
                  <a:lnTo>
                    <a:pt x="1505" y="1065"/>
                  </a:lnTo>
                  <a:lnTo>
                    <a:pt x="1515" y="1061"/>
                  </a:lnTo>
                  <a:lnTo>
                    <a:pt x="1524" y="1057"/>
                  </a:lnTo>
                  <a:lnTo>
                    <a:pt x="1534" y="1052"/>
                  </a:lnTo>
                  <a:lnTo>
                    <a:pt x="1544" y="1048"/>
                  </a:lnTo>
                  <a:lnTo>
                    <a:pt x="1561" y="1036"/>
                  </a:lnTo>
                  <a:lnTo>
                    <a:pt x="1579" y="1022"/>
                  </a:lnTo>
                  <a:lnTo>
                    <a:pt x="1597" y="1008"/>
                  </a:lnTo>
                  <a:lnTo>
                    <a:pt x="1614" y="991"/>
                  </a:lnTo>
                  <a:lnTo>
                    <a:pt x="1614" y="991"/>
                  </a:lnTo>
                  <a:lnTo>
                    <a:pt x="1608" y="988"/>
                  </a:lnTo>
                  <a:lnTo>
                    <a:pt x="1602" y="985"/>
                  </a:lnTo>
                  <a:lnTo>
                    <a:pt x="1597" y="981"/>
                  </a:lnTo>
                  <a:lnTo>
                    <a:pt x="1592" y="975"/>
                  </a:lnTo>
                  <a:lnTo>
                    <a:pt x="1590" y="970"/>
                  </a:lnTo>
                  <a:lnTo>
                    <a:pt x="1588" y="963"/>
                  </a:lnTo>
                  <a:lnTo>
                    <a:pt x="1588" y="958"/>
                  </a:lnTo>
                  <a:lnTo>
                    <a:pt x="1589" y="953"/>
                  </a:lnTo>
                  <a:lnTo>
                    <a:pt x="1590" y="941"/>
                  </a:lnTo>
                  <a:lnTo>
                    <a:pt x="1590" y="928"/>
                  </a:lnTo>
                  <a:lnTo>
                    <a:pt x="1588" y="919"/>
                  </a:lnTo>
                  <a:lnTo>
                    <a:pt x="1586" y="912"/>
                  </a:lnTo>
                  <a:lnTo>
                    <a:pt x="1584" y="904"/>
                  </a:lnTo>
                  <a:lnTo>
                    <a:pt x="1581" y="898"/>
                  </a:lnTo>
                  <a:lnTo>
                    <a:pt x="1577" y="891"/>
                  </a:lnTo>
                  <a:lnTo>
                    <a:pt x="1573" y="885"/>
                  </a:lnTo>
                  <a:lnTo>
                    <a:pt x="1568" y="878"/>
                  </a:lnTo>
                  <a:lnTo>
                    <a:pt x="1562" y="872"/>
                  </a:lnTo>
                  <a:lnTo>
                    <a:pt x="1554" y="863"/>
                  </a:lnTo>
                  <a:lnTo>
                    <a:pt x="1544" y="854"/>
                  </a:lnTo>
                  <a:lnTo>
                    <a:pt x="1535" y="847"/>
                  </a:lnTo>
                  <a:lnTo>
                    <a:pt x="1526" y="840"/>
                  </a:lnTo>
                  <a:lnTo>
                    <a:pt x="1509" y="829"/>
                  </a:lnTo>
                  <a:lnTo>
                    <a:pt x="1491" y="819"/>
                  </a:lnTo>
                  <a:lnTo>
                    <a:pt x="1472" y="809"/>
                  </a:lnTo>
                  <a:lnTo>
                    <a:pt x="1453" y="799"/>
                  </a:lnTo>
                  <a:lnTo>
                    <a:pt x="1434" y="787"/>
                  </a:lnTo>
                  <a:lnTo>
                    <a:pt x="1413" y="773"/>
                  </a:lnTo>
                  <a:lnTo>
                    <a:pt x="1395" y="758"/>
                  </a:lnTo>
                  <a:lnTo>
                    <a:pt x="1377" y="743"/>
                  </a:lnTo>
                  <a:lnTo>
                    <a:pt x="1362" y="727"/>
                  </a:lnTo>
                  <a:lnTo>
                    <a:pt x="1348" y="711"/>
                  </a:lnTo>
                  <a:lnTo>
                    <a:pt x="1336" y="694"/>
                  </a:lnTo>
                  <a:lnTo>
                    <a:pt x="1325" y="678"/>
                  </a:lnTo>
                  <a:lnTo>
                    <a:pt x="1314" y="661"/>
                  </a:lnTo>
                  <a:lnTo>
                    <a:pt x="1304" y="644"/>
                  </a:lnTo>
                  <a:lnTo>
                    <a:pt x="1283" y="608"/>
                  </a:lnTo>
                  <a:lnTo>
                    <a:pt x="1262" y="572"/>
                  </a:lnTo>
                  <a:lnTo>
                    <a:pt x="1250" y="554"/>
                  </a:lnTo>
                  <a:lnTo>
                    <a:pt x="1236" y="536"/>
                  </a:lnTo>
                  <a:lnTo>
                    <a:pt x="1222" y="517"/>
                  </a:lnTo>
                  <a:lnTo>
                    <a:pt x="1206" y="499"/>
                  </a:lnTo>
                  <a:lnTo>
                    <a:pt x="1190" y="478"/>
                  </a:lnTo>
                  <a:lnTo>
                    <a:pt x="1175" y="460"/>
                  </a:lnTo>
                  <a:lnTo>
                    <a:pt x="1168" y="451"/>
                  </a:lnTo>
                  <a:lnTo>
                    <a:pt x="1160" y="443"/>
                  </a:lnTo>
                  <a:lnTo>
                    <a:pt x="1152" y="434"/>
                  </a:lnTo>
                  <a:lnTo>
                    <a:pt x="1141" y="427"/>
                  </a:lnTo>
                  <a:lnTo>
                    <a:pt x="1133" y="420"/>
                  </a:lnTo>
                  <a:lnTo>
                    <a:pt x="1125" y="417"/>
                  </a:lnTo>
                  <a:lnTo>
                    <a:pt x="1117" y="414"/>
                  </a:lnTo>
                  <a:lnTo>
                    <a:pt x="1109" y="412"/>
                  </a:lnTo>
                  <a:lnTo>
                    <a:pt x="1100" y="408"/>
                  </a:lnTo>
                  <a:lnTo>
                    <a:pt x="1092" y="406"/>
                  </a:lnTo>
                  <a:lnTo>
                    <a:pt x="1084" y="403"/>
                  </a:lnTo>
                  <a:lnTo>
                    <a:pt x="1074" y="399"/>
                  </a:lnTo>
                  <a:lnTo>
                    <a:pt x="1056" y="387"/>
                  </a:lnTo>
                  <a:lnTo>
                    <a:pt x="1037" y="376"/>
                  </a:lnTo>
                  <a:lnTo>
                    <a:pt x="1021" y="366"/>
                  </a:lnTo>
                  <a:lnTo>
                    <a:pt x="1007" y="354"/>
                  </a:lnTo>
                  <a:lnTo>
                    <a:pt x="992" y="342"/>
                  </a:lnTo>
                  <a:lnTo>
                    <a:pt x="978" y="329"/>
                  </a:lnTo>
                  <a:lnTo>
                    <a:pt x="965" y="314"/>
                  </a:lnTo>
                  <a:lnTo>
                    <a:pt x="951" y="297"/>
                  </a:lnTo>
                  <a:lnTo>
                    <a:pt x="946" y="292"/>
                  </a:lnTo>
                  <a:lnTo>
                    <a:pt x="942" y="286"/>
                  </a:lnTo>
                  <a:lnTo>
                    <a:pt x="937" y="282"/>
                  </a:lnTo>
                  <a:lnTo>
                    <a:pt x="931" y="279"/>
                  </a:lnTo>
                  <a:lnTo>
                    <a:pt x="919" y="273"/>
                  </a:lnTo>
                  <a:lnTo>
                    <a:pt x="907" y="269"/>
                  </a:lnTo>
                  <a:lnTo>
                    <a:pt x="894" y="265"/>
                  </a:lnTo>
                  <a:lnTo>
                    <a:pt x="882" y="260"/>
                  </a:lnTo>
                  <a:lnTo>
                    <a:pt x="875" y="257"/>
                  </a:lnTo>
                  <a:lnTo>
                    <a:pt x="869" y="254"/>
                  </a:lnTo>
                  <a:lnTo>
                    <a:pt x="863" y="250"/>
                  </a:lnTo>
                  <a:lnTo>
                    <a:pt x="858" y="244"/>
                  </a:lnTo>
                  <a:lnTo>
                    <a:pt x="846" y="232"/>
                  </a:lnTo>
                  <a:lnTo>
                    <a:pt x="834" y="221"/>
                  </a:lnTo>
                  <a:lnTo>
                    <a:pt x="822" y="212"/>
                  </a:lnTo>
                  <a:lnTo>
                    <a:pt x="808" y="202"/>
                  </a:lnTo>
                  <a:lnTo>
                    <a:pt x="794" y="189"/>
                  </a:lnTo>
                  <a:lnTo>
                    <a:pt x="781" y="176"/>
                  </a:lnTo>
                  <a:lnTo>
                    <a:pt x="775" y="171"/>
                  </a:lnTo>
                  <a:lnTo>
                    <a:pt x="768" y="166"/>
                  </a:lnTo>
                  <a:lnTo>
                    <a:pt x="761" y="164"/>
                  </a:lnTo>
                  <a:lnTo>
                    <a:pt x="751" y="163"/>
                  </a:lnTo>
                  <a:lnTo>
                    <a:pt x="735" y="163"/>
                  </a:lnTo>
                  <a:lnTo>
                    <a:pt x="721" y="163"/>
                  </a:lnTo>
                  <a:lnTo>
                    <a:pt x="707" y="163"/>
                  </a:lnTo>
                  <a:lnTo>
                    <a:pt x="691" y="163"/>
                  </a:lnTo>
                  <a:lnTo>
                    <a:pt x="676" y="163"/>
                  </a:lnTo>
                  <a:lnTo>
                    <a:pt x="661" y="162"/>
                  </a:lnTo>
                  <a:lnTo>
                    <a:pt x="648" y="161"/>
                  </a:lnTo>
                  <a:lnTo>
                    <a:pt x="635" y="158"/>
                  </a:lnTo>
                  <a:lnTo>
                    <a:pt x="624" y="154"/>
                  </a:lnTo>
                  <a:lnTo>
                    <a:pt x="612" y="148"/>
                  </a:lnTo>
                  <a:lnTo>
                    <a:pt x="606" y="145"/>
                  </a:lnTo>
                  <a:lnTo>
                    <a:pt x="602" y="140"/>
                  </a:lnTo>
                  <a:lnTo>
                    <a:pt x="597" y="135"/>
                  </a:lnTo>
                  <a:lnTo>
                    <a:pt x="592" y="129"/>
                  </a:lnTo>
                  <a:lnTo>
                    <a:pt x="586" y="118"/>
                  </a:lnTo>
                  <a:lnTo>
                    <a:pt x="580" y="106"/>
                  </a:lnTo>
                  <a:lnTo>
                    <a:pt x="578" y="100"/>
                  </a:lnTo>
                  <a:lnTo>
                    <a:pt x="575" y="95"/>
                  </a:lnTo>
                  <a:lnTo>
                    <a:pt x="572" y="90"/>
                  </a:lnTo>
                  <a:lnTo>
                    <a:pt x="566" y="84"/>
                  </a:lnTo>
                  <a:lnTo>
                    <a:pt x="558" y="76"/>
                  </a:lnTo>
                  <a:lnTo>
                    <a:pt x="548" y="69"/>
                  </a:lnTo>
                  <a:lnTo>
                    <a:pt x="537" y="65"/>
                  </a:lnTo>
                  <a:lnTo>
                    <a:pt x="527" y="61"/>
                  </a:lnTo>
                  <a:lnTo>
                    <a:pt x="506" y="54"/>
                  </a:lnTo>
                  <a:lnTo>
                    <a:pt x="483" y="45"/>
                  </a:lnTo>
                  <a:lnTo>
                    <a:pt x="469" y="39"/>
                  </a:lnTo>
                  <a:lnTo>
                    <a:pt x="457" y="31"/>
                  </a:lnTo>
                  <a:lnTo>
                    <a:pt x="446" y="24"/>
                  </a:lnTo>
                  <a:lnTo>
                    <a:pt x="437" y="16"/>
                  </a:lnTo>
                  <a:lnTo>
                    <a:pt x="426" y="10"/>
                  </a:lnTo>
                  <a:lnTo>
                    <a:pt x="414" y="5"/>
                  </a:lnTo>
                  <a:lnTo>
                    <a:pt x="409" y="3"/>
                  </a:lnTo>
                  <a:lnTo>
                    <a:pt x="402" y="1"/>
                  </a:lnTo>
                  <a:lnTo>
                    <a:pt x="395" y="0"/>
                  </a:lnTo>
                  <a:lnTo>
                    <a:pt x="387" y="0"/>
                  </a:lnTo>
                  <a:lnTo>
                    <a:pt x="360" y="1"/>
                  </a:lnTo>
                  <a:lnTo>
                    <a:pt x="336" y="4"/>
                  </a:lnTo>
                  <a:lnTo>
                    <a:pt x="312" y="9"/>
                  </a:lnTo>
                  <a:lnTo>
                    <a:pt x="291" y="13"/>
                  </a:lnTo>
                  <a:lnTo>
                    <a:pt x="268" y="17"/>
                  </a:lnTo>
                  <a:lnTo>
                    <a:pt x="246" y="22"/>
                  </a:lnTo>
                  <a:lnTo>
                    <a:pt x="221" y="24"/>
                  </a:lnTo>
                  <a:lnTo>
                    <a:pt x="194" y="25"/>
                  </a:lnTo>
                  <a:lnTo>
                    <a:pt x="158" y="24"/>
                  </a:lnTo>
                  <a:lnTo>
                    <a:pt x="126" y="22"/>
                  </a:lnTo>
                  <a:lnTo>
                    <a:pt x="94" y="18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0" y="35"/>
                  </a:lnTo>
                  <a:lnTo>
                    <a:pt x="60" y="51"/>
                  </a:lnTo>
                  <a:lnTo>
                    <a:pt x="59" y="68"/>
                  </a:lnTo>
                  <a:lnTo>
                    <a:pt x="59" y="85"/>
                  </a:lnTo>
                  <a:lnTo>
                    <a:pt x="58" y="104"/>
                  </a:lnTo>
                  <a:lnTo>
                    <a:pt x="57" y="121"/>
                  </a:lnTo>
                  <a:lnTo>
                    <a:pt x="54" y="137"/>
                  </a:lnTo>
                  <a:lnTo>
                    <a:pt x="52" y="153"/>
                  </a:lnTo>
                  <a:lnTo>
                    <a:pt x="50" y="169"/>
                  </a:lnTo>
                  <a:lnTo>
                    <a:pt x="48" y="185"/>
                  </a:lnTo>
                  <a:lnTo>
                    <a:pt x="46" y="203"/>
                  </a:lnTo>
                  <a:lnTo>
                    <a:pt x="46" y="221"/>
                  </a:lnTo>
                  <a:lnTo>
                    <a:pt x="46" y="227"/>
                  </a:lnTo>
                  <a:lnTo>
                    <a:pt x="48" y="231"/>
                  </a:lnTo>
                  <a:lnTo>
                    <a:pt x="51" y="234"/>
                  </a:lnTo>
                  <a:lnTo>
                    <a:pt x="54" y="238"/>
                  </a:lnTo>
                  <a:lnTo>
                    <a:pt x="62" y="244"/>
                  </a:lnTo>
                  <a:lnTo>
                    <a:pt x="68" y="253"/>
                  </a:lnTo>
                  <a:lnTo>
                    <a:pt x="76" y="268"/>
                  </a:lnTo>
                  <a:lnTo>
                    <a:pt x="86" y="281"/>
                  </a:lnTo>
                  <a:lnTo>
                    <a:pt x="94" y="294"/>
                  </a:lnTo>
                  <a:lnTo>
                    <a:pt x="105" y="305"/>
                  </a:lnTo>
                  <a:lnTo>
                    <a:pt x="128" y="324"/>
                  </a:lnTo>
                  <a:lnTo>
                    <a:pt x="155" y="345"/>
                  </a:lnTo>
                  <a:lnTo>
                    <a:pt x="168" y="354"/>
                  </a:lnTo>
                  <a:lnTo>
                    <a:pt x="179" y="365"/>
                  </a:lnTo>
                  <a:lnTo>
                    <a:pt x="183" y="372"/>
                  </a:lnTo>
                  <a:lnTo>
                    <a:pt x="186" y="377"/>
                  </a:lnTo>
                  <a:lnTo>
                    <a:pt x="187" y="385"/>
                  </a:lnTo>
                  <a:lnTo>
                    <a:pt x="188" y="392"/>
                  </a:lnTo>
                  <a:lnTo>
                    <a:pt x="188" y="402"/>
                  </a:lnTo>
                  <a:lnTo>
                    <a:pt x="186" y="412"/>
                  </a:lnTo>
                  <a:lnTo>
                    <a:pt x="185" y="419"/>
                  </a:lnTo>
                  <a:lnTo>
                    <a:pt x="182" y="428"/>
                  </a:lnTo>
                  <a:lnTo>
                    <a:pt x="177" y="444"/>
                  </a:lnTo>
                  <a:lnTo>
                    <a:pt x="174" y="462"/>
                  </a:lnTo>
                  <a:lnTo>
                    <a:pt x="174" y="485"/>
                  </a:lnTo>
                  <a:lnTo>
                    <a:pt x="174" y="504"/>
                  </a:lnTo>
                  <a:lnTo>
                    <a:pt x="173" y="514"/>
                  </a:lnTo>
                  <a:lnTo>
                    <a:pt x="171" y="524"/>
                  </a:lnTo>
                  <a:lnTo>
                    <a:pt x="167" y="532"/>
                  </a:lnTo>
                  <a:lnTo>
                    <a:pt x="160" y="541"/>
                  </a:lnTo>
                  <a:lnTo>
                    <a:pt x="153" y="549"/>
                  </a:lnTo>
                  <a:lnTo>
                    <a:pt x="145" y="554"/>
                  </a:lnTo>
                  <a:lnTo>
                    <a:pt x="138" y="559"/>
                  </a:lnTo>
                  <a:lnTo>
                    <a:pt x="129" y="564"/>
                  </a:lnTo>
                  <a:lnTo>
                    <a:pt x="121" y="569"/>
                  </a:lnTo>
                  <a:lnTo>
                    <a:pt x="115" y="575"/>
                  </a:lnTo>
                  <a:lnTo>
                    <a:pt x="108" y="582"/>
                  </a:lnTo>
                  <a:lnTo>
                    <a:pt x="104" y="592"/>
                  </a:lnTo>
                  <a:lnTo>
                    <a:pt x="96" y="615"/>
                  </a:lnTo>
                  <a:lnTo>
                    <a:pt x="90" y="635"/>
                  </a:lnTo>
                  <a:lnTo>
                    <a:pt x="86" y="656"/>
                  </a:lnTo>
                  <a:lnTo>
                    <a:pt x="81" y="675"/>
                  </a:lnTo>
                  <a:lnTo>
                    <a:pt x="78" y="696"/>
                  </a:lnTo>
                  <a:lnTo>
                    <a:pt x="76" y="716"/>
                  </a:lnTo>
                  <a:lnTo>
                    <a:pt x="74" y="738"/>
                  </a:lnTo>
                  <a:lnTo>
                    <a:pt x="71" y="763"/>
                  </a:lnTo>
                  <a:lnTo>
                    <a:pt x="68" y="777"/>
                  </a:lnTo>
                  <a:lnTo>
                    <a:pt x="65" y="791"/>
                  </a:lnTo>
                  <a:lnTo>
                    <a:pt x="62" y="802"/>
                  </a:lnTo>
                  <a:lnTo>
                    <a:pt x="58" y="814"/>
                  </a:lnTo>
                  <a:lnTo>
                    <a:pt x="54" y="826"/>
                  </a:lnTo>
                  <a:lnTo>
                    <a:pt x="51" y="838"/>
                  </a:lnTo>
                  <a:lnTo>
                    <a:pt x="49" y="851"/>
                  </a:lnTo>
                  <a:lnTo>
                    <a:pt x="48" y="866"/>
                  </a:lnTo>
                  <a:lnTo>
                    <a:pt x="49" y="874"/>
                  </a:lnTo>
                  <a:lnTo>
                    <a:pt x="51" y="881"/>
                  </a:lnTo>
                  <a:lnTo>
                    <a:pt x="54" y="888"/>
                  </a:lnTo>
                  <a:lnTo>
                    <a:pt x="59" y="894"/>
                  </a:lnTo>
                  <a:lnTo>
                    <a:pt x="62" y="900"/>
                  </a:lnTo>
                  <a:lnTo>
                    <a:pt x="65" y="906"/>
                  </a:lnTo>
                  <a:lnTo>
                    <a:pt x="67" y="914"/>
                  </a:lnTo>
                  <a:lnTo>
                    <a:pt x="68" y="921"/>
                  </a:lnTo>
                  <a:lnTo>
                    <a:pt x="68" y="941"/>
                  </a:lnTo>
                  <a:lnTo>
                    <a:pt x="68" y="957"/>
                  </a:lnTo>
                  <a:lnTo>
                    <a:pt x="68" y="974"/>
                  </a:lnTo>
                  <a:lnTo>
                    <a:pt x="68" y="993"/>
                  </a:lnTo>
                  <a:lnTo>
                    <a:pt x="67" y="1012"/>
                  </a:lnTo>
                  <a:lnTo>
                    <a:pt x="65" y="1030"/>
                  </a:lnTo>
                  <a:lnTo>
                    <a:pt x="62" y="1048"/>
                  </a:lnTo>
                  <a:lnTo>
                    <a:pt x="58" y="1065"/>
                  </a:lnTo>
                  <a:lnTo>
                    <a:pt x="47" y="1095"/>
                  </a:lnTo>
                  <a:lnTo>
                    <a:pt x="34" y="1125"/>
                  </a:lnTo>
                  <a:lnTo>
                    <a:pt x="22" y="1156"/>
                  </a:lnTo>
                  <a:lnTo>
                    <a:pt x="11" y="1187"/>
                  </a:lnTo>
                  <a:lnTo>
                    <a:pt x="7" y="1203"/>
                  </a:lnTo>
                  <a:lnTo>
                    <a:pt x="4" y="1220"/>
                  </a:lnTo>
                  <a:lnTo>
                    <a:pt x="1" y="1239"/>
                  </a:lnTo>
                  <a:lnTo>
                    <a:pt x="0" y="1258"/>
                  </a:lnTo>
                  <a:lnTo>
                    <a:pt x="1" y="1270"/>
                  </a:lnTo>
                  <a:lnTo>
                    <a:pt x="4" y="1281"/>
                  </a:lnTo>
                  <a:lnTo>
                    <a:pt x="7" y="1292"/>
                  </a:lnTo>
                  <a:lnTo>
                    <a:pt x="11" y="1301"/>
                  </a:lnTo>
                  <a:lnTo>
                    <a:pt x="23" y="1319"/>
                  </a:lnTo>
                  <a:lnTo>
                    <a:pt x="36" y="1336"/>
                  </a:lnTo>
                  <a:lnTo>
                    <a:pt x="49" y="1352"/>
                  </a:lnTo>
                  <a:lnTo>
                    <a:pt x="60" y="1369"/>
                  </a:lnTo>
                  <a:lnTo>
                    <a:pt x="64" y="1379"/>
                  </a:lnTo>
                  <a:lnTo>
                    <a:pt x="67" y="1390"/>
                  </a:lnTo>
                  <a:lnTo>
                    <a:pt x="69" y="1401"/>
                  </a:lnTo>
                  <a:lnTo>
                    <a:pt x="71" y="1413"/>
                  </a:lnTo>
                  <a:lnTo>
                    <a:pt x="69" y="1430"/>
                  </a:lnTo>
                  <a:lnTo>
                    <a:pt x="66" y="1446"/>
                  </a:lnTo>
                  <a:lnTo>
                    <a:pt x="64" y="1461"/>
                  </a:lnTo>
                  <a:lnTo>
                    <a:pt x="62" y="1480"/>
                  </a:lnTo>
                  <a:lnTo>
                    <a:pt x="62" y="1500"/>
                  </a:lnTo>
                  <a:lnTo>
                    <a:pt x="62" y="1517"/>
                  </a:lnTo>
                  <a:lnTo>
                    <a:pt x="62" y="1536"/>
                  </a:lnTo>
                  <a:lnTo>
                    <a:pt x="62" y="1556"/>
                  </a:lnTo>
                  <a:lnTo>
                    <a:pt x="62" y="1568"/>
                  </a:lnTo>
                  <a:lnTo>
                    <a:pt x="63" y="1580"/>
                  </a:lnTo>
                  <a:lnTo>
                    <a:pt x="63" y="1592"/>
                  </a:lnTo>
                  <a:lnTo>
                    <a:pt x="65" y="1603"/>
                  </a:lnTo>
                  <a:lnTo>
                    <a:pt x="68" y="1612"/>
                  </a:lnTo>
                  <a:lnTo>
                    <a:pt x="74" y="1621"/>
                  </a:lnTo>
                  <a:lnTo>
                    <a:pt x="77" y="1625"/>
                  </a:lnTo>
                  <a:lnTo>
                    <a:pt x="80" y="1629"/>
                  </a:lnTo>
                  <a:lnTo>
                    <a:pt x="86" y="1632"/>
                  </a:lnTo>
                  <a:lnTo>
                    <a:pt x="90" y="1634"/>
                  </a:lnTo>
                  <a:lnTo>
                    <a:pt x="105" y="1639"/>
                  </a:lnTo>
                  <a:lnTo>
                    <a:pt x="118" y="1644"/>
                  </a:lnTo>
                  <a:lnTo>
                    <a:pt x="132" y="1647"/>
                  </a:lnTo>
                  <a:lnTo>
                    <a:pt x="144" y="1649"/>
                  </a:lnTo>
                  <a:lnTo>
                    <a:pt x="171" y="1655"/>
                  </a:lnTo>
                  <a:lnTo>
                    <a:pt x="200" y="1662"/>
                  </a:lnTo>
                  <a:lnTo>
                    <a:pt x="212" y="1666"/>
                  </a:lnTo>
                  <a:lnTo>
                    <a:pt x="224" y="1671"/>
                  </a:lnTo>
                  <a:lnTo>
                    <a:pt x="235" y="1676"/>
                  </a:lnTo>
                  <a:lnTo>
                    <a:pt x="246" y="1683"/>
                  </a:lnTo>
                  <a:lnTo>
                    <a:pt x="250" y="1686"/>
                  </a:lnTo>
                  <a:lnTo>
                    <a:pt x="254" y="1689"/>
                  </a:lnTo>
                  <a:lnTo>
                    <a:pt x="257" y="1693"/>
                  </a:lnTo>
                  <a:lnTo>
                    <a:pt x="261" y="1698"/>
                  </a:lnTo>
                  <a:lnTo>
                    <a:pt x="264" y="1703"/>
                  </a:lnTo>
                  <a:lnTo>
                    <a:pt x="265" y="1709"/>
                  </a:lnTo>
                  <a:lnTo>
                    <a:pt x="266" y="1714"/>
                  </a:lnTo>
                  <a:lnTo>
                    <a:pt x="267" y="1720"/>
                  </a:lnTo>
                  <a:lnTo>
                    <a:pt x="267" y="1751"/>
                  </a:lnTo>
                  <a:lnTo>
                    <a:pt x="267" y="1777"/>
                  </a:lnTo>
                  <a:lnTo>
                    <a:pt x="267" y="1804"/>
                  </a:lnTo>
                  <a:lnTo>
                    <a:pt x="267" y="1834"/>
                  </a:lnTo>
                  <a:lnTo>
                    <a:pt x="267" y="1848"/>
                  </a:lnTo>
                  <a:lnTo>
                    <a:pt x="269" y="1861"/>
                  </a:lnTo>
                  <a:lnTo>
                    <a:pt x="270" y="1874"/>
                  </a:lnTo>
                  <a:lnTo>
                    <a:pt x="274" y="1885"/>
                  </a:lnTo>
                  <a:lnTo>
                    <a:pt x="279" y="1909"/>
                  </a:lnTo>
                  <a:lnTo>
                    <a:pt x="283" y="1936"/>
                  </a:lnTo>
                  <a:lnTo>
                    <a:pt x="283" y="1936"/>
                  </a:lnTo>
                  <a:lnTo>
                    <a:pt x="485" y="1917"/>
                  </a:lnTo>
                  <a:lnTo>
                    <a:pt x="500" y="1917"/>
                  </a:lnTo>
                  <a:lnTo>
                    <a:pt x="513" y="1917"/>
                  </a:lnTo>
                  <a:lnTo>
                    <a:pt x="526" y="1917"/>
                  </a:lnTo>
                  <a:lnTo>
                    <a:pt x="540" y="1917"/>
                  </a:lnTo>
                  <a:lnTo>
                    <a:pt x="553" y="1914"/>
                  </a:lnTo>
                  <a:lnTo>
                    <a:pt x="566" y="1912"/>
                  </a:lnTo>
                  <a:lnTo>
                    <a:pt x="576" y="1912"/>
                  </a:lnTo>
                  <a:lnTo>
                    <a:pt x="584" y="1913"/>
                  </a:lnTo>
                  <a:lnTo>
                    <a:pt x="592" y="1914"/>
                  </a:lnTo>
                  <a:lnTo>
                    <a:pt x="600" y="1916"/>
                  </a:lnTo>
                  <a:lnTo>
                    <a:pt x="614" y="1920"/>
                  </a:lnTo>
                  <a:lnTo>
                    <a:pt x="627" y="1927"/>
                  </a:lnTo>
                  <a:lnTo>
                    <a:pt x="653" y="1942"/>
                  </a:lnTo>
                  <a:lnTo>
                    <a:pt x="682" y="1959"/>
                  </a:lnTo>
                  <a:lnTo>
                    <a:pt x="694" y="1966"/>
                  </a:lnTo>
                  <a:lnTo>
                    <a:pt x="705" y="1973"/>
                  </a:lnTo>
                  <a:lnTo>
                    <a:pt x="714" y="1980"/>
                  </a:lnTo>
                  <a:lnTo>
                    <a:pt x="723" y="1987"/>
                  </a:lnTo>
                  <a:lnTo>
                    <a:pt x="732" y="1996"/>
                  </a:lnTo>
                  <a:lnTo>
                    <a:pt x="739" y="2005"/>
                  </a:lnTo>
                  <a:lnTo>
                    <a:pt x="747" y="2015"/>
                  </a:lnTo>
                  <a:lnTo>
                    <a:pt x="754" y="2026"/>
                  </a:lnTo>
                  <a:lnTo>
                    <a:pt x="768" y="2049"/>
                  </a:lnTo>
                  <a:lnTo>
                    <a:pt x="780" y="2070"/>
                  </a:lnTo>
                  <a:lnTo>
                    <a:pt x="790" y="2091"/>
                  </a:lnTo>
                  <a:lnTo>
                    <a:pt x="800" y="2116"/>
                  </a:lnTo>
                  <a:lnTo>
                    <a:pt x="804" y="2128"/>
                  </a:lnTo>
                  <a:lnTo>
                    <a:pt x="808" y="2140"/>
                  </a:lnTo>
                  <a:lnTo>
                    <a:pt x="814" y="2151"/>
                  </a:lnTo>
                  <a:lnTo>
                    <a:pt x="819" y="2161"/>
                  </a:lnTo>
                  <a:lnTo>
                    <a:pt x="822" y="2167"/>
                  </a:lnTo>
                  <a:lnTo>
                    <a:pt x="826" y="2171"/>
                  </a:lnTo>
                  <a:lnTo>
                    <a:pt x="830" y="2174"/>
                  </a:lnTo>
                  <a:lnTo>
                    <a:pt x="834" y="2177"/>
                  </a:lnTo>
                  <a:lnTo>
                    <a:pt x="838" y="2179"/>
                  </a:lnTo>
                  <a:lnTo>
                    <a:pt x="844" y="2182"/>
                  </a:lnTo>
                  <a:lnTo>
                    <a:pt x="849" y="2183"/>
                  </a:lnTo>
                  <a:lnTo>
                    <a:pt x="856" y="2184"/>
                  </a:lnTo>
                  <a:lnTo>
                    <a:pt x="863" y="2183"/>
                  </a:lnTo>
                  <a:lnTo>
                    <a:pt x="870" y="2179"/>
                  </a:lnTo>
                  <a:lnTo>
                    <a:pt x="875" y="2175"/>
                  </a:lnTo>
                  <a:lnTo>
                    <a:pt x="881" y="2170"/>
                  </a:lnTo>
                  <a:lnTo>
                    <a:pt x="890" y="2157"/>
                  </a:lnTo>
                  <a:lnTo>
                    <a:pt x="900" y="2144"/>
                  </a:lnTo>
                  <a:lnTo>
                    <a:pt x="916" y="2129"/>
                  </a:lnTo>
                  <a:lnTo>
                    <a:pt x="932" y="2117"/>
                  </a:lnTo>
                  <a:lnTo>
                    <a:pt x="948" y="2106"/>
                  </a:lnTo>
                  <a:lnTo>
                    <a:pt x="964" y="2096"/>
                  </a:lnTo>
                  <a:lnTo>
                    <a:pt x="981" y="2089"/>
                  </a:lnTo>
                  <a:lnTo>
                    <a:pt x="999" y="2083"/>
                  </a:lnTo>
                  <a:lnTo>
                    <a:pt x="1019" y="2078"/>
                  </a:lnTo>
                  <a:lnTo>
                    <a:pt x="1040" y="2074"/>
                  </a:lnTo>
                  <a:lnTo>
                    <a:pt x="1040" y="207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19">
              <a:extLst>
                <a:ext uri="{FF2B5EF4-FFF2-40B4-BE49-F238E27FC236}">
                  <a16:creationId xmlns:a16="http://schemas.microsoft.com/office/drawing/2014/main" id="{63FA672D-79E8-4942-AF1D-EE167C8EF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4475" y="1271588"/>
              <a:ext cx="1122363" cy="1524000"/>
            </a:xfrm>
            <a:custGeom>
              <a:avLst/>
              <a:gdLst>
                <a:gd name="T0" fmla="*/ 1259 w 2831"/>
                <a:gd name="T1" fmla="*/ 87 h 3841"/>
                <a:gd name="T2" fmla="*/ 1401 w 2831"/>
                <a:gd name="T3" fmla="*/ 146 h 3841"/>
                <a:gd name="T4" fmla="*/ 1463 w 2831"/>
                <a:gd name="T5" fmla="*/ 212 h 3841"/>
                <a:gd name="T6" fmla="*/ 1616 w 2831"/>
                <a:gd name="T7" fmla="*/ 275 h 3841"/>
                <a:gd name="T8" fmla="*/ 1713 w 2831"/>
                <a:gd name="T9" fmla="*/ 433 h 3841"/>
                <a:gd name="T10" fmla="*/ 1726 w 2831"/>
                <a:gd name="T11" fmla="*/ 506 h 3841"/>
                <a:gd name="T12" fmla="*/ 1687 w 2831"/>
                <a:gd name="T13" fmla="*/ 614 h 3841"/>
                <a:gd name="T14" fmla="*/ 1687 w 2831"/>
                <a:gd name="T15" fmla="*/ 884 h 3841"/>
                <a:gd name="T16" fmla="*/ 1729 w 2831"/>
                <a:gd name="T17" fmla="*/ 792 h 3841"/>
                <a:gd name="T18" fmla="*/ 1791 w 2831"/>
                <a:gd name="T19" fmla="*/ 616 h 3841"/>
                <a:gd name="T20" fmla="*/ 1835 w 2831"/>
                <a:gd name="T21" fmla="*/ 759 h 3841"/>
                <a:gd name="T22" fmla="*/ 2024 w 2831"/>
                <a:gd name="T23" fmla="*/ 618 h 3841"/>
                <a:gd name="T24" fmla="*/ 2290 w 2831"/>
                <a:gd name="T25" fmla="*/ 740 h 3841"/>
                <a:gd name="T26" fmla="*/ 2592 w 2831"/>
                <a:gd name="T27" fmla="*/ 841 h 3841"/>
                <a:gd name="T28" fmla="*/ 2692 w 2831"/>
                <a:gd name="T29" fmla="*/ 838 h 3841"/>
                <a:gd name="T30" fmla="*/ 2831 w 2831"/>
                <a:gd name="T31" fmla="*/ 881 h 3841"/>
                <a:gd name="T32" fmla="*/ 2704 w 2831"/>
                <a:gd name="T33" fmla="*/ 1031 h 3841"/>
                <a:gd name="T34" fmla="*/ 2543 w 2831"/>
                <a:gd name="T35" fmla="*/ 1143 h 3841"/>
                <a:gd name="T36" fmla="*/ 2452 w 2831"/>
                <a:gd name="T37" fmla="*/ 1167 h 3841"/>
                <a:gd name="T38" fmla="*/ 2311 w 2831"/>
                <a:gd name="T39" fmla="*/ 1402 h 3841"/>
                <a:gd name="T40" fmla="*/ 2336 w 2831"/>
                <a:gd name="T41" fmla="*/ 1500 h 3841"/>
                <a:gd name="T42" fmla="*/ 2343 w 2831"/>
                <a:gd name="T43" fmla="*/ 1650 h 3841"/>
                <a:gd name="T44" fmla="*/ 2319 w 2831"/>
                <a:gd name="T45" fmla="*/ 1929 h 3841"/>
                <a:gd name="T46" fmla="*/ 2214 w 2831"/>
                <a:gd name="T47" fmla="*/ 2069 h 3841"/>
                <a:gd name="T48" fmla="*/ 2225 w 2831"/>
                <a:gd name="T49" fmla="*/ 2228 h 3841"/>
                <a:gd name="T50" fmla="*/ 2292 w 2831"/>
                <a:gd name="T51" fmla="*/ 2382 h 3841"/>
                <a:gd name="T52" fmla="*/ 2208 w 2831"/>
                <a:gd name="T53" fmla="*/ 2558 h 3841"/>
                <a:gd name="T54" fmla="*/ 1939 w 2831"/>
                <a:gd name="T55" fmla="*/ 2469 h 3841"/>
                <a:gd name="T56" fmla="*/ 1752 w 2831"/>
                <a:gd name="T57" fmla="*/ 2523 h 3841"/>
                <a:gd name="T58" fmla="*/ 1659 w 2831"/>
                <a:gd name="T59" fmla="*/ 2619 h 3841"/>
                <a:gd name="T60" fmla="*/ 1449 w 2831"/>
                <a:gd name="T61" fmla="*/ 2727 h 3841"/>
                <a:gd name="T62" fmla="*/ 1266 w 2831"/>
                <a:gd name="T63" fmla="*/ 2751 h 3841"/>
                <a:gd name="T64" fmla="*/ 1137 w 2831"/>
                <a:gd name="T65" fmla="*/ 2889 h 3841"/>
                <a:gd name="T66" fmla="*/ 1009 w 2831"/>
                <a:gd name="T67" fmla="*/ 3254 h 3841"/>
                <a:gd name="T68" fmla="*/ 979 w 2831"/>
                <a:gd name="T69" fmla="*/ 3398 h 3841"/>
                <a:gd name="T70" fmla="*/ 1002 w 2831"/>
                <a:gd name="T71" fmla="*/ 3597 h 3841"/>
                <a:gd name="T72" fmla="*/ 867 w 2831"/>
                <a:gd name="T73" fmla="*/ 3783 h 3841"/>
                <a:gd name="T74" fmla="*/ 749 w 2831"/>
                <a:gd name="T75" fmla="*/ 3491 h 3841"/>
                <a:gd name="T76" fmla="*/ 578 w 2831"/>
                <a:gd name="T77" fmla="*/ 3277 h 3841"/>
                <a:gd name="T78" fmla="*/ 675 w 2831"/>
                <a:gd name="T79" fmla="*/ 3093 h 3841"/>
                <a:gd name="T80" fmla="*/ 766 w 2831"/>
                <a:gd name="T81" fmla="*/ 3033 h 3841"/>
                <a:gd name="T82" fmla="*/ 709 w 2831"/>
                <a:gd name="T83" fmla="*/ 2920 h 3841"/>
                <a:gd name="T84" fmla="*/ 532 w 2831"/>
                <a:gd name="T85" fmla="*/ 2900 h 3841"/>
                <a:gd name="T86" fmla="*/ 358 w 2831"/>
                <a:gd name="T87" fmla="*/ 2619 h 3841"/>
                <a:gd name="T88" fmla="*/ 289 w 2831"/>
                <a:gd name="T89" fmla="*/ 2503 h 3841"/>
                <a:gd name="T90" fmla="*/ 376 w 2831"/>
                <a:gd name="T91" fmla="*/ 2357 h 3841"/>
                <a:gd name="T92" fmla="*/ 441 w 2831"/>
                <a:gd name="T93" fmla="*/ 2085 h 3841"/>
                <a:gd name="T94" fmla="*/ 459 w 2831"/>
                <a:gd name="T95" fmla="*/ 1805 h 3841"/>
                <a:gd name="T96" fmla="*/ 275 w 2831"/>
                <a:gd name="T97" fmla="*/ 1682 h 3841"/>
                <a:gd name="T98" fmla="*/ 108 w 2831"/>
                <a:gd name="T99" fmla="*/ 1665 h 3841"/>
                <a:gd name="T100" fmla="*/ 106 w 2831"/>
                <a:gd name="T101" fmla="*/ 1543 h 3841"/>
                <a:gd name="T102" fmla="*/ 330 w 2831"/>
                <a:gd name="T103" fmla="*/ 1425 h 3841"/>
                <a:gd name="T104" fmla="*/ 446 w 2831"/>
                <a:gd name="T105" fmla="*/ 1359 h 3841"/>
                <a:gd name="T106" fmla="*/ 555 w 2831"/>
                <a:gd name="T107" fmla="*/ 1251 h 3841"/>
                <a:gd name="T108" fmla="*/ 675 w 2831"/>
                <a:gd name="T109" fmla="*/ 1059 h 3841"/>
                <a:gd name="T110" fmla="*/ 751 w 2831"/>
                <a:gd name="T111" fmla="*/ 912 h 3841"/>
                <a:gd name="T112" fmla="*/ 855 w 2831"/>
                <a:gd name="T113" fmla="*/ 675 h 3841"/>
                <a:gd name="T114" fmla="*/ 1000 w 2831"/>
                <a:gd name="T115" fmla="*/ 436 h 3841"/>
                <a:gd name="T116" fmla="*/ 1003 w 2831"/>
                <a:gd name="T117" fmla="*/ 302 h 3841"/>
                <a:gd name="T118" fmla="*/ 1048 w 2831"/>
                <a:gd name="T119" fmla="*/ 172 h 3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31" h="3841">
                  <a:moveTo>
                    <a:pt x="1096" y="0"/>
                  </a:moveTo>
                  <a:lnTo>
                    <a:pt x="1108" y="8"/>
                  </a:lnTo>
                  <a:lnTo>
                    <a:pt x="1121" y="15"/>
                  </a:lnTo>
                  <a:lnTo>
                    <a:pt x="1133" y="23"/>
                  </a:lnTo>
                  <a:lnTo>
                    <a:pt x="1146" y="33"/>
                  </a:lnTo>
                  <a:lnTo>
                    <a:pt x="1169" y="53"/>
                  </a:lnTo>
                  <a:lnTo>
                    <a:pt x="1189" y="73"/>
                  </a:lnTo>
                  <a:lnTo>
                    <a:pt x="1200" y="80"/>
                  </a:lnTo>
                  <a:lnTo>
                    <a:pt x="1211" y="87"/>
                  </a:lnTo>
                  <a:lnTo>
                    <a:pt x="1217" y="89"/>
                  </a:lnTo>
                  <a:lnTo>
                    <a:pt x="1224" y="91"/>
                  </a:lnTo>
                  <a:lnTo>
                    <a:pt x="1231" y="92"/>
                  </a:lnTo>
                  <a:lnTo>
                    <a:pt x="1239" y="92"/>
                  </a:lnTo>
                  <a:lnTo>
                    <a:pt x="1245" y="91"/>
                  </a:lnTo>
                  <a:lnTo>
                    <a:pt x="1250" y="90"/>
                  </a:lnTo>
                  <a:lnTo>
                    <a:pt x="1255" y="89"/>
                  </a:lnTo>
                  <a:lnTo>
                    <a:pt x="1259" y="87"/>
                  </a:lnTo>
                  <a:lnTo>
                    <a:pt x="1265" y="85"/>
                  </a:lnTo>
                  <a:lnTo>
                    <a:pt x="1269" y="82"/>
                  </a:lnTo>
                  <a:lnTo>
                    <a:pt x="1274" y="81"/>
                  </a:lnTo>
                  <a:lnTo>
                    <a:pt x="1281" y="81"/>
                  </a:lnTo>
                  <a:lnTo>
                    <a:pt x="1289" y="81"/>
                  </a:lnTo>
                  <a:lnTo>
                    <a:pt x="1297" y="84"/>
                  </a:lnTo>
                  <a:lnTo>
                    <a:pt x="1304" y="87"/>
                  </a:lnTo>
                  <a:lnTo>
                    <a:pt x="1310" y="91"/>
                  </a:lnTo>
                  <a:lnTo>
                    <a:pt x="1323" y="102"/>
                  </a:lnTo>
                  <a:lnTo>
                    <a:pt x="1337" y="112"/>
                  </a:lnTo>
                  <a:lnTo>
                    <a:pt x="1360" y="122"/>
                  </a:lnTo>
                  <a:lnTo>
                    <a:pt x="1381" y="131"/>
                  </a:lnTo>
                  <a:lnTo>
                    <a:pt x="1386" y="133"/>
                  </a:lnTo>
                  <a:lnTo>
                    <a:pt x="1390" y="136"/>
                  </a:lnTo>
                  <a:lnTo>
                    <a:pt x="1394" y="140"/>
                  </a:lnTo>
                  <a:lnTo>
                    <a:pt x="1397" y="143"/>
                  </a:lnTo>
                  <a:lnTo>
                    <a:pt x="1401" y="146"/>
                  </a:lnTo>
                  <a:lnTo>
                    <a:pt x="1403" y="152"/>
                  </a:lnTo>
                  <a:lnTo>
                    <a:pt x="1404" y="156"/>
                  </a:lnTo>
                  <a:lnTo>
                    <a:pt x="1404" y="162"/>
                  </a:lnTo>
                  <a:lnTo>
                    <a:pt x="1403" y="169"/>
                  </a:lnTo>
                  <a:lnTo>
                    <a:pt x="1402" y="174"/>
                  </a:lnTo>
                  <a:lnTo>
                    <a:pt x="1399" y="180"/>
                  </a:lnTo>
                  <a:lnTo>
                    <a:pt x="1395" y="185"/>
                  </a:lnTo>
                  <a:lnTo>
                    <a:pt x="1392" y="189"/>
                  </a:lnTo>
                  <a:lnTo>
                    <a:pt x="1389" y="195"/>
                  </a:lnTo>
                  <a:lnTo>
                    <a:pt x="1386" y="200"/>
                  </a:lnTo>
                  <a:lnTo>
                    <a:pt x="1385" y="207"/>
                  </a:lnTo>
                  <a:lnTo>
                    <a:pt x="1395" y="212"/>
                  </a:lnTo>
                  <a:lnTo>
                    <a:pt x="1412" y="212"/>
                  </a:lnTo>
                  <a:lnTo>
                    <a:pt x="1424" y="212"/>
                  </a:lnTo>
                  <a:lnTo>
                    <a:pt x="1439" y="212"/>
                  </a:lnTo>
                  <a:lnTo>
                    <a:pt x="1454" y="212"/>
                  </a:lnTo>
                  <a:lnTo>
                    <a:pt x="1463" y="212"/>
                  </a:lnTo>
                  <a:lnTo>
                    <a:pt x="1472" y="210"/>
                  </a:lnTo>
                  <a:lnTo>
                    <a:pt x="1481" y="208"/>
                  </a:lnTo>
                  <a:lnTo>
                    <a:pt x="1488" y="206"/>
                  </a:lnTo>
                  <a:lnTo>
                    <a:pt x="1497" y="203"/>
                  </a:lnTo>
                  <a:lnTo>
                    <a:pt x="1504" y="201"/>
                  </a:lnTo>
                  <a:lnTo>
                    <a:pt x="1513" y="199"/>
                  </a:lnTo>
                  <a:lnTo>
                    <a:pt x="1523" y="198"/>
                  </a:lnTo>
                  <a:lnTo>
                    <a:pt x="1529" y="199"/>
                  </a:lnTo>
                  <a:lnTo>
                    <a:pt x="1535" y="200"/>
                  </a:lnTo>
                  <a:lnTo>
                    <a:pt x="1540" y="201"/>
                  </a:lnTo>
                  <a:lnTo>
                    <a:pt x="1544" y="203"/>
                  </a:lnTo>
                  <a:lnTo>
                    <a:pt x="1552" y="209"/>
                  </a:lnTo>
                  <a:lnTo>
                    <a:pt x="1559" y="216"/>
                  </a:lnTo>
                  <a:lnTo>
                    <a:pt x="1574" y="234"/>
                  </a:lnTo>
                  <a:lnTo>
                    <a:pt x="1589" y="252"/>
                  </a:lnTo>
                  <a:lnTo>
                    <a:pt x="1603" y="264"/>
                  </a:lnTo>
                  <a:lnTo>
                    <a:pt x="1616" y="275"/>
                  </a:lnTo>
                  <a:lnTo>
                    <a:pt x="1629" y="285"/>
                  </a:lnTo>
                  <a:lnTo>
                    <a:pt x="1643" y="296"/>
                  </a:lnTo>
                  <a:lnTo>
                    <a:pt x="1652" y="305"/>
                  </a:lnTo>
                  <a:lnTo>
                    <a:pt x="1660" y="314"/>
                  </a:lnTo>
                  <a:lnTo>
                    <a:pt x="1668" y="322"/>
                  </a:lnTo>
                  <a:lnTo>
                    <a:pt x="1674" y="332"/>
                  </a:lnTo>
                  <a:lnTo>
                    <a:pt x="1679" y="342"/>
                  </a:lnTo>
                  <a:lnTo>
                    <a:pt x="1684" y="351"/>
                  </a:lnTo>
                  <a:lnTo>
                    <a:pt x="1688" y="363"/>
                  </a:lnTo>
                  <a:lnTo>
                    <a:pt x="1692" y="375"/>
                  </a:lnTo>
                  <a:lnTo>
                    <a:pt x="1698" y="387"/>
                  </a:lnTo>
                  <a:lnTo>
                    <a:pt x="1704" y="398"/>
                  </a:lnTo>
                  <a:lnTo>
                    <a:pt x="1707" y="403"/>
                  </a:lnTo>
                  <a:lnTo>
                    <a:pt x="1710" y="409"/>
                  </a:lnTo>
                  <a:lnTo>
                    <a:pt x="1712" y="415"/>
                  </a:lnTo>
                  <a:lnTo>
                    <a:pt x="1713" y="422"/>
                  </a:lnTo>
                  <a:lnTo>
                    <a:pt x="1713" y="433"/>
                  </a:lnTo>
                  <a:lnTo>
                    <a:pt x="1713" y="445"/>
                  </a:lnTo>
                  <a:lnTo>
                    <a:pt x="1673" y="449"/>
                  </a:lnTo>
                  <a:lnTo>
                    <a:pt x="1637" y="450"/>
                  </a:lnTo>
                  <a:lnTo>
                    <a:pt x="1629" y="451"/>
                  </a:lnTo>
                  <a:lnTo>
                    <a:pt x="1621" y="452"/>
                  </a:lnTo>
                  <a:lnTo>
                    <a:pt x="1614" y="454"/>
                  </a:lnTo>
                  <a:lnTo>
                    <a:pt x="1606" y="457"/>
                  </a:lnTo>
                  <a:lnTo>
                    <a:pt x="1598" y="460"/>
                  </a:lnTo>
                  <a:lnTo>
                    <a:pt x="1591" y="466"/>
                  </a:lnTo>
                  <a:lnTo>
                    <a:pt x="1584" y="471"/>
                  </a:lnTo>
                  <a:lnTo>
                    <a:pt x="1578" y="479"/>
                  </a:lnTo>
                  <a:lnTo>
                    <a:pt x="1608" y="483"/>
                  </a:lnTo>
                  <a:lnTo>
                    <a:pt x="1635" y="489"/>
                  </a:lnTo>
                  <a:lnTo>
                    <a:pt x="1661" y="494"/>
                  </a:lnTo>
                  <a:lnTo>
                    <a:pt x="1690" y="501"/>
                  </a:lnTo>
                  <a:lnTo>
                    <a:pt x="1707" y="504"/>
                  </a:lnTo>
                  <a:lnTo>
                    <a:pt x="1726" y="506"/>
                  </a:lnTo>
                  <a:lnTo>
                    <a:pt x="1734" y="507"/>
                  </a:lnTo>
                  <a:lnTo>
                    <a:pt x="1740" y="510"/>
                  </a:lnTo>
                  <a:lnTo>
                    <a:pt x="1743" y="512"/>
                  </a:lnTo>
                  <a:lnTo>
                    <a:pt x="1744" y="514"/>
                  </a:lnTo>
                  <a:lnTo>
                    <a:pt x="1745" y="519"/>
                  </a:lnTo>
                  <a:lnTo>
                    <a:pt x="1746" y="522"/>
                  </a:lnTo>
                  <a:lnTo>
                    <a:pt x="1745" y="527"/>
                  </a:lnTo>
                  <a:lnTo>
                    <a:pt x="1745" y="533"/>
                  </a:lnTo>
                  <a:lnTo>
                    <a:pt x="1743" y="537"/>
                  </a:lnTo>
                  <a:lnTo>
                    <a:pt x="1741" y="541"/>
                  </a:lnTo>
                  <a:lnTo>
                    <a:pt x="1736" y="550"/>
                  </a:lnTo>
                  <a:lnTo>
                    <a:pt x="1729" y="557"/>
                  </a:lnTo>
                  <a:lnTo>
                    <a:pt x="1722" y="564"/>
                  </a:lnTo>
                  <a:lnTo>
                    <a:pt x="1714" y="571"/>
                  </a:lnTo>
                  <a:lnTo>
                    <a:pt x="1707" y="579"/>
                  </a:lnTo>
                  <a:lnTo>
                    <a:pt x="1701" y="588"/>
                  </a:lnTo>
                  <a:lnTo>
                    <a:pt x="1687" y="614"/>
                  </a:lnTo>
                  <a:lnTo>
                    <a:pt x="1675" y="639"/>
                  </a:lnTo>
                  <a:lnTo>
                    <a:pt x="1664" y="661"/>
                  </a:lnTo>
                  <a:lnTo>
                    <a:pt x="1656" y="685"/>
                  </a:lnTo>
                  <a:lnTo>
                    <a:pt x="1649" y="709"/>
                  </a:lnTo>
                  <a:lnTo>
                    <a:pt x="1644" y="734"/>
                  </a:lnTo>
                  <a:lnTo>
                    <a:pt x="1642" y="747"/>
                  </a:lnTo>
                  <a:lnTo>
                    <a:pt x="1641" y="761"/>
                  </a:lnTo>
                  <a:lnTo>
                    <a:pt x="1639" y="775"/>
                  </a:lnTo>
                  <a:lnTo>
                    <a:pt x="1639" y="790"/>
                  </a:lnTo>
                  <a:lnTo>
                    <a:pt x="1641" y="802"/>
                  </a:lnTo>
                  <a:lnTo>
                    <a:pt x="1643" y="811"/>
                  </a:lnTo>
                  <a:lnTo>
                    <a:pt x="1646" y="821"/>
                  </a:lnTo>
                  <a:lnTo>
                    <a:pt x="1651" y="830"/>
                  </a:lnTo>
                  <a:lnTo>
                    <a:pt x="1663" y="847"/>
                  </a:lnTo>
                  <a:lnTo>
                    <a:pt x="1676" y="865"/>
                  </a:lnTo>
                  <a:lnTo>
                    <a:pt x="1682" y="875"/>
                  </a:lnTo>
                  <a:lnTo>
                    <a:pt x="1687" y="884"/>
                  </a:lnTo>
                  <a:lnTo>
                    <a:pt x="1690" y="888"/>
                  </a:lnTo>
                  <a:lnTo>
                    <a:pt x="1695" y="891"/>
                  </a:lnTo>
                  <a:lnTo>
                    <a:pt x="1699" y="892"/>
                  </a:lnTo>
                  <a:lnTo>
                    <a:pt x="1704" y="894"/>
                  </a:lnTo>
                  <a:lnTo>
                    <a:pt x="1711" y="892"/>
                  </a:lnTo>
                  <a:lnTo>
                    <a:pt x="1716" y="891"/>
                  </a:lnTo>
                  <a:lnTo>
                    <a:pt x="1720" y="888"/>
                  </a:lnTo>
                  <a:lnTo>
                    <a:pt x="1725" y="884"/>
                  </a:lnTo>
                  <a:lnTo>
                    <a:pt x="1728" y="879"/>
                  </a:lnTo>
                  <a:lnTo>
                    <a:pt x="1730" y="873"/>
                  </a:lnTo>
                  <a:lnTo>
                    <a:pt x="1731" y="868"/>
                  </a:lnTo>
                  <a:lnTo>
                    <a:pt x="1732" y="860"/>
                  </a:lnTo>
                  <a:lnTo>
                    <a:pt x="1732" y="845"/>
                  </a:lnTo>
                  <a:lnTo>
                    <a:pt x="1732" y="830"/>
                  </a:lnTo>
                  <a:lnTo>
                    <a:pt x="1730" y="814"/>
                  </a:lnTo>
                  <a:lnTo>
                    <a:pt x="1729" y="798"/>
                  </a:lnTo>
                  <a:lnTo>
                    <a:pt x="1729" y="792"/>
                  </a:lnTo>
                  <a:lnTo>
                    <a:pt x="1730" y="787"/>
                  </a:lnTo>
                  <a:lnTo>
                    <a:pt x="1731" y="781"/>
                  </a:lnTo>
                  <a:lnTo>
                    <a:pt x="1732" y="776"/>
                  </a:lnTo>
                  <a:lnTo>
                    <a:pt x="1737" y="766"/>
                  </a:lnTo>
                  <a:lnTo>
                    <a:pt x="1742" y="757"/>
                  </a:lnTo>
                  <a:lnTo>
                    <a:pt x="1747" y="749"/>
                  </a:lnTo>
                  <a:lnTo>
                    <a:pt x="1752" y="739"/>
                  </a:lnTo>
                  <a:lnTo>
                    <a:pt x="1757" y="728"/>
                  </a:lnTo>
                  <a:lnTo>
                    <a:pt x="1760" y="717"/>
                  </a:lnTo>
                  <a:lnTo>
                    <a:pt x="1765" y="683"/>
                  </a:lnTo>
                  <a:lnTo>
                    <a:pt x="1769" y="648"/>
                  </a:lnTo>
                  <a:lnTo>
                    <a:pt x="1771" y="642"/>
                  </a:lnTo>
                  <a:lnTo>
                    <a:pt x="1773" y="634"/>
                  </a:lnTo>
                  <a:lnTo>
                    <a:pt x="1777" y="629"/>
                  </a:lnTo>
                  <a:lnTo>
                    <a:pt x="1781" y="624"/>
                  </a:lnTo>
                  <a:lnTo>
                    <a:pt x="1785" y="619"/>
                  </a:lnTo>
                  <a:lnTo>
                    <a:pt x="1791" y="616"/>
                  </a:lnTo>
                  <a:lnTo>
                    <a:pt x="1797" y="614"/>
                  </a:lnTo>
                  <a:lnTo>
                    <a:pt x="1805" y="614"/>
                  </a:lnTo>
                  <a:lnTo>
                    <a:pt x="1819" y="615"/>
                  </a:lnTo>
                  <a:lnTo>
                    <a:pt x="1831" y="617"/>
                  </a:lnTo>
                  <a:lnTo>
                    <a:pt x="1842" y="620"/>
                  </a:lnTo>
                  <a:lnTo>
                    <a:pt x="1855" y="621"/>
                  </a:lnTo>
                  <a:lnTo>
                    <a:pt x="1857" y="628"/>
                  </a:lnTo>
                  <a:lnTo>
                    <a:pt x="1859" y="633"/>
                  </a:lnTo>
                  <a:lnTo>
                    <a:pt x="1858" y="652"/>
                  </a:lnTo>
                  <a:lnTo>
                    <a:pt x="1857" y="669"/>
                  </a:lnTo>
                  <a:lnTo>
                    <a:pt x="1854" y="684"/>
                  </a:lnTo>
                  <a:lnTo>
                    <a:pt x="1851" y="699"/>
                  </a:lnTo>
                  <a:lnTo>
                    <a:pt x="1847" y="714"/>
                  </a:lnTo>
                  <a:lnTo>
                    <a:pt x="1841" y="729"/>
                  </a:lnTo>
                  <a:lnTo>
                    <a:pt x="1835" y="746"/>
                  </a:lnTo>
                  <a:lnTo>
                    <a:pt x="1827" y="762"/>
                  </a:lnTo>
                  <a:lnTo>
                    <a:pt x="1835" y="759"/>
                  </a:lnTo>
                  <a:lnTo>
                    <a:pt x="1842" y="755"/>
                  </a:lnTo>
                  <a:lnTo>
                    <a:pt x="1849" y="752"/>
                  </a:lnTo>
                  <a:lnTo>
                    <a:pt x="1854" y="748"/>
                  </a:lnTo>
                  <a:lnTo>
                    <a:pt x="1865" y="739"/>
                  </a:lnTo>
                  <a:lnTo>
                    <a:pt x="1875" y="728"/>
                  </a:lnTo>
                  <a:lnTo>
                    <a:pt x="1891" y="705"/>
                  </a:lnTo>
                  <a:lnTo>
                    <a:pt x="1908" y="678"/>
                  </a:lnTo>
                  <a:lnTo>
                    <a:pt x="1927" y="652"/>
                  </a:lnTo>
                  <a:lnTo>
                    <a:pt x="1942" y="629"/>
                  </a:lnTo>
                  <a:lnTo>
                    <a:pt x="1958" y="606"/>
                  </a:lnTo>
                  <a:lnTo>
                    <a:pt x="1976" y="579"/>
                  </a:lnTo>
                  <a:lnTo>
                    <a:pt x="1986" y="585"/>
                  </a:lnTo>
                  <a:lnTo>
                    <a:pt x="1995" y="591"/>
                  </a:lnTo>
                  <a:lnTo>
                    <a:pt x="2002" y="598"/>
                  </a:lnTo>
                  <a:lnTo>
                    <a:pt x="2010" y="604"/>
                  </a:lnTo>
                  <a:lnTo>
                    <a:pt x="2016" y="611"/>
                  </a:lnTo>
                  <a:lnTo>
                    <a:pt x="2024" y="618"/>
                  </a:lnTo>
                  <a:lnTo>
                    <a:pt x="2033" y="624"/>
                  </a:lnTo>
                  <a:lnTo>
                    <a:pt x="2043" y="630"/>
                  </a:lnTo>
                  <a:lnTo>
                    <a:pt x="2063" y="640"/>
                  </a:lnTo>
                  <a:lnTo>
                    <a:pt x="2080" y="647"/>
                  </a:lnTo>
                  <a:lnTo>
                    <a:pt x="2097" y="654"/>
                  </a:lnTo>
                  <a:lnTo>
                    <a:pt x="2115" y="659"/>
                  </a:lnTo>
                  <a:lnTo>
                    <a:pt x="2149" y="668"/>
                  </a:lnTo>
                  <a:lnTo>
                    <a:pt x="2189" y="678"/>
                  </a:lnTo>
                  <a:lnTo>
                    <a:pt x="2195" y="680"/>
                  </a:lnTo>
                  <a:lnTo>
                    <a:pt x="2199" y="682"/>
                  </a:lnTo>
                  <a:lnTo>
                    <a:pt x="2203" y="685"/>
                  </a:lnTo>
                  <a:lnTo>
                    <a:pt x="2206" y="689"/>
                  </a:lnTo>
                  <a:lnTo>
                    <a:pt x="2214" y="696"/>
                  </a:lnTo>
                  <a:lnTo>
                    <a:pt x="2223" y="703"/>
                  </a:lnTo>
                  <a:lnTo>
                    <a:pt x="2246" y="717"/>
                  </a:lnTo>
                  <a:lnTo>
                    <a:pt x="2268" y="729"/>
                  </a:lnTo>
                  <a:lnTo>
                    <a:pt x="2290" y="740"/>
                  </a:lnTo>
                  <a:lnTo>
                    <a:pt x="2316" y="753"/>
                  </a:lnTo>
                  <a:lnTo>
                    <a:pt x="2330" y="760"/>
                  </a:lnTo>
                  <a:lnTo>
                    <a:pt x="2344" y="764"/>
                  </a:lnTo>
                  <a:lnTo>
                    <a:pt x="2358" y="766"/>
                  </a:lnTo>
                  <a:lnTo>
                    <a:pt x="2371" y="767"/>
                  </a:lnTo>
                  <a:lnTo>
                    <a:pt x="2385" y="768"/>
                  </a:lnTo>
                  <a:lnTo>
                    <a:pt x="2399" y="768"/>
                  </a:lnTo>
                  <a:lnTo>
                    <a:pt x="2414" y="770"/>
                  </a:lnTo>
                  <a:lnTo>
                    <a:pt x="2430" y="773"/>
                  </a:lnTo>
                  <a:lnTo>
                    <a:pt x="2454" y="779"/>
                  </a:lnTo>
                  <a:lnTo>
                    <a:pt x="2474" y="787"/>
                  </a:lnTo>
                  <a:lnTo>
                    <a:pt x="2494" y="795"/>
                  </a:lnTo>
                  <a:lnTo>
                    <a:pt x="2512" y="804"/>
                  </a:lnTo>
                  <a:lnTo>
                    <a:pt x="2530" y="814"/>
                  </a:lnTo>
                  <a:lnTo>
                    <a:pt x="2549" y="822"/>
                  </a:lnTo>
                  <a:lnTo>
                    <a:pt x="2569" y="832"/>
                  </a:lnTo>
                  <a:lnTo>
                    <a:pt x="2592" y="841"/>
                  </a:lnTo>
                  <a:lnTo>
                    <a:pt x="2608" y="847"/>
                  </a:lnTo>
                  <a:lnTo>
                    <a:pt x="2622" y="855"/>
                  </a:lnTo>
                  <a:lnTo>
                    <a:pt x="2630" y="858"/>
                  </a:lnTo>
                  <a:lnTo>
                    <a:pt x="2637" y="860"/>
                  </a:lnTo>
                  <a:lnTo>
                    <a:pt x="2645" y="862"/>
                  </a:lnTo>
                  <a:lnTo>
                    <a:pt x="2655" y="862"/>
                  </a:lnTo>
                  <a:lnTo>
                    <a:pt x="2657" y="862"/>
                  </a:lnTo>
                  <a:lnTo>
                    <a:pt x="2658" y="861"/>
                  </a:lnTo>
                  <a:lnTo>
                    <a:pt x="2660" y="859"/>
                  </a:lnTo>
                  <a:lnTo>
                    <a:pt x="2660" y="856"/>
                  </a:lnTo>
                  <a:lnTo>
                    <a:pt x="2662" y="850"/>
                  </a:lnTo>
                  <a:lnTo>
                    <a:pt x="2665" y="846"/>
                  </a:lnTo>
                  <a:lnTo>
                    <a:pt x="2670" y="843"/>
                  </a:lnTo>
                  <a:lnTo>
                    <a:pt x="2674" y="842"/>
                  </a:lnTo>
                  <a:lnTo>
                    <a:pt x="2678" y="841"/>
                  </a:lnTo>
                  <a:lnTo>
                    <a:pt x="2683" y="840"/>
                  </a:lnTo>
                  <a:lnTo>
                    <a:pt x="2692" y="838"/>
                  </a:lnTo>
                  <a:lnTo>
                    <a:pt x="2702" y="835"/>
                  </a:lnTo>
                  <a:lnTo>
                    <a:pt x="2715" y="827"/>
                  </a:lnTo>
                  <a:lnTo>
                    <a:pt x="2726" y="817"/>
                  </a:lnTo>
                  <a:lnTo>
                    <a:pt x="2731" y="813"/>
                  </a:lnTo>
                  <a:lnTo>
                    <a:pt x="2738" y="809"/>
                  </a:lnTo>
                  <a:lnTo>
                    <a:pt x="2744" y="807"/>
                  </a:lnTo>
                  <a:lnTo>
                    <a:pt x="2752" y="807"/>
                  </a:lnTo>
                  <a:lnTo>
                    <a:pt x="2757" y="807"/>
                  </a:lnTo>
                  <a:lnTo>
                    <a:pt x="2762" y="808"/>
                  </a:lnTo>
                  <a:lnTo>
                    <a:pt x="2766" y="809"/>
                  </a:lnTo>
                  <a:lnTo>
                    <a:pt x="2769" y="811"/>
                  </a:lnTo>
                  <a:lnTo>
                    <a:pt x="2776" y="817"/>
                  </a:lnTo>
                  <a:lnTo>
                    <a:pt x="2781" y="823"/>
                  </a:lnTo>
                  <a:lnTo>
                    <a:pt x="2791" y="838"/>
                  </a:lnTo>
                  <a:lnTo>
                    <a:pt x="2803" y="855"/>
                  </a:lnTo>
                  <a:lnTo>
                    <a:pt x="2817" y="869"/>
                  </a:lnTo>
                  <a:lnTo>
                    <a:pt x="2831" y="881"/>
                  </a:lnTo>
                  <a:lnTo>
                    <a:pt x="2831" y="881"/>
                  </a:lnTo>
                  <a:lnTo>
                    <a:pt x="2823" y="899"/>
                  </a:lnTo>
                  <a:lnTo>
                    <a:pt x="2817" y="917"/>
                  </a:lnTo>
                  <a:lnTo>
                    <a:pt x="2812" y="935"/>
                  </a:lnTo>
                  <a:lnTo>
                    <a:pt x="2808" y="952"/>
                  </a:lnTo>
                  <a:lnTo>
                    <a:pt x="2803" y="968"/>
                  </a:lnTo>
                  <a:lnTo>
                    <a:pt x="2795" y="983"/>
                  </a:lnTo>
                  <a:lnTo>
                    <a:pt x="2791" y="991"/>
                  </a:lnTo>
                  <a:lnTo>
                    <a:pt x="2785" y="998"/>
                  </a:lnTo>
                  <a:lnTo>
                    <a:pt x="2779" y="1005"/>
                  </a:lnTo>
                  <a:lnTo>
                    <a:pt x="2771" y="1011"/>
                  </a:lnTo>
                  <a:lnTo>
                    <a:pt x="2764" y="1017"/>
                  </a:lnTo>
                  <a:lnTo>
                    <a:pt x="2756" y="1021"/>
                  </a:lnTo>
                  <a:lnTo>
                    <a:pt x="2749" y="1024"/>
                  </a:lnTo>
                  <a:lnTo>
                    <a:pt x="2740" y="1026"/>
                  </a:lnTo>
                  <a:lnTo>
                    <a:pt x="2724" y="1029"/>
                  </a:lnTo>
                  <a:lnTo>
                    <a:pt x="2704" y="1031"/>
                  </a:lnTo>
                  <a:lnTo>
                    <a:pt x="2690" y="1033"/>
                  </a:lnTo>
                  <a:lnTo>
                    <a:pt x="2677" y="1035"/>
                  </a:lnTo>
                  <a:lnTo>
                    <a:pt x="2664" y="1037"/>
                  </a:lnTo>
                  <a:lnTo>
                    <a:pt x="2653" y="1041"/>
                  </a:lnTo>
                  <a:lnTo>
                    <a:pt x="2642" y="1046"/>
                  </a:lnTo>
                  <a:lnTo>
                    <a:pt x="2631" y="1051"/>
                  </a:lnTo>
                  <a:lnTo>
                    <a:pt x="2621" y="1060"/>
                  </a:lnTo>
                  <a:lnTo>
                    <a:pt x="2613" y="1070"/>
                  </a:lnTo>
                  <a:lnTo>
                    <a:pt x="2596" y="1095"/>
                  </a:lnTo>
                  <a:lnTo>
                    <a:pt x="2580" y="1118"/>
                  </a:lnTo>
                  <a:lnTo>
                    <a:pt x="2577" y="1124"/>
                  </a:lnTo>
                  <a:lnTo>
                    <a:pt x="2572" y="1128"/>
                  </a:lnTo>
                  <a:lnTo>
                    <a:pt x="2567" y="1132"/>
                  </a:lnTo>
                  <a:lnTo>
                    <a:pt x="2562" y="1137"/>
                  </a:lnTo>
                  <a:lnTo>
                    <a:pt x="2556" y="1139"/>
                  </a:lnTo>
                  <a:lnTo>
                    <a:pt x="2550" y="1141"/>
                  </a:lnTo>
                  <a:lnTo>
                    <a:pt x="2543" y="1143"/>
                  </a:lnTo>
                  <a:lnTo>
                    <a:pt x="2536" y="1143"/>
                  </a:lnTo>
                  <a:lnTo>
                    <a:pt x="2530" y="1142"/>
                  </a:lnTo>
                  <a:lnTo>
                    <a:pt x="2525" y="1141"/>
                  </a:lnTo>
                  <a:lnTo>
                    <a:pt x="2520" y="1139"/>
                  </a:lnTo>
                  <a:lnTo>
                    <a:pt x="2515" y="1135"/>
                  </a:lnTo>
                  <a:lnTo>
                    <a:pt x="2511" y="1133"/>
                  </a:lnTo>
                  <a:lnTo>
                    <a:pt x="2506" y="1131"/>
                  </a:lnTo>
                  <a:lnTo>
                    <a:pt x="2500" y="1130"/>
                  </a:lnTo>
                  <a:lnTo>
                    <a:pt x="2495" y="1129"/>
                  </a:lnTo>
                  <a:lnTo>
                    <a:pt x="2489" y="1129"/>
                  </a:lnTo>
                  <a:lnTo>
                    <a:pt x="2484" y="1130"/>
                  </a:lnTo>
                  <a:lnTo>
                    <a:pt x="2480" y="1132"/>
                  </a:lnTo>
                  <a:lnTo>
                    <a:pt x="2475" y="1134"/>
                  </a:lnTo>
                  <a:lnTo>
                    <a:pt x="2468" y="1140"/>
                  </a:lnTo>
                  <a:lnTo>
                    <a:pt x="2461" y="1147"/>
                  </a:lnTo>
                  <a:lnTo>
                    <a:pt x="2456" y="1157"/>
                  </a:lnTo>
                  <a:lnTo>
                    <a:pt x="2452" y="1167"/>
                  </a:lnTo>
                  <a:lnTo>
                    <a:pt x="2447" y="1176"/>
                  </a:lnTo>
                  <a:lnTo>
                    <a:pt x="2444" y="1187"/>
                  </a:lnTo>
                  <a:lnTo>
                    <a:pt x="2437" y="1213"/>
                  </a:lnTo>
                  <a:lnTo>
                    <a:pt x="2430" y="1236"/>
                  </a:lnTo>
                  <a:lnTo>
                    <a:pt x="2422" y="1257"/>
                  </a:lnTo>
                  <a:lnTo>
                    <a:pt x="2416" y="1283"/>
                  </a:lnTo>
                  <a:lnTo>
                    <a:pt x="2412" y="1296"/>
                  </a:lnTo>
                  <a:lnTo>
                    <a:pt x="2407" y="1307"/>
                  </a:lnTo>
                  <a:lnTo>
                    <a:pt x="2402" y="1318"/>
                  </a:lnTo>
                  <a:lnTo>
                    <a:pt x="2395" y="1328"/>
                  </a:lnTo>
                  <a:lnTo>
                    <a:pt x="2389" y="1337"/>
                  </a:lnTo>
                  <a:lnTo>
                    <a:pt x="2381" y="1346"/>
                  </a:lnTo>
                  <a:lnTo>
                    <a:pt x="2373" y="1355"/>
                  </a:lnTo>
                  <a:lnTo>
                    <a:pt x="2363" y="1364"/>
                  </a:lnTo>
                  <a:lnTo>
                    <a:pt x="2341" y="1381"/>
                  </a:lnTo>
                  <a:lnTo>
                    <a:pt x="2320" y="1395"/>
                  </a:lnTo>
                  <a:lnTo>
                    <a:pt x="2311" y="1402"/>
                  </a:lnTo>
                  <a:lnTo>
                    <a:pt x="2305" y="1411"/>
                  </a:lnTo>
                  <a:lnTo>
                    <a:pt x="2302" y="1416"/>
                  </a:lnTo>
                  <a:lnTo>
                    <a:pt x="2299" y="1422"/>
                  </a:lnTo>
                  <a:lnTo>
                    <a:pt x="2298" y="1428"/>
                  </a:lnTo>
                  <a:lnTo>
                    <a:pt x="2298" y="1435"/>
                  </a:lnTo>
                  <a:lnTo>
                    <a:pt x="2298" y="1438"/>
                  </a:lnTo>
                  <a:lnTo>
                    <a:pt x="2300" y="1440"/>
                  </a:lnTo>
                  <a:lnTo>
                    <a:pt x="2303" y="1442"/>
                  </a:lnTo>
                  <a:lnTo>
                    <a:pt x="2305" y="1443"/>
                  </a:lnTo>
                  <a:lnTo>
                    <a:pt x="2310" y="1446"/>
                  </a:lnTo>
                  <a:lnTo>
                    <a:pt x="2316" y="1451"/>
                  </a:lnTo>
                  <a:lnTo>
                    <a:pt x="2321" y="1459"/>
                  </a:lnTo>
                  <a:lnTo>
                    <a:pt x="2325" y="1467"/>
                  </a:lnTo>
                  <a:lnTo>
                    <a:pt x="2330" y="1476"/>
                  </a:lnTo>
                  <a:lnTo>
                    <a:pt x="2333" y="1483"/>
                  </a:lnTo>
                  <a:lnTo>
                    <a:pt x="2335" y="1492"/>
                  </a:lnTo>
                  <a:lnTo>
                    <a:pt x="2336" y="1500"/>
                  </a:lnTo>
                  <a:lnTo>
                    <a:pt x="2337" y="1510"/>
                  </a:lnTo>
                  <a:lnTo>
                    <a:pt x="2337" y="1520"/>
                  </a:lnTo>
                  <a:lnTo>
                    <a:pt x="2336" y="1533"/>
                  </a:lnTo>
                  <a:lnTo>
                    <a:pt x="2334" y="1545"/>
                  </a:lnTo>
                  <a:lnTo>
                    <a:pt x="2331" y="1556"/>
                  </a:lnTo>
                  <a:lnTo>
                    <a:pt x="2326" y="1565"/>
                  </a:lnTo>
                  <a:lnTo>
                    <a:pt x="2322" y="1576"/>
                  </a:lnTo>
                  <a:lnTo>
                    <a:pt x="2319" y="1587"/>
                  </a:lnTo>
                  <a:lnTo>
                    <a:pt x="2316" y="1598"/>
                  </a:lnTo>
                  <a:lnTo>
                    <a:pt x="2316" y="1611"/>
                  </a:lnTo>
                  <a:lnTo>
                    <a:pt x="2316" y="1615"/>
                  </a:lnTo>
                  <a:lnTo>
                    <a:pt x="2317" y="1618"/>
                  </a:lnTo>
                  <a:lnTo>
                    <a:pt x="2320" y="1621"/>
                  </a:lnTo>
                  <a:lnTo>
                    <a:pt x="2322" y="1625"/>
                  </a:lnTo>
                  <a:lnTo>
                    <a:pt x="2329" y="1630"/>
                  </a:lnTo>
                  <a:lnTo>
                    <a:pt x="2335" y="1637"/>
                  </a:lnTo>
                  <a:lnTo>
                    <a:pt x="2343" y="1650"/>
                  </a:lnTo>
                  <a:lnTo>
                    <a:pt x="2350" y="1661"/>
                  </a:lnTo>
                  <a:lnTo>
                    <a:pt x="2356" y="1674"/>
                  </a:lnTo>
                  <a:lnTo>
                    <a:pt x="2361" y="1686"/>
                  </a:lnTo>
                  <a:lnTo>
                    <a:pt x="2364" y="1699"/>
                  </a:lnTo>
                  <a:lnTo>
                    <a:pt x="2366" y="1713"/>
                  </a:lnTo>
                  <a:lnTo>
                    <a:pt x="2367" y="1727"/>
                  </a:lnTo>
                  <a:lnTo>
                    <a:pt x="2368" y="1742"/>
                  </a:lnTo>
                  <a:lnTo>
                    <a:pt x="2367" y="1768"/>
                  </a:lnTo>
                  <a:lnTo>
                    <a:pt x="2364" y="1791"/>
                  </a:lnTo>
                  <a:lnTo>
                    <a:pt x="2360" y="1812"/>
                  </a:lnTo>
                  <a:lnTo>
                    <a:pt x="2353" y="1832"/>
                  </a:lnTo>
                  <a:lnTo>
                    <a:pt x="2347" y="1853"/>
                  </a:lnTo>
                  <a:lnTo>
                    <a:pt x="2339" y="1873"/>
                  </a:lnTo>
                  <a:lnTo>
                    <a:pt x="2332" y="1896"/>
                  </a:lnTo>
                  <a:lnTo>
                    <a:pt x="2323" y="1920"/>
                  </a:lnTo>
                  <a:lnTo>
                    <a:pt x="2321" y="1925"/>
                  </a:lnTo>
                  <a:lnTo>
                    <a:pt x="2319" y="1929"/>
                  </a:lnTo>
                  <a:lnTo>
                    <a:pt x="2316" y="1934"/>
                  </a:lnTo>
                  <a:lnTo>
                    <a:pt x="2312" y="1938"/>
                  </a:lnTo>
                  <a:lnTo>
                    <a:pt x="2306" y="1945"/>
                  </a:lnTo>
                  <a:lnTo>
                    <a:pt x="2302" y="1955"/>
                  </a:lnTo>
                  <a:lnTo>
                    <a:pt x="2296" y="1969"/>
                  </a:lnTo>
                  <a:lnTo>
                    <a:pt x="2292" y="1982"/>
                  </a:lnTo>
                  <a:lnTo>
                    <a:pt x="2290" y="1989"/>
                  </a:lnTo>
                  <a:lnTo>
                    <a:pt x="2285" y="1994"/>
                  </a:lnTo>
                  <a:lnTo>
                    <a:pt x="2281" y="1998"/>
                  </a:lnTo>
                  <a:lnTo>
                    <a:pt x="2276" y="2004"/>
                  </a:lnTo>
                  <a:lnTo>
                    <a:pt x="2253" y="2018"/>
                  </a:lnTo>
                  <a:lnTo>
                    <a:pt x="2233" y="2033"/>
                  </a:lnTo>
                  <a:lnTo>
                    <a:pt x="2226" y="2042"/>
                  </a:lnTo>
                  <a:lnTo>
                    <a:pt x="2219" y="2051"/>
                  </a:lnTo>
                  <a:lnTo>
                    <a:pt x="2217" y="2057"/>
                  </a:lnTo>
                  <a:lnTo>
                    <a:pt x="2215" y="2062"/>
                  </a:lnTo>
                  <a:lnTo>
                    <a:pt x="2214" y="2069"/>
                  </a:lnTo>
                  <a:lnTo>
                    <a:pt x="2214" y="2075"/>
                  </a:lnTo>
                  <a:lnTo>
                    <a:pt x="2214" y="2091"/>
                  </a:lnTo>
                  <a:lnTo>
                    <a:pt x="2213" y="2104"/>
                  </a:lnTo>
                  <a:lnTo>
                    <a:pt x="2212" y="2117"/>
                  </a:lnTo>
                  <a:lnTo>
                    <a:pt x="2211" y="2133"/>
                  </a:lnTo>
                  <a:lnTo>
                    <a:pt x="2211" y="2142"/>
                  </a:lnTo>
                  <a:lnTo>
                    <a:pt x="2211" y="2151"/>
                  </a:lnTo>
                  <a:lnTo>
                    <a:pt x="2211" y="2158"/>
                  </a:lnTo>
                  <a:lnTo>
                    <a:pt x="2211" y="2168"/>
                  </a:lnTo>
                  <a:lnTo>
                    <a:pt x="2211" y="2181"/>
                  </a:lnTo>
                  <a:lnTo>
                    <a:pt x="2210" y="2192"/>
                  </a:lnTo>
                  <a:lnTo>
                    <a:pt x="2210" y="2197"/>
                  </a:lnTo>
                  <a:lnTo>
                    <a:pt x="2210" y="2202"/>
                  </a:lnTo>
                  <a:lnTo>
                    <a:pt x="2212" y="2208"/>
                  </a:lnTo>
                  <a:lnTo>
                    <a:pt x="2214" y="2213"/>
                  </a:lnTo>
                  <a:lnTo>
                    <a:pt x="2219" y="2221"/>
                  </a:lnTo>
                  <a:lnTo>
                    <a:pt x="2225" y="2228"/>
                  </a:lnTo>
                  <a:lnTo>
                    <a:pt x="2230" y="2235"/>
                  </a:lnTo>
                  <a:lnTo>
                    <a:pt x="2237" y="2240"/>
                  </a:lnTo>
                  <a:lnTo>
                    <a:pt x="2250" y="2252"/>
                  </a:lnTo>
                  <a:lnTo>
                    <a:pt x="2263" y="2262"/>
                  </a:lnTo>
                  <a:lnTo>
                    <a:pt x="2269" y="2267"/>
                  </a:lnTo>
                  <a:lnTo>
                    <a:pt x="2275" y="2273"/>
                  </a:lnTo>
                  <a:lnTo>
                    <a:pt x="2280" y="2279"/>
                  </a:lnTo>
                  <a:lnTo>
                    <a:pt x="2284" y="2286"/>
                  </a:lnTo>
                  <a:lnTo>
                    <a:pt x="2287" y="2292"/>
                  </a:lnTo>
                  <a:lnTo>
                    <a:pt x="2291" y="2300"/>
                  </a:lnTo>
                  <a:lnTo>
                    <a:pt x="2292" y="2307"/>
                  </a:lnTo>
                  <a:lnTo>
                    <a:pt x="2293" y="2317"/>
                  </a:lnTo>
                  <a:lnTo>
                    <a:pt x="2293" y="2332"/>
                  </a:lnTo>
                  <a:lnTo>
                    <a:pt x="2293" y="2345"/>
                  </a:lnTo>
                  <a:lnTo>
                    <a:pt x="2293" y="2359"/>
                  </a:lnTo>
                  <a:lnTo>
                    <a:pt x="2293" y="2374"/>
                  </a:lnTo>
                  <a:lnTo>
                    <a:pt x="2292" y="2382"/>
                  </a:lnTo>
                  <a:lnTo>
                    <a:pt x="2291" y="2389"/>
                  </a:lnTo>
                  <a:lnTo>
                    <a:pt x="2289" y="2397"/>
                  </a:lnTo>
                  <a:lnTo>
                    <a:pt x="2286" y="2403"/>
                  </a:lnTo>
                  <a:lnTo>
                    <a:pt x="2282" y="2416"/>
                  </a:lnTo>
                  <a:lnTo>
                    <a:pt x="2279" y="2433"/>
                  </a:lnTo>
                  <a:lnTo>
                    <a:pt x="2275" y="2455"/>
                  </a:lnTo>
                  <a:lnTo>
                    <a:pt x="2269" y="2478"/>
                  </a:lnTo>
                  <a:lnTo>
                    <a:pt x="2266" y="2490"/>
                  </a:lnTo>
                  <a:lnTo>
                    <a:pt x="2262" y="2499"/>
                  </a:lnTo>
                  <a:lnTo>
                    <a:pt x="2257" y="2510"/>
                  </a:lnTo>
                  <a:lnTo>
                    <a:pt x="2252" y="2520"/>
                  </a:lnTo>
                  <a:lnTo>
                    <a:pt x="2246" y="2529"/>
                  </a:lnTo>
                  <a:lnTo>
                    <a:pt x="2240" y="2536"/>
                  </a:lnTo>
                  <a:lnTo>
                    <a:pt x="2233" y="2544"/>
                  </a:lnTo>
                  <a:lnTo>
                    <a:pt x="2225" y="2549"/>
                  </a:lnTo>
                  <a:lnTo>
                    <a:pt x="2217" y="2555"/>
                  </a:lnTo>
                  <a:lnTo>
                    <a:pt x="2208" y="2558"/>
                  </a:lnTo>
                  <a:lnTo>
                    <a:pt x="2197" y="2560"/>
                  </a:lnTo>
                  <a:lnTo>
                    <a:pt x="2186" y="2561"/>
                  </a:lnTo>
                  <a:lnTo>
                    <a:pt x="2175" y="2560"/>
                  </a:lnTo>
                  <a:lnTo>
                    <a:pt x="2166" y="2558"/>
                  </a:lnTo>
                  <a:lnTo>
                    <a:pt x="2158" y="2553"/>
                  </a:lnTo>
                  <a:lnTo>
                    <a:pt x="2149" y="2548"/>
                  </a:lnTo>
                  <a:lnTo>
                    <a:pt x="2134" y="2536"/>
                  </a:lnTo>
                  <a:lnTo>
                    <a:pt x="2116" y="2524"/>
                  </a:lnTo>
                  <a:lnTo>
                    <a:pt x="2103" y="2518"/>
                  </a:lnTo>
                  <a:lnTo>
                    <a:pt x="2090" y="2514"/>
                  </a:lnTo>
                  <a:lnTo>
                    <a:pt x="2078" y="2509"/>
                  </a:lnTo>
                  <a:lnTo>
                    <a:pt x="2065" y="2506"/>
                  </a:lnTo>
                  <a:lnTo>
                    <a:pt x="2040" y="2501"/>
                  </a:lnTo>
                  <a:lnTo>
                    <a:pt x="2012" y="2494"/>
                  </a:lnTo>
                  <a:lnTo>
                    <a:pt x="1981" y="2483"/>
                  </a:lnTo>
                  <a:lnTo>
                    <a:pt x="1953" y="2474"/>
                  </a:lnTo>
                  <a:lnTo>
                    <a:pt x="1939" y="2469"/>
                  </a:lnTo>
                  <a:lnTo>
                    <a:pt x="1925" y="2466"/>
                  </a:lnTo>
                  <a:lnTo>
                    <a:pt x="1909" y="2464"/>
                  </a:lnTo>
                  <a:lnTo>
                    <a:pt x="1892" y="2463"/>
                  </a:lnTo>
                  <a:lnTo>
                    <a:pt x="1882" y="2464"/>
                  </a:lnTo>
                  <a:lnTo>
                    <a:pt x="1875" y="2467"/>
                  </a:lnTo>
                  <a:lnTo>
                    <a:pt x="1867" y="2471"/>
                  </a:lnTo>
                  <a:lnTo>
                    <a:pt x="1861" y="2476"/>
                  </a:lnTo>
                  <a:lnTo>
                    <a:pt x="1854" y="2481"/>
                  </a:lnTo>
                  <a:lnTo>
                    <a:pt x="1847" y="2487"/>
                  </a:lnTo>
                  <a:lnTo>
                    <a:pt x="1839" y="2491"/>
                  </a:lnTo>
                  <a:lnTo>
                    <a:pt x="1831" y="2494"/>
                  </a:lnTo>
                  <a:lnTo>
                    <a:pt x="1814" y="2497"/>
                  </a:lnTo>
                  <a:lnTo>
                    <a:pt x="1800" y="2502"/>
                  </a:lnTo>
                  <a:lnTo>
                    <a:pt x="1787" y="2505"/>
                  </a:lnTo>
                  <a:lnTo>
                    <a:pt x="1774" y="2510"/>
                  </a:lnTo>
                  <a:lnTo>
                    <a:pt x="1763" y="2516"/>
                  </a:lnTo>
                  <a:lnTo>
                    <a:pt x="1752" y="2523"/>
                  </a:lnTo>
                  <a:lnTo>
                    <a:pt x="1742" y="2533"/>
                  </a:lnTo>
                  <a:lnTo>
                    <a:pt x="1732" y="2544"/>
                  </a:lnTo>
                  <a:lnTo>
                    <a:pt x="1728" y="2551"/>
                  </a:lnTo>
                  <a:lnTo>
                    <a:pt x="1725" y="2559"/>
                  </a:lnTo>
                  <a:lnTo>
                    <a:pt x="1723" y="2566"/>
                  </a:lnTo>
                  <a:lnTo>
                    <a:pt x="1722" y="2574"/>
                  </a:lnTo>
                  <a:lnTo>
                    <a:pt x="1719" y="2580"/>
                  </a:lnTo>
                  <a:lnTo>
                    <a:pt x="1717" y="2588"/>
                  </a:lnTo>
                  <a:lnTo>
                    <a:pt x="1714" y="2596"/>
                  </a:lnTo>
                  <a:lnTo>
                    <a:pt x="1710" y="2603"/>
                  </a:lnTo>
                  <a:lnTo>
                    <a:pt x="1706" y="2606"/>
                  </a:lnTo>
                  <a:lnTo>
                    <a:pt x="1703" y="2610"/>
                  </a:lnTo>
                  <a:lnTo>
                    <a:pt x="1699" y="2613"/>
                  </a:lnTo>
                  <a:lnTo>
                    <a:pt x="1696" y="2614"/>
                  </a:lnTo>
                  <a:lnTo>
                    <a:pt x="1687" y="2617"/>
                  </a:lnTo>
                  <a:lnTo>
                    <a:pt x="1678" y="2618"/>
                  </a:lnTo>
                  <a:lnTo>
                    <a:pt x="1659" y="2619"/>
                  </a:lnTo>
                  <a:lnTo>
                    <a:pt x="1639" y="2623"/>
                  </a:lnTo>
                  <a:lnTo>
                    <a:pt x="1633" y="2625"/>
                  </a:lnTo>
                  <a:lnTo>
                    <a:pt x="1626" y="2628"/>
                  </a:lnTo>
                  <a:lnTo>
                    <a:pt x="1621" y="2631"/>
                  </a:lnTo>
                  <a:lnTo>
                    <a:pt x="1616" y="2636"/>
                  </a:lnTo>
                  <a:lnTo>
                    <a:pt x="1606" y="2644"/>
                  </a:lnTo>
                  <a:lnTo>
                    <a:pt x="1595" y="2654"/>
                  </a:lnTo>
                  <a:lnTo>
                    <a:pt x="1571" y="2671"/>
                  </a:lnTo>
                  <a:lnTo>
                    <a:pt x="1552" y="2687"/>
                  </a:lnTo>
                  <a:lnTo>
                    <a:pt x="1532" y="2704"/>
                  </a:lnTo>
                  <a:lnTo>
                    <a:pt x="1508" y="2721"/>
                  </a:lnTo>
                  <a:lnTo>
                    <a:pt x="1497" y="2721"/>
                  </a:lnTo>
                  <a:lnTo>
                    <a:pt x="1486" y="2721"/>
                  </a:lnTo>
                  <a:lnTo>
                    <a:pt x="1476" y="2721"/>
                  </a:lnTo>
                  <a:lnTo>
                    <a:pt x="1467" y="2723"/>
                  </a:lnTo>
                  <a:lnTo>
                    <a:pt x="1458" y="2724"/>
                  </a:lnTo>
                  <a:lnTo>
                    <a:pt x="1449" y="2727"/>
                  </a:lnTo>
                  <a:lnTo>
                    <a:pt x="1434" y="2734"/>
                  </a:lnTo>
                  <a:lnTo>
                    <a:pt x="1419" y="2741"/>
                  </a:lnTo>
                  <a:lnTo>
                    <a:pt x="1404" y="2749"/>
                  </a:lnTo>
                  <a:lnTo>
                    <a:pt x="1389" y="2757"/>
                  </a:lnTo>
                  <a:lnTo>
                    <a:pt x="1380" y="2759"/>
                  </a:lnTo>
                  <a:lnTo>
                    <a:pt x="1372" y="2761"/>
                  </a:lnTo>
                  <a:lnTo>
                    <a:pt x="1362" y="2762"/>
                  </a:lnTo>
                  <a:lnTo>
                    <a:pt x="1352" y="2763"/>
                  </a:lnTo>
                  <a:lnTo>
                    <a:pt x="1342" y="2762"/>
                  </a:lnTo>
                  <a:lnTo>
                    <a:pt x="1333" y="2761"/>
                  </a:lnTo>
                  <a:lnTo>
                    <a:pt x="1324" y="2759"/>
                  </a:lnTo>
                  <a:lnTo>
                    <a:pt x="1315" y="2758"/>
                  </a:lnTo>
                  <a:lnTo>
                    <a:pt x="1308" y="2755"/>
                  </a:lnTo>
                  <a:lnTo>
                    <a:pt x="1299" y="2753"/>
                  </a:lnTo>
                  <a:lnTo>
                    <a:pt x="1289" y="2752"/>
                  </a:lnTo>
                  <a:lnTo>
                    <a:pt x="1280" y="2751"/>
                  </a:lnTo>
                  <a:lnTo>
                    <a:pt x="1266" y="2751"/>
                  </a:lnTo>
                  <a:lnTo>
                    <a:pt x="1253" y="2752"/>
                  </a:lnTo>
                  <a:lnTo>
                    <a:pt x="1240" y="2753"/>
                  </a:lnTo>
                  <a:lnTo>
                    <a:pt x="1228" y="2755"/>
                  </a:lnTo>
                  <a:lnTo>
                    <a:pt x="1217" y="2759"/>
                  </a:lnTo>
                  <a:lnTo>
                    <a:pt x="1206" y="2764"/>
                  </a:lnTo>
                  <a:lnTo>
                    <a:pt x="1196" y="2771"/>
                  </a:lnTo>
                  <a:lnTo>
                    <a:pt x="1186" y="2779"/>
                  </a:lnTo>
                  <a:lnTo>
                    <a:pt x="1171" y="2792"/>
                  </a:lnTo>
                  <a:lnTo>
                    <a:pt x="1156" y="2804"/>
                  </a:lnTo>
                  <a:lnTo>
                    <a:pt x="1150" y="2811"/>
                  </a:lnTo>
                  <a:lnTo>
                    <a:pt x="1145" y="2817"/>
                  </a:lnTo>
                  <a:lnTo>
                    <a:pt x="1144" y="2821"/>
                  </a:lnTo>
                  <a:lnTo>
                    <a:pt x="1142" y="2826"/>
                  </a:lnTo>
                  <a:lnTo>
                    <a:pt x="1140" y="2830"/>
                  </a:lnTo>
                  <a:lnTo>
                    <a:pt x="1140" y="2835"/>
                  </a:lnTo>
                  <a:lnTo>
                    <a:pt x="1138" y="2863"/>
                  </a:lnTo>
                  <a:lnTo>
                    <a:pt x="1137" y="2889"/>
                  </a:lnTo>
                  <a:lnTo>
                    <a:pt x="1137" y="2901"/>
                  </a:lnTo>
                  <a:lnTo>
                    <a:pt x="1137" y="2914"/>
                  </a:lnTo>
                  <a:lnTo>
                    <a:pt x="1138" y="2928"/>
                  </a:lnTo>
                  <a:lnTo>
                    <a:pt x="1140" y="2942"/>
                  </a:lnTo>
                  <a:lnTo>
                    <a:pt x="1140" y="2948"/>
                  </a:lnTo>
                  <a:lnTo>
                    <a:pt x="1139" y="2952"/>
                  </a:lnTo>
                  <a:lnTo>
                    <a:pt x="1137" y="2955"/>
                  </a:lnTo>
                  <a:lnTo>
                    <a:pt x="1135" y="2960"/>
                  </a:lnTo>
                  <a:lnTo>
                    <a:pt x="1131" y="2967"/>
                  </a:lnTo>
                  <a:lnTo>
                    <a:pt x="1126" y="2976"/>
                  </a:lnTo>
                  <a:lnTo>
                    <a:pt x="1059" y="3250"/>
                  </a:lnTo>
                  <a:lnTo>
                    <a:pt x="1044" y="3249"/>
                  </a:lnTo>
                  <a:lnTo>
                    <a:pt x="1029" y="3248"/>
                  </a:lnTo>
                  <a:lnTo>
                    <a:pt x="1023" y="3248"/>
                  </a:lnTo>
                  <a:lnTo>
                    <a:pt x="1017" y="3249"/>
                  </a:lnTo>
                  <a:lnTo>
                    <a:pt x="1013" y="3251"/>
                  </a:lnTo>
                  <a:lnTo>
                    <a:pt x="1009" y="3254"/>
                  </a:lnTo>
                  <a:lnTo>
                    <a:pt x="999" y="3261"/>
                  </a:lnTo>
                  <a:lnTo>
                    <a:pt x="989" y="3267"/>
                  </a:lnTo>
                  <a:lnTo>
                    <a:pt x="983" y="3270"/>
                  </a:lnTo>
                  <a:lnTo>
                    <a:pt x="976" y="3273"/>
                  </a:lnTo>
                  <a:lnTo>
                    <a:pt x="974" y="3274"/>
                  </a:lnTo>
                  <a:lnTo>
                    <a:pt x="972" y="3276"/>
                  </a:lnTo>
                  <a:lnTo>
                    <a:pt x="970" y="3278"/>
                  </a:lnTo>
                  <a:lnTo>
                    <a:pt x="970" y="3281"/>
                  </a:lnTo>
                  <a:lnTo>
                    <a:pt x="970" y="3295"/>
                  </a:lnTo>
                  <a:lnTo>
                    <a:pt x="972" y="3308"/>
                  </a:lnTo>
                  <a:lnTo>
                    <a:pt x="974" y="3321"/>
                  </a:lnTo>
                  <a:lnTo>
                    <a:pt x="976" y="3333"/>
                  </a:lnTo>
                  <a:lnTo>
                    <a:pt x="979" y="3345"/>
                  </a:lnTo>
                  <a:lnTo>
                    <a:pt x="982" y="3357"/>
                  </a:lnTo>
                  <a:lnTo>
                    <a:pt x="983" y="3370"/>
                  </a:lnTo>
                  <a:lnTo>
                    <a:pt x="984" y="3385"/>
                  </a:lnTo>
                  <a:lnTo>
                    <a:pt x="979" y="3398"/>
                  </a:lnTo>
                  <a:lnTo>
                    <a:pt x="975" y="3410"/>
                  </a:lnTo>
                  <a:lnTo>
                    <a:pt x="976" y="3419"/>
                  </a:lnTo>
                  <a:lnTo>
                    <a:pt x="977" y="3426"/>
                  </a:lnTo>
                  <a:lnTo>
                    <a:pt x="978" y="3434"/>
                  </a:lnTo>
                  <a:lnTo>
                    <a:pt x="982" y="3440"/>
                  </a:lnTo>
                  <a:lnTo>
                    <a:pt x="988" y="3454"/>
                  </a:lnTo>
                  <a:lnTo>
                    <a:pt x="995" y="3466"/>
                  </a:lnTo>
                  <a:lnTo>
                    <a:pt x="1002" y="3479"/>
                  </a:lnTo>
                  <a:lnTo>
                    <a:pt x="1009" y="3492"/>
                  </a:lnTo>
                  <a:lnTo>
                    <a:pt x="1011" y="3498"/>
                  </a:lnTo>
                  <a:lnTo>
                    <a:pt x="1013" y="3506"/>
                  </a:lnTo>
                  <a:lnTo>
                    <a:pt x="1014" y="3514"/>
                  </a:lnTo>
                  <a:lnTo>
                    <a:pt x="1014" y="3522"/>
                  </a:lnTo>
                  <a:lnTo>
                    <a:pt x="1014" y="3543"/>
                  </a:lnTo>
                  <a:lnTo>
                    <a:pt x="1011" y="3562"/>
                  </a:lnTo>
                  <a:lnTo>
                    <a:pt x="1006" y="3579"/>
                  </a:lnTo>
                  <a:lnTo>
                    <a:pt x="1002" y="3597"/>
                  </a:lnTo>
                  <a:lnTo>
                    <a:pt x="990" y="3631"/>
                  </a:lnTo>
                  <a:lnTo>
                    <a:pt x="978" y="3671"/>
                  </a:lnTo>
                  <a:lnTo>
                    <a:pt x="1032" y="3841"/>
                  </a:lnTo>
                  <a:lnTo>
                    <a:pt x="1032" y="3841"/>
                  </a:lnTo>
                  <a:lnTo>
                    <a:pt x="1013" y="3839"/>
                  </a:lnTo>
                  <a:lnTo>
                    <a:pt x="997" y="3837"/>
                  </a:lnTo>
                  <a:lnTo>
                    <a:pt x="982" y="3834"/>
                  </a:lnTo>
                  <a:lnTo>
                    <a:pt x="962" y="3833"/>
                  </a:lnTo>
                  <a:lnTo>
                    <a:pt x="948" y="3832"/>
                  </a:lnTo>
                  <a:lnTo>
                    <a:pt x="936" y="3830"/>
                  </a:lnTo>
                  <a:lnTo>
                    <a:pt x="923" y="3827"/>
                  </a:lnTo>
                  <a:lnTo>
                    <a:pt x="913" y="3822"/>
                  </a:lnTo>
                  <a:lnTo>
                    <a:pt x="902" y="3816"/>
                  </a:lnTo>
                  <a:lnTo>
                    <a:pt x="892" y="3810"/>
                  </a:lnTo>
                  <a:lnTo>
                    <a:pt x="883" y="3801"/>
                  </a:lnTo>
                  <a:lnTo>
                    <a:pt x="875" y="3792"/>
                  </a:lnTo>
                  <a:lnTo>
                    <a:pt x="867" y="3783"/>
                  </a:lnTo>
                  <a:lnTo>
                    <a:pt x="860" y="3772"/>
                  </a:lnTo>
                  <a:lnTo>
                    <a:pt x="854" y="3760"/>
                  </a:lnTo>
                  <a:lnTo>
                    <a:pt x="848" y="3748"/>
                  </a:lnTo>
                  <a:lnTo>
                    <a:pt x="843" y="3736"/>
                  </a:lnTo>
                  <a:lnTo>
                    <a:pt x="839" y="3723"/>
                  </a:lnTo>
                  <a:lnTo>
                    <a:pt x="835" y="3709"/>
                  </a:lnTo>
                  <a:lnTo>
                    <a:pt x="833" y="3696"/>
                  </a:lnTo>
                  <a:lnTo>
                    <a:pt x="826" y="3659"/>
                  </a:lnTo>
                  <a:lnTo>
                    <a:pt x="819" y="3628"/>
                  </a:lnTo>
                  <a:lnTo>
                    <a:pt x="814" y="3612"/>
                  </a:lnTo>
                  <a:lnTo>
                    <a:pt x="809" y="3597"/>
                  </a:lnTo>
                  <a:lnTo>
                    <a:pt x="802" y="3581"/>
                  </a:lnTo>
                  <a:lnTo>
                    <a:pt x="793" y="3564"/>
                  </a:lnTo>
                  <a:lnTo>
                    <a:pt x="782" y="3543"/>
                  </a:lnTo>
                  <a:lnTo>
                    <a:pt x="771" y="3524"/>
                  </a:lnTo>
                  <a:lnTo>
                    <a:pt x="760" y="3507"/>
                  </a:lnTo>
                  <a:lnTo>
                    <a:pt x="749" y="3491"/>
                  </a:lnTo>
                  <a:lnTo>
                    <a:pt x="725" y="3460"/>
                  </a:lnTo>
                  <a:lnTo>
                    <a:pt x="695" y="3424"/>
                  </a:lnTo>
                  <a:lnTo>
                    <a:pt x="680" y="3407"/>
                  </a:lnTo>
                  <a:lnTo>
                    <a:pt x="667" y="3390"/>
                  </a:lnTo>
                  <a:lnTo>
                    <a:pt x="653" y="3375"/>
                  </a:lnTo>
                  <a:lnTo>
                    <a:pt x="636" y="3359"/>
                  </a:lnTo>
                  <a:lnTo>
                    <a:pt x="616" y="3345"/>
                  </a:lnTo>
                  <a:lnTo>
                    <a:pt x="596" y="3333"/>
                  </a:lnTo>
                  <a:lnTo>
                    <a:pt x="587" y="3327"/>
                  </a:lnTo>
                  <a:lnTo>
                    <a:pt x="581" y="3319"/>
                  </a:lnTo>
                  <a:lnTo>
                    <a:pt x="578" y="3314"/>
                  </a:lnTo>
                  <a:lnTo>
                    <a:pt x="577" y="3309"/>
                  </a:lnTo>
                  <a:lnTo>
                    <a:pt x="574" y="3304"/>
                  </a:lnTo>
                  <a:lnTo>
                    <a:pt x="574" y="3298"/>
                  </a:lnTo>
                  <a:lnTo>
                    <a:pt x="574" y="3290"/>
                  </a:lnTo>
                  <a:lnTo>
                    <a:pt x="576" y="3284"/>
                  </a:lnTo>
                  <a:lnTo>
                    <a:pt x="578" y="3277"/>
                  </a:lnTo>
                  <a:lnTo>
                    <a:pt x="580" y="3272"/>
                  </a:lnTo>
                  <a:lnTo>
                    <a:pt x="586" y="3260"/>
                  </a:lnTo>
                  <a:lnTo>
                    <a:pt x="595" y="3250"/>
                  </a:lnTo>
                  <a:lnTo>
                    <a:pt x="614" y="3232"/>
                  </a:lnTo>
                  <a:lnTo>
                    <a:pt x="636" y="3211"/>
                  </a:lnTo>
                  <a:lnTo>
                    <a:pt x="643" y="3203"/>
                  </a:lnTo>
                  <a:lnTo>
                    <a:pt x="648" y="3195"/>
                  </a:lnTo>
                  <a:lnTo>
                    <a:pt x="651" y="3186"/>
                  </a:lnTo>
                  <a:lnTo>
                    <a:pt x="654" y="3178"/>
                  </a:lnTo>
                  <a:lnTo>
                    <a:pt x="658" y="3159"/>
                  </a:lnTo>
                  <a:lnTo>
                    <a:pt x="661" y="3138"/>
                  </a:lnTo>
                  <a:lnTo>
                    <a:pt x="663" y="3126"/>
                  </a:lnTo>
                  <a:lnTo>
                    <a:pt x="665" y="3114"/>
                  </a:lnTo>
                  <a:lnTo>
                    <a:pt x="666" y="3109"/>
                  </a:lnTo>
                  <a:lnTo>
                    <a:pt x="668" y="3103"/>
                  </a:lnTo>
                  <a:lnTo>
                    <a:pt x="672" y="3099"/>
                  </a:lnTo>
                  <a:lnTo>
                    <a:pt x="675" y="3093"/>
                  </a:lnTo>
                  <a:lnTo>
                    <a:pt x="679" y="3090"/>
                  </a:lnTo>
                  <a:lnTo>
                    <a:pt x="684" y="3087"/>
                  </a:lnTo>
                  <a:lnTo>
                    <a:pt x="688" y="3085"/>
                  </a:lnTo>
                  <a:lnTo>
                    <a:pt x="692" y="3083"/>
                  </a:lnTo>
                  <a:lnTo>
                    <a:pt x="702" y="3081"/>
                  </a:lnTo>
                  <a:lnTo>
                    <a:pt x="713" y="3079"/>
                  </a:lnTo>
                  <a:lnTo>
                    <a:pt x="722" y="3078"/>
                  </a:lnTo>
                  <a:lnTo>
                    <a:pt x="732" y="3076"/>
                  </a:lnTo>
                  <a:lnTo>
                    <a:pt x="736" y="3074"/>
                  </a:lnTo>
                  <a:lnTo>
                    <a:pt x="741" y="3072"/>
                  </a:lnTo>
                  <a:lnTo>
                    <a:pt x="744" y="3070"/>
                  </a:lnTo>
                  <a:lnTo>
                    <a:pt x="748" y="3065"/>
                  </a:lnTo>
                  <a:lnTo>
                    <a:pt x="754" y="3059"/>
                  </a:lnTo>
                  <a:lnTo>
                    <a:pt x="757" y="3052"/>
                  </a:lnTo>
                  <a:lnTo>
                    <a:pt x="761" y="3046"/>
                  </a:lnTo>
                  <a:lnTo>
                    <a:pt x="763" y="3039"/>
                  </a:lnTo>
                  <a:lnTo>
                    <a:pt x="766" y="3033"/>
                  </a:lnTo>
                  <a:lnTo>
                    <a:pt x="767" y="3025"/>
                  </a:lnTo>
                  <a:lnTo>
                    <a:pt x="768" y="3018"/>
                  </a:lnTo>
                  <a:lnTo>
                    <a:pt x="768" y="3009"/>
                  </a:lnTo>
                  <a:lnTo>
                    <a:pt x="767" y="2993"/>
                  </a:lnTo>
                  <a:lnTo>
                    <a:pt x="765" y="2978"/>
                  </a:lnTo>
                  <a:lnTo>
                    <a:pt x="762" y="2970"/>
                  </a:lnTo>
                  <a:lnTo>
                    <a:pt x="760" y="2963"/>
                  </a:lnTo>
                  <a:lnTo>
                    <a:pt x="757" y="2955"/>
                  </a:lnTo>
                  <a:lnTo>
                    <a:pt x="754" y="2949"/>
                  </a:lnTo>
                  <a:lnTo>
                    <a:pt x="751" y="2942"/>
                  </a:lnTo>
                  <a:lnTo>
                    <a:pt x="746" y="2937"/>
                  </a:lnTo>
                  <a:lnTo>
                    <a:pt x="741" y="2933"/>
                  </a:lnTo>
                  <a:lnTo>
                    <a:pt x="736" y="2928"/>
                  </a:lnTo>
                  <a:lnTo>
                    <a:pt x="730" y="2924"/>
                  </a:lnTo>
                  <a:lnTo>
                    <a:pt x="724" y="2922"/>
                  </a:lnTo>
                  <a:lnTo>
                    <a:pt x="717" y="2921"/>
                  </a:lnTo>
                  <a:lnTo>
                    <a:pt x="709" y="2920"/>
                  </a:lnTo>
                  <a:lnTo>
                    <a:pt x="691" y="2921"/>
                  </a:lnTo>
                  <a:lnTo>
                    <a:pt x="674" y="2923"/>
                  </a:lnTo>
                  <a:lnTo>
                    <a:pt x="659" y="2925"/>
                  </a:lnTo>
                  <a:lnTo>
                    <a:pt x="644" y="2928"/>
                  </a:lnTo>
                  <a:lnTo>
                    <a:pt x="628" y="2931"/>
                  </a:lnTo>
                  <a:lnTo>
                    <a:pt x="612" y="2934"/>
                  </a:lnTo>
                  <a:lnTo>
                    <a:pt x="596" y="2936"/>
                  </a:lnTo>
                  <a:lnTo>
                    <a:pt x="578" y="2937"/>
                  </a:lnTo>
                  <a:lnTo>
                    <a:pt x="570" y="2936"/>
                  </a:lnTo>
                  <a:lnTo>
                    <a:pt x="565" y="2935"/>
                  </a:lnTo>
                  <a:lnTo>
                    <a:pt x="559" y="2933"/>
                  </a:lnTo>
                  <a:lnTo>
                    <a:pt x="554" y="2929"/>
                  </a:lnTo>
                  <a:lnTo>
                    <a:pt x="550" y="2926"/>
                  </a:lnTo>
                  <a:lnTo>
                    <a:pt x="545" y="2922"/>
                  </a:lnTo>
                  <a:lnTo>
                    <a:pt x="542" y="2917"/>
                  </a:lnTo>
                  <a:lnTo>
                    <a:pt x="538" y="2912"/>
                  </a:lnTo>
                  <a:lnTo>
                    <a:pt x="532" y="2900"/>
                  </a:lnTo>
                  <a:lnTo>
                    <a:pt x="527" y="2887"/>
                  </a:lnTo>
                  <a:lnTo>
                    <a:pt x="523" y="2874"/>
                  </a:lnTo>
                  <a:lnTo>
                    <a:pt x="518" y="2861"/>
                  </a:lnTo>
                  <a:lnTo>
                    <a:pt x="512" y="2841"/>
                  </a:lnTo>
                  <a:lnTo>
                    <a:pt x="506" y="2821"/>
                  </a:lnTo>
                  <a:lnTo>
                    <a:pt x="500" y="2804"/>
                  </a:lnTo>
                  <a:lnTo>
                    <a:pt x="493" y="2788"/>
                  </a:lnTo>
                  <a:lnTo>
                    <a:pt x="485" y="2772"/>
                  </a:lnTo>
                  <a:lnTo>
                    <a:pt x="476" y="2755"/>
                  </a:lnTo>
                  <a:lnTo>
                    <a:pt x="464" y="2740"/>
                  </a:lnTo>
                  <a:lnTo>
                    <a:pt x="451" y="2723"/>
                  </a:lnTo>
                  <a:lnTo>
                    <a:pt x="429" y="2694"/>
                  </a:lnTo>
                  <a:lnTo>
                    <a:pt x="408" y="2667"/>
                  </a:lnTo>
                  <a:lnTo>
                    <a:pt x="398" y="2655"/>
                  </a:lnTo>
                  <a:lnTo>
                    <a:pt x="388" y="2642"/>
                  </a:lnTo>
                  <a:lnTo>
                    <a:pt x="374" y="2631"/>
                  </a:lnTo>
                  <a:lnTo>
                    <a:pt x="358" y="2619"/>
                  </a:lnTo>
                  <a:lnTo>
                    <a:pt x="354" y="2616"/>
                  </a:lnTo>
                  <a:lnTo>
                    <a:pt x="351" y="2611"/>
                  </a:lnTo>
                  <a:lnTo>
                    <a:pt x="350" y="2605"/>
                  </a:lnTo>
                  <a:lnTo>
                    <a:pt x="349" y="2599"/>
                  </a:lnTo>
                  <a:lnTo>
                    <a:pt x="348" y="2586"/>
                  </a:lnTo>
                  <a:lnTo>
                    <a:pt x="344" y="2572"/>
                  </a:lnTo>
                  <a:lnTo>
                    <a:pt x="340" y="2563"/>
                  </a:lnTo>
                  <a:lnTo>
                    <a:pt x="336" y="2556"/>
                  </a:lnTo>
                  <a:lnTo>
                    <a:pt x="330" y="2549"/>
                  </a:lnTo>
                  <a:lnTo>
                    <a:pt x="324" y="2544"/>
                  </a:lnTo>
                  <a:lnTo>
                    <a:pt x="317" y="2539"/>
                  </a:lnTo>
                  <a:lnTo>
                    <a:pt x="309" y="2536"/>
                  </a:lnTo>
                  <a:lnTo>
                    <a:pt x="301" y="2534"/>
                  </a:lnTo>
                  <a:lnTo>
                    <a:pt x="291" y="2533"/>
                  </a:lnTo>
                  <a:lnTo>
                    <a:pt x="289" y="2521"/>
                  </a:lnTo>
                  <a:lnTo>
                    <a:pt x="288" y="2510"/>
                  </a:lnTo>
                  <a:lnTo>
                    <a:pt x="289" y="2503"/>
                  </a:lnTo>
                  <a:lnTo>
                    <a:pt x="290" y="2497"/>
                  </a:lnTo>
                  <a:lnTo>
                    <a:pt x="291" y="2491"/>
                  </a:lnTo>
                  <a:lnTo>
                    <a:pt x="294" y="2487"/>
                  </a:lnTo>
                  <a:lnTo>
                    <a:pt x="300" y="2477"/>
                  </a:lnTo>
                  <a:lnTo>
                    <a:pt x="308" y="2467"/>
                  </a:lnTo>
                  <a:lnTo>
                    <a:pt x="316" y="2458"/>
                  </a:lnTo>
                  <a:lnTo>
                    <a:pt x="325" y="2450"/>
                  </a:lnTo>
                  <a:lnTo>
                    <a:pt x="334" y="2440"/>
                  </a:lnTo>
                  <a:lnTo>
                    <a:pt x="342" y="2429"/>
                  </a:lnTo>
                  <a:lnTo>
                    <a:pt x="348" y="2420"/>
                  </a:lnTo>
                  <a:lnTo>
                    <a:pt x="351" y="2410"/>
                  </a:lnTo>
                  <a:lnTo>
                    <a:pt x="355" y="2401"/>
                  </a:lnTo>
                  <a:lnTo>
                    <a:pt x="357" y="2393"/>
                  </a:lnTo>
                  <a:lnTo>
                    <a:pt x="361" y="2383"/>
                  </a:lnTo>
                  <a:lnTo>
                    <a:pt x="365" y="2374"/>
                  </a:lnTo>
                  <a:lnTo>
                    <a:pt x="369" y="2366"/>
                  </a:lnTo>
                  <a:lnTo>
                    <a:pt x="376" y="2357"/>
                  </a:lnTo>
                  <a:lnTo>
                    <a:pt x="395" y="2331"/>
                  </a:lnTo>
                  <a:lnTo>
                    <a:pt x="414" y="2308"/>
                  </a:lnTo>
                  <a:lnTo>
                    <a:pt x="420" y="2296"/>
                  </a:lnTo>
                  <a:lnTo>
                    <a:pt x="425" y="2283"/>
                  </a:lnTo>
                  <a:lnTo>
                    <a:pt x="428" y="2277"/>
                  </a:lnTo>
                  <a:lnTo>
                    <a:pt x="429" y="2269"/>
                  </a:lnTo>
                  <a:lnTo>
                    <a:pt x="430" y="2262"/>
                  </a:lnTo>
                  <a:lnTo>
                    <a:pt x="430" y="2253"/>
                  </a:lnTo>
                  <a:lnTo>
                    <a:pt x="430" y="2224"/>
                  </a:lnTo>
                  <a:lnTo>
                    <a:pt x="430" y="2198"/>
                  </a:lnTo>
                  <a:lnTo>
                    <a:pt x="430" y="2172"/>
                  </a:lnTo>
                  <a:lnTo>
                    <a:pt x="430" y="2143"/>
                  </a:lnTo>
                  <a:lnTo>
                    <a:pt x="431" y="2132"/>
                  </a:lnTo>
                  <a:lnTo>
                    <a:pt x="432" y="2121"/>
                  </a:lnTo>
                  <a:lnTo>
                    <a:pt x="433" y="2112"/>
                  </a:lnTo>
                  <a:lnTo>
                    <a:pt x="435" y="2102"/>
                  </a:lnTo>
                  <a:lnTo>
                    <a:pt x="441" y="2085"/>
                  </a:lnTo>
                  <a:lnTo>
                    <a:pt x="446" y="2067"/>
                  </a:lnTo>
                  <a:lnTo>
                    <a:pt x="451" y="2050"/>
                  </a:lnTo>
                  <a:lnTo>
                    <a:pt x="457" y="2032"/>
                  </a:lnTo>
                  <a:lnTo>
                    <a:pt x="459" y="2022"/>
                  </a:lnTo>
                  <a:lnTo>
                    <a:pt x="460" y="2012"/>
                  </a:lnTo>
                  <a:lnTo>
                    <a:pt x="461" y="2003"/>
                  </a:lnTo>
                  <a:lnTo>
                    <a:pt x="462" y="1992"/>
                  </a:lnTo>
                  <a:lnTo>
                    <a:pt x="462" y="1968"/>
                  </a:lnTo>
                  <a:lnTo>
                    <a:pt x="462" y="1947"/>
                  </a:lnTo>
                  <a:lnTo>
                    <a:pt x="462" y="1927"/>
                  </a:lnTo>
                  <a:lnTo>
                    <a:pt x="462" y="1908"/>
                  </a:lnTo>
                  <a:lnTo>
                    <a:pt x="462" y="1888"/>
                  </a:lnTo>
                  <a:lnTo>
                    <a:pt x="462" y="1868"/>
                  </a:lnTo>
                  <a:lnTo>
                    <a:pt x="462" y="1847"/>
                  </a:lnTo>
                  <a:lnTo>
                    <a:pt x="462" y="1823"/>
                  </a:lnTo>
                  <a:lnTo>
                    <a:pt x="461" y="1814"/>
                  </a:lnTo>
                  <a:lnTo>
                    <a:pt x="459" y="1805"/>
                  </a:lnTo>
                  <a:lnTo>
                    <a:pt x="456" y="1797"/>
                  </a:lnTo>
                  <a:lnTo>
                    <a:pt x="450" y="1791"/>
                  </a:lnTo>
                  <a:lnTo>
                    <a:pt x="445" y="1786"/>
                  </a:lnTo>
                  <a:lnTo>
                    <a:pt x="438" y="1781"/>
                  </a:lnTo>
                  <a:lnTo>
                    <a:pt x="431" y="1777"/>
                  </a:lnTo>
                  <a:lnTo>
                    <a:pt x="422" y="1773"/>
                  </a:lnTo>
                  <a:lnTo>
                    <a:pt x="405" y="1766"/>
                  </a:lnTo>
                  <a:lnTo>
                    <a:pt x="385" y="1759"/>
                  </a:lnTo>
                  <a:lnTo>
                    <a:pt x="366" y="1752"/>
                  </a:lnTo>
                  <a:lnTo>
                    <a:pt x="348" y="1742"/>
                  </a:lnTo>
                  <a:lnTo>
                    <a:pt x="348" y="1681"/>
                  </a:lnTo>
                  <a:lnTo>
                    <a:pt x="342" y="1658"/>
                  </a:lnTo>
                  <a:lnTo>
                    <a:pt x="327" y="1662"/>
                  </a:lnTo>
                  <a:lnTo>
                    <a:pt x="313" y="1668"/>
                  </a:lnTo>
                  <a:lnTo>
                    <a:pt x="300" y="1672"/>
                  </a:lnTo>
                  <a:lnTo>
                    <a:pt x="288" y="1678"/>
                  </a:lnTo>
                  <a:lnTo>
                    <a:pt x="275" y="1682"/>
                  </a:lnTo>
                  <a:lnTo>
                    <a:pt x="262" y="1686"/>
                  </a:lnTo>
                  <a:lnTo>
                    <a:pt x="248" y="1688"/>
                  </a:lnTo>
                  <a:lnTo>
                    <a:pt x="232" y="1689"/>
                  </a:lnTo>
                  <a:lnTo>
                    <a:pt x="215" y="1689"/>
                  </a:lnTo>
                  <a:lnTo>
                    <a:pt x="199" y="1688"/>
                  </a:lnTo>
                  <a:lnTo>
                    <a:pt x="190" y="1688"/>
                  </a:lnTo>
                  <a:lnTo>
                    <a:pt x="182" y="1686"/>
                  </a:lnTo>
                  <a:lnTo>
                    <a:pt x="174" y="1684"/>
                  </a:lnTo>
                  <a:lnTo>
                    <a:pt x="165" y="1681"/>
                  </a:lnTo>
                  <a:lnTo>
                    <a:pt x="155" y="1675"/>
                  </a:lnTo>
                  <a:lnTo>
                    <a:pt x="146" y="1669"/>
                  </a:lnTo>
                  <a:lnTo>
                    <a:pt x="141" y="1666"/>
                  </a:lnTo>
                  <a:lnTo>
                    <a:pt x="137" y="1664"/>
                  </a:lnTo>
                  <a:lnTo>
                    <a:pt x="132" y="1662"/>
                  </a:lnTo>
                  <a:lnTo>
                    <a:pt x="126" y="1661"/>
                  </a:lnTo>
                  <a:lnTo>
                    <a:pt x="117" y="1662"/>
                  </a:lnTo>
                  <a:lnTo>
                    <a:pt x="108" y="1665"/>
                  </a:lnTo>
                  <a:lnTo>
                    <a:pt x="100" y="1668"/>
                  </a:lnTo>
                  <a:lnTo>
                    <a:pt x="94" y="1671"/>
                  </a:lnTo>
                  <a:lnTo>
                    <a:pt x="80" y="1682"/>
                  </a:lnTo>
                  <a:lnTo>
                    <a:pt x="65" y="1693"/>
                  </a:lnTo>
                  <a:lnTo>
                    <a:pt x="48" y="1702"/>
                  </a:lnTo>
                  <a:lnTo>
                    <a:pt x="32" y="1711"/>
                  </a:lnTo>
                  <a:lnTo>
                    <a:pt x="16" y="1721"/>
                  </a:lnTo>
                  <a:lnTo>
                    <a:pt x="0" y="1732"/>
                  </a:lnTo>
                  <a:lnTo>
                    <a:pt x="0" y="1732"/>
                  </a:lnTo>
                  <a:lnTo>
                    <a:pt x="9" y="1708"/>
                  </a:lnTo>
                  <a:lnTo>
                    <a:pt x="17" y="1687"/>
                  </a:lnTo>
                  <a:lnTo>
                    <a:pt x="27" y="1668"/>
                  </a:lnTo>
                  <a:lnTo>
                    <a:pt x="37" y="1650"/>
                  </a:lnTo>
                  <a:lnTo>
                    <a:pt x="58" y="1614"/>
                  </a:lnTo>
                  <a:lnTo>
                    <a:pt x="84" y="1575"/>
                  </a:lnTo>
                  <a:lnTo>
                    <a:pt x="95" y="1558"/>
                  </a:lnTo>
                  <a:lnTo>
                    <a:pt x="106" y="1543"/>
                  </a:lnTo>
                  <a:lnTo>
                    <a:pt x="117" y="1527"/>
                  </a:lnTo>
                  <a:lnTo>
                    <a:pt x="127" y="1513"/>
                  </a:lnTo>
                  <a:lnTo>
                    <a:pt x="139" y="1499"/>
                  </a:lnTo>
                  <a:lnTo>
                    <a:pt x="151" y="1486"/>
                  </a:lnTo>
                  <a:lnTo>
                    <a:pt x="163" y="1476"/>
                  </a:lnTo>
                  <a:lnTo>
                    <a:pt x="176" y="1465"/>
                  </a:lnTo>
                  <a:lnTo>
                    <a:pt x="190" y="1454"/>
                  </a:lnTo>
                  <a:lnTo>
                    <a:pt x="204" y="1445"/>
                  </a:lnTo>
                  <a:lnTo>
                    <a:pt x="219" y="1438"/>
                  </a:lnTo>
                  <a:lnTo>
                    <a:pt x="234" y="1432"/>
                  </a:lnTo>
                  <a:lnTo>
                    <a:pt x="250" y="1427"/>
                  </a:lnTo>
                  <a:lnTo>
                    <a:pt x="268" y="1424"/>
                  </a:lnTo>
                  <a:lnTo>
                    <a:pt x="286" y="1422"/>
                  </a:lnTo>
                  <a:lnTo>
                    <a:pt x="306" y="1421"/>
                  </a:lnTo>
                  <a:lnTo>
                    <a:pt x="314" y="1422"/>
                  </a:lnTo>
                  <a:lnTo>
                    <a:pt x="322" y="1423"/>
                  </a:lnTo>
                  <a:lnTo>
                    <a:pt x="330" y="1425"/>
                  </a:lnTo>
                  <a:lnTo>
                    <a:pt x="339" y="1426"/>
                  </a:lnTo>
                  <a:lnTo>
                    <a:pt x="345" y="1425"/>
                  </a:lnTo>
                  <a:lnTo>
                    <a:pt x="351" y="1423"/>
                  </a:lnTo>
                  <a:lnTo>
                    <a:pt x="356" y="1421"/>
                  </a:lnTo>
                  <a:lnTo>
                    <a:pt x="361" y="1416"/>
                  </a:lnTo>
                  <a:lnTo>
                    <a:pt x="365" y="1413"/>
                  </a:lnTo>
                  <a:lnTo>
                    <a:pt x="369" y="1409"/>
                  </a:lnTo>
                  <a:lnTo>
                    <a:pt x="375" y="1405"/>
                  </a:lnTo>
                  <a:lnTo>
                    <a:pt x="381" y="1403"/>
                  </a:lnTo>
                  <a:lnTo>
                    <a:pt x="392" y="1400"/>
                  </a:lnTo>
                  <a:lnTo>
                    <a:pt x="401" y="1396"/>
                  </a:lnTo>
                  <a:lnTo>
                    <a:pt x="409" y="1391"/>
                  </a:lnTo>
                  <a:lnTo>
                    <a:pt x="417" y="1386"/>
                  </a:lnTo>
                  <a:lnTo>
                    <a:pt x="424" y="1381"/>
                  </a:lnTo>
                  <a:lnTo>
                    <a:pt x="431" y="1374"/>
                  </a:lnTo>
                  <a:lnTo>
                    <a:pt x="438" y="1367"/>
                  </a:lnTo>
                  <a:lnTo>
                    <a:pt x="446" y="1359"/>
                  </a:lnTo>
                  <a:lnTo>
                    <a:pt x="451" y="1349"/>
                  </a:lnTo>
                  <a:lnTo>
                    <a:pt x="455" y="1340"/>
                  </a:lnTo>
                  <a:lnTo>
                    <a:pt x="457" y="1335"/>
                  </a:lnTo>
                  <a:lnTo>
                    <a:pt x="459" y="1331"/>
                  </a:lnTo>
                  <a:lnTo>
                    <a:pt x="461" y="1327"/>
                  </a:lnTo>
                  <a:lnTo>
                    <a:pt x="465" y="1322"/>
                  </a:lnTo>
                  <a:lnTo>
                    <a:pt x="474" y="1314"/>
                  </a:lnTo>
                  <a:lnTo>
                    <a:pt x="482" y="1304"/>
                  </a:lnTo>
                  <a:lnTo>
                    <a:pt x="488" y="1295"/>
                  </a:lnTo>
                  <a:lnTo>
                    <a:pt x="493" y="1287"/>
                  </a:lnTo>
                  <a:lnTo>
                    <a:pt x="500" y="1279"/>
                  </a:lnTo>
                  <a:lnTo>
                    <a:pt x="508" y="1272"/>
                  </a:lnTo>
                  <a:lnTo>
                    <a:pt x="516" y="1264"/>
                  </a:lnTo>
                  <a:lnTo>
                    <a:pt x="527" y="1257"/>
                  </a:lnTo>
                  <a:lnTo>
                    <a:pt x="539" y="1254"/>
                  </a:lnTo>
                  <a:lnTo>
                    <a:pt x="550" y="1252"/>
                  </a:lnTo>
                  <a:lnTo>
                    <a:pt x="555" y="1251"/>
                  </a:lnTo>
                  <a:lnTo>
                    <a:pt x="560" y="1249"/>
                  </a:lnTo>
                  <a:lnTo>
                    <a:pt x="566" y="1247"/>
                  </a:lnTo>
                  <a:lnTo>
                    <a:pt x="571" y="1243"/>
                  </a:lnTo>
                  <a:lnTo>
                    <a:pt x="580" y="1238"/>
                  </a:lnTo>
                  <a:lnTo>
                    <a:pt x="586" y="1233"/>
                  </a:lnTo>
                  <a:lnTo>
                    <a:pt x="593" y="1226"/>
                  </a:lnTo>
                  <a:lnTo>
                    <a:pt x="598" y="1219"/>
                  </a:lnTo>
                  <a:lnTo>
                    <a:pt x="603" y="1212"/>
                  </a:lnTo>
                  <a:lnTo>
                    <a:pt x="607" y="1205"/>
                  </a:lnTo>
                  <a:lnTo>
                    <a:pt x="610" y="1197"/>
                  </a:lnTo>
                  <a:lnTo>
                    <a:pt x="613" y="1189"/>
                  </a:lnTo>
                  <a:lnTo>
                    <a:pt x="624" y="1156"/>
                  </a:lnTo>
                  <a:lnTo>
                    <a:pt x="639" y="1120"/>
                  </a:lnTo>
                  <a:lnTo>
                    <a:pt x="648" y="1103"/>
                  </a:lnTo>
                  <a:lnTo>
                    <a:pt x="655" y="1088"/>
                  </a:lnTo>
                  <a:lnTo>
                    <a:pt x="664" y="1074"/>
                  </a:lnTo>
                  <a:lnTo>
                    <a:pt x="675" y="1059"/>
                  </a:lnTo>
                  <a:lnTo>
                    <a:pt x="693" y="1040"/>
                  </a:lnTo>
                  <a:lnTo>
                    <a:pt x="712" y="1025"/>
                  </a:lnTo>
                  <a:lnTo>
                    <a:pt x="719" y="1017"/>
                  </a:lnTo>
                  <a:lnTo>
                    <a:pt x="726" y="1007"/>
                  </a:lnTo>
                  <a:lnTo>
                    <a:pt x="728" y="1003"/>
                  </a:lnTo>
                  <a:lnTo>
                    <a:pt x="730" y="997"/>
                  </a:lnTo>
                  <a:lnTo>
                    <a:pt x="731" y="991"/>
                  </a:lnTo>
                  <a:lnTo>
                    <a:pt x="731" y="984"/>
                  </a:lnTo>
                  <a:lnTo>
                    <a:pt x="729" y="968"/>
                  </a:lnTo>
                  <a:lnTo>
                    <a:pt x="726" y="952"/>
                  </a:lnTo>
                  <a:lnTo>
                    <a:pt x="727" y="945"/>
                  </a:lnTo>
                  <a:lnTo>
                    <a:pt x="729" y="939"/>
                  </a:lnTo>
                  <a:lnTo>
                    <a:pt x="733" y="933"/>
                  </a:lnTo>
                  <a:lnTo>
                    <a:pt x="738" y="928"/>
                  </a:lnTo>
                  <a:lnTo>
                    <a:pt x="742" y="923"/>
                  </a:lnTo>
                  <a:lnTo>
                    <a:pt x="746" y="917"/>
                  </a:lnTo>
                  <a:lnTo>
                    <a:pt x="751" y="912"/>
                  </a:lnTo>
                  <a:lnTo>
                    <a:pt x="754" y="904"/>
                  </a:lnTo>
                  <a:lnTo>
                    <a:pt x="760" y="886"/>
                  </a:lnTo>
                  <a:lnTo>
                    <a:pt x="766" y="870"/>
                  </a:lnTo>
                  <a:lnTo>
                    <a:pt x="770" y="854"/>
                  </a:lnTo>
                  <a:lnTo>
                    <a:pt x="776" y="835"/>
                  </a:lnTo>
                  <a:lnTo>
                    <a:pt x="784" y="811"/>
                  </a:lnTo>
                  <a:lnTo>
                    <a:pt x="792" y="792"/>
                  </a:lnTo>
                  <a:lnTo>
                    <a:pt x="800" y="773"/>
                  </a:lnTo>
                  <a:lnTo>
                    <a:pt x="810" y="751"/>
                  </a:lnTo>
                  <a:lnTo>
                    <a:pt x="815" y="734"/>
                  </a:lnTo>
                  <a:lnTo>
                    <a:pt x="820" y="717"/>
                  </a:lnTo>
                  <a:lnTo>
                    <a:pt x="822" y="710"/>
                  </a:lnTo>
                  <a:lnTo>
                    <a:pt x="824" y="702"/>
                  </a:lnTo>
                  <a:lnTo>
                    <a:pt x="829" y="695"/>
                  </a:lnTo>
                  <a:lnTo>
                    <a:pt x="835" y="689"/>
                  </a:lnTo>
                  <a:lnTo>
                    <a:pt x="846" y="682"/>
                  </a:lnTo>
                  <a:lnTo>
                    <a:pt x="855" y="675"/>
                  </a:lnTo>
                  <a:lnTo>
                    <a:pt x="866" y="671"/>
                  </a:lnTo>
                  <a:lnTo>
                    <a:pt x="876" y="666"/>
                  </a:lnTo>
                  <a:lnTo>
                    <a:pt x="886" y="661"/>
                  </a:lnTo>
                  <a:lnTo>
                    <a:pt x="895" y="655"/>
                  </a:lnTo>
                  <a:lnTo>
                    <a:pt x="903" y="648"/>
                  </a:lnTo>
                  <a:lnTo>
                    <a:pt x="910" y="639"/>
                  </a:lnTo>
                  <a:lnTo>
                    <a:pt x="923" y="618"/>
                  </a:lnTo>
                  <a:lnTo>
                    <a:pt x="933" y="598"/>
                  </a:lnTo>
                  <a:lnTo>
                    <a:pt x="941" y="578"/>
                  </a:lnTo>
                  <a:lnTo>
                    <a:pt x="947" y="559"/>
                  </a:lnTo>
                  <a:lnTo>
                    <a:pt x="952" y="539"/>
                  </a:lnTo>
                  <a:lnTo>
                    <a:pt x="959" y="520"/>
                  </a:lnTo>
                  <a:lnTo>
                    <a:pt x="967" y="498"/>
                  </a:lnTo>
                  <a:lnTo>
                    <a:pt x="975" y="476"/>
                  </a:lnTo>
                  <a:lnTo>
                    <a:pt x="983" y="462"/>
                  </a:lnTo>
                  <a:lnTo>
                    <a:pt x="991" y="449"/>
                  </a:lnTo>
                  <a:lnTo>
                    <a:pt x="1000" y="436"/>
                  </a:lnTo>
                  <a:lnTo>
                    <a:pt x="1008" y="425"/>
                  </a:lnTo>
                  <a:lnTo>
                    <a:pt x="1015" y="413"/>
                  </a:lnTo>
                  <a:lnTo>
                    <a:pt x="1021" y="400"/>
                  </a:lnTo>
                  <a:lnTo>
                    <a:pt x="1023" y="392"/>
                  </a:lnTo>
                  <a:lnTo>
                    <a:pt x="1025" y="386"/>
                  </a:lnTo>
                  <a:lnTo>
                    <a:pt x="1025" y="378"/>
                  </a:lnTo>
                  <a:lnTo>
                    <a:pt x="1026" y="370"/>
                  </a:lnTo>
                  <a:lnTo>
                    <a:pt x="1026" y="357"/>
                  </a:lnTo>
                  <a:lnTo>
                    <a:pt x="1027" y="345"/>
                  </a:lnTo>
                  <a:lnTo>
                    <a:pt x="1027" y="339"/>
                  </a:lnTo>
                  <a:lnTo>
                    <a:pt x="1026" y="334"/>
                  </a:lnTo>
                  <a:lnTo>
                    <a:pt x="1025" y="328"/>
                  </a:lnTo>
                  <a:lnTo>
                    <a:pt x="1023" y="322"/>
                  </a:lnTo>
                  <a:lnTo>
                    <a:pt x="1019" y="316"/>
                  </a:lnTo>
                  <a:lnTo>
                    <a:pt x="1014" y="310"/>
                  </a:lnTo>
                  <a:lnTo>
                    <a:pt x="1009" y="306"/>
                  </a:lnTo>
                  <a:lnTo>
                    <a:pt x="1003" y="302"/>
                  </a:lnTo>
                  <a:lnTo>
                    <a:pt x="998" y="297"/>
                  </a:lnTo>
                  <a:lnTo>
                    <a:pt x="994" y="293"/>
                  </a:lnTo>
                  <a:lnTo>
                    <a:pt x="991" y="290"/>
                  </a:lnTo>
                  <a:lnTo>
                    <a:pt x="990" y="287"/>
                  </a:lnTo>
                  <a:lnTo>
                    <a:pt x="989" y="283"/>
                  </a:lnTo>
                  <a:lnTo>
                    <a:pt x="989" y="280"/>
                  </a:lnTo>
                  <a:lnTo>
                    <a:pt x="989" y="274"/>
                  </a:lnTo>
                  <a:lnTo>
                    <a:pt x="990" y="267"/>
                  </a:lnTo>
                  <a:lnTo>
                    <a:pt x="992" y="262"/>
                  </a:lnTo>
                  <a:lnTo>
                    <a:pt x="995" y="256"/>
                  </a:lnTo>
                  <a:lnTo>
                    <a:pt x="1001" y="247"/>
                  </a:lnTo>
                  <a:lnTo>
                    <a:pt x="1008" y="238"/>
                  </a:lnTo>
                  <a:lnTo>
                    <a:pt x="1016" y="229"/>
                  </a:lnTo>
                  <a:lnTo>
                    <a:pt x="1024" y="221"/>
                  </a:lnTo>
                  <a:lnTo>
                    <a:pt x="1031" y="210"/>
                  </a:lnTo>
                  <a:lnTo>
                    <a:pt x="1037" y="198"/>
                  </a:lnTo>
                  <a:lnTo>
                    <a:pt x="1048" y="172"/>
                  </a:lnTo>
                  <a:lnTo>
                    <a:pt x="1055" y="147"/>
                  </a:lnTo>
                  <a:lnTo>
                    <a:pt x="1063" y="123"/>
                  </a:lnTo>
                  <a:lnTo>
                    <a:pt x="1068" y="101"/>
                  </a:lnTo>
                  <a:lnTo>
                    <a:pt x="1075" y="77"/>
                  </a:lnTo>
                  <a:lnTo>
                    <a:pt x="1080" y="53"/>
                  </a:lnTo>
                  <a:lnTo>
                    <a:pt x="1088" y="28"/>
                  </a:lnTo>
                  <a:lnTo>
                    <a:pt x="1096" y="0"/>
                  </a:lnTo>
                  <a:lnTo>
                    <a:pt x="1096" y="0"/>
                  </a:lnTo>
                  <a:close/>
                </a:path>
              </a:pathLst>
            </a:custGeom>
            <a:solidFill>
              <a:srgbClr val="1496D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20">
              <a:extLst>
                <a:ext uri="{FF2B5EF4-FFF2-40B4-BE49-F238E27FC236}">
                  <a16:creationId xmlns:a16="http://schemas.microsoft.com/office/drawing/2014/main" id="{CEDEABC5-3322-4792-868B-8BDD57BD6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84475" y="1271588"/>
              <a:ext cx="1122363" cy="1524000"/>
            </a:xfrm>
            <a:custGeom>
              <a:avLst/>
              <a:gdLst>
                <a:gd name="T0" fmla="*/ 1259 w 2831"/>
                <a:gd name="T1" fmla="*/ 87 h 3841"/>
                <a:gd name="T2" fmla="*/ 1401 w 2831"/>
                <a:gd name="T3" fmla="*/ 146 h 3841"/>
                <a:gd name="T4" fmla="*/ 1463 w 2831"/>
                <a:gd name="T5" fmla="*/ 212 h 3841"/>
                <a:gd name="T6" fmla="*/ 1616 w 2831"/>
                <a:gd name="T7" fmla="*/ 275 h 3841"/>
                <a:gd name="T8" fmla="*/ 1713 w 2831"/>
                <a:gd name="T9" fmla="*/ 433 h 3841"/>
                <a:gd name="T10" fmla="*/ 1726 w 2831"/>
                <a:gd name="T11" fmla="*/ 506 h 3841"/>
                <a:gd name="T12" fmla="*/ 1687 w 2831"/>
                <a:gd name="T13" fmla="*/ 614 h 3841"/>
                <a:gd name="T14" fmla="*/ 1687 w 2831"/>
                <a:gd name="T15" fmla="*/ 884 h 3841"/>
                <a:gd name="T16" fmla="*/ 1729 w 2831"/>
                <a:gd name="T17" fmla="*/ 792 h 3841"/>
                <a:gd name="T18" fmla="*/ 1791 w 2831"/>
                <a:gd name="T19" fmla="*/ 616 h 3841"/>
                <a:gd name="T20" fmla="*/ 1835 w 2831"/>
                <a:gd name="T21" fmla="*/ 759 h 3841"/>
                <a:gd name="T22" fmla="*/ 2024 w 2831"/>
                <a:gd name="T23" fmla="*/ 618 h 3841"/>
                <a:gd name="T24" fmla="*/ 2290 w 2831"/>
                <a:gd name="T25" fmla="*/ 740 h 3841"/>
                <a:gd name="T26" fmla="*/ 2592 w 2831"/>
                <a:gd name="T27" fmla="*/ 841 h 3841"/>
                <a:gd name="T28" fmla="*/ 2692 w 2831"/>
                <a:gd name="T29" fmla="*/ 838 h 3841"/>
                <a:gd name="T30" fmla="*/ 2831 w 2831"/>
                <a:gd name="T31" fmla="*/ 881 h 3841"/>
                <a:gd name="T32" fmla="*/ 2704 w 2831"/>
                <a:gd name="T33" fmla="*/ 1031 h 3841"/>
                <a:gd name="T34" fmla="*/ 2543 w 2831"/>
                <a:gd name="T35" fmla="*/ 1143 h 3841"/>
                <a:gd name="T36" fmla="*/ 2452 w 2831"/>
                <a:gd name="T37" fmla="*/ 1167 h 3841"/>
                <a:gd name="T38" fmla="*/ 2311 w 2831"/>
                <a:gd name="T39" fmla="*/ 1402 h 3841"/>
                <a:gd name="T40" fmla="*/ 2336 w 2831"/>
                <a:gd name="T41" fmla="*/ 1500 h 3841"/>
                <a:gd name="T42" fmla="*/ 2343 w 2831"/>
                <a:gd name="T43" fmla="*/ 1650 h 3841"/>
                <a:gd name="T44" fmla="*/ 2319 w 2831"/>
                <a:gd name="T45" fmla="*/ 1929 h 3841"/>
                <a:gd name="T46" fmla="*/ 2214 w 2831"/>
                <a:gd name="T47" fmla="*/ 2069 h 3841"/>
                <a:gd name="T48" fmla="*/ 2225 w 2831"/>
                <a:gd name="T49" fmla="*/ 2228 h 3841"/>
                <a:gd name="T50" fmla="*/ 2292 w 2831"/>
                <a:gd name="T51" fmla="*/ 2382 h 3841"/>
                <a:gd name="T52" fmla="*/ 2208 w 2831"/>
                <a:gd name="T53" fmla="*/ 2558 h 3841"/>
                <a:gd name="T54" fmla="*/ 1939 w 2831"/>
                <a:gd name="T55" fmla="*/ 2469 h 3841"/>
                <a:gd name="T56" fmla="*/ 1752 w 2831"/>
                <a:gd name="T57" fmla="*/ 2523 h 3841"/>
                <a:gd name="T58" fmla="*/ 1659 w 2831"/>
                <a:gd name="T59" fmla="*/ 2619 h 3841"/>
                <a:gd name="T60" fmla="*/ 1449 w 2831"/>
                <a:gd name="T61" fmla="*/ 2727 h 3841"/>
                <a:gd name="T62" fmla="*/ 1266 w 2831"/>
                <a:gd name="T63" fmla="*/ 2751 h 3841"/>
                <a:gd name="T64" fmla="*/ 1137 w 2831"/>
                <a:gd name="T65" fmla="*/ 2889 h 3841"/>
                <a:gd name="T66" fmla="*/ 1009 w 2831"/>
                <a:gd name="T67" fmla="*/ 3254 h 3841"/>
                <a:gd name="T68" fmla="*/ 979 w 2831"/>
                <a:gd name="T69" fmla="*/ 3398 h 3841"/>
                <a:gd name="T70" fmla="*/ 1002 w 2831"/>
                <a:gd name="T71" fmla="*/ 3597 h 3841"/>
                <a:gd name="T72" fmla="*/ 867 w 2831"/>
                <a:gd name="T73" fmla="*/ 3783 h 3841"/>
                <a:gd name="T74" fmla="*/ 749 w 2831"/>
                <a:gd name="T75" fmla="*/ 3491 h 3841"/>
                <a:gd name="T76" fmla="*/ 578 w 2831"/>
                <a:gd name="T77" fmla="*/ 3277 h 3841"/>
                <a:gd name="T78" fmla="*/ 675 w 2831"/>
                <a:gd name="T79" fmla="*/ 3093 h 3841"/>
                <a:gd name="T80" fmla="*/ 766 w 2831"/>
                <a:gd name="T81" fmla="*/ 3033 h 3841"/>
                <a:gd name="T82" fmla="*/ 709 w 2831"/>
                <a:gd name="T83" fmla="*/ 2920 h 3841"/>
                <a:gd name="T84" fmla="*/ 532 w 2831"/>
                <a:gd name="T85" fmla="*/ 2900 h 3841"/>
                <a:gd name="T86" fmla="*/ 358 w 2831"/>
                <a:gd name="T87" fmla="*/ 2619 h 3841"/>
                <a:gd name="T88" fmla="*/ 289 w 2831"/>
                <a:gd name="T89" fmla="*/ 2503 h 3841"/>
                <a:gd name="T90" fmla="*/ 376 w 2831"/>
                <a:gd name="T91" fmla="*/ 2357 h 3841"/>
                <a:gd name="T92" fmla="*/ 441 w 2831"/>
                <a:gd name="T93" fmla="*/ 2085 h 3841"/>
                <a:gd name="T94" fmla="*/ 459 w 2831"/>
                <a:gd name="T95" fmla="*/ 1805 h 3841"/>
                <a:gd name="T96" fmla="*/ 275 w 2831"/>
                <a:gd name="T97" fmla="*/ 1682 h 3841"/>
                <a:gd name="T98" fmla="*/ 108 w 2831"/>
                <a:gd name="T99" fmla="*/ 1665 h 3841"/>
                <a:gd name="T100" fmla="*/ 106 w 2831"/>
                <a:gd name="T101" fmla="*/ 1543 h 3841"/>
                <a:gd name="T102" fmla="*/ 330 w 2831"/>
                <a:gd name="T103" fmla="*/ 1425 h 3841"/>
                <a:gd name="T104" fmla="*/ 446 w 2831"/>
                <a:gd name="T105" fmla="*/ 1359 h 3841"/>
                <a:gd name="T106" fmla="*/ 555 w 2831"/>
                <a:gd name="T107" fmla="*/ 1251 h 3841"/>
                <a:gd name="T108" fmla="*/ 675 w 2831"/>
                <a:gd name="T109" fmla="*/ 1059 h 3841"/>
                <a:gd name="T110" fmla="*/ 751 w 2831"/>
                <a:gd name="T111" fmla="*/ 912 h 3841"/>
                <a:gd name="T112" fmla="*/ 855 w 2831"/>
                <a:gd name="T113" fmla="*/ 675 h 3841"/>
                <a:gd name="T114" fmla="*/ 1000 w 2831"/>
                <a:gd name="T115" fmla="*/ 436 h 3841"/>
                <a:gd name="T116" fmla="*/ 1003 w 2831"/>
                <a:gd name="T117" fmla="*/ 302 h 3841"/>
                <a:gd name="T118" fmla="*/ 1048 w 2831"/>
                <a:gd name="T119" fmla="*/ 172 h 3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31" h="3841">
                  <a:moveTo>
                    <a:pt x="1096" y="0"/>
                  </a:moveTo>
                  <a:lnTo>
                    <a:pt x="1108" y="8"/>
                  </a:lnTo>
                  <a:lnTo>
                    <a:pt x="1121" y="15"/>
                  </a:lnTo>
                  <a:lnTo>
                    <a:pt x="1133" y="23"/>
                  </a:lnTo>
                  <a:lnTo>
                    <a:pt x="1146" y="33"/>
                  </a:lnTo>
                  <a:lnTo>
                    <a:pt x="1169" y="53"/>
                  </a:lnTo>
                  <a:lnTo>
                    <a:pt x="1189" y="73"/>
                  </a:lnTo>
                  <a:lnTo>
                    <a:pt x="1200" y="80"/>
                  </a:lnTo>
                  <a:lnTo>
                    <a:pt x="1211" y="87"/>
                  </a:lnTo>
                  <a:lnTo>
                    <a:pt x="1217" y="89"/>
                  </a:lnTo>
                  <a:lnTo>
                    <a:pt x="1224" y="91"/>
                  </a:lnTo>
                  <a:lnTo>
                    <a:pt x="1231" y="92"/>
                  </a:lnTo>
                  <a:lnTo>
                    <a:pt x="1239" y="92"/>
                  </a:lnTo>
                  <a:lnTo>
                    <a:pt x="1245" y="91"/>
                  </a:lnTo>
                  <a:lnTo>
                    <a:pt x="1250" y="90"/>
                  </a:lnTo>
                  <a:lnTo>
                    <a:pt x="1255" y="89"/>
                  </a:lnTo>
                  <a:lnTo>
                    <a:pt x="1259" y="87"/>
                  </a:lnTo>
                  <a:lnTo>
                    <a:pt x="1265" y="85"/>
                  </a:lnTo>
                  <a:lnTo>
                    <a:pt x="1269" y="82"/>
                  </a:lnTo>
                  <a:lnTo>
                    <a:pt x="1274" y="81"/>
                  </a:lnTo>
                  <a:lnTo>
                    <a:pt x="1281" y="81"/>
                  </a:lnTo>
                  <a:lnTo>
                    <a:pt x="1289" y="81"/>
                  </a:lnTo>
                  <a:lnTo>
                    <a:pt x="1297" y="84"/>
                  </a:lnTo>
                  <a:lnTo>
                    <a:pt x="1304" y="87"/>
                  </a:lnTo>
                  <a:lnTo>
                    <a:pt x="1310" y="91"/>
                  </a:lnTo>
                  <a:lnTo>
                    <a:pt x="1323" y="102"/>
                  </a:lnTo>
                  <a:lnTo>
                    <a:pt x="1337" y="112"/>
                  </a:lnTo>
                  <a:lnTo>
                    <a:pt x="1360" y="122"/>
                  </a:lnTo>
                  <a:lnTo>
                    <a:pt x="1381" y="131"/>
                  </a:lnTo>
                  <a:lnTo>
                    <a:pt x="1386" y="133"/>
                  </a:lnTo>
                  <a:lnTo>
                    <a:pt x="1390" y="136"/>
                  </a:lnTo>
                  <a:lnTo>
                    <a:pt x="1394" y="140"/>
                  </a:lnTo>
                  <a:lnTo>
                    <a:pt x="1397" y="143"/>
                  </a:lnTo>
                  <a:lnTo>
                    <a:pt x="1401" y="146"/>
                  </a:lnTo>
                  <a:lnTo>
                    <a:pt x="1403" y="152"/>
                  </a:lnTo>
                  <a:lnTo>
                    <a:pt x="1404" y="156"/>
                  </a:lnTo>
                  <a:lnTo>
                    <a:pt x="1404" y="162"/>
                  </a:lnTo>
                  <a:lnTo>
                    <a:pt x="1403" y="169"/>
                  </a:lnTo>
                  <a:lnTo>
                    <a:pt x="1402" y="174"/>
                  </a:lnTo>
                  <a:lnTo>
                    <a:pt x="1399" y="180"/>
                  </a:lnTo>
                  <a:lnTo>
                    <a:pt x="1395" y="185"/>
                  </a:lnTo>
                  <a:lnTo>
                    <a:pt x="1392" y="189"/>
                  </a:lnTo>
                  <a:lnTo>
                    <a:pt x="1389" y="195"/>
                  </a:lnTo>
                  <a:lnTo>
                    <a:pt x="1386" y="200"/>
                  </a:lnTo>
                  <a:lnTo>
                    <a:pt x="1385" y="207"/>
                  </a:lnTo>
                  <a:lnTo>
                    <a:pt x="1395" y="212"/>
                  </a:lnTo>
                  <a:lnTo>
                    <a:pt x="1412" y="212"/>
                  </a:lnTo>
                  <a:lnTo>
                    <a:pt x="1424" y="212"/>
                  </a:lnTo>
                  <a:lnTo>
                    <a:pt x="1439" y="212"/>
                  </a:lnTo>
                  <a:lnTo>
                    <a:pt x="1454" y="212"/>
                  </a:lnTo>
                  <a:lnTo>
                    <a:pt x="1463" y="212"/>
                  </a:lnTo>
                  <a:lnTo>
                    <a:pt x="1472" y="210"/>
                  </a:lnTo>
                  <a:lnTo>
                    <a:pt x="1481" y="208"/>
                  </a:lnTo>
                  <a:lnTo>
                    <a:pt x="1488" y="206"/>
                  </a:lnTo>
                  <a:lnTo>
                    <a:pt x="1497" y="203"/>
                  </a:lnTo>
                  <a:lnTo>
                    <a:pt x="1504" y="201"/>
                  </a:lnTo>
                  <a:lnTo>
                    <a:pt x="1513" y="199"/>
                  </a:lnTo>
                  <a:lnTo>
                    <a:pt x="1523" y="198"/>
                  </a:lnTo>
                  <a:lnTo>
                    <a:pt x="1529" y="199"/>
                  </a:lnTo>
                  <a:lnTo>
                    <a:pt x="1535" y="200"/>
                  </a:lnTo>
                  <a:lnTo>
                    <a:pt x="1540" y="201"/>
                  </a:lnTo>
                  <a:lnTo>
                    <a:pt x="1544" y="203"/>
                  </a:lnTo>
                  <a:lnTo>
                    <a:pt x="1552" y="209"/>
                  </a:lnTo>
                  <a:lnTo>
                    <a:pt x="1559" y="216"/>
                  </a:lnTo>
                  <a:lnTo>
                    <a:pt x="1574" y="234"/>
                  </a:lnTo>
                  <a:lnTo>
                    <a:pt x="1589" y="252"/>
                  </a:lnTo>
                  <a:lnTo>
                    <a:pt x="1603" y="264"/>
                  </a:lnTo>
                  <a:lnTo>
                    <a:pt x="1616" y="275"/>
                  </a:lnTo>
                  <a:lnTo>
                    <a:pt x="1629" y="285"/>
                  </a:lnTo>
                  <a:lnTo>
                    <a:pt x="1643" y="296"/>
                  </a:lnTo>
                  <a:lnTo>
                    <a:pt x="1652" y="305"/>
                  </a:lnTo>
                  <a:lnTo>
                    <a:pt x="1660" y="314"/>
                  </a:lnTo>
                  <a:lnTo>
                    <a:pt x="1668" y="322"/>
                  </a:lnTo>
                  <a:lnTo>
                    <a:pt x="1674" y="332"/>
                  </a:lnTo>
                  <a:lnTo>
                    <a:pt x="1679" y="342"/>
                  </a:lnTo>
                  <a:lnTo>
                    <a:pt x="1684" y="351"/>
                  </a:lnTo>
                  <a:lnTo>
                    <a:pt x="1688" y="363"/>
                  </a:lnTo>
                  <a:lnTo>
                    <a:pt x="1692" y="375"/>
                  </a:lnTo>
                  <a:lnTo>
                    <a:pt x="1698" y="387"/>
                  </a:lnTo>
                  <a:lnTo>
                    <a:pt x="1704" y="398"/>
                  </a:lnTo>
                  <a:lnTo>
                    <a:pt x="1707" y="403"/>
                  </a:lnTo>
                  <a:lnTo>
                    <a:pt x="1710" y="409"/>
                  </a:lnTo>
                  <a:lnTo>
                    <a:pt x="1712" y="415"/>
                  </a:lnTo>
                  <a:lnTo>
                    <a:pt x="1713" y="422"/>
                  </a:lnTo>
                  <a:lnTo>
                    <a:pt x="1713" y="433"/>
                  </a:lnTo>
                  <a:lnTo>
                    <a:pt x="1713" y="445"/>
                  </a:lnTo>
                  <a:lnTo>
                    <a:pt x="1673" y="449"/>
                  </a:lnTo>
                  <a:lnTo>
                    <a:pt x="1637" y="450"/>
                  </a:lnTo>
                  <a:lnTo>
                    <a:pt x="1629" y="451"/>
                  </a:lnTo>
                  <a:lnTo>
                    <a:pt x="1621" y="452"/>
                  </a:lnTo>
                  <a:lnTo>
                    <a:pt x="1614" y="454"/>
                  </a:lnTo>
                  <a:lnTo>
                    <a:pt x="1606" y="457"/>
                  </a:lnTo>
                  <a:lnTo>
                    <a:pt x="1598" y="460"/>
                  </a:lnTo>
                  <a:lnTo>
                    <a:pt x="1591" y="466"/>
                  </a:lnTo>
                  <a:lnTo>
                    <a:pt x="1584" y="471"/>
                  </a:lnTo>
                  <a:lnTo>
                    <a:pt x="1578" y="479"/>
                  </a:lnTo>
                  <a:lnTo>
                    <a:pt x="1608" y="483"/>
                  </a:lnTo>
                  <a:lnTo>
                    <a:pt x="1635" y="489"/>
                  </a:lnTo>
                  <a:lnTo>
                    <a:pt x="1661" y="494"/>
                  </a:lnTo>
                  <a:lnTo>
                    <a:pt x="1690" y="501"/>
                  </a:lnTo>
                  <a:lnTo>
                    <a:pt x="1707" y="504"/>
                  </a:lnTo>
                  <a:lnTo>
                    <a:pt x="1726" y="506"/>
                  </a:lnTo>
                  <a:lnTo>
                    <a:pt x="1734" y="507"/>
                  </a:lnTo>
                  <a:lnTo>
                    <a:pt x="1740" y="510"/>
                  </a:lnTo>
                  <a:lnTo>
                    <a:pt x="1743" y="512"/>
                  </a:lnTo>
                  <a:lnTo>
                    <a:pt x="1744" y="514"/>
                  </a:lnTo>
                  <a:lnTo>
                    <a:pt x="1745" y="519"/>
                  </a:lnTo>
                  <a:lnTo>
                    <a:pt x="1746" y="522"/>
                  </a:lnTo>
                  <a:lnTo>
                    <a:pt x="1745" y="527"/>
                  </a:lnTo>
                  <a:lnTo>
                    <a:pt x="1745" y="533"/>
                  </a:lnTo>
                  <a:lnTo>
                    <a:pt x="1743" y="537"/>
                  </a:lnTo>
                  <a:lnTo>
                    <a:pt x="1741" y="541"/>
                  </a:lnTo>
                  <a:lnTo>
                    <a:pt x="1736" y="550"/>
                  </a:lnTo>
                  <a:lnTo>
                    <a:pt x="1729" y="557"/>
                  </a:lnTo>
                  <a:lnTo>
                    <a:pt x="1722" y="564"/>
                  </a:lnTo>
                  <a:lnTo>
                    <a:pt x="1714" y="571"/>
                  </a:lnTo>
                  <a:lnTo>
                    <a:pt x="1707" y="579"/>
                  </a:lnTo>
                  <a:lnTo>
                    <a:pt x="1701" y="588"/>
                  </a:lnTo>
                  <a:lnTo>
                    <a:pt x="1687" y="614"/>
                  </a:lnTo>
                  <a:lnTo>
                    <a:pt x="1675" y="639"/>
                  </a:lnTo>
                  <a:lnTo>
                    <a:pt x="1664" y="661"/>
                  </a:lnTo>
                  <a:lnTo>
                    <a:pt x="1656" y="685"/>
                  </a:lnTo>
                  <a:lnTo>
                    <a:pt x="1649" y="709"/>
                  </a:lnTo>
                  <a:lnTo>
                    <a:pt x="1644" y="734"/>
                  </a:lnTo>
                  <a:lnTo>
                    <a:pt x="1642" y="747"/>
                  </a:lnTo>
                  <a:lnTo>
                    <a:pt x="1641" y="761"/>
                  </a:lnTo>
                  <a:lnTo>
                    <a:pt x="1639" y="775"/>
                  </a:lnTo>
                  <a:lnTo>
                    <a:pt x="1639" y="790"/>
                  </a:lnTo>
                  <a:lnTo>
                    <a:pt x="1641" y="802"/>
                  </a:lnTo>
                  <a:lnTo>
                    <a:pt x="1643" y="811"/>
                  </a:lnTo>
                  <a:lnTo>
                    <a:pt x="1646" y="821"/>
                  </a:lnTo>
                  <a:lnTo>
                    <a:pt x="1651" y="830"/>
                  </a:lnTo>
                  <a:lnTo>
                    <a:pt x="1663" y="847"/>
                  </a:lnTo>
                  <a:lnTo>
                    <a:pt x="1676" y="865"/>
                  </a:lnTo>
                  <a:lnTo>
                    <a:pt x="1682" y="875"/>
                  </a:lnTo>
                  <a:lnTo>
                    <a:pt x="1687" y="884"/>
                  </a:lnTo>
                  <a:lnTo>
                    <a:pt x="1690" y="888"/>
                  </a:lnTo>
                  <a:lnTo>
                    <a:pt x="1695" y="891"/>
                  </a:lnTo>
                  <a:lnTo>
                    <a:pt x="1699" y="892"/>
                  </a:lnTo>
                  <a:lnTo>
                    <a:pt x="1704" y="894"/>
                  </a:lnTo>
                  <a:lnTo>
                    <a:pt x="1711" y="892"/>
                  </a:lnTo>
                  <a:lnTo>
                    <a:pt x="1716" y="891"/>
                  </a:lnTo>
                  <a:lnTo>
                    <a:pt x="1720" y="888"/>
                  </a:lnTo>
                  <a:lnTo>
                    <a:pt x="1725" y="884"/>
                  </a:lnTo>
                  <a:lnTo>
                    <a:pt x="1728" y="879"/>
                  </a:lnTo>
                  <a:lnTo>
                    <a:pt x="1730" y="873"/>
                  </a:lnTo>
                  <a:lnTo>
                    <a:pt x="1731" y="868"/>
                  </a:lnTo>
                  <a:lnTo>
                    <a:pt x="1732" y="860"/>
                  </a:lnTo>
                  <a:lnTo>
                    <a:pt x="1732" y="845"/>
                  </a:lnTo>
                  <a:lnTo>
                    <a:pt x="1732" y="830"/>
                  </a:lnTo>
                  <a:lnTo>
                    <a:pt x="1730" y="814"/>
                  </a:lnTo>
                  <a:lnTo>
                    <a:pt x="1729" y="798"/>
                  </a:lnTo>
                  <a:lnTo>
                    <a:pt x="1729" y="792"/>
                  </a:lnTo>
                  <a:lnTo>
                    <a:pt x="1730" y="787"/>
                  </a:lnTo>
                  <a:lnTo>
                    <a:pt x="1731" y="781"/>
                  </a:lnTo>
                  <a:lnTo>
                    <a:pt x="1732" y="776"/>
                  </a:lnTo>
                  <a:lnTo>
                    <a:pt x="1737" y="766"/>
                  </a:lnTo>
                  <a:lnTo>
                    <a:pt x="1742" y="757"/>
                  </a:lnTo>
                  <a:lnTo>
                    <a:pt x="1747" y="749"/>
                  </a:lnTo>
                  <a:lnTo>
                    <a:pt x="1752" y="739"/>
                  </a:lnTo>
                  <a:lnTo>
                    <a:pt x="1757" y="728"/>
                  </a:lnTo>
                  <a:lnTo>
                    <a:pt x="1760" y="717"/>
                  </a:lnTo>
                  <a:lnTo>
                    <a:pt x="1765" y="683"/>
                  </a:lnTo>
                  <a:lnTo>
                    <a:pt x="1769" y="648"/>
                  </a:lnTo>
                  <a:lnTo>
                    <a:pt x="1771" y="642"/>
                  </a:lnTo>
                  <a:lnTo>
                    <a:pt x="1773" y="634"/>
                  </a:lnTo>
                  <a:lnTo>
                    <a:pt x="1777" y="629"/>
                  </a:lnTo>
                  <a:lnTo>
                    <a:pt x="1781" y="624"/>
                  </a:lnTo>
                  <a:lnTo>
                    <a:pt x="1785" y="619"/>
                  </a:lnTo>
                  <a:lnTo>
                    <a:pt x="1791" y="616"/>
                  </a:lnTo>
                  <a:lnTo>
                    <a:pt x="1797" y="614"/>
                  </a:lnTo>
                  <a:lnTo>
                    <a:pt x="1805" y="614"/>
                  </a:lnTo>
                  <a:lnTo>
                    <a:pt x="1819" y="615"/>
                  </a:lnTo>
                  <a:lnTo>
                    <a:pt x="1831" y="617"/>
                  </a:lnTo>
                  <a:lnTo>
                    <a:pt x="1842" y="620"/>
                  </a:lnTo>
                  <a:lnTo>
                    <a:pt x="1855" y="621"/>
                  </a:lnTo>
                  <a:lnTo>
                    <a:pt x="1857" y="628"/>
                  </a:lnTo>
                  <a:lnTo>
                    <a:pt x="1859" y="633"/>
                  </a:lnTo>
                  <a:lnTo>
                    <a:pt x="1858" y="652"/>
                  </a:lnTo>
                  <a:lnTo>
                    <a:pt x="1857" y="669"/>
                  </a:lnTo>
                  <a:lnTo>
                    <a:pt x="1854" y="684"/>
                  </a:lnTo>
                  <a:lnTo>
                    <a:pt x="1851" y="699"/>
                  </a:lnTo>
                  <a:lnTo>
                    <a:pt x="1847" y="714"/>
                  </a:lnTo>
                  <a:lnTo>
                    <a:pt x="1841" y="729"/>
                  </a:lnTo>
                  <a:lnTo>
                    <a:pt x="1835" y="746"/>
                  </a:lnTo>
                  <a:lnTo>
                    <a:pt x="1827" y="762"/>
                  </a:lnTo>
                  <a:lnTo>
                    <a:pt x="1835" y="759"/>
                  </a:lnTo>
                  <a:lnTo>
                    <a:pt x="1842" y="755"/>
                  </a:lnTo>
                  <a:lnTo>
                    <a:pt x="1849" y="752"/>
                  </a:lnTo>
                  <a:lnTo>
                    <a:pt x="1854" y="748"/>
                  </a:lnTo>
                  <a:lnTo>
                    <a:pt x="1865" y="739"/>
                  </a:lnTo>
                  <a:lnTo>
                    <a:pt x="1875" y="728"/>
                  </a:lnTo>
                  <a:lnTo>
                    <a:pt x="1891" y="705"/>
                  </a:lnTo>
                  <a:lnTo>
                    <a:pt x="1908" y="678"/>
                  </a:lnTo>
                  <a:lnTo>
                    <a:pt x="1927" y="652"/>
                  </a:lnTo>
                  <a:lnTo>
                    <a:pt x="1942" y="629"/>
                  </a:lnTo>
                  <a:lnTo>
                    <a:pt x="1958" y="606"/>
                  </a:lnTo>
                  <a:lnTo>
                    <a:pt x="1976" y="579"/>
                  </a:lnTo>
                  <a:lnTo>
                    <a:pt x="1986" y="585"/>
                  </a:lnTo>
                  <a:lnTo>
                    <a:pt x="1995" y="591"/>
                  </a:lnTo>
                  <a:lnTo>
                    <a:pt x="2002" y="598"/>
                  </a:lnTo>
                  <a:lnTo>
                    <a:pt x="2010" y="604"/>
                  </a:lnTo>
                  <a:lnTo>
                    <a:pt x="2016" y="611"/>
                  </a:lnTo>
                  <a:lnTo>
                    <a:pt x="2024" y="618"/>
                  </a:lnTo>
                  <a:lnTo>
                    <a:pt x="2033" y="624"/>
                  </a:lnTo>
                  <a:lnTo>
                    <a:pt x="2043" y="630"/>
                  </a:lnTo>
                  <a:lnTo>
                    <a:pt x="2063" y="640"/>
                  </a:lnTo>
                  <a:lnTo>
                    <a:pt x="2080" y="647"/>
                  </a:lnTo>
                  <a:lnTo>
                    <a:pt x="2097" y="654"/>
                  </a:lnTo>
                  <a:lnTo>
                    <a:pt x="2115" y="659"/>
                  </a:lnTo>
                  <a:lnTo>
                    <a:pt x="2149" y="668"/>
                  </a:lnTo>
                  <a:lnTo>
                    <a:pt x="2189" y="678"/>
                  </a:lnTo>
                  <a:lnTo>
                    <a:pt x="2195" y="680"/>
                  </a:lnTo>
                  <a:lnTo>
                    <a:pt x="2199" y="682"/>
                  </a:lnTo>
                  <a:lnTo>
                    <a:pt x="2203" y="685"/>
                  </a:lnTo>
                  <a:lnTo>
                    <a:pt x="2206" y="689"/>
                  </a:lnTo>
                  <a:lnTo>
                    <a:pt x="2214" y="696"/>
                  </a:lnTo>
                  <a:lnTo>
                    <a:pt x="2223" y="703"/>
                  </a:lnTo>
                  <a:lnTo>
                    <a:pt x="2246" y="717"/>
                  </a:lnTo>
                  <a:lnTo>
                    <a:pt x="2268" y="729"/>
                  </a:lnTo>
                  <a:lnTo>
                    <a:pt x="2290" y="740"/>
                  </a:lnTo>
                  <a:lnTo>
                    <a:pt x="2316" y="753"/>
                  </a:lnTo>
                  <a:lnTo>
                    <a:pt x="2330" y="760"/>
                  </a:lnTo>
                  <a:lnTo>
                    <a:pt x="2344" y="764"/>
                  </a:lnTo>
                  <a:lnTo>
                    <a:pt x="2358" y="766"/>
                  </a:lnTo>
                  <a:lnTo>
                    <a:pt x="2371" y="767"/>
                  </a:lnTo>
                  <a:lnTo>
                    <a:pt x="2385" y="768"/>
                  </a:lnTo>
                  <a:lnTo>
                    <a:pt x="2399" y="768"/>
                  </a:lnTo>
                  <a:lnTo>
                    <a:pt x="2414" y="770"/>
                  </a:lnTo>
                  <a:lnTo>
                    <a:pt x="2430" y="773"/>
                  </a:lnTo>
                  <a:lnTo>
                    <a:pt x="2454" y="779"/>
                  </a:lnTo>
                  <a:lnTo>
                    <a:pt x="2474" y="787"/>
                  </a:lnTo>
                  <a:lnTo>
                    <a:pt x="2494" y="795"/>
                  </a:lnTo>
                  <a:lnTo>
                    <a:pt x="2512" y="804"/>
                  </a:lnTo>
                  <a:lnTo>
                    <a:pt x="2530" y="814"/>
                  </a:lnTo>
                  <a:lnTo>
                    <a:pt x="2549" y="822"/>
                  </a:lnTo>
                  <a:lnTo>
                    <a:pt x="2569" y="832"/>
                  </a:lnTo>
                  <a:lnTo>
                    <a:pt x="2592" y="841"/>
                  </a:lnTo>
                  <a:lnTo>
                    <a:pt x="2608" y="847"/>
                  </a:lnTo>
                  <a:lnTo>
                    <a:pt x="2622" y="855"/>
                  </a:lnTo>
                  <a:lnTo>
                    <a:pt x="2630" y="858"/>
                  </a:lnTo>
                  <a:lnTo>
                    <a:pt x="2637" y="860"/>
                  </a:lnTo>
                  <a:lnTo>
                    <a:pt x="2645" y="862"/>
                  </a:lnTo>
                  <a:lnTo>
                    <a:pt x="2655" y="862"/>
                  </a:lnTo>
                  <a:lnTo>
                    <a:pt x="2657" y="862"/>
                  </a:lnTo>
                  <a:lnTo>
                    <a:pt x="2658" y="861"/>
                  </a:lnTo>
                  <a:lnTo>
                    <a:pt x="2660" y="859"/>
                  </a:lnTo>
                  <a:lnTo>
                    <a:pt x="2660" y="856"/>
                  </a:lnTo>
                  <a:lnTo>
                    <a:pt x="2662" y="850"/>
                  </a:lnTo>
                  <a:lnTo>
                    <a:pt x="2665" y="846"/>
                  </a:lnTo>
                  <a:lnTo>
                    <a:pt x="2670" y="843"/>
                  </a:lnTo>
                  <a:lnTo>
                    <a:pt x="2674" y="842"/>
                  </a:lnTo>
                  <a:lnTo>
                    <a:pt x="2678" y="841"/>
                  </a:lnTo>
                  <a:lnTo>
                    <a:pt x="2683" y="840"/>
                  </a:lnTo>
                  <a:lnTo>
                    <a:pt x="2692" y="838"/>
                  </a:lnTo>
                  <a:lnTo>
                    <a:pt x="2702" y="835"/>
                  </a:lnTo>
                  <a:lnTo>
                    <a:pt x="2715" y="827"/>
                  </a:lnTo>
                  <a:lnTo>
                    <a:pt x="2726" y="817"/>
                  </a:lnTo>
                  <a:lnTo>
                    <a:pt x="2731" y="813"/>
                  </a:lnTo>
                  <a:lnTo>
                    <a:pt x="2738" y="809"/>
                  </a:lnTo>
                  <a:lnTo>
                    <a:pt x="2744" y="807"/>
                  </a:lnTo>
                  <a:lnTo>
                    <a:pt x="2752" y="807"/>
                  </a:lnTo>
                  <a:lnTo>
                    <a:pt x="2757" y="807"/>
                  </a:lnTo>
                  <a:lnTo>
                    <a:pt x="2762" y="808"/>
                  </a:lnTo>
                  <a:lnTo>
                    <a:pt x="2766" y="809"/>
                  </a:lnTo>
                  <a:lnTo>
                    <a:pt x="2769" y="811"/>
                  </a:lnTo>
                  <a:lnTo>
                    <a:pt x="2776" y="817"/>
                  </a:lnTo>
                  <a:lnTo>
                    <a:pt x="2781" y="823"/>
                  </a:lnTo>
                  <a:lnTo>
                    <a:pt x="2791" y="838"/>
                  </a:lnTo>
                  <a:lnTo>
                    <a:pt x="2803" y="855"/>
                  </a:lnTo>
                  <a:lnTo>
                    <a:pt x="2817" y="869"/>
                  </a:lnTo>
                  <a:lnTo>
                    <a:pt x="2831" y="881"/>
                  </a:lnTo>
                  <a:lnTo>
                    <a:pt x="2831" y="881"/>
                  </a:lnTo>
                  <a:lnTo>
                    <a:pt x="2823" y="899"/>
                  </a:lnTo>
                  <a:lnTo>
                    <a:pt x="2817" y="917"/>
                  </a:lnTo>
                  <a:lnTo>
                    <a:pt x="2812" y="935"/>
                  </a:lnTo>
                  <a:lnTo>
                    <a:pt x="2808" y="952"/>
                  </a:lnTo>
                  <a:lnTo>
                    <a:pt x="2803" y="968"/>
                  </a:lnTo>
                  <a:lnTo>
                    <a:pt x="2795" y="983"/>
                  </a:lnTo>
                  <a:lnTo>
                    <a:pt x="2791" y="991"/>
                  </a:lnTo>
                  <a:lnTo>
                    <a:pt x="2785" y="998"/>
                  </a:lnTo>
                  <a:lnTo>
                    <a:pt x="2779" y="1005"/>
                  </a:lnTo>
                  <a:lnTo>
                    <a:pt x="2771" y="1011"/>
                  </a:lnTo>
                  <a:lnTo>
                    <a:pt x="2764" y="1017"/>
                  </a:lnTo>
                  <a:lnTo>
                    <a:pt x="2756" y="1021"/>
                  </a:lnTo>
                  <a:lnTo>
                    <a:pt x="2749" y="1024"/>
                  </a:lnTo>
                  <a:lnTo>
                    <a:pt x="2740" y="1026"/>
                  </a:lnTo>
                  <a:lnTo>
                    <a:pt x="2724" y="1029"/>
                  </a:lnTo>
                  <a:lnTo>
                    <a:pt x="2704" y="1031"/>
                  </a:lnTo>
                  <a:lnTo>
                    <a:pt x="2690" y="1033"/>
                  </a:lnTo>
                  <a:lnTo>
                    <a:pt x="2677" y="1035"/>
                  </a:lnTo>
                  <a:lnTo>
                    <a:pt x="2664" y="1037"/>
                  </a:lnTo>
                  <a:lnTo>
                    <a:pt x="2653" y="1041"/>
                  </a:lnTo>
                  <a:lnTo>
                    <a:pt x="2642" y="1046"/>
                  </a:lnTo>
                  <a:lnTo>
                    <a:pt x="2631" y="1051"/>
                  </a:lnTo>
                  <a:lnTo>
                    <a:pt x="2621" y="1060"/>
                  </a:lnTo>
                  <a:lnTo>
                    <a:pt x="2613" y="1070"/>
                  </a:lnTo>
                  <a:lnTo>
                    <a:pt x="2596" y="1095"/>
                  </a:lnTo>
                  <a:lnTo>
                    <a:pt x="2580" y="1118"/>
                  </a:lnTo>
                  <a:lnTo>
                    <a:pt x="2577" y="1124"/>
                  </a:lnTo>
                  <a:lnTo>
                    <a:pt x="2572" y="1128"/>
                  </a:lnTo>
                  <a:lnTo>
                    <a:pt x="2567" y="1132"/>
                  </a:lnTo>
                  <a:lnTo>
                    <a:pt x="2562" y="1137"/>
                  </a:lnTo>
                  <a:lnTo>
                    <a:pt x="2556" y="1139"/>
                  </a:lnTo>
                  <a:lnTo>
                    <a:pt x="2550" y="1141"/>
                  </a:lnTo>
                  <a:lnTo>
                    <a:pt x="2543" y="1143"/>
                  </a:lnTo>
                  <a:lnTo>
                    <a:pt x="2536" y="1143"/>
                  </a:lnTo>
                  <a:lnTo>
                    <a:pt x="2530" y="1142"/>
                  </a:lnTo>
                  <a:lnTo>
                    <a:pt x="2525" y="1141"/>
                  </a:lnTo>
                  <a:lnTo>
                    <a:pt x="2520" y="1139"/>
                  </a:lnTo>
                  <a:lnTo>
                    <a:pt x="2515" y="1135"/>
                  </a:lnTo>
                  <a:lnTo>
                    <a:pt x="2511" y="1133"/>
                  </a:lnTo>
                  <a:lnTo>
                    <a:pt x="2506" y="1131"/>
                  </a:lnTo>
                  <a:lnTo>
                    <a:pt x="2500" y="1130"/>
                  </a:lnTo>
                  <a:lnTo>
                    <a:pt x="2495" y="1129"/>
                  </a:lnTo>
                  <a:lnTo>
                    <a:pt x="2489" y="1129"/>
                  </a:lnTo>
                  <a:lnTo>
                    <a:pt x="2484" y="1130"/>
                  </a:lnTo>
                  <a:lnTo>
                    <a:pt x="2480" y="1132"/>
                  </a:lnTo>
                  <a:lnTo>
                    <a:pt x="2475" y="1134"/>
                  </a:lnTo>
                  <a:lnTo>
                    <a:pt x="2468" y="1140"/>
                  </a:lnTo>
                  <a:lnTo>
                    <a:pt x="2461" y="1147"/>
                  </a:lnTo>
                  <a:lnTo>
                    <a:pt x="2456" y="1157"/>
                  </a:lnTo>
                  <a:lnTo>
                    <a:pt x="2452" y="1167"/>
                  </a:lnTo>
                  <a:lnTo>
                    <a:pt x="2447" y="1176"/>
                  </a:lnTo>
                  <a:lnTo>
                    <a:pt x="2444" y="1187"/>
                  </a:lnTo>
                  <a:lnTo>
                    <a:pt x="2437" y="1213"/>
                  </a:lnTo>
                  <a:lnTo>
                    <a:pt x="2430" y="1236"/>
                  </a:lnTo>
                  <a:lnTo>
                    <a:pt x="2422" y="1257"/>
                  </a:lnTo>
                  <a:lnTo>
                    <a:pt x="2416" y="1283"/>
                  </a:lnTo>
                  <a:lnTo>
                    <a:pt x="2412" y="1296"/>
                  </a:lnTo>
                  <a:lnTo>
                    <a:pt x="2407" y="1307"/>
                  </a:lnTo>
                  <a:lnTo>
                    <a:pt x="2402" y="1318"/>
                  </a:lnTo>
                  <a:lnTo>
                    <a:pt x="2395" y="1328"/>
                  </a:lnTo>
                  <a:lnTo>
                    <a:pt x="2389" y="1337"/>
                  </a:lnTo>
                  <a:lnTo>
                    <a:pt x="2381" y="1346"/>
                  </a:lnTo>
                  <a:lnTo>
                    <a:pt x="2373" y="1355"/>
                  </a:lnTo>
                  <a:lnTo>
                    <a:pt x="2363" y="1364"/>
                  </a:lnTo>
                  <a:lnTo>
                    <a:pt x="2341" y="1381"/>
                  </a:lnTo>
                  <a:lnTo>
                    <a:pt x="2320" y="1395"/>
                  </a:lnTo>
                  <a:lnTo>
                    <a:pt x="2311" y="1402"/>
                  </a:lnTo>
                  <a:lnTo>
                    <a:pt x="2305" y="1411"/>
                  </a:lnTo>
                  <a:lnTo>
                    <a:pt x="2302" y="1416"/>
                  </a:lnTo>
                  <a:lnTo>
                    <a:pt x="2299" y="1422"/>
                  </a:lnTo>
                  <a:lnTo>
                    <a:pt x="2298" y="1428"/>
                  </a:lnTo>
                  <a:lnTo>
                    <a:pt x="2298" y="1435"/>
                  </a:lnTo>
                  <a:lnTo>
                    <a:pt x="2298" y="1438"/>
                  </a:lnTo>
                  <a:lnTo>
                    <a:pt x="2300" y="1440"/>
                  </a:lnTo>
                  <a:lnTo>
                    <a:pt x="2303" y="1442"/>
                  </a:lnTo>
                  <a:lnTo>
                    <a:pt x="2305" y="1443"/>
                  </a:lnTo>
                  <a:lnTo>
                    <a:pt x="2310" y="1446"/>
                  </a:lnTo>
                  <a:lnTo>
                    <a:pt x="2316" y="1451"/>
                  </a:lnTo>
                  <a:lnTo>
                    <a:pt x="2321" y="1459"/>
                  </a:lnTo>
                  <a:lnTo>
                    <a:pt x="2325" y="1467"/>
                  </a:lnTo>
                  <a:lnTo>
                    <a:pt x="2330" y="1476"/>
                  </a:lnTo>
                  <a:lnTo>
                    <a:pt x="2333" y="1483"/>
                  </a:lnTo>
                  <a:lnTo>
                    <a:pt x="2335" y="1492"/>
                  </a:lnTo>
                  <a:lnTo>
                    <a:pt x="2336" y="1500"/>
                  </a:lnTo>
                  <a:lnTo>
                    <a:pt x="2337" y="1510"/>
                  </a:lnTo>
                  <a:lnTo>
                    <a:pt x="2337" y="1520"/>
                  </a:lnTo>
                  <a:lnTo>
                    <a:pt x="2336" y="1533"/>
                  </a:lnTo>
                  <a:lnTo>
                    <a:pt x="2334" y="1545"/>
                  </a:lnTo>
                  <a:lnTo>
                    <a:pt x="2331" y="1556"/>
                  </a:lnTo>
                  <a:lnTo>
                    <a:pt x="2326" y="1565"/>
                  </a:lnTo>
                  <a:lnTo>
                    <a:pt x="2322" y="1576"/>
                  </a:lnTo>
                  <a:lnTo>
                    <a:pt x="2319" y="1587"/>
                  </a:lnTo>
                  <a:lnTo>
                    <a:pt x="2316" y="1598"/>
                  </a:lnTo>
                  <a:lnTo>
                    <a:pt x="2316" y="1611"/>
                  </a:lnTo>
                  <a:lnTo>
                    <a:pt x="2316" y="1615"/>
                  </a:lnTo>
                  <a:lnTo>
                    <a:pt x="2317" y="1618"/>
                  </a:lnTo>
                  <a:lnTo>
                    <a:pt x="2320" y="1621"/>
                  </a:lnTo>
                  <a:lnTo>
                    <a:pt x="2322" y="1625"/>
                  </a:lnTo>
                  <a:lnTo>
                    <a:pt x="2329" y="1630"/>
                  </a:lnTo>
                  <a:lnTo>
                    <a:pt x="2335" y="1637"/>
                  </a:lnTo>
                  <a:lnTo>
                    <a:pt x="2343" y="1650"/>
                  </a:lnTo>
                  <a:lnTo>
                    <a:pt x="2350" y="1661"/>
                  </a:lnTo>
                  <a:lnTo>
                    <a:pt x="2356" y="1674"/>
                  </a:lnTo>
                  <a:lnTo>
                    <a:pt x="2361" y="1686"/>
                  </a:lnTo>
                  <a:lnTo>
                    <a:pt x="2364" y="1699"/>
                  </a:lnTo>
                  <a:lnTo>
                    <a:pt x="2366" y="1713"/>
                  </a:lnTo>
                  <a:lnTo>
                    <a:pt x="2367" y="1727"/>
                  </a:lnTo>
                  <a:lnTo>
                    <a:pt x="2368" y="1742"/>
                  </a:lnTo>
                  <a:lnTo>
                    <a:pt x="2367" y="1768"/>
                  </a:lnTo>
                  <a:lnTo>
                    <a:pt x="2364" y="1791"/>
                  </a:lnTo>
                  <a:lnTo>
                    <a:pt x="2360" y="1812"/>
                  </a:lnTo>
                  <a:lnTo>
                    <a:pt x="2353" y="1832"/>
                  </a:lnTo>
                  <a:lnTo>
                    <a:pt x="2347" y="1853"/>
                  </a:lnTo>
                  <a:lnTo>
                    <a:pt x="2339" y="1873"/>
                  </a:lnTo>
                  <a:lnTo>
                    <a:pt x="2332" y="1896"/>
                  </a:lnTo>
                  <a:lnTo>
                    <a:pt x="2323" y="1920"/>
                  </a:lnTo>
                  <a:lnTo>
                    <a:pt x="2321" y="1925"/>
                  </a:lnTo>
                  <a:lnTo>
                    <a:pt x="2319" y="1929"/>
                  </a:lnTo>
                  <a:lnTo>
                    <a:pt x="2316" y="1934"/>
                  </a:lnTo>
                  <a:lnTo>
                    <a:pt x="2312" y="1938"/>
                  </a:lnTo>
                  <a:lnTo>
                    <a:pt x="2306" y="1945"/>
                  </a:lnTo>
                  <a:lnTo>
                    <a:pt x="2302" y="1955"/>
                  </a:lnTo>
                  <a:lnTo>
                    <a:pt x="2296" y="1969"/>
                  </a:lnTo>
                  <a:lnTo>
                    <a:pt x="2292" y="1982"/>
                  </a:lnTo>
                  <a:lnTo>
                    <a:pt x="2290" y="1989"/>
                  </a:lnTo>
                  <a:lnTo>
                    <a:pt x="2285" y="1994"/>
                  </a:lnTo>
                  <a:lnTo>
                    <a:pt x="2281" y="1998"/>
                  </a:lnTo>
                  <a:lnTo>
                    <a:pt x="2276" y="2004"/>
                  </a:lnTo>
                  <a:lnTo>
                    <a:pt x="2253" y="2018"/>
                  </a:lnTo>
                  <a:lnTo>
                    <a:pt x="2233" y="2033"/>
                  </a:lnTo>
                  <a:lnTo>
                    <a:pt x="2226" y="2042"/>
                  </a:lnTo>
                  <a:lnTo>
                    <a:pt x="2219" y="2051"/>
                  </a:lnTo>
                  <a:lnTo>
                    <a:pt x="2217" y="2057"/>
                  </a:lnTo>
                  <a:lnTo>
                    <a:pt x="2215" y="2062"/>
                  </a:lnTo>
                  <a:lnTo>
                    <a:pt x="2214" y="2069"/>
                  </a:lnTo>
                  <a:lnTo>
                    <a:pt x="2214" y="2075"/>
                  </a:lnTo>
                  <a:lnTo>
                    <a:pt x="2214" y="2091"/>
                  </a:lnTo>
                  <a:lnTo>
                    <a:pt x="2213" y="2104"/>
                  </a:lnTo>
                  <a:lnTo>
                    <a:pt x="2212" y="2117"/>
                  </a:lnTo>
                  <a:lnTo>
                    <a:pt x="2211" y="2133"/>
                  </a:lnTo>
                  <a:lnTo>
                    <a:pt x="2211" y="2142"/>
                  </a:lnTo>
                  <a:lnTo>
                    <a:pt x="2211" y="2151"/>
                  </a:lnTo>
                  <a:lnTo>
                    <a:pt x="2211" y="2158"/>
                  </a:lnTo>
                  <a:lnTo>
                    <a:pt x="2211" y="2168"/>
                  </a:lnTo>
                  <a:lnTo>
                    <a:pt x="2211" y="2181"/>
                  </a:lnTo>
                  <a:lnTo>
                    <a:pt x="2210" y="2192"/>
                  </a:lnTo>
                  <a:lnTo>
                    <a:pt x="2210" y="2197"/>
                  </a:lnTo>
                  <a:lnTo>
                    <a:pt x="2210" y="2202"/>
                  </a:lnTo>
                  <a:lnTo>
                    <a:pt x="2212" y="2208"/>
                  </a:lnTo>
                  <a:lnTo>
                    <a:pt x="2214" y="2213"/>
                  </a:lnTo>
                  <a:lnTo>
                    <a:pt x="2219" y="2221"/>
                  </a:lnTo>
                  <a:lnTo>
                    <a:pt x="2225" y="2228"/>
                  </a:lnTo>
                  <a:lnTo>
                    <a:pt x="2230" y="2235"/>
                  </a:lnTo>
                  <a:lnTo>
                    <a:pt x="2237" y="2240"/>
                  </a:lnTo>
                  <a:lnTo>
                    <a:pt x="2250" y="2252"/>
                  </a:lnTo>
                  <a:lnTo>
                    <a:pt x="2263" y="2262"/>
                  </a:lnTo>
                  <a:lnTo>
                    <a:pt x="2269" y="2267"/>
                  </a:lnTo>
                  <a:lnTo>
                    <a:pt x="2275" y="2273"/>
                  </a:lnTo>
                  <a:lnTo>
                    <a:pt x="2280" y="2279"/>
                  </a:lnTo>
                  <a:lnTo>
                    <a:pt x="2284" y="2286"/>
                  </a:lnTo>
                  <a:lnTo>
                    <a:pt x="2287" y="2292"/>
                  </a:lnTo>
                  <a:lnTo>
                    <a:pt x="2291" y="2300"/>
                  </a:lnTo>
                  <a:lnTo>
                    <a:pt x="2292" y="2307"/>
                  </a:lnTo>
                  <a:lnTo>
                    <a:pt x="2293" y="2317"/>
                  </a:lnTo>
                  <a:lnTo>
                    <a:pt x="2293" y="2332"/>
                  </a:lnTo>
                  <a:lnTo>
                    <a:pt x="2293" y="2345"/>
                  </a:lnTo>
                  <a:lnTo>
                    <a:pt x="2293" y="2359"/>
                  </a:lnTo>
                  <a:lnTo>
                    <a:pt x="2293" y="2374"/>
                  </a:lnTo>
                  <a:lnTo>
                    <a:pt x="2292" y="2382"/>
                  </a:lnTo>
                  <a:lnTo>
                    <a:pt x="2291" y="2389"/>
                  </a:lnTo>
                  <a:lnTo>
                    <a:pt x="2289" y="2397"/>
                  </a:lnTo>
                  <a:lnTo>
                    <a:pt x="2286" y="2403"/>
                  </a:lnTo>
                  <a:lnTo>
                    <a:pt x="2282" y="2416"/>
                  </a:lnTo>
                  <a:lnTo>
                    <a:pt x="2279" y="2433"/>
                  </a:lnTo>
                  <a:lnTo>
                    <a:pt x="2275" y="2455"/>
                  </a:lnTo>
                  <a:lnTo>
                    <a:pt x="2269" y="2478"/>
                  </a:lnTo>
                  <a:lnTo>
                    <a:pt x="2266" y="2490"/>
                  </a:lnTo>
                  <a:lnTo>
                    <a:pt x="2262" y="2499"/>
                  </a:lnTo>
                  <a:lnTo>
                    <a:pt x="2257" y="2510"/>
                  </a:lnTo>
                  <a:lnTo>
                    <a:pt x="2252" y="2520"/>
                  </a:lnTo>
                  <a:lnTo>
                    <a:pt x="2246" y="2529"/>
                  </a:lnTo>
                  <a:lnTo>
                    <a:pt x="2240" y="2536"/>
                  </a:lnTo>
                  <a:lnTo>
                    <a:pt x="2233" y="2544"/>
                  </a:lnTo>
                  <a:lnTo>
                    <a:pt x="2225" y="2549"/>
                  </a:lnTo>
                  <a:lnTo>
                    <a:pt x="2217" y="2555"/>
                  </a:lnTo>
                  <a:lnTo>
                    <a:pt x="2208" y="2558"/>
                  </a:lnTo>
                  <a:lnTo>
                    <a:pt x="2197" y="2560"/>
                  </a:lnTo>
                  <a:lnTo>
                    <a:pt x="2186" y="2561"/>
                  </a:lnTo>
                  <a:lnTo>
                    <a:pt x="2175" y="2560"/>
                  </a:lnTo>
                  <a:lnTo>
                    <a:pt x="2166" y="2558"/>
                  </a:lnTo>
                  <a:lnTo>
                    <a:pt x="2158" y="2553"/>
                  </a:lnTo>
                  <a:lnTo>
                    <a:pt x="2149" y="2548"/>
                  </a:lnTo>
                  <a:lnTo>
                    <a:pt x="2134" y="2536"/>
                  </a:lnTo>
                  <a:lnTo>
                    <a:pt x="2116" y="2524"/>
                  </a:lnTo>
                  <a:lnTo>
                    <a:pt x="2103" y="2518"/>
                  </a:lnTo>
                  <a:lnTo>
                    <a:pt x="2090" y="2514"/>
                  </a:lnTo>
                  <a:lnTo>
                    <a:pt x="2078" y="2509"/>
                  </a:lnTo>
                  <a:lnTo>
                    <a:pt x="2065" y="2506"/>
                  </a:lnTo>
                  <a:lnTo>
                    <a:pt x="2040" y="2501"/>
                  </a:lnTo>
                  <a:lnTo>
                    <a:pt x="2012" y="2494"/>
                  </a:lnTo>
                  <a:lnTo>
                    <a:pt x="1981" y="2483"/>
                  </a:lnTo>
                  <a:lnTo>
                    <a:pt x="1953" y="2474"/>
                  </a:lnTo>
                  <a:lnTo>
                    <a:pt x="1939" y="2469"/>
                  </a:lnTo>
                  <a:lnTo>
                    <a:pt x="1925" y="2466"/>
                  </a:lnTo>
                  <a:lnTo>
                    <a:pt x="1909" y="2464"/>
                  </a:lnTo>
                  <a:lnTo>
                    <a:pt x="1892" y="2463"/>
                  </a:lnTo>
                  <a:lnTo>
                    <a:pt x="1882" y="2464"/>
                  </a:lnTo>
                  <a:lnTo>
                    <a:pt x="1875" y="2467"/>
                  </a:lnTo>
                  <a:lnTo>
                    <a:pt x="1867" y="2471"/>
                  </a:lnTo>
                  <a:lnTo>
                    <a:pt x="1861" y="2476"/>
                  </a:lnTo>
                  <a:lnTo>
                    <a:pt x="1854" y="2481"/>
                  </a:lnTo>
                  <a:lnTo>
                    <a:pt x="1847" y="2487"/>
                  </a:lnTo>
                  <a:lnTo>
                    <a:pt x="1839" y="2491"/>
                  </a:lnTo>
                  <a:lnTo>
                    <a:pt x="1831" y="2494"/>
                  </a:lnTo>
                  <a:lnTo>
                    <a:pt x="1814" y="2497"/>
                  </a:lnTo>
                  <a:lnTo>
                    <a:pt x="1800" y="2502"/>
                  </a:lnTo>
                  <a:lnTo>
                    <a:pt x="1787" y="2505"/>
                  </a:lnTo>
                  <a:lnTo>
                    <a:pt x="1774" y="2510"/>
                  </a:lnTo>
                  <a:lnTo>
                    <a:pt x="1763" y="2516"/>
                  </a:lnTo>
                  <a:lnTo>
                    <a:pt x="1752" y="2523"/>
                  </a:lnTo>
                  <a:lnTo>
                    <a:pt x="1742" y="2533"/>
                  </a:lnTo>
                  <a:lnTo>
                    <a:pt x="1732" y="2544"/>
                  </a:lnTo>
                  <a:lnTo>
                    <a:pt x="1728" y="2551"/>
                  </a:lnTo>
                  <a:lnTo>
                    <a:pt x="1725" y="2559"/>
                  </a:lnTo>
                  <a:lnTo>
                    <a:pt x="1723" y="2566"/>
                  </a:lnTo>
                  <a:lnTo>
                    <a:pt x="1722" y="2574"/>
                  </a:lnTo>
                  <a:lnTo>
                    <a:pt x="1719" y="2580"/>
                  </a:lnTo>
                  <a:lnTo>
                    <a:pt x="1717" y="2588"/>
                  </a:lnTo>
                  <a:lnTo>
                    <a:pt x="1714" y="2596"/>
                  </a:lnTo>
                  <a:lnTo>
                    <a:pt x="1710" y="2603"/>
                  </a:lnTo>
                  <a:lnTo>
                    <a:pt x="1706" y="2606"/>
                  </a:lnTo>
                  <a:lnTo>
                    <a:pt x="1703" y="2610"/>
                  </a:lnTo>
                  <a:lnTo>
                    <a:pt x="1699" y="2613"/>
                  </a:lnTo>
                  <a:lnTo>
                    <a:pt x="1696" y="2614"/>
                  </a:lnTo>
                  <a:lnTo>
                    <a:pt x="1687" y="2617"/>
                  </a:lnTo>
                  <a:lnTo>
                    <a:pt x="1678" y="2618"/>
                  </a:lnTo>
                  <a:lnTo>
                    <a:pt x="1659" y="2619"/>
                  </a:lnTo>
                  <a:lnTo>
                    <a:pt x="1639" y="2623"/>
                  </a:lnTo>
                  <a:lnTo>
                    <a:pt x="1633" y="2625"/>
                  </a:lnTo>
                  <a:lnTo>
                    <a:pt x="1626" y="2628"/>
                  </a:lnTo>
                  <a:lnTo>
                    <a:pt x="1621" y="2631"/>
                  </a:lnTo>
                  <a:lnTo>
                    <a:pt x="1616" y="2636"/>
                  </a:lnTo>
                  <a:lnTo>
                    <a:pt x="1606" y="2644"/>
                  </a:lnTo>
                  <a:lnTo>
                    <a:pt x="1595" y="2654"/>
                  </a:lnTo>
                  <a:lnTo>
                    <a:pt x="1571" y="2671"/>
                  </a:lnTo>
                  <a:lnTo>
                    <a:pt x="1552" y="2687"/>
                  </a:lnTo>
                  <a:lnTo>
                    <a:pt x="1532" y="2704"/>
                  </a:lnTo>
                  <a:lnTo>
                    <a:pt x="1508" y="2721"/>
                  </a:lnTo>
                  <a:lnTo>
                    <a:pt x="1497" y="2721"/>
                  </a:lnTo>
                  <a:lnTo>
                    <a:pt x="1486" y="2721"/>
                  </a:lnTo>
                  <a:lnTo>
                    <a:pt x="1476" y="2721"/>
                  </a:lnTo>
                  <a:lnTo>
                    <a:pt x="1467" y="2723"/>
                  </a:lnTo>
                  <a:lnTo>
                    <a:pt x="1458" y="2724"/>
                  </a:lnTo>
                  <a:lnTo>
                    <a:pt x="1449" y="2727"/>
                  </a:lnTo>
                  <a:lnTo>
                    <a:pt x="1434" y="2734"/>
                  </a:lnTo>
                  <a:lnTo>
                    <a:pt x="1419" y="2741"/>
                  </a:lnTo>
                  <a:lnTo>
                    <a:pt x="1404" y="2749"/>
                  </a:lnTo>
                  <a:lnTo>
                    <a:pt x="1389" y="2757"/>
                  </a:lnTo>
                  <a:lnTo>
                    <a:pt x="1380" y="2759"/>
                  </a:lnTo>
                  <a:lnTo>
                    <a:pt x="1372" y="2761"/>
                  </a:lnTo>
                  <a:lnTo>
                    <a:pt x="1362" y="2762"/>
                  </a:lnTo>
                  <a:lnTo>
                    <a:pt x="1352" y="2763"/>
                  </a:lnTo>
                  <a:lnTo>
                    <a:pt x="1342" y="2762"/>
                  </a:lnTo>
                  <a:lnTo>
                    <a:pt x="1333" y="2761"/>
                  </a:lnTo>
                  <a:lnTo>
                    <a:pt x="1324" y="2759"/>
                  </a:lnTo>
                  <a:lnTo>
                    <a:pt x="1315" y="2758"/>
                  </a:lnTo>
                  <a:lnTo>
                    <a:pt x="1308" y="2755"/>
                  </a:lnTo>
                  <a:lnTo>
                    <a:pt x="1299" y="2753"/>
                  </a:lnTo>
                  <a:lnTo>
                    <a:pt x="1289" y="2752"/>
                  </a:lnTo>
                  <a:lnTo>
                    <a:pt x="1280" y="2751"/>
                  </a:lnTo>
                  <a:lnTo>
                    <a:pt x="1266" y="2751"/>
                  </a:lnTo>
                  <a:lnTo>
                    <a:pt x="1253" y="2752"/>
                  </a:lnTo>
                  <a:lnTo>
                    <a:pt x="1240" y="2753"/>
                  </a:lnTo>
                  <a:lnTo>
                    <a:pt x="1228" y="2755"/>
                  </a:lnTo>
                  <a:lnTo>
                    <a:pt x="1217" y="2759"/>
                  </a:lnTo>
                  <a:lnTo>
                    <a:pt x="1206" y="2764"/>
                  </a:lnTo>
                  <a:lnTo>
                    <a:pt x="1196" y="2771"/>
                  </a:lnTo>
                  <a:lnTo>
                    <a:pt x="1186" y="2779"/>
                  </a:lnTo>
                  <a:lnTo>
                    <a:pt x="1171" y="2792"/>
                  </a:lnTo>
                  <a:lnTo>
                    <a:pt x="1156" y="2804"/>
                  </a:lnTo>
                  <a:lnTo>
                    <a:pt x="1150" y="2811"/>
                  </a:lnTo>
                  <a:lnTo>
                    <a:pt x="1145" y="2817"/>
                  </a:lnTo>
                  <a:lnTo>
                    <a:pt x="1144" y="2821"/>
                  </a:lnTo>
                  <a:lnTo>
                    <a:pt x="1142" y="2826"/>
                  </a:lnTo>
                  <a:lnTo>
                    <a:pt x="1140" y="2830"/>
                  </a:lnTo>
                  <a:lnTo>
                    <a:pt x="1140" y="2835"/>
                  </a:lnTo>
                  <a:lnTo>
                    <a:pt x="1138" y="2863"/>
                  </a:lnTo>
                  <a:lnTo>
                    <a:pt x="1137" y="2889"/>
                  </a:lnTo>
                  <a:lnTo>
                    <a:pt x="1137" y="2901"/>
                  </a:lnTo>
                  <a:lnTo>
                    <a:pt x="1137" y="2914"/>
                  </a:lnTo>
                  <a:lnTo>
                    <a:pt x="1138" y="2928"/>
                  </a:lnTo>
                  <a:lnTo>
                    <a:pt x="1140" y="2942"/>
                  </a:lnTo>
                  <a:lnTo>
                    <a:pt x="1140" y="2948"/>
                  </a:lnTo>
                  <a:lnTo>
                    <a:pt x="1139" y="2952"/>
                  </a:lnTo>
                  <a:lnTo>
                    <a:pt x="1137" y="2955"/>
                  </a:lnTo>
                  <a:lnTo>
                    <a:pt x="1135" y="2960"/>
                  </a:lnTo>
                  <a:lnTo>
                    <a:pt x="1131" y="2967"/>
                  </a:lnTo>
                  <a:lnTo>
                    <a:pt x="1126" y="2976"/>
                  </a:lnTo>
                  <a:lnTo>
                    <a:pt x="1059" y="3250"/>
                  </a:lnTo>
                  <a:lnTo>
                    <a:pt x="1044" y="3249"/>
                  </a:lnTo>
                  <a:lnTo>
                    <a:pt x="1029" y="3248"/>
                  </a:lnTo>
                  <a:lnTo>
                    <a:pt x="1023" y="3248"/>
                  </a:lnTo>
                  <a:lnTo>
                    <a:pt x="1017" y="3249"/>
                  </a:lnTo>
                  <a:lnTo>
                    <a:pt x="1013" y="3251"/>
                  </a:lnTo>
                  <a:lnTo>
                    <a:pt x="1009" y="3254"/>
                  </a:lnTo>
                  <a:lnTo>
                    <a:pt x="999" y="3261"/>
                  </a:lnTo>
                  <a:lnTo>
                    <a:pt x="989" y="3267"/>
                  </a:lnTo>
                  <a:lnTo>
                    <a:pt x="983" y="3270"/>
                  </a:lnTo>
                  <a:lnTo>
                    <a:pt x="976" y="3273"/>
                  </a:lnTo>
                  <a:lnTo>
                    <a:pt x="974" y="3274"/>
                  </a:lnTo>
                  <a:lnTo>
                    <a:pt x="972" y="3276"/>
                  </a:lnTo>
                  <a:lnTo>
                    <a:pt x="970" y="3278"/>
                  </a:lnTo>
                  <a:lnTo>
                    <a:pt x="970" y="3281"/>
                  </a:lnTo>
                  <a:lnTo>
                    <a:pt x="970" y="3295"/>
                  </a:lnTo>
                  <a:lnTo>
                    <a:pt x="972" y="3308"/>
                  </a:lnTo>
                  <a:lnTo>
                    <a:pt x="974" y="3321"/>
                  </a:lnTo>
                  <a:lnTo>
                    <a:pt x="976" y="3333"/>
                  </a:lnTo>
                  <a:lnTo>
                    <a:pt x="979" y="3345"/>
                  </a:lnTo>
                  <a:lnTo>
                    <a:pt x="982" y="3357"/>
                  </a:lnTo>
                  <a:lnTo>
                    <a:pt x="983" y="3370"/>
                  </a:lnTo>
                  <a:lnTo>
                    <a:pt x="984" y="3385"/>
                  </a:lnTo>
                  <a:lnTo>
                    <a:pt x="979" y="3398"/>
                  </a:lnTo>
                  <a:lnTo>
                    <a:pt x="975" y="3410"/>
                  </a:lnTo>
                  <a:lnTo>
                    <a:pt x="976" y="3419"/>
                  </a:lnTo>
                  <a:lnTo>
                    <a:pt x="977" y="3426"/>
                  </a:lnTo>
                  <a:lnTo>
                    <a:pt x="978" y="3434"/>
                  </a:lnTo>
                  <a:lnTo>
                    <a:pt x="982" y="3440"/>
                  </a:lnTo>
                  <a:lnTo>
                    <a:pt x="988" y="3454"/>
                  </a:lnTo>
                  <a:lnTo>
                    <a:pt x="995" y="3466"/>
                  </a:lnTo>
                  <a:lnTo>
                    <a:pt x="1002" y="3479"/>
                  </a:lnTo>
                  <a:lnTo>
                    <a:pt x="1009" y="3492"/>
                  </a:lnTo>
                  <a:lnTo>
                    <a:pt x="1011" y="3498"/>
                  </a:lnTo>
                  <a:lnTo>
                    <a:pt x="1013" y="3506"/>
                  </a:lnTo>
                  <a:lnTo>
                    <a:pt x="1014" y="3514"/>
                  </a:lnTo>
                  <a:lnTo>
                    <a:pt x="1014" y="3522"/>
                  </a:lnTo>
                  <a:lnTo>
                    <a:pt x="1014" y="3543"/>
                  </a:lnTo>
                  <a:lnTo>
                    <a:pt x="1011" y="3562"/>
                  </a:lnTo>
                  <a:lnTo>
                    <a:pt x="1006" y="3579"/>
                  </a:lnTo>
                  <a:lnTo>
                    <a:pt x="1002" y="3597"/>
                  </a:lnTo>
                  <a:lnTo>
                    <a:pt x="990" y="3631"/>
                  </a:lnTo>
                  <a:lnTo>
                    <a:pt x="978" y="3671"/>
                  </a:lnTo>
                  <a:lnTo>
                    <a:pt x="1032" y="3841"/>
                  </a:lnTo>
                  <a:lnTo>
                    <a:pt x="1032" y="3841"/>
                  </a:lnTo>
                  <a:lnTo>
                    <a:pt x="1013" y="3839"/>
                  </a:lnTo>
                  <a:lnTo>
                    <a:pt x="997" y="3837"/>
                  </a:lnTo>
                  <a:lnTo>
                    <a:pt x="982" y="3834"/>
                  </a:lnTo>
                  <a:lnTo>
                    <a:pt x="962" y="3833"/>
                  </a:lnTo>
                  <a:lnTo>
                    <a:pt x="948" y="3832"/>
                  </a:lnTo>
                  <a:lnTo>
                    <a:pt x="936" y="3830"/>
                  </a:lnTo>
                  <a:lnTo>
                    <a:pt x="923" y="3827"/>
                  </a:lnTo>
                  <a:lnTo>
                    <a:pt x="913" y="3822"/>
                  </a:lnTo>
                  <a:lnTo>
                    <a:pt x="902" y="3816"/>
                  </a:lnTo>
                  <a:lnTo>
                    <a:pt x="892" y="3810"/>
                  </a:lnTo>
                  <a:lnTo>
                    <a:pt x="883" y="3801"/>
                  </a:lnTo>
                  <a:lnTo>
                    <a:pt x="875" y="3792"/>
                  </a:lnTo>
                  <a:lnTo>
                    <a:pt x="867" y="3783"/>
                  </a:lnTo>
                  <a:lnTo>
                    <a:pt x="860" y="3772"/>
                  </a:lnTo>
                  <a:lnTo>
                    <a:pt x="854" y="3760"/>
                  </a:lnTo>
                  <a:lnTo>
                    <a:pt x="848" y="3748"/>
                  </a:lnTo>
                  <a:lnTo>
                    <a:pt x="843" y="3736"/>
                  </a:lnTo>
                  <a:lnTo>
                    <a:pt x="839" y="3723"/>
                  </a:lnTo>
                  <a:lnTo>
                    <a:pt x="835" y="3709"/>
                  </a:lnTo>
                  <a:lnTo>
                    <a:pt x="833" y="3696"/>
                  </a:lnTo>
                  <a:lnTo>
                    <a:pt x="826" y="3659"/>
                  </a:lnTo>
                  <a:lnTo>
                    <a:pt x="819" y="3628"/>
                  </a:lnTo>
                  <a:lnTo>
                    <a:pt x="814" y="3612"/>
                  </a:lnTo>
                  <a:lnTo>
                    <a:pt x="809" y="3597"/>
                  </a:lnTo>
                  <a:lnTo>
                    <a:pt x="802" y="3581"/>
                  </a:lnTo>
                  <a:lnTo>
                    <a:pt x="793" y="3564"/>
                  </a:lnTo>
                  <a:lnTo>
                    <a:pt x="782" y="3543"/>
                  </a:lnTo>
                  <a:lnTo>
                    <a:pt x="771" y="3524"/>
                  </a:lnTo>
                  <a:lnTo>
                    <a:pt x="760" y="3507"/>
                  </a:lnTo>
                  <a:lnTo>
                    <a:pt x="749" y="3491"/>
                  </a:lnTo>
                  <a:lnTo>
                    <a:pt x="725" y="3460"/>
                  </a:lnTo>
                  <a:lnTo>
                    <a:pt x="695" y="3424"/>
                  </a:lnTo>
                  <a:lnTo>
                    <a:pt x="680" y="3407"/>
                  </a:lnTo>
                  <a:lnTo>
                    <a:pt x="667" y="3390"/>
                  </a:lnTo>
                  <a:lnTo>
                    <a:pt x="653" y="3375"/>
                  </a:lnTo>
                  <a:lnTo>
                    <a:pt x="636" y="3359"/>
                  </a:lnTo>
                  <a:lnTo>
                    <a:pt x="616" y="3345"/>
                  </a:lnTo>
                  <a:lnTo>
                    <a:pt x="596" y="3333"/>
                  </a:lnTo>
                  <a:lnTo>
                    <a:pt x="587" y="3327"/>
                  </a:lnTo>
                  <a:lnTo>
                    <a:pt x="581" y="3319"/>
                  </a:lnTo>
                  <a:lnTo>
                    <a:pt x="578" y="3314"/>
                  </a:lnTo>
                  <a:lnTo>
                    <a:pt x="577" y="3309"/>
                  </a:lnTo>
                  <a:lnTo>
                    <a:pt x="574" y="3304"/>
                  </a:lnTo>
                  <a:lnTo>
                    <a:pt x="574" y="3298"/>
                  </a:lnTo>
                  <a:lnTo>
                    <a:pt x="574" y="3290"/>
                  </a:lnTo>
                  <a:lnTo>
                    <a:pt x="576" y="3284"/>
                  </a:lnTo>
                  <a:lnTo>
                    <a:pt x="578" y="3277"/>
                  </a:lnTo>
                  <a:lnTo>
                    <a:pt x="580" y="3272"/>
                  </a:lnTo>
                  <a:lnTo>
                    <a:pt x="586" y="3260"/>
                  </a:lnTo>
                  <a:lnTo>
                    <a:pt x="595" y="3250"/>
                  </a:lnTo>
                  <a:lnTo>
                    <a:pt x="614" y="3232"/>
                  </a:lnTo>
                  <a:lnTo>
                    <a:pt x="636" y="3211"/>
                  </a:lnTo>
                  <a:lnTo>
                    <a:pt x="643" y="3203"/>
                  </a:lnTo>
                  <a:lnTo>
                    <a:pt x="648" y="3195"/>
                  </a:lnTo>
                  <a:lnTo>
                    <a:pt x="651" y="3186"/>
                  </a:lnTo>
                  <a:lnTo>
                    <a:pt x="654" y="3178"/>
                  </a:lnTo>
                  <a:lnTo>
                    <a:pt x="658" y="3159"/>
                  </a:lnTo>
                  <a:lnTo>
                    <a:pt x="661" y="3138"/>
                  </a:lnTo>
                  <a:lnTo>
                    <a:pt x="663" y="3126"/>
                  </a:lnTo>
                  <a:lnTo>
                    <a:pt x="665" y="3114"/>
                  </a:lnTo>
                  <a:lnTo>
                    <a:pt x="666" y="3109"/>
                  </a:lnTo>
                  <a:lnTo>
                    <a:pt x="668" y="3103"/>
                  </a:lnTo>
                  <a:lnTo>
                    <a:pt x="672" y="3099"/>
                  </a:lnTo>
                  <a:lnTo>
                    <a:pt x="675" y="3093"/>
                  </a:lnTo>
                  <a:lnTo>
                    <a:pt x="679" y="3090"/>
                  </a:lnTo>
                  <a:lnTo>
                    <a:pt x="684" y="3087"/>
                  </a:lnTo>
                  <a:lnTo>
                    <a:pt x="688" y="3085"/>
                  </a:lnTo>
                  <a:lnTo>
                    <a:pt x="692" y="3083"/>
                  </a:lnTo>
                  <a:lnTo>
                    <a:pt x="702" y="3081"/>
                  </a:lnTo>
                  <a:lnTo>
                    <a:pt x="713" y="3079"/>
                  </a:lnTo>
                  <a:lnTo>
                    <a:pt x="722" y="3078"/>
                  </a:lnTo>
                  <a:lnTo>
                    <a:pt x="732" y="3076"/>
                  </a:lnTo>
                  <a:lnTo>
                    <a:pt x="736" y="3074"/>
                  </a:lnTo>
                  <a:lnTo>
                    <a:pt x="741" y="3072"/>
                  </a:lnTo>
                  <a:lnTo>
                    <a:pt x="744" y="3070"/>
                  </a:lnTo>
                  <a:lnTo>
                    <a:pt x="748" y="3065"/>
                  </a:lnTo>
                  <a:lnTo>
                    <a:pt x="754" y="3059"/>
                  </a:lnTo>
                  <a:lnTo>
                    <a:pt x="757" y="3052"/>
                  </a:lnTo>
                  <a:lnTo>
                    <a:pt x="761" y="3046"/>
                  </a:lnTo>
                  <a:lnTo>
                    <a:pt x="763" y="3039"/>
                  </a:lnTo>
                  <a:lnTo>
                    <a:pt x="766" y="3033"/>
                  </a:lnTo>
                  <a:lnTo>
                    <a:pt x="767" y="3025"/>
                  </a:lnTo>
                  <a:lnTo>
                    <a:pt x="768" y="3018"/>
                  </a:lnTo>
                  <a:lnTo>
                    <a:pt x="768" y="3009"/>
                  </a:lnTo>
                  <a:lnTo>
                    <a:pt x="767" y="2993"/>
                  </a:lnTo>
                  <a:lnTo>
                    <a:pt x="765" y="2978"/>
                  </a:lnTo>
                  <a:lnTo>
                    <a:pt x="762" y="2970"/>
                  </a:lnTo>
                  <a:lnTo>
                    <a:pt x="760" y="2963"/>
                  </a:lnTo>
                  <a:lnTo>
                    <a:pt x="757" y="2955"/>
                  </a:lnTo>
                  <a:lnTo>
                    <a:pt x="754" y="2949"/>
                  </a:lnTo>
                  <a:lnTo>
                    <a:pt x="751" y="2942"/>
                  </a:lnTo>
                  <a:lnTo>
                    <a:pt x="746" y="2937"/>
                  </a:lnTo>
                  <a:lnTo>
                    <a:pt x="741" y="2933"/>
                  </a:lnTo>
                  <a:lnTo>
                    <a:pt x="736" y="2928"/>
                  </a:lnTo>
                  <a:lnTo>
                    <a:pt x="730" y="2924"/>
                  </a:lnTo>
                  <a:lnTo>
                    <a:pt x="724" y="2922"/>
                  </a:lnTo>
                  <a:lnTo>
                    <a:pt x="717" y="2921"/>
                  </a:lnTo>
                  <a:lnTo>
                    <a:pt x="709" y="2920"/>
                  </a:lnTo>
                  <a:lnTo>
                    <a:pt x="691" y="2921"/>
                  </a:lnTo>
                  <a:lnTo>
                    <a:pt x="674" y="2923"/>
                  </a:lnTo>
                  <a:lnTo>
                    <a:pt x="659" y="2925"/>
                  </a:lnTo>
                  <a:lnTo>
                    <a:pt x="644" y="2928"/>
                  </a:lnTo>
                  <a:lnTo>
                    <a:pt x="628" y="2931"/>
                  </a:lnTo>
                  <a:lnTo>
                    <a:pt x="612" y="2934"/>
                  </a:lnTo>
                  <a:lnTo>
                    <a:pt x="596" y="2936"/>
                  </a:lnTo>
                  <a:lnTo>
                    <a:pt x="578" y="2937"/>
                  </a:lnTo>
                  <a:lnTo>
                    <a:pt x="570" y="2936"/>
                  </a:lnTo>
                  <a:lnTo>
                    <a:pt x="565" y="2935"/>
                  </a:lnTo>
                  <a:lnTo>
                    <a:pt x="559" y="2933"/>
                  </a:lnTo>
                  <a:lnTo>
                    <a:pt x="554" y="2929"/>
                  </a:lnTo>
                  <a:lnTo>
                    <a:pt x="550" y="2926"/>
                  </a:lnTo>
                  <a:lnTo>
                    <a:pt x="545" y="2922"/>
                  </a:lnTo>
                  <a:lnTo>
                    <a:pt x="542" y="2917"/>
                  </a:lnTo>
                  <a:lnTo>
                    <a:pt x="538" y="2912"/>
                  </a:lnTo>
                  <a:lnTo>
                    <a:pt x="532" y="2900"/>
                  </a:lnTo>
                  <a:lnTo>
                    <a:pt x="527" y="2887"/>
                  </a:lnTo>
                  <a:lnTo>
                    <a:pt x="523" y="2874"/>
                  </a:lnTo>
                  <a:lnTo>
                    <a:pt x="518" y="2861"/>
                  </a:lnTo>
                  <a:lnTo>
                    <a:pt x="512" y="2841"/>
                  </a:lnTo>
                  <a:lnTo>
                    <a:pt x="506" y="2821"/>
                  </a:lnTo>
                  <a:lnTo>
                    <a:pt x="500" y="2804"/>
                  </a:lnTo>
                  <a:lnTo>
                    <a:pt x="493" y="2788"/>
                  </a:lnTo>
                  <a:lnTo>
                    <a:pt x="485" y="2772"/>
                  </a:lnTo>
                  <a:lnTo>
                    <a:pt x="476" y="2755"/>
                  </a:lnTo>
                  <a:lnTo>
                    <a:pt x="464" y="2740"/>
                  </a:lnTo>
                  <a:lnTo>
                    <a:pt x="451" y="2723"/>
                  </a:lnTo>
                  <a:lnTo>
                    <a:pt x="429" y="2694"/>
                  </a:lnTo>
                  <a:lnTo>
                    <a:pt x="408" y="2667"/>
                  </a:lnTo>
                  <a:lnTo>
                    <a:pt x="398" y="2655"/>
                  </a:lnTo>
                  <a:lnTo>
                    <a:pt x="388" y="2642"/>
                  </a:lnTo>
                  <a:lnTo>
                    <a:pt x="374" y="2631"/>
                  </a:lnTo>
                  <a:lnTo>
                    <a:pt x="358" y="2619"/>
                  </a:lnTo>
                  <a:lnTo>
                    <a:pt x="354" y="2616"/>
                  </a:lnTo>
                  <a:lnTo>
                    <a:pt x="351" y="2611"/>
                  </a:lnTo>
                  <a:lnTo>
                    <a:pt x="350" y="2605"/>
                  </a:lnTo>
                  <a:lnTo>
                    <a:pt x="349" y="2599"/>
                  </a:lnTo>
                  <a:lnTo>
                    <a:pt x="348" y="2586"/>
                  </a:lnTo>
                  <a:lnTo>
                    <a:pt x="344" y="2572"/>
                  </a:lnTo>
                  <a:lnTo>
                    <a:pt x="340" y="2563"/>
                  </a:lnTo>
                  <a:lnTo>
                    <a:pt x="336" y="2556"/>
                  </a:lnTo>
                  <a:lnTo>
                    <a:pt x="330" y="2549"/>
                  </a:lnTo>
                  <a:lnTo>
                    <a:pt x="324" y="2544"/>
                  </a:lnTo>
                  <a:lnTo>
                    <a:pt x="317" y="2539"/>
                  </a:lnTo>
                  <a:lnTo>
                    <a:pt x="309" y="2536"/>
                  </a:lnTo>
                  <a:lnTo>
                    <a:pt x="301" y="2534"/>
                  </a:lnTo>
                  <a:lnTo>
                    <a:pt x="291" y="2533"/>
                  </a:lnTo>
                  <a:lnTo>
                    <a:pt x="289" y="2521"/>
                  </a:lnTo>
                  <a:lnTo>
                    <a:pt x="288" y="2510"/>
                  </a:lnTo>
                  <a:lnTo>
                    <a:pt x="289" y="2503"/>
                  </a:lnTo>
                  <a:lnTo>
                    <a:pt x="290" y="2497"/>
                  </a:lnTo>
                  <a:lnTo>
                    <a:pt x="291" y="2491"/>
                  </a:lnTo>
                  <a:lnTo>
                    <a:pt x="294" y="2487"/>
                  </a:lnTo>
                  <a:lnTo>
                    <a:pt x="300" y="2477"/>
                  </a:lnTo>
                  <a:lnTo>
                    <a:pt x="308" y="2467"/>
                  </a:lnTo>
                  <a:lnTo>
                    <a:pt x="316" y="2458"/>
                  </a:lnTo>
                  <a:lnTo>
                    <a:pt x="325" y="2450"/>
                  </a:lnTo>
                  <a:lnTo>
                    <a:pt x="334" y="2440"/>
                  </a:lnTo>
                  <a:lnTo>
                    <a:pt x="342" y="2429"/>
                  </a:lnTo>
                  <a:lnTo>
                    <a:pt x="348" y="2420"/>
                  </a:lnTo>
                  <a:lnTo>
                    <a:pt x="351" y="2410"/>
                  </a:lnTo>
                  <a:lnTo>
                    <a:pt x="355" y="2401"/>
                  </a:lnTo>
                  <a:lnTo>
                    <a:pt x="357" y="2393"/>
                  </a:lnTo>
                  <a:lnTo>
                    <a:pt x="361" y="2383"/>
                  </a:lnTo>
                  <a:lnTo>
                    <a:pt x="365" y="2374"/>
                  </a:lnTo>
                  <a:lnTo>
                    <a:pt x="369" y="2366"/>
                  </a:lnTo>
                  <a:lnTo>
                    <a:pt x="376" y="2357"/>
                  </a:lnTo>
                  <a:lnTo>
                    <a:pt x="395" y="2331"/>
                  </a:lnTo>
                  <a:lnTo>
                    <a:pt x="414" y="2308"/>
                  </a:lnTo>
                  <a:lnTo>
                    <a:pt x="420" y="2296"/>
                  </a:lnTo>
                  <a:lnTo>
                    <a:pt x="425" y="2283"/>
                  </a:lnTo>
                  <a:lnTo>
                    <a:pt x="428" y="2277"/>
                  </a:lnTo>
                  <a:lnTo>
                    <a:pt x="429" y="2269"/>
                  </a:lnTo>
                  <a:lnTo>
                    <a:pt x="430" y="2262"/>
                  </a:lnTo>
                  <a:lnTo>
                    <a:pt x="430" y="2253"/>
                  </a:lnTo>
                  <a:lnTo>
                    <a:pt x="430" y="2224"/>
                  </a:lnTo>
                  <a:lnTo>
                    <a:pt x="430" y="2198"/>
                  </a:lnTo>
                  <a:lnTo>
                    <a:pt x="430" y="2172"/>
                  </a:lnTo>
                  <a:lnTo>
                    <a:pt x="430" y="2143"/>
                  </a:lnTo>
                  <a:lnTo>
                    <a:pt x="431" y="2132"/>
                  </a:lnTo>
                  <a:lnTo>
                    <a:pt x="432" y="2121"/>
                  </a:lnTo>
                  <a:lnTo>
                    <a:pt x="433" y="2112"/>
                  </a:lnTo>
                  <a:lnTo>
                    <a:pt x="435" y="2102"/>
                  </a:lnTo>
                  <a:lnTo>
                    <a:pt x="441" y="2085"/>
                  </a:lnTo>
                  <a:lnTo>
                    <a:pt x="446" y="2067"/>
                  </a:lnTo>
                  <a:lnTo>
                    <a:pt x="451" y="2050"/>
                  </a:lnTo>
                  <a:lnTo>
                    <a:pt x="457" y="2032"/>
                  </a:lnTo>
                  <a:lnTo>
                    <a:pt x="459" y="2022"/>
                  </a:lnTo>
                  <a:lnTo>
                    <a:pt x="460" y="2012"/>
                  </a:lnTo>
                  <a:lnTo>
                    <a:pt x="461" y="2003"/>
                  </a:lnTo>
                  <a:lnTo>
                    <a:pt x="462" y="1992"/>
                  </a:lnTo>
                  <a:lnTo>
                    <a:pt x="462" y="1968"/>
                  </a:lnTo>
                  <a:lnTo>
                    <a:pt x="462" y="1947"/>
                  </a:lnTo>
                  <a:lnTo>
                    <a:pt x="462" y="1927"/>
                  </a:lnTo>
                  <a:lnTo>
                    <a:pt x="462" y="1908"/>
                  </a:lnTo>
                  <a:lnTo>
                    <a:pt x="462" y="1888"/>
                  </a:lnTo>
                  <a:lnTo>
                    <a:pt x="462" y="1868"/>
                  </a:lnTo>
                  <a:lnTo>
                    <a:pt x="462" y="1847"/>
                  </a:lnTo>
                  <a:lnTo>
                    <a:pt x="462" y="1823"/>
                  </a:lnTo>
                  <a:lnTo>
                    <a:pt x="461" y="1814"/>
                  </a:lnTo>
                  <a:lnTo>
                    <a:pt x="459" y="1805"/>
                  </a:lnTo>
                  <a:lnTo>
                    <a:pt x="456" y="1797"/>
                  </a:lnTo>
                  <a:lnTo>
                    <a:pt x="450" y="1791"/>
                  </a:lnTo>
                  <a:lnTo>
                    <a:pt x="445" y="1786"/>
                  </a:lnTo>
                  <a:lnTo>
                    <a:pt x="438" y="1781"/>
                  </a:lnTo>
                  <a:lnTo>
                    <a:pt x="431" y="1777"/>
                  </a:lnTo>
                  <a:lnTo>
                    <a:pt x="422" y="1773"/>
                  </a:lnTo>
                  <a:lnTo>
                    <a:pt x="405" y="1766"/>
                  </a:lnTo>
                  <a:lnTo>
                    <a:pt x="385" y="1759"/>
                  </a:lnTo>
                  <a:lnTo>
                    <a:pt x="366" y="1752"/>
                  </a:lnTo>
                  <a:lnTo>
                    <a:pt x="348" y="1742"/>
                  </a:lnTo>
                  <a:lnTo>
                    <a:pt x="348" y="1681"/>
                  </a:lnTo>
                  <a:lnTo>
                    <a:pt x="342" y="1658"/>
                  </a:lnTo>
                  <a:lnTo>
                    <a:pt x="327" y="1662"/>
                  </a:lnTo>
                  <a:lnTo>
                    <a:pt x="313" y="1668"/>
                  </a:lnTo>
                  <a:lnTo>
                    <a:pt x="300" y="1672"/>
                  </a:lnTo>
                  <a:lnTo>
                    <a:pt x="288" y="1678"/>
                  </a:lnTo>
                  <a:lnTo>
                    <a:pt x="275" y="1682"/>
                  </a:lnTo>
                  <a:lnTo>
                    <a:pt x="262" y="1686"/>
                  </a:lnTo>
                  <a:lnTo>
                    <a:pt x="248" y="1688"/>
                  </a:lnTo>
                  <a:lnTo>
                    <a:pt x="232" y="1689"/>
                  </a:lnTo>
                  <a:lnTo>
                    <a:pt x="215" y="1689"/>
                  </a:lnTo>
                  <a:lnTo>
                    <a:pt x="199" y="1688"/>
                  </a:lnTo>
                  <a:lnTo>
                    <a:pt x="190" y="1688"/>
                  </a:lnTo>
                  <a:lnTo>
                    <a:pt x="182" y="1686"/>
                  </a:lnTo>
                  <a:lnTo>
                    <a:pt x="174" y="1684"/>
                  </a:lnTo>
                  <a:lnTo>
                    <a:pt x="165" y="1681"/>
                  </a:lnTo>
                  <a:lnTo>
                    <a:pt x="155" y="1675"/>
                  </a:lnTo>
                  <a:lnTo>
                    <a:pt x="146" y="1669"/>
                  </a:lnTo>
                  <a:lnTo>
                    <a:pt x="141" y="1666"/>
                  </a:lnTo>
                  <a:lnTo>
                    <a:pt x="137" y="1664"/>
                  </a:lnTo>
                  <a:lnTo>
                    <a:pt x="132" y="1662"/>
                  </a:lnTo>
                  <a:lnTo>
                    <a:pt x="126" y="1661"/>
                  </a:lnTo>
                  <a:lnTo>
                    <a:pt x="117" y="1662"/>
                  </a:lnTo>
                  <a:lnTo>
                    <a:pt x="108" y="1665"/>
                  </a:lnTo>
                  <a:lnTo>
                    <a:pt x="100" y="1668"/>
                  </a:lnTo>
                  <a:lnTo>
                    <a:pt x="94" y="1671"/>
                  </a:lnTo>
                  <a:lnTo>
                    <a:pt x="80" y="1682"/>
                  </a:lnTo>
                  <a:lnTo>
                    <a:pt x="65" y="1693"/>
                  </a:lnTo>
                  <a:lnTo>
                    <a:pt x="48" y="1702"/>
                  </a:lnTo>
                  <a:lnTo>
                    <a:pt x="32" y="1711"/>
                  </a:lnTo>
                  <a:lnTo>
                    <a:pt x="16" y="1721"/>
                  </a:lnTo>
                  <a:lnTo>
                    <a:pt x="0" y="1732"/>
                  </a:lnTo>
                  <a:lnTo>
                    <a:pt x="0" y="1732"/>
                  </a:lnTo>
                  <a:lnTo>
                    <a:pt x="9" y="1708"/>
                  </a:lnTo>
                  <a:lnTo>
                    <a:pt x="17" y="1687"/>
                  </a:lnTo>
                  <a:lnTo>
                    <a:pt x="27" y="1668"/>
                  </a:lnTo>
                  <a:lnTo>
                    <a:pt x="37" y="1650"/>
                  </a:lnTo>
                  <a:lnTo>
                    <a:pt x="58" y="1614"/>
                  </a:lnTo>
                  <a:lnTo>
                    <a:pt x="84" y="1575"/>
                  </a:lnTo>
                  <a:lnTo>
                    <a:pt x="95" y="1558"/>
                  </a:lnTo>
                  <a:lnTo>
                    <a:pt x="106" y="1543"/>
                  </a:lnTo>
                  <a:lnTo>
                    <a:pt x="117" y="1527"/>
                  </a:lnTo>
                  <a:lnTo>
                    <a:pt x="127" y="1513"/>
                  </a:lnTo>
                  <a:lnTo>
                    <a:pt x="139" y="1499"/>
                  </a:lnTo>
                  <a:lnTo>
                    <a:pt x="151" y="1486"/>
                  </a:lnTo>
                  <a:lnTo>
                    <a:pt x="163" y="1476"/>
                  </a:lnTo>
                  <a:lnTo>
                    <a:pt x="176" y="1465"/>
                  </a:lnTo>
                  <a:lnTo>
                    <a:pt x="190" y="1454"/>
                  </a:lnTo>
                  <a:lnTo>
                    <a:pt x="204" y="1445"/>
                  </a:lnTo>
                  <a:lnTo>
                    <a:pt x="219" y="1438"/>
                  </a:lnTo>
                  <a:lnTo>
                    <a:pt x="234" y="1432"/>
                  </a:lnTo>
                  <a:lnTo>
                    <a:pt x="250" y="1427"/>
                  </a:lnTo>
                  <a:lnTo>
                    <a:pt x="268" y="1424"/>
                  </a:lnTo>
                  <a:lnTo>
                    <a:pt x="286" y="1422"/>
                  </a:lnTo>
                  <a:lnTo>
                    <a:pt x="306" y="1421"/>
                  </a:lnTo>
                  <a:lnTo>
                    <a:pt x="314" y="1422"/>
                  </a:lnTo>
                  <a:lnTo>
                    <a:pt x="322" y="1423"/>
                  </a:lnTo>
                  <a:lnTo>
                    <a:pt x="330" y="1425"/>
                  </a:lnTo>
                  <a:lnTo>
                    <a:pt x="339" y="1426"/>
                  </a:lnTo>
                  <a:lnTo>
                    <a:pt x="345" y="1425"/>
                  </a:lnTo>
                  <a:lnTo>
                    <a:pt x="351" y="1423"/>
                  </a:lnTo>
                  <a:lnTo>
                    <a:pt x="356" y="1421"/>
                  </a:lnTo>
                  <a:lnTo>
                    <a:pt x="361" y="1416"/>
                  </a:lnTo>
                  <a:lnTo>
                    <a:pt x="365" y="1413"/>
                  </a:lnTo>
                  <a:lnTo>
                    <a:pt x="369" y="1409"/>
                  </a:lnTo>
                  <a:lnTo>
                    <a:pt x="375" y="1405"/>
                  </a:lnTo>
                  <a:lnTo>
                    <a:pt x="381" y="1403"/>
                  </a:lnTo>
                  <a:lnTo>
                    <a:pt x="392" y="1400"/>
                  </a:lnTo>
                  <a:lnTo>
                    <a:pt x="401" y="1396"/>
                  </a:lnTo>
                  <a:lnTo>
                    <a:pt x="409" y="1391"/>
                  </a:lnTo>
                  <a:lnTo>
                    <a:pt x="417" y="1386"/>
                  </a:lnTo>
                  <a:lnTo>
                    <a:pt x="424" y="1381"/>
                  </a:lnTo>
                  <a:lnTo>
                    <a:pt x="431" y="1374"/>
                  </a:lnTo>
                  <a:lnTo>
                    <a:pt x="438" y="1367"/>
                  </a:lnTo>
                  <a:lnTo>
                    <a:pt x="446" y="1359"/>
                  </a:lnTo>
                  <a:lnTo>
                    <a:pt x="451" y="1349"/>
                  </a:lnTo>
                  <a:lnTo>
                    <a:pt x="455" y="1340"/>
                  </a:lnTo>
                  <a:lnTo>
                    <a:pt x="457" y="1335"/>
                  </a:lnTo>
                  <a:lnTo>
                    <a:pt x="459" y="1331"/>
                  </a:lnTo>
                  <a:lnTo>
                    <a:pt x="461" y="1327"/>
                  </a:lnTo>
                  <a:lnTo>
                    <a:pt x="465" y="1322"/>
                  </a:lnTo>
                  <a:lnTo>
                    <a:pt x="474" y="1314"/>
                  </a:lnTo>
                  <a:lnTo>
                    <a:pt x="482" y="1304"/>
                  </a:lnTo>
                  <a:lnTo>
                    <a:pt x="488" y="1295"/>
                  </a:lnTo>
                  <a:lnTo>
                    <a:pt x="493" y="1287"/>
                  </a:lnTo>
                  <a:lnTo>
                    <a:pt x="500" y="1279"/>
                  </a:lnTo>
                  <a:lnTo>
                    <a:pt x="508" y="1272"/>
                  </a:lnTo>
                  <a:lnTo>
                    <a:pt x="516" y="1264"/>
                  </a:lnTo>
                  <a:lnTo>
                    <a:pt x="527" y="1257"/>
                  </a:lnTo>
                  <a:lnTo>
                    <a:pt x="539" y="1254"/>
                  </a:lnTo>
                  <a:lnTo>
                    <a:pt x="550" y="1252"/>
                  </a:lnTo>
                  <a:lnTo>
                    <a:pt x="555" y="1251"/>
                  </a:lnTo>
                  <a:lnTo>
                    <a:pt x="560" y="1249"/>
                  </a:lnTo>
                  <a:lnTo>
                    <a:pt x="566" y="1247"/>
                  </a:lnTo>
                  <a:lnTo>
                    <a:pt x="571" y="1243"/>
                  </a:lnTo>
                  <a:lnTo>
                    <a:pt x="580" y="1238"/>
                  </a:lnTo>
                  <a:lnTo>
                    <a:pt x="586" y="1233"/>
                  </a:lnTo>
                  <a:lnTo>
                    <a:pt x="593" y="1226"/>
                  </a:lnTo>
                  <a:lnTo>
                    <a:pt x="598" y="1219"/>
                  </a:lnTo>
                  <a:lnTo>
                    <a:pt x="603" y="1212"/>
                  </a:lnTo>
                  <a:lnTo>
                    <a:pt x="607" y="1205"/>
                  </a:lnTo>
                  <a:lnTo>
                    <a:pt x="610" y="1197"/>
                  </a:lnTo>
                  <a:lnTo>
                    <a:pt x="613" y="1189"/>
                  </a:lnTo>
                  <a:lnTo>
                    <a:pt x="624" y="1156"/>
                  </a:lnTo>
                  <a:lnTo>
                    <a:pt x="639" y="1120"/>
                  </a:lnTo>
                  <a:lnTo>
                    <a:pt x="648" y="1103"/>
                  </a:lnTo>
                  <a:lnTo>
                    <a:pt x="655" y="1088"/>
                  </a:lnTo>
                  <a:lnTo>
                    <a:pt x="664" y="1074"/>
                  </a:lnTo>
                  <a:lnTo>
                    <a:pt x="675" y="1059"/>
                  </a:lnTo>
                  <a:lnTo>
                    <a:pt x="693" y="1040"/>
                  </a:lnTo>
                  <a:lnTo>
                    <a:pt x="712" y="1025"/>
                  </a:lnTo>
                  <a:lnTo>
                    <a:pt x="719" y="1017"/>
                  </a:lnTo>
                  <a:lnTo>
                    <a:pt x="726" y="1007"/>
                  </a:lnTo>
                  <a:lnTo>
                    <a:pt x="728" y="1003"/>
                  </a:lnTo>
                  <a:lnTo>
                    <a:pt x="730" y="997"/>
                  </a:lnTo>
                  <a:lnTo>
                    <a:pt x="731" y="991"/>
                  </a:lnTo>
                  <a:lnTo>
                    <a:pt x="731" y="984"/>
                  </a:lnTo>
                  <a:lnTo>
                    <a:pt x="729" y="968"/>
                  </a:lnTo>
                  <a:lnTo>
                    <a:pt x="726" y="952"/>
                  </a:lnTo>
                  <a:lnTo>
                    <a:pt x="727" y="945"/>
                  </a:lnTo>
                  <a:lnTo>
                    <a:pt x="729" y="939"/>
                  </a:lnTo>
                  <a:lnTo>
                    <a:pt x="733" y="933"/>
                  </a:lnTo>
                  <a:lnTo>
                    <a:pt x="738" y="928"/>
                  </a:lnTo>
                  <a:lnTo>
                    <a:pt x="742" y="923"/>
                  </a:lnTo>
                  <a:lnTo>
                    <a:pt x="746" y="917"/>
                  </a:lnTo>
                  <a:lnTo>
                    <a:pt x="751" y="912"/>
                  </a:lnTo>
                  <a:lnTo>
                    <a:pt x="754" y="904"/>
                  </a:lnTo>
                  <a:lnTo>
                    <a:pt x="760" y="886"/>
                  </a:lnTo>
                  <a:lnTo>
                    <a:pt x="766" y="870"/>
                  </a:lnTo>
                  <a:lnTo>
                    <a:pt x="770" y="854"/>
                  </a:lnTo>
                  <a:lnTo>
                    <a:pt x="776" y="835"/>
                  </a:lnTo>
                  <a:lnTo>
                    <a:pt x="784" y="811"/>
                  </a:lnTo>
                  <a:lnTo>
                    <a:pt x="792" y="792"/>
                  </a:lnTo>
                  <a:lnTo>
                    <a:pt x="800" y="773"/>
                  </a:lnTo>
                  <a:lnTo>
                    <a:pt x="810" y="751"/>
                  </a:lnTo>
                  <a:lnTo>
                    <a:pt x="815" y="734"/>
                  </a:lnTo>
                  <a:lnTo>
                    <a:pt x="820" y="717"/>
                  </a:lnTo>
                  <a:lnTo>
                    <a:pt x="822" y="710"/>
                  </a:lnTo>
                  <a:lnTo>
                    <a:pt x="824" y="702"/>
                  </a:lnTo>
                  <a:lnTo>
                    <a:pt x="829" y="695"/>
                  </a:lnTo>
                  <a:lnTo>
                    <a:pt x="835" y="689"/>
                  </a:lnTo>
                  <a:lnTo>
                    <a:pt x="846" y="682"/>
                  </a:lnTo>
                  <a:lnTo>
                    <a:pt x="855" y="675"/>
                  </a:lnTo>
                  <a:lnTo>
                    <a:pt x="866" y="671"/>
                  </a:lnTo>
                  <a:lnTo>
                    <a:pt x="876" y="666"/>
                  </a:lnTo>
                  <a:lnTo>
                    <a:pt x="886" y="661"/>
                  </a:lnTo>
                  <a:lnTo>
                    <a:pt x="895" y="655"/>
                  </a:lnTo>
                  <a:lnTo>
                    <a:pt x="903" y="648"/>
                  </a:lnTo>
                  <a:lnTo>
                    <a:pt x="910" y="639"/>
                  </a:lnTo>
                  <a:lnTo>
                    <a:pt x="923" y="618"/>
                  </a:lnTo>
                  <a:lnTo>
                    <a:pt x="933" y="598"/>
                  </a:lnTo>
                  <a:lnTo>
                    <a:pt x="941" y="578"/>
                  </a:lnTo>
                  <a:lnTo>
                    <a:pt x="947" y="559"/>
                  </a:lnTo>
                  <a:lnTo>
                    <a:pt x="952" y="539"/>
                  </a:lnTo>
                  <a:lnTo>
                    <a:pt x="959" y="520"/>
                  </a:lnTo>
                  <a:lnTo>
                    <a:pt x="967" y="498"/>
                  </a:lnTo>
                  <a:lnTo>
                    <a:pt x="975" y="476"/>
                  </a:lnTo>
                  <a:lnTo>
                    <a:pt x="983" y="462"/>
                  </a:lnTo>
                  <a:lnTo>
                    <a:pt x="991" y="449"/>
                  </a:lnTo>
                  <a:lnTo>
                    <a:pt x="1000" y="436"/>
                  </a:lnTo>
                  <a:lnTo>
                    <a:pt x="1008" y="425"/>
                  </a:lnTo>
                  <a:lnTo>
                    <a:pt x="1015" y="413"/>
                  </a:lnTo>
                  <a:lnTo>
                    <a:pt x="1021" y="400"/>
                  </a:lnTo>
                  <a:lnTo>
                    <a:pt x="1023" y="392"/>
                  </a:lnTo>
                  <a:lnTo>
                    <a:pt x="1025" y="386"/>
                  </a:lnTo>
                  <a:lnTo>
                    <a:pt x="1025" y="378"/>
                  </a:lnTo>
                  <a:lnTo>
                    <a:pt x="1026" y="370"/>
                  </a:lnTo>
                  <a:lnTo>
                    <a:pt x="1026" y="357"/>
                  </a:lnTo>
                  <a:lnTo>
                    <a:pt x="1027" y="345"/>
                  </a:lnTo>
                  <a:lnTo>
                    <a:pt x="1027" y="339"/>
                  </a:lnTo>
                  <a:lnTo>
                    <a:pt x="1026" y="334"/>
                  </a:lnTo>
                  <a:lnTo>
                    <a:pt x="1025" y="328"/>
                  </a:lnTo>
                  <a:lnTo>
                    <a:pt x="1023" y="322"/>
                  </a:lnTo>
                  <a:lnTo>
                    <a:pt x="1019" y="316"/>
                  </a:lnTo>
                  <a:lnTo>
                    <a:pt x="1014" y="310"/>
                  </a:lnTo>
                  <a:lnTo>
                    <a:pt x="1009" y="306"/>
                  </a:lnTo>
                  <a:lnTo>
                    <a:pt x="1003" y="302"/>
                  </a:lnTo>
                  <a:lnTo>
                    <a:pt x="998" y="297"/>
                  </a:lnTo>
                  <a:lnTo>
                    <a:pt x="994" y="293"/>
                  </a:lnTo>
                  <a:lnTo>
                    <a:pt x="991" y="290"/>
                  </a:lnTo>
                  <a:lnTo>
                    <a:pt x="990" y="287"/>
                  </a:lnTo>
                  <a:lnTo>
                    <a:pt x="989" y="283"/>
                  </a:lnTo>
                  <a:lnTo>
                    <a:pt x="989" y="280"/>
                  </a:lnTo>
                  <a:lnTo>
                    <a:pt x="989" y="274"/>
                  </a:lnTo>
                  <a:lnTo>
                    <a:pt x="990" y="267"/>
                  </a:lnTo>
                  <a:lnTo>
                    <a:pt x="992" y="262"/>
                  </a:lnTo>
                  <a:lnTo>
                    <a:pt x="995" y="256"/>
                  </a:lnTo>
                  <a:lnTo>
                    <a:pt x="1001" y="247"/>
                  </a:lnTo>
                  <a:lnTo>
                    <a:pt x="1008" y="238"/>
                  </a:lnTo>
                  <a:lnTo>
                    <a:pt x="1016" y="229"/>
                  </a:lnTo>
                  <a:lnTo>
                    <a:pt x="1024" y="221"/>
                  </a:lnTo>
                  <a:lnTo>
                    <a:pt x="1031" y="210"/>
                  </a:lnTo>
                  <a:lnTo>
                    <a:pt x="1037" y="198"/>
                  </a:lnTo>
                  <a:lnTo>
                    <a:pt x="1048" y="172"/>
                  </a:lnTo>
                  <a:lnTo>
                    <a:pt x="1055" y="147"/>
                  </a:lnTo>
                  <a:lnTo>
                    <a:pt x="1063" y="123"/>
                  </a:lnTo>
                  <a:lnTo>
                    <a:pt x="1068" y="101"/>
                  </a:lnTo>
                  <a:lnTo>
                    <a:pt x="1075" y="77"/>
                  </a:lnTo>
                  <a:lnTo>
                    <a:pt x="1080" y="53"/>
                  </a:lnTo>
                  <a:lnTo>
                    <a:pt x="1088" y="28"/>
                  </a:lnTo>
                  <a:lnTo>
                    <a:pt x="1096" y="0"/>
                  </a:lnTo>
                  <a:lnTo>
                    <a:pt x="1096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21">
              <a:extLst>
                <a:ext uri="{FF2B5EF4-FFF2-40B4-BE49-F238E27FC236}">
                  <a16:creationId xmlns:a16="http://schemas.microsoft.com/office/drawing/2014/main" id="{3ACC2261-C865-4E11-8E49-8E643830C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00300" y="1620838"/>
              <a:ext cx="912813" cy="1279525"/>
            </a:xfrm>
            <a:custGeom>
              <a:avLst/>
              <a:gdLst>
                <a:gd name="T0" fmla="*/ 2031 w 2300"/>
                <a:gd name="T1" fmla="*/ 88 h 3221"/>
                <a:gd name="T2" fmla="*/ 2077 w 2300"/>
                <a:gd name="T3" fmla="*/ 111 h 3221"/>
                <a:gd name="T4" fmla="*/ 2065 w 2300"/>
                <a:gd name="T5" fmla="*/ 291 h 3221"/>
                <a:gd name="T6" fmla="*/ 2196 w 2300"/>
                <a:gd name="T7" fmla="*/ 425 h 3221"/>
                <a:gd name="T8" fmla="*/ 2191 w 2300"/>
                <a:gd name="T9" fmla="*/ 564 h 3221"/>
                <a:gd name="T10" fmla="*/ 2121 w 2300"/>
                <a:gd name="T11" fmla="*/ 652 h 3221"/>
                <a:gd name="T12" fmla="*/ 2075 w 2300"/>
                <a:gd name="T13" fmla="*/ 874 h 3221"/>
                <a:gd name="T14" fmla="*/ 2085 w 2300"/>
                <a:gd name="T15" fmla="*/ 981 h 3221"/>
                <a:gd name="T16" fmla="*/ 2028 w 2300"/>
                <a:gd name="T17" fmla="*/ 1247 h 3221"/>
                <a:gd name="T18" fmla="*/ 2077 w 2300"/>
                <a:gd name="T19" fmla="*/ 1429 h 3221"/>
                <a:gd name="T20" fmla="*/ 2079 w 2300"/>
                <a:gd name="T21" fmla="*/ 1616 h 3221"/>
                <a:gd name="T22" fmla="*/ 2135 w 2300"/>
                <a:gd name="T23" fmla="*/ 1704 h 3221"/>
                <a:gd name="T24" fmla="*/ 2278 w 2300"/>
                <a:gd name="T25" fmla="*/ 1758 h 3221"/>
                <a:gd name="T26" fmla="*/ 2291 w 2300"/>
                <a:gd name="T27" fmla="*/ 1945 h 3221"/>
                <a:gd name="T28" fmla="*/ 2189 w 2300"/>
                <a:gd name="T29" fmla="*/ 2057 h 3221"/>
                <a:gd name="T30" fmla="*/ 2228 w 2300"/>
                <a:gd name="T31" fmla="*/ 2190 h 3221"/>
                <a:gd name="T32" fmla="*/ 2189 w 2300"/>
                <a:gd name="T33" fmla="*/ 2305 h 3221"/>
                <a:gd name="T34" fmla="*/ 2021 w 2300"/>
                <a:gd name="T35" fmla="*/ 2465 h 3221"/>
                <a:gd name="T36" fmla="*/ 1870 w 2300"/>
                <a:gd name="T37" fmla="*/ 2551 h 3221"/>
                <a:gd name="T38" fmla="*/ 1780 w 2300"/>
                <a:gd name="T39" fmla="*/ 2651 h 3221"/>
                <a:gd name="T40" fmla="*/ 1569 w 2300"/>
                <a:gd name="T41" fmla="*/ 2721 h 3221"/>
                <a:gd name="T42" fmla="*/ 1378 w 2300"/>
                <a:gd name="T43" fmla="*/ 2737 h 3221"/>
                <a:gd name="T44" fmla="*/ 1268 w 2300"/>
                <a:gd name="T45" fmla="*/ 2765 h 3221"/>
                <a:gd name="T46" fmla="*/ 1082 w 2300"/>
                <a:gd name="T47" fmla="*/ 2700 h 3221"/>
                <a:gd name="T48" fmla="*/ 987 w 2300"/>
                <a:gd name="T49" fmla="*/ 2655 h 3221"/>
                <a:gd name="T50" fmla="*/ 837 w 2300"/>
                <a:gd name="T51" fmla="*/ 2702 h 3221"/>
                <a:gd name="T52" fmla="*/ 890 w 2300"/>
                <a:gd name="T53" fmla="*/ 2857 h 3221"/>
                <a:gd name="T54" fmla="*/ 864 w 2300"/>
                <a:gd name="T55" fmla="*/ 3007 h 3221"/>
                <a:gd name="T56" fmla="*/ 712 w 2300"/>
                <a:gd name="T57" fmla="*/ 3140 h 3221"/>
                <a:gd name="T58" fmla="*/ 496 w 2300"/>
                <a:gd name="T59" fmla="*/ 3221 h 3221"/>
                <a:gd name="T60" fmla="*/ 346 w 2300"/>
                <a:gd name="T61" fmla="*/ 3114 h 3221"/>
                <a:gd name="T62" fmla="*/ 123 w 2300"/>
                <a:gd name="T63" fmla="*/ 3014 h 3221"/>
                <a:gd name="T64" fmla="*/ 44 w 2300"/>
                <a:gd name="T65" fmla="*/ 2641 h 3221"/>
                <a:gd name="T66" fmla="*/ 5 w 2300"/>
                <a:gd name="T67" fmla="*/ 2529 h 3221"/>
                <a:gd name="T68" fmla="*/ 2 w 2300"/>
                <a:gd name="T69" fmla="*/ 2395 h 3221"/>
                <a:gd name="T70" fmla="*/ 89 w 2300"/>
                <a:gd name="T71" fmla="*/ 2369 h 3221"/>
                <a:gd name="T72" fmla="*/ 168 w 2300"/>
                <a:gd name="T73" fmla="*/ 1982 h 3221"/>
                <a:gd name="T74" fmla="*/ 247 w 2300"/>
                <a:gd name="T75" fmla="*/ 1878 h 3221"/>
                <a:gd name="T76" fmla="*/ 372 w 2300"/>
                <a:gd name="T77" fmla="*/ 1881 h 3221"/>
                <a:gd name="T78" fmla="*/ 506 w 2300"/>
                <a:gd name="T79" fmla="*/ 1840 h 3221"/>
                <a:gd name="T80" fmla="*/ 663 w 2300"/>
                <a:gd name="T81" fmla="*/ 1744 h 3221"/>
                <a:gd name="T82" fmla="*/ 749 w 2300"/>
                <a:gd name="T83" fmla="*/ 1699 h 3221"/>
                <a:gd name="T84" fmla="*/ 844 w 2300"/>
                <a:gd name="T85" fmla="*/ 1616 h 3221"/>
                <a:gd name="T86" fmla="*/ 969 w 2300"/>
                <a:gd name="T87" fmla="*/ 1588 h 3221"/>
                <a:gd name="T88" fmla="*/ 1188 w 2300"/>
                <a:gd name="T89" fmla="*/ 1672 h 3221"/>
                <a:gd name="T90" fmla="*/ 1287 w 2300"/>
                <a:gd name="T91" fmla="*/ 1629 h 3221"/>
                <a:gd name="T92" fmla="*/ 1323 w 2300"/>
                <a:gd name="T93" fmla="*/ 1478 h 3221"/>
                <a:gd name="T94" fmla="*/ 1280 w 2300"/>
                <a:gd name="T95" fmla="*/ 1371 h 3221"/>
                <a:gd name="T96" fmla="*/ 1241 w 2300"/>
                <a:gd name="T97" fmla="*/ 1277 h 3221"/>
                <a:gd name="T98" fmla="*/ 1256 w 2300"/>
                <a:gd name="T99" fmla="*/ 1161 h 3221"/>
                <a:gd name="T100" fmla="*/ 1346 w 2300"/>
                <a:gd name="T101" fmla="*/ 1053 h 3221"/>
                <a:gd name="T102" fmla="*/ 1397 w 2300"/>
                <a:gd name="T103" fmla="*/ 846 h 3221"/>
                <a:gd name="T104" fmla="*/ 1346 w 2300"/>
                <a:gd name="T105" fmla="*/ 734 h 3221"/>
                <a:gd name="T106" fmla="*/ 1365 w 2300"/>
                <a:gd name="T107" fmla="*/ 611 h 3221"/>
                <a:gd name="T108" fmla="*/ 1328 w 2300"/>
                <a:gd name="T109" fmla="*/ 547 h 3221"/>
                <a:gd name="T110" fmla="*/ 1432 w 2300"/>
                <a:gd name="T111" fmla="*/ 437 h 3221"/>
                <a:gd name="T112" fmla="*/ 1498 w 2300"/>
                <a:gd name="T113" fmla="*/ 259 h 3221"/>
                <a:gd name="T114" fmla="*/ 1560 w 2300"/>
                <a:gd name="T115" fmla="*/ 261 h 3221"/>
                <a:gd name="T116" fmla="*/ 1651 w 2300"/>
                <a:gd name="T117" fmla="*/ 179 h 3221"/>
                <a:gd name="T118" fmla="*/ 1794 w 2300"/>
                <a:gd name="T119" fmla="*/ 136 h 3221"/>
                <a:gd name="T120" fmla="*/ 1861 w 2300"/>
                <a:gd name="T121" fmla="*/ 0 h 3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00" h="3221">
                  <a:moveTo>
                    <a:pt x="1861" y="0"/>
                  </a:moveTo>
                  <a:lnTo>
                    <a:pt x="1872" y="8"/>
                  </a:lnTo>
                  <a:lnTo>
                    <a:pt x="1883" y="16"/>
                  </a:lnTo>
                  <a:lnTo>
                    <a:pt x="1896" y="24"/>
                  </a:lnTo>
                  <a:lnTo>
                    <a:pt x="1912" y="32"/>
                  </a:lnTo>
                  <a:lnTo>
                    <a:pt x="1944" y="52"/>
                  </a:lnTo>
                  <a:lnTo>
                    <a:pt x="1974" y="70"/>
                  </a:lnTo>
                  <a:lnTo>
                    <a:pt x="1988" y="77"/>
                  </a:lnTo>
                  <a:lnTo>
                    <a:pt x="2004" y="83"/>
                  </a:lnTo>
                  <a:lnTo>
                    <a:pt x="2013" y="85"/>
                  </a:lnTo>
                  <a:lnTo>
                    <a:pt x="2022" y="87"/>
                  </a:lnTo>
                  <a:lnTo>
                    <a:pt x="2031" y="88"/>
                  </a:lnTo>
                  <a:lnTo>
                    <a:pt x="2041" y="88"/>
                  </a:lnTo>
                  <a:lnTo>
                    <a:pt x="2047" y="88"/>
                  </a:lnTo>
                  <a:lnTo>
                    <a:pt x="2051" y="86"/>
                  </a:lnTo>
                  <a:lnTo>
                    <a:pt x="2054" y="85"/>
                  </a:lnTo>
                  <a:lnTo>
                    <a:pt x="2058" y="83"/>
                  </a:lnTo>
                  <a:lnTo>
                    <a:pt x="2062" y="81"/>
                  </a:lnTo>
                  <a:lnTo>
                    <a:pt x="2066" y="78"/>
                  </a:lnTo>
                  <a:lnTo>
                    <a:pt x="2070" y="77"/>
                  </a:lnTo>
                  <a:lnTo>
                    <a:pt x="2076" y="77"/>
                  </a:lnTo>
                  <a:lnTo>
                    <a:pt x="2076" y="77"/>
                  </a:lnTo>
                  <a:lnTo>
                    <a:pt x="2077" y="95"/>
                  </a:lnTo>
                  <a:lnTo>
                    <a:pt x="2077" y="111"/>
                  </a:lnTo>
                  <a:lnTo>
                    <a:pt x="2076" y="128"/>
                  </a:lnTo>
                  <a:lnTo>
                    <a:pt x="2076" y="145"/>
                  </a:lnTo>
                  <a:lnTo>
                    <a:pt x="2075" y="164"/>
                  </a:lnTo>
                  <a:lnTo>
                    <a:pt x="2074" y="181"/>
                  </a:lnTo>
                  <a:lnTo>
                    <a:pt x="2071" y="197"/>
                  </a:lnTo>
                  <a:lnTo>
                    <a:pt x="2069" y="213"/>
                  </a:lnTo>
                  <a:lnTo>
                    <a:pt x="2067" y="229"/>
                  </a:lnTo>
                  <a:lnTo>
                    <a:pt x="2065" y="245"/>
                  </a:lnTo>
                  <a:lnTo>
                    <a:pt x="2063" y="263"/>
                  </a:lnTo>
                  <a:lnTo>
                    <a:pt x="2063" y="281"/>
                  </a:lnTo>
                  <a:lnTo>
                    <a:pt x="2063" y="287"/>
                  </a:lnTo>
                  <a:lnTo>
                    <a:pt x="2065" y="291"/>
                  </a:lnTo>
                  <a:lnTo>
                    <a:pt x="2068" y="294"/>
                  </a:lnTo>
                  <a:lnTo>
                    <a:pt x="2071" y="298"/>
                  </a:lnTo>
                  <a:lnTo>
                    <a:pt x="2079" y="304"/>
                  </a:lnTo>
                  <a:lnTo>
                    <a:pt x="2085" y="313"/>
                  </a:lnTo>
                  <a:lnTo>
                    <a:pt x="2093" y="328"/>
                  </a:lnTo>
                  <a:lnTo>
                    <a:pt x="2103" y="341"/>
                  </a:lnTo>
                  <a:lnTo>
                    <a:pt x="2111" y="354"/>
                  </a:lnTo>
                  <a:lnTo>
                    <a:pt x="2122" y="365"/>
                  </a:lnTo>
                  <a:lnTo>
                    <a:pt x="2145" y="384"/>
                  </a:lnTo>
                  <a:lnTo>
                    <a:pt x="2172" y="405"/>
                  </a:lnTo>
                  <a:lnTo>
                    <a:pt x="2185" y="414"/>
                  </a:lnTo>
                  <a:lnTo>
                    <a:pt x="2196" y="425"/>
                  </a:lnTo>
                  <a:lnTo>
                    <a:pt x="2200" y="432"/>
                  </a:lnTo>
                  <a:lnTo>
                    <a:pt x="2203" y="437"/>
                  </a:lnTo>
                  <a:lnTo>
                    <a:pt x="2204" y="445"/>
                  </a:lnTo>
                  <a:lnTo>
                    <a:pt x="2205" y="452"/>
                  </a:lnTo>
                  <a:lnTo>
                    <a:pt x="2205" y="462"/>
                  </a:lnTo>
                  <a:lnTo>
                    <a:pt x="2203" y="472"/>
                  </a:lnTo>
                  <a:lnTo>
                    <a:pt x="2202" y="479"/>
                  </a:lnTo>
                  <a:lnTo>
                    <a:pt x="2199" y="488"/>
                  </a:lnTo>
                  <a:lnTo>
                    <a:pt x="2194" y="504"/>
                  </a:lnTo>
                  <a:lnTo>
                    <a:pt x="2191" y="522"/>
                  </a:lnTo>
                  <a:lnTo>
                    <a:pt x="2191" y="545"/>
                  </a:lnTo>
                  <a:lnTo>
                    <a:pt x="2191" y="564"/>
                  </a:lnTo>
                  <a:lnTo>
                    <a:pt x="2190" y="574"/>
                  </a:lnTo>
                  <a:lnTo>
                    <a:pt x="2188" y="584"/>
                  </a:lnTo>
                  <a:lnTo>
                    <a:pt x="2184" y="592"/>
                  </a:lnTo>
                  <a:lnTo>
                    <a:pt x="2177" y="601"/>
                  </a:lnTo>
                  <a:lnTo>
                    <a:pt x="2170" y="609"/>
                  </a:lnTo>
                  <a:lnTo>
                    <a:pt x="2162" y="614"/>
                  </a:lnTo>
                  <a:lnTo>
                    <a:pt x="2155" y="619"/>
                  </a:lnTo>
                  <a:lnTo>
                    <a:pt x="2146" y="624"/>
                  </a:lnTo>
                  <a:lnTo>
                    <a:pt x="2138" y="629"/>
                  </a:lnTo>
                  <a:lnTo>
                    <a:pt x="2132" y="635"/>
                  </a:lnTo>
                  <a:lnTo>
                    <a:pt x="2125" y="642"/>
                  </a:lnTo>
                  <a:lnTo>
                    <a:pt x="2121" y="652"/>
                  </a:lnTo>
                  <a:lnTo>
                    <a:pt x="2113" y="675"/>
                  </a:lnTo>
                  <a:lnTo>
                    <a:pt x="2107" y="695"/>
                  </a:lnTo>
                  <a:lnTo>
                    <a:pt x="2103" y="716"/>
                  </a:lnTo>
                  <a:lnTo>
                    <a:pt x="2098" y="735"/>
                  </a:lnTo>
                  <a:lnTo>
                    <a:pt x="2095" y="756"/>
                  </a:lnTo>
                  <a:lnTo>
                    <a:pt x="2093" y="776"/>
                  </a:lnTo>
                  <a:lnTo>
                    <a:pt x="2091" y="798"/>
                  </a:lnTo>
                  <a:lnTo>
                    <a:pt x="2088" y="823"/>
                  </a:lnTo>
                  <a:lnTo>
                    <a:pt x="2085" y="837"/>
                  </a:lnTo>
                  <a:lnTo>
                    <a:pt x="2082" y="851"/>
                  </a:lnTo>
                  <a:lnTo>
                    <a:pt x="2079" y="862"/>
                  </a:lnTo>
                  <a:lnTo>
                    <a:pt x="2075" y="874"/>
                  </a:lnTo>
                  <a:lnTo>
                    <a:pt x="2071" y="886"/>
                  </a:lnTo>
                  <a:lnTo>
                    <a:pt x="2068" y="898"/>
                  </a:lnTo>
                  <a:lnTo>
                    <a:pt x="2066" y="911"/>
                  </a:lnTo>
                  <a:lnTo>
                    <a:pt x="2065" y="926"/>
                  </a:lnTo>
                  <a:lnTo>
                    <a:pt x="2066" y="934"/>
                  </a:lnTo>
                  <a:lnTo>
                    <a:pt x="2068" y="941"/>
                  </a:lnTo>
                  <a:lnTo>
                    <a:pt x="2071" y="948"/>
                  </a:lnTo>
                  <a:lnTo>
                    <a:pt x="2076" y="954"/>
                  </a:lnTo>
                  <a:lnTo>
                    <a:pt x="2079" y="960"/>
                  </a:lnTo>
                  <a:lnTo>
                    <a:pt x="2082" y="966"/>
                  </a:lnTo>
                  <a:lnTo>
                    <a:pt x="2084" y="974"/>
                  </a:lnTo>
                  <a:lnTo>
                    <a:pt x="2085" y="981"/>
                  </a:lnTo>
                  <a:lnTo>
                    <a:pt x="2085" y="1001"/>
                  </a:lnTo>
                  <a:lnTo>
                    <a:pt x="2085" y="1017"/>
                  </a:lnTo>
                  <a:lnTo>
                    <a:pt x="2085" y="1034"/>
                  </a:lnTo>
                  <a:lnTo>
                    <a:pt x="2085" y="1053"/>
                  </a:lnTo>
                  <a:lnTo>
                    <a:pt x="2084" y="1072"/>
                  </a:lnTo>
                  <a:lnTo>
                    <a:pt x="2082" y="1090"/>
                  </a:lnTo>
                  <a:lnTo>
                    <a:pt x="2079" y="1108"/>
                  </a:lnTo>
                  <a:lnTo>
                    <a:pt x="2075" y="1125"/>
                  </a:lnTo>
                  <a:lnTo>
                    <a:pt x="2064" y="1155"/>
                  </a:lnTo>
                  <a:lnTo>
                    <a:pt x="2051" y="1185"/>
                  </a:lnTo>
                  <a:lnTo>
                    <a:pt x="2039" y="1216"/>
                  </a:lnTo>
                  <a:lnTo>
                    <a:pt x="2028" y="1247"/>
                  </a:lnTo>
                  <a:lnTo>
                    <a:pt x="2024" y="1263"/>
                  </a:lnTo>
                  <a:lnTo>
                    <a:pt x="2021" y="1280"/>
                  </a:lnTo>
                  <a:lnTo>
                    <a:pt x="2018" y="1299"/>
                  </a:lnTo>
                  <a:lnTo>
                    <a:pt x="2017" y="1318"/>
                  </a:lnTo>
                  <a:lnTo>
                    <a:pt x="2018" y="1330"/>
                  </a:lnTo>
                  <a:lnTo>
                    <a:pt x="2021" y="1341"/>
                  </a:lnTo>
                  <a:lnTo>
                    <a:pt x="2024" y="1352"/>
                  </a:lnTo>
                  <a:lnTo>
                    <a:pt x="2028" y="1361"/>
                  </a:lnTo>
                  <a:lnTo>
                    <a:pt x="2040" y="1379"/>
                  </a:lnTo>
                  <a:lnTo>
                    <a:pt x="2053" y="1396"/>
                  </a:lnTo>
                  <a:lnTo>
                    <a:pt x="2066" y="1412"/>
                  </a:lnTo>
                  <a:lnTo>
                    <a:pt x="2077" y="1429"/>
                  </a:lnTo>
                  <a:lnTo>
                    <a:pt x="2081" y="1439"/>
                  </a:lnTo>
                  <a:lnTo>
                    <a:pt x="2084" y="1450"/>
                  </a:lnTo>
                  <a:lnTo>
                    <a:pt x="2086" y="1461"/>
                  </a:lnTo>
                  <a:lnTo>
                    <a:pt x="2088" y="1473"/>
                  </a:lnTo>
                  <a:lnTo>
                    <a:pt x="2086" y="1490"/>
                  </a:lnTo>
                  <a:lnTo>
                    <a:pt x="2083" y="1506"/>
                  </a:lnTo>
                  <a:lnTo>
                    <a:pt x="2081" y="1521"/>
                  </a:lnTo>
                  <a:lnTo>
                    <a:pt x="2079" y="1540"/>
                  </a:lnTo>
                  <a:lnTo>
                    <a:pt x="2079" y="1560"/>
                  </a:lnTo>
                  <a:lnTo>
                    <a:pt x="2079" y="1577"/>
                  </a:lnTo>
                  <a:lnTo>
                    <a:pt x="2079" y="1596"/>
                  </a:lnTo>
                  <a:lnTo>
                    <a:pt x="2079" y="1616"/>
                  </a:lnTo>
                  <a:lnTo>
                    <a:pt x="2079" y="1628"/>
                  </a:lnTo>
                  <a:lnTo>
                    <a:pt x="2080" y="1640"/>
                  </a:lnTo>
                  <a:lnTo>
                    <a:pt x="2080" y="1652"/>
                  </a:lnTo>
                  <a:lnTo>
                    <a:pt x="2082" y="1663"/>
                  </a:lnTo>
                  <a:lnTo>
                    <a:pt x="2085" y="1672"/>
                  </a:lnTo>
                  <a:lnTo>
                    <a:pt x="2091" y="1681"/>
                  </a:lnTo>
                  <a:lnTo>
                    <a:pt x="2094" y="1685"/>
                  </a:lnTo>
                  <a:lnTo>
                    <a:pt x="2097" y="1689"/>
                  </a:lnTo>
                  <a:lnTo>
                    <a:pt x="2103" y="1692"/>
                  </a:lnTo>
                  <a:lnTo>
                    <a:pt x="2107" y="1694"/>
                  </a:lnTo>
                  <a:lnTo>
                    <a:pt x="2122" y="1699"/>
                  </a:lnTo>
                  <a:lnTo>
                    <a:pt x="2135" y="1704"/>
                  </a:lnTo>
                  <a:lnTo>
                    <a:pt x="2149" y="1707"/>
                  </a:lnTo>
                  <a:lnTo>
                    <a:pt x="2161" y="1709"/>
                  </a:lnTo>
                  <a:lnTo>
                    <a:pt x="2188" y="1715"/>
                  </a:lnTo>
                  <a:lnTo>
                    <a:pt x="2217" y="1722"/>
                  </a:lnTo>
                  <a:lnTo>
                    <a:pt x="2229" y="1726"/>
                  </a:lnTo>
                  <a:lnTo>
                    <a:pt x="2241" y="1731"/>
                  </a:lnTo>
                  <a:lnTo>
                    <a:pt x="2252" y="1736"/>
                  </a:lnTo>
                  <a:lnTo>
                    <a:pt x="2263" y="1743"/>
                  </a:lnTo>
                  <a:lnTo>
                    <a:pt x="2267" y="1746"/>
                  </a:lnTo>
                  <a:lnTo>
                    <a:pt x="2271" y="1749"/>
                  </a:lnTo>
                  <a:lnTo>
                    <a:pt x="2274" y="1753"/>
                  </a:lnTo>
                  <a:lnTo>
                    <a:pt x="2278" y="1758"/>
                  </a:lnTo>
                  <a:lnTo>
                    <a:pt x="2281" y="1763"/>
                  </a:lnTo>
                  <a:lnTo>
                    <a:pt x="2282" y="1769"/>
                  </a:lnTo>
                  <a:lnTo>
                    <a:pt x="2283" y="1774"/>
                  </a:lnTo>
                  <a:lnTo>
                    <a:pt x="2284" y="1780"/>
                  </a:lnTo>
                  <a:lnTo>
                    <a:pt x="2284" y="1811"/>
                  </a:lnTo>
                  <a:lnTo>
                    <a:pt x="2284" y="1837"/>
                  </a:lnTo>
                  <a:lnTo>
                    <a:pt x="2284" y="1864"/>
                  </a:lnTo>
                  <a:lnTo>
                    <a:pt x="2284" y="1894"/>
                  </a:lnTo>
                  <a:lnTo>
                    <a:pt x="2284" y="1908"/>
                  </a:lnTo>
                  <a:lnTo>
                    <a:pt x="2286" y="1921"/>
                  </a:lnTo>
                  <a:lnTo>
                    <a:pt x="2287" y="1934"/>
                  </a:lnTo>
                  <a:lnTo>
                    <a:pt x="2291" y="1945"/>
                  </a:lnTo>
                  <a:lnTo>
                    <a:pt x="2296" y="1969"/>
                  </a:lnTo>
                  <a:lnTo>
                    <a:pt x="2300" y="1996"/>
                  </a:lnTo>
                  <a:lnTo>
                    <a:pt x="2300" y="1996"/>
                  </a:lnTo>
                  <a:lnTo>
                    <a:pt x="2286" y="2001"/>
                  </a:lnTo>
                  <a:lnTo>
                    <a:pt x="2272" y="2004"/>
                  </a:lnTo>
                  <a:lnTo>
                    <a:pt x="2258" y="2006"/>
                  </a:lnTo>
                  <a:lnTo>
                    <a:pt x="2245" y="2007"/>
                  </a:lnTo>
                  <a:lnTo>
                    <a:pt x="2218" y="2008"/>
                  </a:lnTo>
                  <a:lnTo>
                    <a:pt x="2189" y="2008"/>
                  </a:lnTo>
                  <a:lnTo>
                    <a:pt x="2189" y="2026"/>
                  </a:lnTo>
                  <a:lnTo>
                    <a:pt x="2189" y="2041"/>
                  </a:lnTo>
                  <a:lnTo>
                    <a:pt x="2189" y="2057"/>
                  </a:lnTo>
                  <a:lnTo>
                    <a:pt x="2189" y="2074"/>
                  </a:lnTo>
                  <a:lnTo>
                    <a:pt x="2189" y="2088"/>
                  </a:lnTo>
                  <a:lnTo>
                    <a:pt x="2191" y="2100"/>
                  </a:lnTo>
                  <a:lnTo>
                    <a:pt x="2193" y="2112"/>
                  </a:lnTo>
                  <a:lnTo>
                    <a:pt x="2197" y="2124"/>
                  </a:lnTo>
                  <a:lnTo>
                    <a:pt x="2204" y="2146"/>
                  </a:lnTo>
                  <a:lnTo>
                    <a:pt x="2214" y="2170"/>
                  </a:lnTo>
                  <a:lnTo>
                    <a:pt x="2217" y="2177"/>
                  </a:lnTo>
                  <a:lnTo>
                    <a:pt x="2223" y="2182"/>
                  </a:lnTo>
                  <a:lnTo>
                    <a:pt x="2225" y="2184"/>
                  </a:lnTo>
                  <a:lnTo>
                    <a:pt x="2226" y="2187"/>
                  </a:lnTo>
                  <a:lnTo>
                    <a:pt x="2228" y="2190"/>
                  </a:lnTo>
                  <a:lnTo>
                    <a:pt x="2228" y="2193"/>
                  </a:lnTo>
                  <a:lnTo>
                    <a:pt x="2228" y="2208"/>
                  </a:lnTo>
                  <a:lnTo>
                    <a:pt x="2228" y="2221"/>
                  </a:lnTo>
                  <a:lnTo>
                    <a:pt x="2228" y="2234"/>
                  </a:lnTo>
                  <a:lnTo>
                    <a:pt x="2228" y="2248"/>
                  </a:lnTo>
                  <a:lnTo>
                    <a:pt x="2227" y="2255"/>
                  </a:lnTo>
                  <a:lnTo>
                    <a:pt x="2225" y="2261"/>
                  </a:lnTo>
                  <a:lnTo>
                    <a:pt x="2221" y="2266"/>
                  </a:lnTo>
                  <a:lnTo>
                    <a:pt x="2218" y="2271"/>
                  </a:lnTo>
                  <a:lnTo>
                    <a:pt x="2209" y="2281"/>
                  </a:lnTo>
                  <a:lnTo>
                    <a:pt x="2200" y="2291"/>
                  </a:lnTo>
                  <a:lnTo>
                    <a:pt x="2189" y="2305"/>
                  </a:lnTo>
                  <a:lnTo>
                    <a:pt x="2178" y="2318"/>
                  </a:lnTo>
                  <a:lnTo>
                    <a:pt x="2167" y="2330"/>
                  </a:lnTo>
                  <a:lnTo>
                    <a:pt x="2155" y="2344"/>
                  </a:lnTo>
                  <a:lnTo>
                    <a:pt x="2130" y="2374"/>
                  </a:lnTo>
                  <a:lnTo>
                    <a:pt x="2109" y="2404"/>
                  </a:lnTo>
                  <a:lnTo>
                    <a:pt x="2098" y="2417"/>
                  </a:lnTo>
                  <a:lnTo>
                    <a:pt x="2086" y="2430"/>
                  </a:lnTo>
                  <a:lnTo>
                    <a:pt x="2079" y="2435"/>
                  </a:lnTo>
                  <a:lnTo>
                    <a:pt x="2071" y="2440"/>
                  </a:lnTo>
                  <a:lnTo>
                    <a:pt x="2063" y="2446"/>
                  </a:lnTo>
                  <a:lnTo>
                    <a:pt x="2054" y="2451"/>
                  </a:lnTo>
                  <a:lnTo>
                    <a:pt x="2021" y="2465"/>
                  </a:lnTo>
                  <a:lnTo>
                    <a:pt x="1990" y="2477"/>
                  </a:lnTo>
                  <a:lnTo>
                    <a:pt x="1976" y="2485"/>
                  </a:lnTo>
                  <a:lnTo>
                    <a:pt x="1963" y="2493"/>
                  </a:lnTo>
                  <a:lnTo>
                    <a:pt x="1958" y="2500"/>
                  </a:lnTo>
                  <a:lnTo>
                    <a:pt x="1953" y="2505"/>
                  </a:lnTo>
                  <a:lnTo>
                    <a:pt x="1947" y="2513"/>
                  </a:lnTo>
                  <a:lnTo>
                    <a:pt x="1942" y="2520"/>
                  </a:lnTo>
                  <a:lnTo>
                    <a:pt x="1942" y="2520"/>
                  </a:lnTo>
                  <a:lnTo>
                    <a:pt x="1915" y="2529"/>
                  </a:lnTo>
                  <a:lnTo>
                    <a:pt x="1892" y="2539"/>
                  </a:lnTo>
                  <a:lnTo>
                    <a:pt x="1880" y="2544"/>
                  </a:lnTo>
                  <a:lnTo>
                    <a:pt x="1870" y="2551"/>
                  </a:lnTo>
                  <a:lnTo>
                    <a:pt x="1860" y="2558"/>
                  </a:lnTo>
                  <a:lnTo>
                    <a:pt x="1850" y="2569"/>
                  </a:lnTo>
                  <a:lnTo>
                    <a:pt x="1842" y="2578"/>
                  </a:lnTo>
                  <a:lnTo>
                    <a:pt x="1836" y="2587"/>
                  </a:lnTo>
                  <a:lnTo>
                    <a:pt x="1831" y="2597"/>
                  </a:lnTo>
                  <a:lnTo>
                    <a:pt x="1826" y="2607"/>
                  </a:lnTo>
                  <a:lnTo>
                    <a:pt x="1821" y="2616"/>
                  </a:lnTo>
                  <a:lnTo>
                    <a:pt x="1815" y="2625"/>
                  </a:lnTo>
                  <a:lnTo>
                    <a:pt x="1808" y="2634"/>
                  </a:lnTo>
                  <a:lnTo>
                    <a:pt x="1799" y="2641"/>
                  </a:lnTo>
                  <a:lnTo>
                    <a:pt x="1789" y="2647"/>
                  </a:lnTo>
                  <a:lnTo>
                    <a:pt x="1780" y="2651"/>
                  </a:lnTo>
                  <a:lnTo>
                    <a:pt x="1770" y="2653"/>
                  </a:lnTo>
                  <a:lnTo>
                    <a:pt x="1760" y="2655"/>
                  </a:lnTo>
                  <a:lnTo>
                    <a:pt x="1740" y="2655"/>
                  </a:lnTo>
                  <a:lnTo>
                    <a:pt x="1717" y="2655"/>
                  </a:lnTo>
                  <a:lnTo>
                    <a:pt x="1691" y="2655"/>
                  </a:lnTo>
                  <a:lnTo>
                    <a:pt x="1668" y="2655"/>
                  </a:lnTo>
                  <a:lnTo>
                    <a:pt x="1646" y="2655"/>
                  </a:lnTo>
                  <a:lnTo>
                    <a:pt x="1620" y="2655"/>
                  </a:lnTo>
                  <a:lnTo>
                    <a:pt x="1599" y="2684"/>
                  </a:lnTo>
                  <a:lnTo>
                    <a:pt x="1580" y="2710"/>
                  </a:lnTo>
                  <a:lnTo>
                    <a:pt x="1576" y="2716"/>
                  </a:lnTo>
                  <a:lnTo>
                    <a:pt x="1569" y="2721"/>
                  </a:lnTo>
                  <a:lnTo>
                    <a:pt x="1564" y="2725"/>
                  </a:lnTo>
                  <a:lnTo>
                    <a:pt x="1557" y="2729"/>
                  </a:lnTo>
                  <a:lnTo>
                    <a:pt x="1551" y="2732"/>
                  </a:lnTo>
                  <a:lnTo>
                    <a:pt x="1543" y="2734"/>
                  </a:lnTo>
                  <a:lnTo>
                    <a:pt x="1536" y="2736"/>
                  </a:lnTo>
                  <a:lnTo>
                    <a:pt x="1527" y="2736"/>
                  </a:lnTo>
                  <a:lnTo>
                    <a:pt x="1490" y="2736"/>
                  </a:lnTo>
                  <a:lnTo>
                    <a:pt x="1459" y="2736"/>
                  </a:lnTo>
                  <a:lnTo>
                    <a:pt x="1427" y="2736"/>
                  </a:lnTo>
                  <a:lnTo>
                    <a:pt x="1391" y="2736"/>
                  </a:lnTo>
                  <a:lnTo>
                    <a:pt x="1384" y="2737"/>
                  </a:lnTo>
                  <a:lnTo>
                    <a:pt x="1378" y="2737"/>
                  </a:lnTo>
                  <a:lnTo>
                    <a:pt x="1373" y="2740"/>
                  </a:lnTo>
                  <a:lnTo>
                    <a:pt x="1367" y="2742"/>
                  </a:lnTo>
                  <a:lnTo>
                    <a:pt x="1357" y="2746"/>
                  </a:lnTo>
                  <a:lnTo>
                    <a:pt x="1348" y="2751"/>
                  </a:lnTo>
                  <a:lnTo>
                    <a:pt x="1339" y="2758"/>
                  </a:lnTo>
                  <a:lnTo>
                    <a:pt x="1329" y="2762"/>
                  </a:lnTo>
                  <a:lnTo>
                    <a:pt x="1324" y="2764"/>
                  </a:lnTo>
                  <a:lnTo>
                    <a:pt x="1319" y="2767"/>
                  </a:lnTo>
                  <a:lnTo>
                    <a:pt x="1312" y="2767"/>
                  </a:lnTo>
                  <a:lnTo>
                    <a:pt x="1306" y="2768"/>
                  </a:lnTo>
                  <a:lnTo>
                    <a:pt x="1286" y="2767"/>
                  </a:lnTo>
                  <a:lnTo>
                    <a:pt x="1268" y="2765"/>
                  </a:lnTo>
                  <a:lnTo>
                    <a:pt x="1251" y="2763"/>
                  </a:lnTo>
                  <a:lnTo>
                    <a:pt x="1234" y="2760"/>
                  </a:lnTo>
                  <a:lnTo>
                    <a:pt x="1218" y="2756"/>
                  </a:lnTo>
                  <a:lnTo>
                    <a:pt x="1201" y="2750"/>
                  </a:lnTo>
                  <a:lnTo>
                    <a:pt x="1184" y="2744"/>
                  </a:lnTo>
                  <a:lnTo>
                    <a:pt x="1165" y="2736"/>
                  </a:lnTo>
                  <a:lnTo>
                    <a:pt x="1142" y="2728"/>
                  </a:lnTo>
                  <a:lnTo>
                    <a:pt x="1122" y="2721"/>
                  </a:lnTo>
                  <a:lnTo>
                    <a:pt x="1112" y="2717"/>
                  </a:lnTo>
                  <a:lnTo>
                    <a:pt x="1101" y="2713"/>
                  </a:lnTo>
                  <a:lnTo>
                    <a:pt x="1092" y="2707"/>
                  </a:lnTo>
                  <a:lnTo>
                    <a:pt x="1082" y="2700"/>
                  </a:lnTo>
                  <a:lnTo>
                    <a:pt x="1073" y="2693"/>
                  </a:lnTo>
                  <a:lnTo>
                    <a:pt x="1067" y="2686"/>
                  </a:lnTo>
                  <a:lnTo>
                    <a:pt x="1060" y="2678"/>
                  </a:lnTo>
                  <a:lnTo>
                    <a:pt x="1055" y="2670"/>
                  </a:lnTo>
                  <a:lnTo>
                    <a:pt x="1049" y="2663"/>
                  </a:lnTo>
                  <a:lnTo>
                    <a:pt x="1041" y="2657"/>
                  </a:lnTo>
                  <a:lnTo>
                    <a:pt x="1037" y="2655"/>
                  </a:lnTo>
                  <a:lnTo>
                    <a:pt x="1032" y="2654"/>
                  </a:lnTo>
                  <a:lnTo>
                    <a:pt x="1028" y="2653"/>
                  </a:lnTo>
                  <a:lnTo>
                    <a:pt x="1023" y="2652"/>
                  </a:lnTo>
                  <a:lnTo>
                    <a:pt x="1004" y="2653"/>
                  </a:lnTo>
                  <a:lnTo>
                    <a:pt x="987" y="2655"/>
                  </a:lnTo>
                  <a:lnTo>
                    <a:pt x="972" y="2657"/>
                  </a:lnTo>
                  <a:lnTo>
                    <a:pt x="957" y="2662"/>
                  </a:lnTo>
                  <a:lnTo>
                    <a:pt x="925" y="2670"/>
                  </a:lnTo>
                  <a:lnTo>
                    <a:pt x="891" y="2680"/>
                  </a:lnTo>
                  <a:lnTo>
                    <a:pt x="879" y="2682"/>
                  </a:lnTo>
                  <a:lnTo>
                    <a:pt x="867" y="2682"/>
                  </a:lnTo>
                  <a:lnTo>
                    <a:pt x="862" y="2682"/>
                  </a:lnTo>
                  <a:lnTo>
                    <a:pt x="856" y="2683"/>
                  </a:lnTo>
                  <a:lnTo>
                    <a:pt x="851" y="2686"/>
                  </a:lnTo>
                  <a:lnTo>
                    <a:pt x="847" y="2689"/>
                  </a:lnTo>
                  <a:lnTo>
                    <a:pt x="840" y="2695"/>
                  </a:lnTo>
                  <a:lnTo>
                    <a:pt x="837" y="2702"/>
                  </a:lnTo>
                  <a:lnTo>
                    <a:pt x="835" y="2708"/>
                  </a:lnTo>
                  <a:lnTo>
                    <a:pt x="834" y="2716"/>
                  </a:lnTo>
                  <a:lnTo>
                    <a:pt x="835" y="2732"/>
                  </a:lnTo>
                  <a:lnTo>
                    <a:pt x="835" y="2749"/>
                  </a:lnTo>
                  <a:lnTo>
                    <a:pt x="836" y="2760"/>
                  </a:lnTo>
                  <a:lnTo>
                    <a:pt x="838" y="2771"/>
                  </a:lnTo>
                  <a:lnTo>
                    <a:pt x="841" y="2781"/>
                  </a:lnTo>
                  <a:lnTo>
                    <a:pt x="845" y="2790"/>
                  </a:lnTo>
                  <a:lnTo>
                    <a:pt x="855" y="2808"/>
                  </a:lnTo>
                  <a:lnTo>
                    <a:pt x="867" y="2824"/>
                  </a:lnTo>
                  <a:lnTo>
                    <a:pt x="879" y="2840"/>
                  </a:lnTo>
                  <a:lnTo>
                    <a:pt x="890" y="2857"/>
                  </a:lnTo>
                  <a:lnTo>
                    <a:pt x="893" y="2866"/>
                  </a:lnTo>
                  <a:lnTo>
                    <a:pt x="896" y="2876"/>
                  </a:lnTo>
                  <a:lnTo>
                    <a:pt x="898" y="2886"/>
                  </a:lnTo>
                  <a:lnTo>
                    <a:pt x="899" y="2897"/>
                  </a:lnTo>
                  <a:lnTo>
                    <a:pt x="898" y="2913"/>
                  </a:lnTo>
                  <a:lnTo>
                    <a:pt x="897" y="2930"/>
                  </a:lnTo>
                  <a:lnTo>
                    <a:pt x="894" y="2944"/>
                  </a:lnTo>
                  <a:lnTo>
                    <a:pt x="890" y="2958"/>
                  </a:lnTo>
                  <a:lnTo>
                    <a:pt x="885" y="2971"/>
                  </a:lnTo>
                  <a:lnTo>
                    <a:pt x="879" y="2984"/>
                  </a:lnTo>
                  <a:lnTo>
                    <a:pt x="872" y="2995"/>
                  </a:lnTo>
                  <a:lnTo>
                    <a:pt x="864" y="3007"/>
                  </a:lnTo>
                  <a:lnTo>
                    <a:pt x="855" y="3018"/>
                  </a:lnTo>
                  <a:lnTo>
                    <a:pt x="847" y="3029"/>
                  </a:lnTo>
                  <a:lnTo>
                    <a:pt x="836" y="3040"/>
                  </a:lnTo>
                  <a:lnTo>
                    <a:pt x="825" y="3049"/>
                  </a:lnTo>
                  <a:lnTo>
                    <a:pt x="801" y="3070"/>
                  </a:lnTo>
                  <a:lnTo>
                    <a:pt x="776" y="3089"/>
                  </a:lnTo>
                  <a:lnTo>
                    <a:pt x="759" y="3103"/>
                  </a:lnTo>
                  <a:lnTo>
                    <a:pt x="746" y="3118"/>
                  </a:lnTo>
                  <a:lnTo>
                    <a:pt x="739" y="3124"/>
                  </a:lnTo>
                  <a:lnTo>
                    <a:pt x="731" y="3130"/>
                  </a:lnTo>
                  <a:lnTo>
                    <a:pt x="722" y="3136"/>
                  </a:lnTo>
                  <a:lnTo>
                    <a:pt x="712" y="3140"/>
                  </a:lnTo>
                  <a:lnTo>
                    <a:pt x="693" y="3149"/>
                  </a:lnTo>
                  <a:lnTo>
                    <a:pt x="676" y="3156"/>
                  </a:lnTo>
                  <a:lnTo>
                    <a:pt x="660" y="3163"/>
                  </a:lnTo>
                  <a:lnTo>
                    <a:pt x="645" y="3168"/>
                  </a:lnTo>
                  <a:lnTo>
                    <a:pt x="613" y="3179"/>
                  </a:lnTo>
                  <a:lnTo>
                    <a:pt x="577" y="3191"/>
                  </a:lnTo>
                  <a:lnTo>
                    <a:pt x="556" y="3200"/>
                  </a:lnTo>
                  <a:lnTo>
                    <a:pt x="538" y="3209"/>
                  </a:lnTo>
                  <a:lnTo>
                    <a:pt x="528" y="3215"/>
                  </a:lnTo>
                  <a:lnTo>
                    <a:pt x="518" y="3218"/>
                  </a:lnTo>
                  <a:lnTo>
                    <a:pt x="507" y="3220"/>
                  </a:lnTo>
                  <a:lnTo>
                    <a:pt x="496" y="3221"/>
                  </a:lnTo>
                  <a:lnTo>
                    <a:pt x="487" y="3221"/>
                  </a:lnTo>
                  <a:lnTo>
                    <a:pt x="478" y="3220"/>
                  </a:lnTo>
                  <a:lnTo>
                    <a:pt x="471" y="3219"/>
                  </a:lnTo>
                  <a:lnTo>
                    <a:pt x="462" y="3217"/>
                  </a:lnTo>
                  <a:lnTo>
                    <a:pt x="448" y="3210"/>
                  </a:lnTo>
                  <a:lnTo>
                    <a:pt x="435" y="3203"/>
                  </a:lnTo>
                  <a:lnTo>
                    <a:pt x="423" y="3194"/>
                  </a:lnTo>
                  <a:lnTo>
                    <a:pt x="411" y="3184"/>
                  </a:lnTo>
                  <a:lnTo>
                    <a:pt x="400" y="3174"/>
                  </a:lnTo>
                  <a:lnTo>
                    <a:pt x="391" y="3162"/>
                  </a:lnTo>
                  <a:lnTo>
                    <a:pt x="369" y="3137"/>
                  </a:lnTo>
                  <a:lnTo>
                    <a:pt x="346" y="3114"/>
                  </a:lnTo>
                  <a:lnTo>
                    <a:pt x="334" y="3103"/>
                  </a:lnTo>
                  <a:lnTo>
                    <a:pt x="319" y="3094"/>
                  </a:lnTo>
                  <a:lnTo>
                    <a:pt x="305" y="3085"/>
                  </a:lnTo>
                  <a:lnTo>
                    <a:pt x="288" y="3079"/>
                  </a:lnTo>
                  <a:lnTo>
                    <a:pt x="249" y="3068"/>
                  </a:lnTo>
                  <a:lnTo>
                    <a:pt x="215" y="3059"/>
                  </a:lnTo>
                  <a:lnTo>
                    <a:pt x="199" y="3055"/>
                  </a:lnTo>
                  <a:lnTo>
                    <a:pt x="181" y="3049"/>
                  </a:lnTo>
                  <a:lnTo>
                    <a:pt x="164" y="3041"/>
                  </a:lnTo>
                  <a:lnTo>
                    <a:pt x="146" y="3031"/>
                  </a:lnTo>
                  <a:lnTo>
                    <a:pt x="134" y="3022"/>
                  </a:lnTo>
                  <a:lnTo>
                    <a:pt x="123" y="3014"/>
                  </a:lnTo>
                  <a:lnTo>
                    <a:pt x="113" y="3005"/>
                  </a:lnTo>
                  <a:lnTo>
                    <a:pt x="103" y="2997"/>
                  </a:lnTo>
                  <a:lnTo>
                    <a:pt x="84" y="2977"/>
                  </a:lnTo>
                  <a:lnTo>
                    <a:pt x="62" y="2960"/>
                  </a:lnTo>
                  <a:lnTo>
                    <a:pt x="62" y="2960"/>
                  </a:lnTo>
                  <a:lnTo>
                    <a:pt x="8" y="2790"/>
                  </a:lnTo>
                  <a:lnTo>
                    <a:pt x="20" y="2750"/>
                  </a:lnTo>
                  <a:lnTo>
                    <a:pt x="32" y="2716"/>
                  </a:lnTo>
                  <a:lnTo>
                    <a:pt x="36" y="2698"/>
                  </a:lnTo>
                  <a:lnTo>
                    <a:pt x="41" y="2681"/>
                  </a:lnTo>
                  <a:lnTo>
                    <a:pt x="44" y="2662"/>
                  </a:lnTo>
                  <a:lnTo>
                    <a:pt x="44" y="2641"/>
                  </a:lnTo>
                  <a:lnTo>
                    <a:pt x="44" y="2633"/>
                  </a:lnTo>
                  <a:lnTo>
                    <a:pt x="43" y="2625"/>
                  </a:lnTo>
                  <a:lnTo>
                    <a:pt x="41" y="2617"/>
                  </a:lnTo>
                  <a:lnTo>
                    <a:pt x="39" y="2611"/>
                  </a:lnTo>
                  <a:lnTo>
                    <a:pt x="32" y="2598"/>
                  </a:lnTo>
                  <a:lnTo>
                    <a:pt x="25" y="2585"/>
                  </a:lnTo>
                  <a:lnTo>
                    <a:pt x="18" y="2573"/>
                  </a:lnTo>
                  <a:lnTo>
                    <a:pt x="12" y="2559"/>
                  </a:lnTo>
                  <a:lnTo>
                    <a:pt x="8" y="2553"/>
                  </a:lnTo>
                  <a:lnTo>
                    <a:pt x="7" y="2545"/>
                  </a:lnTo>
                  <a:lnTo>
                    <a:pt x="6" y="2538"/>
                  </a:lnTo>
                  <a:lnTo>
                    <a:pt x="5" y="2529"/>
                  </a:lnTo>
                  <a:lnTo>
                    <a:pt x="9" y="2517"/>
                  </a:lnTo>
                  <a:lnTo>
                    <a:pt x="14" y="2504"/>
                  </a:lnTo>
                  <a:lnTo>
                    <a:pt x="13" y="2489"/>
                  </a:lnTo>
                  <a:lnTo>
                    <a:pt x="12" y="2476"/>
                  </a:lnTo>
                  <a:lnTo>
                    <a:pt x="9" y="2464"/>
                  </a:lnTo>
                  <a:lnTo>
                    <a:pt x="6" y="2452"/>
                  </a:lnTo>
                  <a:lnTo>
                    <a:pt x="4" y="2440"/>
                  </a:lnTo>
                  <a:lnTo>
                    <a:pt x="2" y="2427"/>
                  </a:lnTo>
                  <a:lnTo>
                    <a:pt x="0" y="2414"/>
                  </a:lnTo>
                  <a:lnTo>
                    <a:pt x="0" y="2400"/>
                  </a:lnTo>
                  <a:lnTo>
                    <a:pt x="0" y="2397"/>
                  </a:lnTo>
                  <a:lnTo>
                    <a:pt x="2" y="2395"/>
                  </a:lnTo>
                  <a:lnTo>
                    <a:pt x="4" y="2393"/>
                  </a:lnTo>
                  <a:lnTo>
                    <a:pt x="6" y="2392"/>
                  </a:lnTo>
                  <a:lnTo>
                    <a:pt x="13" y="2389"/>
                  </a:lnTo>
                  <a:lnTo>
                    <a:pt x="19" y="2386"/>
                  </a:lnTo>
                  <a:lnTo>
                    <a:pt x="29" y="2380"/>
                  </a:lnTo>
                  <a:lnTo>
                    <a:pt x="39" y="2373"/>
                  </a:lnTo>
                  <a:lnTo>
                    <a:pt x="43" y="2370"/>
                  </a:lnTo>
                  <a:lnTo>
                    <a:pt x="47" y="2368"/>
                  </a:lnTo>
                  <a:lnTo>
                    <a:pt x="53" y="2367"/>
                  </a:lnTo>
                  <a:lnTo>
                    <a:pt x="59" y="2367"/>
                  </a:lnTo>
                  <a:lnTo>
                    <a:pt x="74" y="2368"/>
                  </a:lnTo>
                  <a:lnTo>
                    <a:pt x="89" y="2369"/>
                  </a:lnTo>
                  <a:lnTo>
                    <a:pt x="156" y="2095"/>
                  </a:lnTo>
                  <a:lnTo>
                    <a:pt x="161" y="2086"/>
                  </a:lnTo>
                  <a:lnTo>
                    <a:pt x="165" y="2079"/>
                  </a:lnTo>
                  <a:lnTo>
                    <a:pt x="167" y="2074"/>
                  </a:lnTo>
                  <a:lnTo>
                    <a:pt x="169" y="2071"/>
                  </a:lnTo>
                  <a:lnTo>
                    <a:pt x="170" y="2067"/>
                  </a:lnTo>
                  <a:lnTo>
                    <a:pt x="170" y="2061"/>
                  </a:lnTo>
                  <a:lnTo>
                    <a:pt x="168" y="2047"/>
                  </a:lnTo>
                  <a:lnTo>
                    <a:pt x="167" y="2033"/>
                  </a:lnTo>
                  <a:lnTo>
                    <a:pt x="167" y="2020"/>
                  </a:lnTo>
                  <a:lnTo>
                    <a:pt x="167" y="2008"/>
                  </a:lnTo>
                  <a:lnTo>
                    <a:pt x="168" y="1982"/>
                  </a:lnTo>
                  <a:lnTo>
                    <a:pt x="170" y="1954"/>
                  </a:lnTo>
                  <a:lnTo>
                    <a:pt x="170" y="1949"/>
                  </a:lnTo>
                  <a:lnTo>
                    <a:pt x="172" y="1945"/>
                  </a:lnTo>
                  <a:lnTo>
                    <a:pt x="174" y="1940"/>
                  </a:lnTo>
                  <a:lnTo>
                    <a:pt x="175" y="1936"/>
                  </a:lnTo>
                  <a:lnTo>
                    <a:pt x="180" y="1930"/>
                  </a:lnTo>
                  <a:lnTo>
                    <a:pt x="186" y="1923"/>
                  </a:lnTo>
                  <a:lnTo>
                    <a:pt x="201" y="1911"/>
                  </a:lnTo>
                  <a:lnTo>
                    <a:pt x="216" y="1898"/>
                  </a:lnTo>
                  <a:lnTo>
                    <a:pt x="226" y="1890"/>
                  </a:lnTo>
                  <a:lnTo>
                    <a:pt x="236" y="1883"/>
                  </a:lnTo>
                  <a:lnTo>
                    <a:pt x="247" y="1878"/>
                  </a:lnTo>
                  <a:lnTo>
                    <a:pt x="258" y="1874"/>
                  </a:lnTo>
                  <a:lnTo>
                    <a:pt x="270" y="1872"/>
                  </a:lnTo>
                  <a:lnTo>
                    <a:pt x="283" y="1871"/>
                  </a:lnTo>
                  <a:lnTo>
                    <a:pt x="296" y="1870"/>
                  </a:lnTo>
                  <a:lnTo>
                    <a:pt x="310" y="1870"/>
                  </a:lnTo>
                  <a:lnTo>
                    <a:pt x="319" y="1871"/>
                  </a:lnTo>
                  <a:lnTo>
                    <a:pt x="329" y="1872"/>
                  </a:lnTo>
                  <a:lnTo>
                    <a:pt x="338" y="1874"/>
                  </a:lnTo>
                  <a:lnTo>
                    <a:pt x="345" y="1877"/>
                  </a:lnTo>
                  <a:lnTo>
                    <a:pt x="354" y="1878"/>
                  </a:lnTo>
                  <a:lnTo>
                    <a:pt x="363" y="1880"/>
                  </a:lnTo>
                  <a:lnTo>
                    <a:pt x="372" y="1881"/>
                  </a:lnTo>
                  <a:lnTo>
                    <a:pt x="382" y="1882"/>
                  </a:lnTo>
                  <a:lnTo>
                    <a:pt x="392" y="1881"/>
                  </a:lnTo>
                  <a:lnTo>
                    <a:pt x="402" y="1880"/>
                  </a:lnTo>
                  <a:lnTo>
                    <a:pt x="410" y="1878"/>
                  </a:lnTo>
                  <a:lnTo>
                    <a:pt x="419" y="1876"/>
                  </a:lnTo>
                  <a:lnTo>
                    <a:pt x="434" y="1868"/>
                  </a:lnTo>
                  <a:lnTo>
                    <a:pt x="449" y="1860"/>
                  </a:lnTo>
                  <a:lnTo>
                    <a:pt x="464" y="1853"/>
                  </a:lnTo>
                  <a:lnTo>
                    <a:pt x="479" y="1846"/>
                  </a:lnTo>
                  <a:lnTo>
                    <a:pt x="488" y="1843"/>
                  </a:lnTo>
                  <a:lnTo>
                    <a:pt x="497" y="1842"/>
                  </a:lnTo>
                  <a:lnTo>
                    <a:pt x="506" y="1840"/>
                  </a:lnTo>
                  <a:lnTo>
                    <a:pt x="516" y="1840"/>
                  </a:lnTo>
                  <a:lnTo>
                    <a:pt x="527" y="1840"/>
                  </a:lnTo>
                  <a:lnTo>
                    <a:pt x="538" y="1840"/>
                  </a:lnTo>
                  <a:lnTo>
                    <a:pt x="562" y="1823"/>
                  </a:lnTo>
                  <a:lnTo>
                    <a:pt x="582" y="1806"/>
                  </a:lnTo>
                  <a:lnTo>
                    <a:pt x="601" y="1790"/>
                  </a:lnTo>
                  <a:lnTo>
                    <a:pt x="625" y="1773"/>
                  </a:lnTo>
                  <a:lnTo>
                    <a:pt x="636" y="1763"/>
                  </a:lnTo>
                  <a:lnTo>
                    <a:pt x="646" y="1755"/>
                  </a:lnTo>
                  <a:lnTo>
                    <a:pt x="651" y="1750"/>
                  </a:lnTo>
                  <a:lnTo>
                    <a:pt x="656" y="1747"/>
                  </a:lnTo>
                  <a:lnTo>
                    <a:pt x="663" y="1744"/>
                  </a:lnTo>
                  <a:lnTo>
                    <a:pt x="669" y="1742"/>
                  </a:lnTo>
                  <a:lnTo>
                    <a:pt x="689" y="1738"/>
                  </a:lnTo>
                  <a:lnTo>
                    <a:pt x="708" y="1737"/>
                  </a:lnTo>
                  <a:lnTo>
                    <a:pt x="717" y="1736"/>
                  </a:lnTo>
                  <a:lnTo>
                    <a:pt x="726" y="1733"/>
                  </a:lnTo>
                  <a:lnTo>
                    <a:pt x="729" y="1732"/>
                  </a:lnTo>
                  <a:lnTo>
                    <a:pt x="733" y="1729"/>
                  </a:lnTo>
                  <a:lnTo>
                    <a:pt x="736" y="1725"/>
                  </a:lnTo>
                  <a:lnTo>
                    <a:pt x="740" y="1722"/>
                  </a:lnTo>
                  <a:lnTo>
                    <a:pt x="744" y="1715"/>
                  </a:lnTo>
                  <a:lnTo>
                    <a:pt x="747" y="1707"/>
                  </a:lnTo>
                  <a:lnTo>
                    <a:pt x="749" y="1699"/>
                  </a:lnTo>
                  <a:lnTo>
                    <a:pt x="752" y="1693"/>
                  </a:lnTo>
                  <a:lnTo>
                    <a:pt x="753" y="1685"/>
                  </a:lnTo>
                  <a:lnTo>
                    <a:pt x="755" y="1678"/>
                  </a:lnTo>
                  <a:lnTo>
                    <a:pt x="758" y="1670"/>
                  </a:lnTo>
                  <a:lnTo>
                    <a:pt x="762" y="1663"/>
                  </a:lnTo>
                  <a:lnTo>
                    <a:pt x="772" y="1652"/>
                  </a:lnTo>
                  <a:lnTo>
                    <a:pt x="782" y="1642"/>
                  </a:lnTo>
                  <a:lnTo>
                    <a:pt x="793" y="1635"/>
                  </a:lnTo>
                  <a:lnTo>
                    <a:pt x="804" y="1629"/>
                  </a:lnTo>
                  <a:lnTo>
                    <a:pt x="817" y="1624"/>
                  </a:lnTo>
                  <a:lnTo>
                    <a:pt x="830" y="1621"/>
                  </a:lnTo>
                  <a:lnTo>
                    <a:pt x="844" y="1616"/>
                  </a:lnTo>
                  <a:lnTo>
                    <a:pt x="861" y="1613"/>
                  </a:lnTo>
                  <a:lnTo>
                    <a:pt x="869" y="1610"/>
                  </a:lnTo>
                  <a:lnTo>
                    <a:pt x="877" y="1606"/>
                  </a:lnTo>
                  <a:lnTo>
                    <a:pt x="884" y="1600"/>
                  </a:lnTo>
                  <a:lnTo>
                    <a:pt x="891" y="1595"/>
                  </a:lnTo>
                  <a:lnTo>
                    <a:pt x="897" y="1590"/>
                  </a:lnTo>
                  <a:lnTo>
                    <a:pt x="905" y="1586"/>
                  </a:lnTo>
                  <a:lnTo>
                    <a:pt x="912" y="1583"/>
                  </a:lnTo>
                  <a:lnTo>
                    <a:pt x="922" y="1582"/>
                  </a:lnTo>
                  <a:lnTo>
                    <a:pt x="939" y="1583"/>
                  </a:lnTo>
                  <a:lnTo>
                    <a:pt x="955" y="1585"/>
                  </a:lnTo>
                  <a:lnTo>
                    <a:pt x="969" y="1588"/>
                  </a:lnTo>
                  <a:lnTo>
                    <a:pt x="983" y="1593"/>
                  </a:lnTo>
                  <a:lnTo>
                    <a:pt x="1011" y="1602"/>
                  </a:lnTo>
                  <a:lnTo>
                    <a:pt x="1042" y="1613"/>
                  </a:lnTo>
                  <a:lnTo>
                    <a:pt x="1070" y="1620"/>
                  </a:lnTo>
                  <a:lnTo>
                    <a:pt x="1095" y="1625"/>
                  </a:lnTo>
                  <a:lnTo>
                    <a:pt x="1108" y="1628"/>
                  </a:lnTo>
                  <a:lnTo>
                    <a:pt x="1120" y="1633"/>
                  </a:lnTo>
                  <a:lnTo>
                    <a:pt x="1133" y="1637"/>
                  </a:lnTo>
                  <a:lnTo>
                    <a:pt x="1146" y="1643"/>
                  </a:lnTo>
                  <a:lnTo>
                    <a:pt x="1164" y="1655"/>
                  </a:lnTo>
                  <a:lnTo>
                    <a:pt x="1179" y="1667"/>
                  </a:lnTo>
                  <a:lnTo>
                    <a:pt x="1188" y="1672"/>
                  </a:lnTo>
                  <a:lnTo>
                    <a:pt x="1196" y="1677"/>
                  </a:lnTo>
                  <a:lnTo>
                    <a:pt x="1205" y="1679"/>
                  </a:lnTo>
                  <a:lnTo>
                    <a:pt x="1216" y="1680"/>
                  </a:lnTo>
                  <a:lnTo>
                    <a:pt x="1227" y="1679"/>
                  </a:lnTo>
                  <a:lnTo>
                    <a:pt x="1238" y="1677"/>
                  </a:lnTo>
                  <a:lnTo>
                    <a:pt x="1247" y="1674"/>
                  </a:lnTo>
                  <a:lnTo>
                    <a:pt x="1255" y="1668"/>
                  </a:lnTo>
                  <a:lnTo>
                    <a:pt x="1263" y="1663"/>
                  </a:lnTo>
                  <a:lnTo>
                    <a:pt x="1270" y="1655"/>
                  </a:lnTo>
                  <a:lnTo>
                    <a:pt x="1276" y="1648"/>
                  </a:lnTo>
                  <a:lnTo>
                    <a:pt x="1282" y="1639"/>
                  </a:lnTo>
                  <a:lnTo>
                    <a:pt x="1287" y="1629"/>
                  </a:lnTo>
                  <a:lnTo>
                    <a:pt x="1292" y="1618"/>
                  </a:lnTo>
                  <a:lnTo>
                    <a:pt x="1296" y="1609"/>
                  </a:lnTo>
                  <a:lnTo>
                    <a:pt x="1299" y="1597"/>
                  </a:lnTo>
                  <a:lnTo>
                    <a:pt x="1305" y="1574"/>
                  </a:lnTo>
                  <a:lnTo>
                    <a:pt x="1309" y="1552"/>
                  </a:lnTo>
                  <a:lnTo>
                    <a:pt x="1312" y="1535"/>
                  </a:lnTo>
                  <a:lnTo>
                    <a:pt x="1316" y="1522"/>
                  </a:lnTo>
                  <a:lnTo>
                    <a:pt x="1319" y="1516"/>
                  </a:lnTo>
                  <a:lnTo>
                    <a:pt x="1321" y="1508"/>
                  </a:lnTo>
                  <a:lnTo>
                    <a:pt x="1322" y="1501"/>
                  </a:lnTo>
                  <a:lnTo>
                    <a:pt x="1323" y="1493"/>
                  </a:lnTo>
                  <a:lnTo>
                    <a:pt x="1323" y="1478"/>
                  </a:lnTo>
                  <a:lnTo>
                    <a:pt x="1323" y="1464"/>
                  </a:lnTo>
                  <a:lnTo>
                    <a:pt x="1323" y="1451"/>
                  </a:lnTo>
                  <a:lnTo>
                    <a:pt x="1323" y="1436"/>
                  </a:lnTo>
                  <a:lnTo>
                    <a:pt x="1322" y="1426"/>
                  </a:lnTo>
                  <a:lnTo>
                    <a:pt x="1321" y="1419"/>
                  </a:lnTo>
                  <a:lnTo>
                    <a:pt x="1317" y="1411"/>
                  </a:lnTo>
                  <a:lnTo>
                    <a:pt x="1314" y="1405"/>
                  </a:lnTo>
                  <a:lnTo>
                    <a:pt x="1310" y="1398"/>
                  </a:lnTo>
                  <a:lnTo>
                    <a:pt x="1305" y="1392"/>
                  </a:lnTo>
                  <a:lnTo>
                    <a:pt x="1299" y="1386"/>
                  </a:lnTo>
                  <a:lnTo>
                    <a:pt x="1293" y="1381"/>
                  </a:lnTo>
                  <a:lnTo>
                    <a:pt x="1280" y="1371"/>
                  </a:lnTo>
                  <a:lnTo>
                    <a:pt x="1267" y="1359"/>
                  </a:lnTo>
                  <a:lnTo>
                    <a:pt x="1260" y="1354"/>
                  </a:lnTo>
                  <a:lnTo>
                    <a:pt x="1255" y="1347"/>
                  </a:lnTo>
                  <a:lnTo>
                    <a:pt x="1249" y="1340"/>
                  </a:lnTo>
                  <a:lnTo>
                    <a:pt x="1244" y="1332"/>
                  </a:lnTo>
                  <a:lnTo>
                    <a:pt x="1242" y="1327"/>
                  </a:lnTo>
                  <a:lnTo>
                    <a:pt x="1240" y="1321"/>
                  </a:lnTo>
                  <a:lnTo>
                    <a:pt x="1240" y="1316"/>
                  </a:lnTo>
                  <a:lnTo>
                    <a:pt x="1240" y="1311"/>
                  </a:lnTo>
                  <a:lnTo>
                    <a:pt x="1241" y="1300"/>
                  </a:lnTo>
                  <a:lnTo>
                    <a:pt x="1241" y="1287"/>
                  </a:lnTo>
                  <a:lnTo>
                    <a:pt x="1241" y="1277"/>
                  </a:lnTo>
                  <a:lnTo>
                    <a:pt x="1241" y="1270"/>
                  </a:lnTo>
                  <a:lnTo>
                    <a:pt x="1241" y="1261"/>
                  </a:lnTo>
                  <a:lnTo>
                    <a:pt x="1241" y="1252"/>
                  </a:lnTo>
                  <a:lnTo>
                    <a:pt x="1242" y="1236"/>
                  </a:lnTo>
                  <a:lnTo>
                    <a:pt x="1243" y="1223"/>
                  </a:lnTo>
                  <a:lnTo>
                    <a:pt x="1244" y="1210"/>
                  </a:lnTo>
                  <a:lnTo>
                    <a:pt x="1244" y="1194"/>
                  </a:lnTo>
                  <a:lnTo>
                    <a:pt x="1244" y="1188"/>
                  </a:lnTo>
                  <a:lnTo>
                    <a:pt x="1245" y="1181"/>
                  </a:lnTo>
                  <a:lnTo>
                    <a:pt x="1247" y="1176"/>
                  </a:lnTo>
                  <a:lnTo>
                    <a:pt x="1249" y="1170"/>
                  </a:lnTo>
                  <a:lnTo>
                    <a:pt x="1256" y="1161"/>
                  </a:lnTo>
                  <a:lnTo>
                    <a:pt x="1263" y="1152"/>
                  </a:lnTo>
                  <a:lnTo>
                    <a:pt x="1283" y="1137"/>
                  </a:lnTo>
                  <a:lnTo>
                    <a:pt x="1306" y="1123"/>
                  </a:lnTo>
                  <a:lnTo>
                    <a:pt x="1311" y="1117"/>
                  </a:lnTo>
                  <a:lnTo>
                    <a:pt x="1315" y="1113"/>
                  </a:lnTo>
                  <a:lnTo>
                    <a:pt x="1320" y="1108"/>
                  </a:lnTo>
                  <a:lnTo>
                    <a:pt x="1322" y="1101"/>
                  </a:lnTo>
                  <a:lnTo>
                    <a:pt x="1326" y="1088"/>
                  </a:lnTo>
                  <a:lnTo>
                    <a:pt x="1332" y="1074"/>
                  </a:lnTo>
                  <a:lnTo>
                    <a:pt x="1336" y="1064"/>
                  </a:lnTo>
                  <a:lnTo>
                    <a:pt x="1342" y="1057"/>
                  </a:lnTo>
                  <a:lnTo>
                    <a:pt x="1346" y="1053"/>
                  </a:lnTo>
                  <a:lnTo>
                    <a:pt x="1349" y="1048"/>
                  </a:lnTo>
                  <a:lnTo>
                    <a:pt x="1351" y="1044"/>
                  </a:lnTo>
                  <a:lnTo>
                    <a:pt x="1353" y="1039"/>
                  </a:lnTo>
                  <a:lnTo>
                    <a:pt x="1362" y="1015"/>
                  </a:lnTo>
                  <a:lnTo>
                    <a:pt x="1369" y="992"/>
                  </a:lnTo>
                  <a:lnTo>
                    <a:pt x="1377" y="972"/>
                  </a:lnTo>
                  <a:lnTo>
                    <a:pt x="1383" y="951"/>
                  </a:lnTo>
                  <a:lnTo>
                    <a:pt x="1390" y="931"/>
                  </a:lnTo>
                  <a:lnTo>
                    <a:pt x="1394" y="910"/>
                  </a:lnTo>
                  <a:lnTo>
                    <a:pt x="1397" y="887"/>
                  </a:lnTo>
                  <a:lnTo>
                    <a:pt x="1398" y="861"/>
                  </a:lnTo>
                  <a:lnTo>
                    <a:pt x="1397" y="846"/>
                  </a:lnTo>
                  <a:lnTo>
                    <a:pt x="1396" y="832"/>
                  </a:lnTo>
                  <a:lnTo>
                    <a:pt x="1394" y="818"/>
                  </a:lnTo>
                  <a:lnTo>
                    <a:pt x="1391" y="805"/>
                  </a:lnTo>
                  <a:lnTo>
                    <a:pt x="1386" y="793"/>
                  </a:lnTo>
                  <a:lnTo>
                    <a:pt x="1380" y="780"/>
                  </a:lnTo>
                  <a:lnTo>
                    <a:pt x="1373" y="769"/>
                  </a:lnTo>
                  <a:lnTo>
                    <a:pt x="1365" y="756"/>
                  </a:lnTo>
                  <a:lnTo>
                    <a:pt x="1359" y="749"/>
                  </a:lnTo>
                  <a:lnTo>
                    <a:pt x="1352" y="744"/>
                  </a:lnTo>
                  <a:lnTo>
                    <a:pt x="1350" y="740"/>
                  </a:lnTo>
                  <a:lnTo>
                    <a:pt x="1347" y="737"/>
                  </a:lnTo>
                  <a:lnTo>
                    <a:pt x="1346" y="734"/>
                  </a:lnTo>
                  <a:lnTo>
                    <a:pt x="1346" y="730"/>
                  </a:lnTo>
                  <a:lnTo>
                    <a:pt x="1346" y="717"/>
                  </a:lnTo>
                  <a:lnTo>
                    <a:pt x="1349" y="706"/>
                  </a:lnTo>
                  <a:lnTo>
                    <a:pt x="1352" y="695"/>
                  </a:lnTo>
                  <a:lnTo>
                    <a:pt x="1356" y="684"/>
                  </a:lnTo>
                  <a:lnTo>
                    <a:pt x="1361" y="675"/>
                  </a:lnTo>
                  <a:lnTo>
                    <a:pt x="1364" y="664"/>
                  </a:lnTo>
                  <a:lnTo>
                    <a:pt x="1366" y="652"/>
                  </a:lnTo>
                  <a:lnTo>
                    <a:pt x="1367" y="639"/>
                  </a:lnTo>
                  <a:lnTo>
                    <a:pt x="1367" y="629"/>
                  </a:lnTo>
                  <a:lnTo>
                    <a:pt x="1366" y="619"/>
                  </a:lnTo>
                  <a:lnTo>
                    <a:pt x="1365" y="611"/>
                  </a:lnTo>
                  <a:lnTo>
                    <a:pt x="1363" y="602"/>
                  </a:lnTo>
                  <a:lnTo>
                    <a:pt x="1360" y="595"/>
                  </a:lnTo>
                  <a:lnTo>
                    <a:pt x="1355" y="586"/>
                  </a:lnTo>
                  <a:lnTo>
                    <a:pt x="1351" y="578"/>
                  </a:lnTo>
                  <a:lnTo>
                    <a:pt x="1346" y="570"/>
                  </a:lnTo>
                  <a:lnTo>
                    <a:pt x="1340" y="565"/>
                  </a:lnTo>
                  <a:lnTo>
                    <a:pt x="1335" y="562"/>
                  </a:lnTo>
                  <a:lnTo>
                    <a:pt x="1333" y="561"/>
                  </a:lnTo>
                  <a:lnTo>
                    <a:pt x="1330" y="559"/>
                  </a:lnTo>
                  <a:lnTo>
                    <a:pt x="1328" y="557"/>
                  </a:lnTo>
                  <a:lnTo>
                    <a:pt x="1328" y="554"/>
                  </a:lnTo>
                  <a:lnTo>
                    <a:pt x="1328" y="547"/>
                  </a:lnTo>
                  <a:lnTo>
                    <a:pt x="1329" y="541"/>
                  </a:lnTo>
                  <a:lnTo>
                    <a:pt x="1332" y="535"/>
                  </a:lnTo>
                  <a:lnTo>
                    <a:pt x="1335" y="530"/>
                  </a:lnTo>
                  <a:lnTo>
                    <a:pt x="1341" y="521"/>
                  </a:lnTo>
                  <a:lnTo>
                    <a:pt x="1350" y="514"/>
                  </a:lnTo>
                  <a:lnTo>
                    <a:pt x="1371" y="500"/>
                  </a:lnTo>
                  <a:lnTo>
                    <a:pt x="1393" y="483"/>
                  </a:lnTo>
                  <a:lnTo>
                    <a:pt x="1403" y="474"/>
                  </a:lnTo>
                  <a:lnTo>
                    <a:pt x="1411" y="465"/>
                  </a:lnTo>
                  <a:lnTo>
                    <a:pt x="1419" y="456"/>
                  </a:lnTo>
                  <a:lnTo>
                    <a:pt x="1425" y="447"/>
                  </a:lnTo>
                  <a:lnTo>
                    <a:pt x="1432" y="437"/>
                  </a:lnTo>
                  <a:lnTo>
                    <a:pt x="1437" y="426"/>
                  </a:lnTo>
                  <a:lnTo>
                    <a:pt x="1442" y="415"/>
                  </a:lnTo>
                  <a:lnTo>
                    <a:pt x="1446" y="402"/>
                  </a:lnTo>
                  <a:lnTo>
                    <a:pt x="1452" y="376"/>
                  </a:lnTo>
                  <a:lnTo>
                    <a:pt x="1460" y="355"/>
                  </a:lnTo>
                  <a:lnTo>
                    <a:pt x="1467" y="332"/>
                  </a:lnTo>
                  <a:lnTo>
                    <a:pt x="1474" y="306"/>
                  </a:lnTo>
                  <a:lnTo>
                    <a:pt x="1477" y="295"/>
                  </a:lnTo>
                  <a:lnTo>
                    <a:pt x="1482" y="286"/>
                  </a:lnTo>
                  <a:lnTo>
                    <a:pt x="1486" y="276"/>
                  </a:lnTo>
                  <a:lnTo>
                    <a:pt x="1491" y="266"/>
                  </a:lnTo>
                  <a:lnTo>
                    <a:pt x="1498" y="259"/>
                  </a:lnTo>
                  <a:lnTo>
                    <a:pt x="1505" y="253"/>
                  </a:lnTo>
                  <a:lnTo>
                    <a:pt x="1510" y="251"/>
                  </a:lnTo>
                  <a:lnTo>
                    <a:pt x="1514" y="249"/>
                  </a:lnTo>
                  <a:lnTo>
                    <a:pt x="1519" y="248"/>
                  </a:lnTo>
                  <a:lnTo>
                    <a:pt x="1525" y="248"/>
                  </a:lnTo>
                  <a:lnTo>
                    <a:pt x="1530" y="249"/>
                  </a:lnTo>
                  <a:lnTo>
                    <a:pt x="1536" y="250"/>
                  </a:lnTo>
                  <a:lnTo>
                    <a:pt x="1541" y="252"/>
                  </a:lnTo>
                  <a:lnTo>
                    <a:pt x="1545" y="254"/>
                  </a:lnTo>
                  <a:lnTo>
                    <a:pt x="1550" y="258"/>
                  </a:lnTo>
                  <a:lnTo>
                    <a:pt x="1555" y="260"/>
                  </a:lnTo>
                  <a:lnTo>
                    <a:pt x="1560" y="261"/>
                  </a:lnTo>
                  <a:lnTo>
                    <a:pt x="1566" y="262"/>
                  </a:lnTo>
                  <a:lnTo>
                    <a:pt x="1573" y="262"/>
                  </a:lnTo>
                  <a:lnTo>
                    <a:pt x="1580" y="260"/>
                  </a:lnTo>
                  <a:lnTo>
                    <a:pt x="1586" y="258"/>
                  </a:lnTo>
                  <a:lnTo>
                    <a:pt x="1592" y="256"/>
                  </a:lnTo>
                  <a:lnTo>
                    <a:pt x="1597" y="251"/>
                  </a:lnTo>
                  <a:lnTo>
                    <a:pt x="1602" y="247"/>
                  </a:lnTo>
                  <a:lnTo>
                    <a:pt x="1607" y="243"/>
                  </a:lnTo>
                  <a:lnTo>
                    <a:pt x="1610" y="237"/>
                  </a:lnTo>
                  <a:lnTo>
                    <a:pt x="1626" y="214"/>
                  </a:lnTo>
                  <a:lnTo>
                    <a:pt x="1643" y="189"/>
                  </a:lnTo>
                  <a:lnTo>
                    <a:pt x="1651" y="179"/>
                  </a:lnTo>
                  <a:lnTo>
                    <a:pt x="1661" y="170"/>
                  </a:lnTo>
                  <a:lnTo>
                    <a:pt x="1672" y="165"/>
                  </a:lnTo>
                  <a:lnTo>
                    <a:pt x="1683" y="160"/>
                  </a:lnTo>
                  <a:lnTo>
                    <a:pt x="1694" y="156"/>
                  </a:lnTo>
                  <a:lnTo>
                    <a:pt x="1707" y="154"/>
                  </a:lnTo>
                  <a:lnTo>
                    <a:pt x="1720" y="152"/>
                  </a:lnTo>
                  <a:lnTo>
                    <a:pt x="1734" y="150"/>
                  </a:lnTo>
                  <a:lnTo>
                    <a:pt x="1754" y="148"/>
                  </a:lnTo>
                  <a:lnTo>
                    <a:pt x="1770" y="145"/>
                  </a:lnTo>
                  <a:lnTo>
                    <a:pt x="1779" y="143"/>
                  </a:lnTo>
                  <a:lnTo>
                    <a:pt x="1786" y="140"/>
                  </a:lnTo>
                  <a:lnTo>
                    <a:pt x="1794" y="136"/>
                  </a:lnTo>
                  <a:lnTo>
                    <a:pt x="1801" y="130"/>
                  </a:lnTo>
                  <a:lnTo>
                    <a:pt x="1809" y="124"/>
                  </a:lnTo>
                  <a:lnTo>
                    <a:pt x="1815" y="117"/>
                  </a:lnTo>
                  <a:lnTo>
                    <a:pt x="1821" y="110"/>
                  </a:lnTo>
                  <a:lnTo>
                    <a:pt x="1825" y="102"/>
                  </a:lnTo>
                  <a:lnTo>
                    <a:pt x="1833" y="87"/>
                  </a:lnTo>
                  <a:lnTo>
                    <a:pt x="1838" y="71"/>
                  </a:lnTo>
                  <a:lnTo>
                    <a:pt x="1842" y="54"/>
                  </a:lnTo>
                  <a:lnTo>
                    <a:pt x="1847" y="36"/>
                  </a:lnTo>
                  <a:lnTo>
                    <a:pt x="1853" y="18"/>
                  </a:lnTo>
                  <a:lnTo>
                    <a:pt x="1861" y="0"/>
                  </a:lnTo>
                  <a:lnTo>
                    <a:pt x="1861" y="0"/>
                  </a:lnTo>
                  <a:close/>
                </a:path>
              </a:pathLst>
            </a:custGeom>
            <a:solidFill>
              <a:srgbClr val="56EFF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22">
              <a:extLst>
                <a:ext uri="{FF2B5EF4-FFF2-40B4-BE49-F238E27FC236}">
                  <a16:creationId xmlns:a16="http://schemas.microsoft.com/office/drawing/2014/main" id="{24D25A2A-0F33-4EF7-A86E-7E150FDB5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00300" y="1620838"/>
              <a:ext cx="912813" cy="1279525"/>
            </a:xfrm>
            <a:custGeom>
              <a:avLst/>
              <a:gdLst>
                <a:gd name="T0" fmla="*/ 2031 w 2300"/>
                <a:gd name="T1" fmla="*/ 88 h 3221"/>
                <a:gd name="T2" fmla="*/ 2077 w 2300"/>
                <a:gd name="T3" fmla="*/ 111 h 3221"/>
                <a:gd name="T4" fmla="*/ 2065 w 2300"/>
                <a:gd name="T5" fmla="*/ 291 h 3221"/>
                <a:gd name="T6" fmla="*/ 2196 w 2300"/>
                <a:gd name="T7" fmla="*/ 425 h 3221"/>
                <a:gd name="T8" fmla="*/ 2191 w 2300"/>
                <a:gd name="T9" fmla="*/ 564 h 3221"/>
                <a:gd name="T10" fmla="*/ 2121 w 2300"/>
                <a:gd name="T11" fmla="*/ 652 h 3221"/>
                <a:gd name="T12" fmla="*/ 2075 w 2300"/>
                <a:gd name="T13" fmla="*/ 874 h 3221"/>
                <a:gd name="T14" fmla="*/ 2085 w 2300"/>
                <a:gd name="T15" fmla="*/ 981 h 3221"/>
                <a:gd name="T16" fmla="*/ 2028 w 2300"/>
                <a:gd name="T17" fmla="*/ 1247 h 3221"/>
                <a:gd name="T18" fmla="*/ 2077 w 2300"/>
                <a:gd name="T19" fmla="*/ 1429 h 3221"/>
                <a:gd name="T20" fmla="*/ 2079 w 2300"/>
                <a:gd name="T21" fmla="*/ 1616 h 3221"/>
                <a:gd name="T22" fmla="*/ 2135 w 2300"/>
                <a:gd name="T23" fmla="*/ 1704 h 3221"/>
                <a:gd name="T24" fmla="*/ 2278 w 2300"/>
                <a:gd name="T25" fmla="*/ 1758 h 3221"/>
                <a:gd name="T26" fmla="*/ 2291 w 2300"/>
                <a:gd name="T27" fmla="*/ 1945 h 3221"/>
                <a:gd name="T28" fmla="*/ 2189 w 2300"/>
                <a:gd name="T29" fmla="*/ 2057 h 3221"/>
                <a:gd name="T30" fmla="*/ 2228 w 2300"/>
                <a:gd name="T31" fmla="*/ 2190 h 3221"/>
                <a:gd name="T32" fmla="*/ 2189 w 2300"/>
                <a:gd name="T33" fmla="*/ 2305 h 3221"/>
                <a:gd name="T34" fmla="*/ 2021 w 2300"/>
                <a:gd name="T35" fmla="*/ 2465 h 3221"/>
                <a:gd name="T36" fmla="*/ 1870 w 2300"/>
                <a:gd name="T37" fmla="*/ 2551 h 3221"/>
                <a:gd name="T38" fmla="*/ 1780 w 2300"/>
                <a:gd name="T39" fmla="*/ 2651 h 3221"/>
                <a:gd name="T40" fmla="*/ 1569 w 2300"/>
                <a:gd name="T41" fmla="*/ 2721 h 3221"/>
                <a:gd name="T42" fmla="*/ 1378 w 2300"/>
                <a:gd name="T43" fmla="*/ 2737 h 3221"/>
                <a:gd name="T44" fmla="*/ 1268 w 2300"/>
                <a:gd name="T45" fmla="*/ 2765 h 3221"/>
                <a:gd name="T46" fmla="*/ 1082 w 2300"/>
                <a:gd name="T47" fmla="*/ 2700 h 3221"/>
                <a:gd name="T48" fmla="*/ 987 w 2300"/>
                <a:gd name="T49" fmla="*/ 2655 h 3221"/>
                <a:gd name="T50" fmla="*/ 837 w 2300"/>
                <a:gd name="T51" fmla="*/ 2702 h 3221"/>
                <a:gd name="T52" fmla="*/ 890 w 2300"/>
                <a:gd name="T53" fmla="*/ 2857 h 3221"/>
                <a:gd name="T54" fmla="*/ 864 w 2300"/>
                <a:gd name="T55" fmla="*/ 3007 h 3221"/>
                <a:gd name="T56" fmla="*/ 712 w 2300"/>
                <a:gd name="T57" fmla="*/ 3140 h 3221"/>
                <a:gd name="T58" fmla="*/ 496 w 2300"/>
                <a:gd name="T59" fmla="*/ 3221 h 3221"/>
                <a:gd name="T60" fmla="*/ 346 w 2300"/>
                <a:gd name="T61" fmla="*/ 3114 h 3221"/>
                <a:gd name="T62" fmla="*/ 123 w 2300"/>
                <a:gd name="T63" fmla="*/ 3014 h 3221"/>
                <a:gd name="T64" fmla="*/ 44 w 2300"/>
                <a:gd name="T65" fmla="*/ 2641 h 3221"/>
                <a:gd name="T66" fmla="*/ 5 w 2300"/>
                <a:gd name="T67" fmla="*/ 2529 h 3221"/>
                <a:gd name="T68" fmla="*/ 2 w 2300"/>
                <a:gd name="T69" fmla="*/ 2395 h 3221"/>
                <a:gd name="T70" fmla="*/ 89 w 2300"/>
                <a:gd name="T71" fmla="*/ 2369 h 3221"/>
                <a:gd name="T72" fmla="*/ 168 w 2300"/>
                <a:gd name="T73" fmla="*/ 1982 h 3221"/>
                <a:gd name="T74" fmla="*/ 247 w 2300"/>
                <a:gd name="T75" fmla="*/ 1878 h 3221"/>
                <a:gd name="T76" fmla="*/ 372 w 2300"/>
                <a:gd name="T77" fmla="*/ 1881 h 3221"/>
                <a:gd name="T78" fmla="*/ 506 w 2300"/>
                <a:gd name="T79" fmla="*/ 1840 h 3221"/>
                <a:gd name="T80" fmla="*/ 663 w 2300"/>
                <a:gd name="T81" fmla="*/ 1744 h 3221"/>
                <a:gd name="T82" fmla="*/ 749 w 2300"/>
                <a:gd name="T83" fmla="*/ 1699 h 3221"/>
                <a:gd name="T84" fmla="*/ 844 w 2300"/>
                <a:gd name="T85" fmla="*/ 1616 h 3221"/>
                <a:gd name="T86" fmla="*/ 969 w 2300"/>
                <a:gd name="T87" fmla="*/ 1588 h 3221"/>
                <a:gd name="T88" fmla="*/ 1188 w 2300"/>
                <a:gd name="T89" fmla="*/ 1672 h 3221"/>
                <a:gd name="T90" fmla="*/ 1287 w 2300"/>
                <a:gd name="T91" fmla="*/ 1629 h 3221"/>
                <a:gd name="T92" fmla="*/ 1323 w 2300"/>
                <a:gd name="T93" fmla="*/ 1478 h 3221"/>
                <a:gd name="T94" fmla="*/ 1280 w 2300"/>
                <a:gd name="T95" fmla="*/ 1371 h 3221"/>
                <a:gd name="T96" fmla="*/ 1241 w 2300"/>
                <a:gd name="T97" fmla="*/ 1277 h 3221"/>
                <a:gd name="T98" fmla="*/ 1256 w 2300"/>
                <a:gd name="T99" fmla="*/ 1161 h 3221"/>
                <a:gd name="T100" fmla="*/ 1346 w 2300"/>
                <a:gd name="T101" fmla="*/ 1053 h 3221"/>
                <a:gd name="T102" fmla="*/ 1397 w 2300"/>
                <a:gd name="T103" fmla="*/ 846 h 3221"/>
                <a:gd name="T104" fmla="*/ 1346 w 2300"/>
                <a:gd name="T105" fmla="*/ 734 h 3221"/>
                <a:gd name="T106" fmla="*/ 1365 w 2300"/>
                <a:gd name="T107" fmla="*/ 611 h 3221"/>
                <a:gd name="T108" fmla="*/ 1328 w 2300"/>
                <a:gd name="T109" fmla="*/ 547 h 3221"/>
                <a:gd name="T110" fmla="*/ 1432 w 2300"/>
                <a:gd name="T111" fmla="*/ 437 h 3221"/>
                <a:gd name="T112" fmla="*/ 1498 w 2300"/>
                <a:gd name="T113" fmla="*/ 259 h 3221"/>
                <a:gd name="T114" fmla="*/ 1560 w 2300"/>
                <a:gd name="T115" fmla="*/ 261 h 3221"/>
                <a:gd name="T116" fmla="*/ 1651 w 2300"/>
                <a:gd name="T117" fmla="*/ 179 h 3221"/>
                <a:gd name="T118" fmla="*/ 1794 w 2300"/>
                <a:gd name="T119" fmla="*/ 136 h 3221"/>
                <a:gd name="T120" fmla="*/ 1861 w 2300"/>
                <a:gd name="T121" fmla="*/ 0 h 3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00" h="3221">
                  <a:moveTo>
                    <a:pt x="1861" y="0"/>
                  </a:moveTo>
                  <a:lnTo>
                    <a:pt x="1872" y="8"/>
                  </a:lnTo>
                  <a:lnTo>
                    <a:pt x="1883" y="16"/>
                  </a:lnTo>
                  <a:lnTo>
                    <a:pt x="1896" y="24"/>
                  </a:lnTo>
                  <a:lnTo>
                    <a:pt x="1912" y="32"/>
                  </a:lnTo>
                  <a:lnTo>
                    <a:pt x="1944" y="52"/>
                  </a:lnTo>
                  <a:lnTo>
                    <a:pt x="1974" y="70"/>
                  </a:lnTo>
                  <a:lnTo>
                    <a:pt x="1988" y="77"/>
                  </a:lnTo>
                  <a:lnTo>
                    <a:pt x="2004" y="83"/>
                  </a:lnTo>
                  <a:lnTo>
                    <a:pt x="2013" y="85"/>
                  </a:lnTo>
                  <a:lnTo>
                    <a:pt x="2022" y="87"/>
                  </a:lnTo>
                  <a:lnTo>
                    <a:pt x="2031" y="88"/>
                  </a:lnTo>
                  <a:lnTo>
                    <a:pt x="2041" y="88"/>
                  </a:lnTo>
                  <a:lnTo>
                    <a:pt x="2047" y="88"/>
                  </a:lnTo>
                  <a:lnTo>
                    <a:pt x="2051" y="86"/>
                  </a:lnTo>
                  <a:lnTo>
                    <a:pt x="2054" y="85"/>
                  </a:lnTo>
                  <a:lnTo>
                    <a:pt x="2058" y="83"/>
                  </a:lnTo>
                  <a:lnTo>
                    <a:pt x="2062" y="81"/>
                  </a:lnTo>
                  <a:lnTo>
                    <a:pt x="2066" y="78"/>
                  </a:lnTo>
                  <a:lnTo>
                    <a:pt x="2070" y="77"/>
                  </a:lnTo>
                  <a:lnTo>
                    <a:pt x="2076" y="77"/>
                  </a:lnTo>
                  <a:lnTo>
                    <a:pt x="2076" y="77"/>
                  </a:lnTo>
                  <a:lnTo>
                    <a:pt x="2077" y="95"/>
                  </a:lnTo>
                  <a:lnTo>
                    <a:pt x="2077" y="111"/>
                  </a:lnTo>
                  <a:lnTo>
                    <a:pt x="2076" y="128"/>
                  </a:lnTo>
                  <a:lnTo>
                    <a:pt x="2076" y="145"/>
                  </a:lnTo>
                  <a:lnTo>
                    <a:pt x="2075" y="164"/>
                  </a:lnTo>
                  <a:lnTo>
                    <a:pt x="2074" y="181"/>
                  </a:lnTo>
                  <a:lnTo>
                    <a:pt x="2071" y="197"/>
                  </a:lnTo>
                  <a:lnTo>
                    <a:pt x="2069" y="213"/>
                  </a:lnTo>
                  <a:lnTo>
                    <a:pt x="2067" y="229"/>
                  </a:lnTo>
                  <a:lnTo>
                    <a:pt x="2065" y="245"/>
                  </a:lnTo>
                  <a:lnTo>
                    <a:pt x="2063" y="263"/>
                  </a:lnTo>
                  <a:lnTo>
                    <a:pt x="2063" y="281"/>
                  </a:lnTo>
                  <a:lnTo>
                    <a:pt x="2063" y="287"/>
                  </a:lnTo>
                  <a:lnTo>
                    <a:pt x="2065" y="291"/>
                  </a:lnTo>
                  <a:lnTo>
                    <a:pt x="2068" y="294"/>
                  </a:lnTo>
                  <a:lnTo>
                    <a:pt x="2071" y="298"/>
                  </a:lnTo>
                  <a:lnTo>
                    <a:pt x="2079" y="304"/>
                  </a:lnTo>
                  <a:lnTo>
                    <a:pt x="2085" y="313"/>
                  </a:lnTo>
                  <a:lnTo>
                    <a:pt x="2093" y="328"/>
                  </a:lnTo>
                  <a:lnTo>
                    <a:pt x="2103" y="341"/>
                  </a:lnTo>
                  <a:lnTo>
                    <a:pt x="2111" y="354"/>
                  </a:lnTo>
                  <a:lnTo>
                    <a:pt x="2122" y="365"/>
                  </a:lnTo>
                  <a:lnTo>
                    <a:pt x="2145" y="384"/>
                  </a:lnTo>
                  <a:lnTo>
                    <a:pt x="2172" y="405"/>
                  </a:lnTo>
                  <a:lnTo>
                    <a:pt x="2185" y="414"/>
                  </a:lnTo>
                  <a:lnTo>
                    <a:pt x="2196" y="425"/>
                  </a:lnTo>
                  <a:lnTo>
                    <a:pt x="2200" y="432"/>
                  </a:lnTo>
                  <a:lnTo>
                    <a:pt x="2203" y="437"/>
                  </a:lnTo>
                  <a:lnTo>
                    <a:pt x="2204" y="445"/>
                  </a:lnTo>
                  <a:lnTo>
                    <a:pt x="2205" y="452"/>
                  </a:lnTo>
                  <a:lnTo>
                    <a:pt x="2205" y="462"/>
                  </a:lnTo>
                  <a:lnTo>
                    <a:pt x="2203" y="472"/>
                  </a:lnTo>
                  <a:lnTo>
                    <a:pt x="2202" y="479"/>
                  </a:lnTo>
                  <a:lnTo>
                    <a:pt x="2199" y="488"/>
                  </a:lnTo>
                  <a:lnTo>
                    <a:pt x="2194" y="504"/>
                  </a:lnTo>
                  <a:lnTo>
                    <a:pt x="2191" y="522"/>
                  </a:lnTo>
                  <a:lnTo>
                    <a:pt x="2191" y="545"/>
                  </a:lnTo>
                  <a:lnTo>
                    <a:pt x="2191" y="564"/>
                  </a:lnTo>
                  <a:lnTo>
                    <a:pt x="2190" y="574"/>
                  </a:lnTo>
                  <a:lnTo>
                    <a:pt x="2188" y="584"/>
                  </a:lnTo>
                  <a:lnTo>
                    <a:pt x="2184" y="592"/>
                  </a:lnTo>
                  <a:lnTo>
                    <a:pt x="2177" y="601"/>
                  </a:lnTo>
                  <a:lnTo>
                    <a:pt x="2170" y="609"/>
                  </a:lnTo>
                  <a:lnTo>
                    <a:pt x="2162" y="614"/>
                  </a:lnTo>
                  <a:lnTo>
                    <a:pt x="2155" y="619"/>
                  </a:lnTo>
                  <a:lnTo>
                    <a:pt x="2146" y="624"/>
                  </a:lnTo>
                  <a:lnTo>
                    <a:pt x="2138" y="629"/>
                  </a:lnTo>
                  <a:lnTo>
                    <a:pt x="2132" y="635"/>
                  </a:lnTo>
                  <a:lnTo>
                    <a:pt x="2125" y="642"/>
                  </a:lnTo>
                  <a:lnTo>
                    <a:pt x="2121" y="652"/>
                  </a:lnTo>
                  <a:lnTo>
                    <a:pt x="2113" y="675"/>
                  </a:lnTo>
                  <a:lnTo>
                    <a:pt x="2107" y="695"/>
                  </a:lnTo>
                  <a:lnTo>
                    <a:pt x="2103" y="716"/>
                  </a:lnTo>
                  <a:lnTo>
                    <a:pt x="2098" y="735"/>
                  </a:lnTo>
                  <a:lnTo>
                    <a:pt x="2095" y="756"/>
                  </a:lnTo>
                  <a:lnTo>
                    <a:pt x="2093" y="776"/>
                  </a:lnTo>
                  <a:lnTo>
                    <a:pt x="2091" y="798"/>
                  </a:lnTo>
                  <a:lnTo>
                    <a:pt x="2088" y="823"/>
                  </a:lnTo>
                  <a:lnTo>
                    <a:pt x="2085" y="837"/>
                  </a:lnTo>
                  <a:lnTo>
                    <a:pt x="2082" y="851"/>
                  </a:lnTo>
                  <a:lnTo>
                    <a:pt x="2079" y="862"/>
                  </a:lnTo>
                  <a:lnTo>
                    <a:pt x="2075" y="874"/>
                  </a:lnTo>
                  <a:lnTo>
                    <a:pt x="2071" y="886"/>
                  </a:lnTo>
                  <a:lnTo>
                    <a:pt x="2068" y="898"/>
                  </a:lnTo>
                  <a:lnTo>
                    <a:pt x="2066" y="911"/>
                  </a:lnTo>
                  <a:lnTo>
                    <a:pt x="2065" y="926"/>
                  </a:lnTo>
                  <a:lnTo>
                    <a:pt x="2066" y="934"/>
                  </a:lnTo>
                  <a:lnTo>
                    <a:pt x="2068" y="941"/>
                  </a:lnTo>
                  <a:lnTo>
                    <a:pt x="2071" y="948"/>
                  </a:lnTo>
                  <a:lnTo>
                    <a:pt x="2076" y="954"/>
                  </a:lnTo>
                  <a:lnTo>
                    <a:pt x="2079" y="960"/>
                  </a:lnTo>
                  <a:lnTo>
                    <a:pt x="2082" y="966"/>
                  </a:lnTo>
                  <a:lnTo>
                    <a:pt x="2084" y="974"/>
                  </a:lnTo>
                  <a:lnTo>
                    <a:pt x="2085" y="981"/>
                  </a:lnTo>
                  <a:lnTo>
                    <a:pt x="2085" y="1001"/>
                  </a:lnTo>
                  <a:lnTo>
                    <a:pt x="2085" y="1017"/>
                  </a:lnTo>
                  <a:lnTo>
                    <a:pt x="2085" y="1034"/>
                  </a:lnTo>
                  <a:lnTo>
                    <a:pt x="2085" y="1053"/>
                  </a:lnTo>
                  <a:lnTo>
                    <a:pt x="2084" y="1072"/>
                  </a:lnTo>
                  <a:lnTo>
                    <a:pt x="2082" y="1090"/>
                  </a:lnTo>
                  <a:lnTo>
                    <a:pt x="2079" y="1108"/>
                  </a:lnTo>
                  <a:lnTo>
                    <a:pt x="2075" y="1125"/>
                  </a:lnTo>
                  <a:lnTo>
                    <a:pt x="2064" y="1155"/>
                  </a:lnTo>
                  <a:lnTo>
                    <a:pt x="2051" y="1185"/>
                  </a:lnTo>
                  <a:lnTo>
                    <a:pt x="2039" y="1216"/>
                  </a:lnTo>
                  <a:lnTo>
                    <a:pt x="2028" y="1247"/>
                  </a:lnTo>
                  <a:lnTo>
                    <a:pt x="2024" y="1263"/>
                  </a:lnTo>
                  <a:lnTo>
                    <a:pt x="2021" y="1280"/>
                  </a:lnTo>
                  <a:lnTo>
                    <a:pt x="2018" y="1299"/>
                  </a:lnTo>
                  <a:lnTo>
                    <a:pt x="2017" y="1318"/>
                  </a:lnTo>
                  <a:lnTo>
                    <a:pt x="2018" y="1330"/>
                  </a:lnTo>
                  <a:lnTo>
                    <a:pt x="2021" y="1341"/>
                  </a:lnTo>
                  <a:lnTo>
                    <a:pt x="2024" y="1352"/>
                  </a:lnTo>
                  <a:lnTo>
                    <a:pt x="2028" y="1361"/>
                  </a:lnTo>
                  <a:lnTo>
                    <a:pt x="2040" y="1379"/>
                  </a:lnTo>
                  <a:lnTo>
                    <a:pt x="2053" y="1396"/>
                  </a:lnTo>
                  <a:lnTo>
                    <a:pt x="2066" y="1412"/>
                  </a:lnTo>
                  <a:lnTo>
                    <a:pt x="2077" y="1429"/>
                  </a:lnTo>
                  <a:lnTo>
                    <a:pt x="2081" y="1439"/>
                  </a:lnTo>
                  <a:lnTo>
                    <a:pt x="2084" y="1450"/>
                  </a:lnTo>
                  <a:lnTo>
                    <a:pt x="2086" y="1461"/>
                  </a:lnTo>
                  <a:lnTo>
                    <a:pt x="2088" y="1473"/>
                  </a:lnTo>
                  <a:lnTo>
                    <a:pt x="2086" y="1490"/>
                  </a:lnTo>
                  <a:lnTo>
                    <a:pt x="2083" y="1506"/>
                  </a:lnTo>
                  <a:lnTo>
                    <a:pt x="2081" y="1521"/>
                  </a:lnTo>
                  <a:lnTo>
                    <a:pt x="2079" y="1540"/>
                  </a:lnTo>
                  <a:lnTo>
                    <a:pt x="2079" y="1560"/>
                  </a:lnTo>
                  <a:lnTo>
                    <a:pt x="2079" y="1577"/>
                  </a:lnTo>
                  <a:lnTo>
                    <a:pt x="2079" y="1596"/>
                  </a:lnTo>
                  <a:lnTo>
                    <a:pt x="2079" y="1616"/>
                  </a:lnTo>
                  <a:lnTo>
                    <a:pt x="2079" y="1628"/>
                  </a:lnTo>
                  <a:lnTo>
                    <a:pt x="2080" y="1640"/>
                  </a:lnTo>
                  <a:lnTo>
                    <a:pt x="2080" y="1652"/>
                  </a:lnTo>
                  <a:lnTo>
                    <a:pt x="2082" y="1663"/>
                  </a:lnTo>
                  <a:lnTo>
                    <a:pt x="2085" y="1672"/>
                  </a:lnTo>
                  <a:lnTo>
                    <a:pt x="2091" y="1681"/>
                  </a:lnTo>
                  <a:lnTo>
                    <a:pt x="2094" y="1685"/>
                  </a:lnTo>
                  <a:lnTo>
                    <a:pt x="2097" y="1689"/>
                  </a:lnTo>
                  <a:lnTo>
                    <a:pt x="2103" y="1692"/>
                  </a:lnTo>
                  <a:lnTo>
                    <a:pt x="2107" y="1694"/>
                  </a:lnTo>
                  <a:lnTo>
                    <a:pt x="2122" y="1699"/>
                  </a:lnTo>
                  <a:lnTo>
                    <a:pt x="2135" y="1704"/>
                  </a:lnTo>
                  <a:lnTo>
                    <a:pt x="2149" y="1707"/>
                  </a:lnTo>
                  <a:lnTo>
                    <a:pt x="2161" y="1709"/>
                  </a:lnTo>
                  <a:lnTo>
                    <a:pt x="2188" y="1715"/>
                  </a:lnTo>
                  <a:lnTo>
                    <a:pt x="2217" y="1722"/>
                  </a:lnTo>
                  <a:lnTo>
                    <a:pt x="2229" y="1726"/>
                  </a:lnTo>
                  <a:lnTo>
                    <a:pt x="2241" y="1731"/>
                  </a:lnTo>
                  <a:lnTo>
                    <a:pt x="2252" y="1736"/>
                  </a:lnTo>
                  <a:lnTo>
                    <a:pt x="2263" y="1743"/>
                  </a:lnTo>
                  <a:lnTo>
                    <a:pt x="2267" y="1746"/>
                  </a:lnTo>
                  <a:lnTo>
                    <a:pt x="2271" y="1749"/>
                  </a:lnTo>
                  <a:lnTo>
                    <a:pt x="2274" y="1753"/>
                  </a:lnTo>
                  <a:lnTo>
                    <a:pt x="2278" y="1758"/>
                  </a:lnTo>
                  <a:lnTo>
                    <a:pt x="2281" y="1763"/>
                  </a:lnTo>
                  <a:lnTo>
                    <a:pt x="2282" y="1769"/>
                  </a:lnTo>
                  <a:lnTo>
                    <a:pt x="2283" y="1774"/>
                  </a:lnTo>
                  <a:lnTo>
                    <a:pt x="2284" y="1780"/>
                  </a:lnTo>
                  <a:lnTo>
                    <a:pt x="2284" y="1811"/>
                  </a:lnTo>
                  <a:lnTo>
                    <a:pt x="2284" y="1837"/>
                  </a:lnTo>
                  <a:lnTo>
                    <a:pt x="2284" y="1864"/>
                  </a:lnTo>
                  <a:lnTo>
                    <a:pt x="2284" y="1894"/>
                  </a:lnTo>
                  <a:lnTo>
                    <a:pt x="2284" y="1908"/>
                  </a:lnTo>
                  <a:lnTo>
                    <a:pt x="2286" y="1921"/>
                  </a:lnTo>
                  <a:lnTo>
                    <a:pt x="2287" y="1934"/>
                  </a:lnTo>
                  <a:lnTo>
                    <a:pt x="2291" y="1945"/>
                  </a:lnTo>
                  <a:lnTo>
                    <a:pt x="2296" y="1969"/>
                  </a:lnTo>
                  <a:lnTo>
                    <a:pt x="2300" y="1996"/>
                  </a:lnTo>
                  <a:lnTo>
                    <a:pt x="2300" y="1996"/>
                  </a:lnTo>
                  <a:lnTo>
                    <a:pt x="2286" y="2001"/>
                  </a:lnTo>
                  <a:lnTo>
                    <a:pt x="2272" y="2004"/>
                  </a:lnTo>
                  <a:lnTo>
                    <a:pt x="2258" y="2006"/>
                  </a:lnTo>
                  <a:lnTo>
                    <a:pt x="2245" y="2007"/>
                  </a:lnTo>
                  <a:lnTo>
                    <a:pt x="2218" y="2008"/>
                  </a:lnTo>
                  <a:lnTo>
                    <a:pt x="2189" y="2008"/>
                  </a:lnTo>
                  <a:lnTo>
                    <a:pt x="2189" y="2026"/>
                  </a:lnTo>
                  <a:lnTo>
                    <a:pt x="2189" y="2041"/>
                  </a:lnTo>
                  <a:lnTo>
                    <a:pt x="2189" y="2057"/>
                  </a:lnTo>
                  <a:lnTo>
                    <a:pt x="2189" y="2074"/>
                  </a:lnTo>
                  <a:lnTo>
                    <a:pt x="2189" y="2088"/>
                  </a:lnTo>
                  <a:lnTo>
                    <a:pt x="2191" y="2100"/>
                  </a:lnTo>
                  <a:lnTo>
                    <a:pt x="2193" y="2112"/>
                  </a:lnTo>
                  <a:lnTo>
                    <a:pt x="2197" y="2124"/>
                  </a:lnTo>
                  <a:lnTo>
                    <a:pt x="2204" y="2146"/>
                  </a:lnTo>
                  <a:lnTo>
                    <a:pt x="2214" y="2170"/>
                  </a:lnTo>
                  <a:lnTo>
                    <a:pt x="2217" y="2177"/>
                  </a:lnTo>
                  <a:lnTo>
                    <a:pt x="2223" y="2182"/>
                  </a:lnTo>
                  <a:lnTo>
                    <a:pt x="2225" y="2184"/>
                  </a:lnTo>
                  <a:lnTo>
                    <a:pt x="2226" y="2187"/>
                  </a:lnTo>
                  <a:lnTo>
                    <a:pt x="2228" y="2190"/>
                  </a:lnTo>
                  <a:lnTo>
                    <a:pt x="2228" y="2193"/>
                  </a:lnTo>
                  <a:lnTo>
                    <a:pt x="2228" y="2208"/>
                  </a:lnTo>
                  <a:lnTo>
                    <a:pt x="2228" y="2221"/>
                  </a:lnTo>
                  <a:lnTo>
                    <a:pt x="2228" y="2234"/>
                  </a:lnTo>
                  <a:lnTo>
                    <a:pt x="2228" y="2248"/>
                  </a:lnTo>
                  <a:lnTo>
                    <a:pt x="2227" y="2255"/>
                  </a:lnTo>
                  <a:lnTo>
                    <a:pt x="2225" y="2261"/>
                  </a:lnTo>
                  <a:lnTo>
                    <a:pt x="2221" y="2266"/>
                  </a:lnTo>
                  <a:lnTo>
                    <a:pt x="2218" y="2271"/>
                  </a:lnTo>
                  <a:lnTo>
                    <a:pt x="2209" y="2281"/>
                  </a:lnTo>
                  <a:lnTo>
                    <a:pt x="2200" y="2291"/>
                  </a:lnTo>
                  <a:lnTo>
                    <a:pt x="2189" y="2305"/>
                  </a:lnTo>
                  <a:lnTo>
                    <a:pt x="2178" y="2318"/>
                  </a:lnTo>
                  <a:lnTo>
                    <a:pt x="2167" y="2330"/>
                  </a:lnTo>
                  <a:lnTo>
                    <a:pt x="2155" y="2344"/>
                  </a:lnTo>
                  <a:lnTo>
                    <a:pt x="2130" y="2374"/>
                  </a:lnTo>
                  <a:lnTo>
                    <a:pt x="2109" y="2404"/>
                  </a:lnTo>
                  <a:lnTo>
                    <a:pt x="2098" y="2417"/>
                  </a:lnTo>
                  <a:lnTo>
                    <a:pt x="2086" y="2430"/>
                  </a:lnTo>
                  <a:lnTo>
                    <a:pt x="2079" y="2435"/>
                  </a:lnTo>
                  <a:lnTo>
                    <a:pt x="2071" y="2440"/>
                  </a:lnTo>
                  <a:lnTo>
                    <a:pt x="2063" y="2446"/>
                  </a:lnTo>
                  <a:lnTo>
                    <a:pt x="2054" y="2451"/>
                  </a:lnTo>
                  <a:lnTo>
                    <a:pt x="2021" y="2465"/>
                  </a:lnTo>
                  <a:lnTo>
                    <a:pt x="1990" y="2477"/>
                  </a:lnTo>
                  <a:lnTo>
                    <a:pt x="1976" y="2485"/>
                  </a:lnTo>
                  <a:lnTo>
                    <a:pt x="1963" y="2493"/>
                  </a:lnTo>
                  <a:lnTo>
                    <a:pt x="1958" y="2500"/>
                  </a:lnTo>
                  <a:lnTo>
                    <a:pt x="1953" y="2505"/>
                  </a:lnTo>
                  <a:lnTo>
                    <a:pt x="1947" y="2513"/>
                  </a:lnTo>
                  <a:lnTo>
                    <a:pt x="1942" y="2520"/>
                  </a:lnTo>
                  <a:lnTo>
                    <a:pt x="1942" y="2520"/>
                  </a:lnTo>
                  <a:lnTo>
                    <a:pt x="1915" y="2529"/>
                  </a:lnTo>
                  <a:lnTo>
                    <a:pt x="1892" y="2539"/>
                  </a:lnTo>
                  <a:lnTo>
                    <a:pt x="1880" y="2544"/>
                  </a:lnTo>
                  <a:lnTo>
                    <a:pt x="1870" y="2551"/>
                  </a:lnTo>
                  <a:lnTo>
                    <a:pt x="1860" y="2558"/>
                  </a:lnTo>
                  <a:lnTo>
                    <a:pt x="1850" y="2569"/>
                  </a:lnTo>
                  <a:lnTo>
                    <a:pt x="1842" y="2578"/>
                  </a:lnTo>
                  <a:lnTo>
                    <a:pt x="1836" y="2587"/>
                  </a:lnTo>
                  <a:lnTo>
                    <a:pt x="1831" y="2597"/>
                  </a:lnTo>
                  <a:lnTo>
                    <a:pt x="1826" y="2607"/>
                  </a:lnTo>
                  <a:lnTo>
                    <a:pt x="1821" y="2616"/>
                  </a:lnTo>
                  <a:lnTo>
                    <a:pt x="1815" y="2625"/>
                  </a:lnTo>
                  <a:lnTo>
                    <a:pt x="1808" y="2634"/>
                  </a:lnTo>
                  <a:lnTo>
                    <a:pt x="1799" y="2641"/>
                  </a:lnTo>
                  <a:lnTo>
                    <a:pt x="1789" y="2647"/>
                  </a:lnTo>
                  <a:lnTo>
                    <a:pt x="1780" y="2651"/>
                  </a:lnTo>
                  <a:lnTo>
                    <a:pt x="1770" y="2653"/>
                  </a:lnTo>
                  <a:lnTo>
                    <a:pt x="1760" y="2655"/>
                  </a:lnTo>
                  <a:lnTo>
                    <a:pt x="1740" y="2655"/>
                  </a:lnTo>
                  <a:lnTo>
                    <a:pt x="1717" y="2655"/>
                  </a:lnTo>
                  <a:lnTo>
                    <a:pt x="1691" y="2655"/>
                  </a:lnTo>
                  <a:lnTo>
                    <a:pt x="1668" y="2655"/>
                  </a:lnTo>
                  <a:lnTo>
                    <a:pt x="1646" y="2655"/>
                  </a:lnTo>
                  <a:lnTo>
                    <a:pt x="1620" y="2655"/>
                  </a:lnTo>
                  <a:lnTo>
                    <a:pt x="1599" y="2684"/>
                  </a:lnTo>
                  <a:lnTo>
                    <a:pt x="1580" y="2710"/>
                  </a:lnTo>
                  <a:lnTo>
                    <a:pt x="1576" y="2716"/>
                  </a:lnTo>
                  <a:lnTo>
                    <a:pt x="1569" y="2721"/>
                  </a:lnTo>
                  <a:lnTo>
                    <a:pt x="1564" y="2725"/>
                  </a:lnTo>
                  <a:lnTo>
                    <a:pt x="1557" y="2729"/>
                  </a:lnTo>
                  <a:lnTo>
                    <a:pt x="1551" y="2732"/>
                  </a:lnTo>
                  <a:lnTo>
                    <a:pt x="1543" y="2734"/>
                  </a:lnTo>
                  <a:lnTo>
                    <a:pt x="1536" y="2736"/>
                  </a:lnTo>
                  <a:lnTo>
                    <a:pt x="1527" y="2736"/>
                  </a:lnTo>
                  <a:lnTo>
                    <a:pt x="1490" y="2736"/>
                  </a:lnTo>
                  <a:lnTo>
                    <a:pt x="1459" y="2736"/>
                  </a:lnTo>
                  <a:lnTo>
                    <a:pt x="1427" y="2736"/>
                  </a:lnTo>
                  <a:lnTo>
                    <a:pt x="1391" y="2736"/>
                  </a:lnTo>
                  <a:lnTo>
                    <a:pt x="1384" y="2737"/>
                  </a:lnTo>
                  <a:lnTo>
                    <a:pt x="1378" y="2737"/>
                  </a:lnTo>
                  <a:lnTo>
                    <a:pt x="1373" y="2740"/>
                  </a:lnTo>
                  <a:lnTo>
                    <a:pt x="1367" y="2742"/>
                  </a:lnTo>
                  <a:lnTo>
                    <a:pt x="1357" y="2746"/>
                  </a:lnTo>
                  <a:lnTo>
                    <a:pt x="1348" y="2751"/>
                  </a:lnTo>
                  <a:lnTo>
                    <a:pt x="1339" y="2758"/>
                  </a:lnTo>
                  <a:lnTo>
                    <a:pt x="1329" y="2762"/>
                  </a:lnTo>
                  <a:lnTo>
                    <a:pt x="1324" y="2764"/>
                  </a:lnTo>
                  <a:lnTo>
                    <a:pt x="1319" y="2767"/>
                  </a:lnTo>
                  <a:lnTo>
                    <a:pt x="1312" y="2767"/>
                  </a:lnTo>
                  <a:lnTo>
                    <a:pt x="1306" y="2768"/>
                  </a:lnTo>
                  <a:lnTo>
                    <a:pt x="1286" y="2767"/>
                  </a:lnTo>
                  <a:lnTo>
                    <a:pt x="1268" y="2765"/>
                  </a:lnTo>
                  <a:lnTo>
                    <a:pt x="1251" y="2763"/>
                  </a:lnTo>
                  <a:lnTo>
                    <a:pt x="1234" y="2760"/>
                  </a:lnTo>
                  <a:lnTo>
                    <a:pt x="1218" y="2756"/>
                  </a:lnTo>
                  <a:lnTo>
                    <a:pt x="1201" y="2750"/>
                  </a:lnTo>
                  <a:lnTo>
                    <a:pt x="1184" y="2744"/>
                  </a:lnTo>
                  <a:lnTo>
                    <a:pt x="1165" y="2736"/>
                  </a:lnTo>
                  <a:lnTo>
                    <a:pt x="1142" y="2728"/>
                  </a:lnTo>
                  <a:lnTo>
                    <a:pt x="1122" y="2721"/>
                  </a:lnTo>
                  <a:lnTo>
                    <a:pt x="1112" y="2717"/>
                  </a:lnTo>
                  <a:lnTo>
                    <a:pt x="1101" y="2713"/>
                  </a:lnTo>
                  <a:lnTo>
                    <a:pt x="1092" y="2707"/>
                  </a:lnTo>
                  <a:lnTo>
                    <a:pt x="1082" y="2700"/>
                  </a:lnTo>
                  <a:lnTo>
                    <a:pt x="1073" y="2693"/>
                  </a:lnTo>
                  <a:lnTo>
                    <a:pt x="1067" y="2686"/>
                  </a:lnTo>
                  <a:lnTo>
                    <a:pt x="1060" y="2678"/>
                  </a:lnTo>
                  <a:lnTo>
                    <a:pt x="1055" y="2670"/>
                  </a:lnTo>
                  <a:lnTo>
                    <a:pt x="1049" y="2663"/>
                  </a:lnTo>
                  <a:lnTo>
                    <a:pt x="1041" y="2657"/>
                  </a:lnTo>
                  <a:lnTo>
                    <a:pt x="1037" y="2655"/>
                  </a:lnTo>
                  <a:lnTo>
                    <a:pt x="1032" y="2654"/>
                  </a:lnTo>
                  <a:lnTo>
                    <a:pt x="1028" y="2653"/>
                  </a:lnTo>
                  <a:lnTo>
                    <a:pt x="1023" y="2652"/>
                  </a:lnTo>
                  <a:lnTo>
                    <a:pt x="1004" y="2653"/>
                  </a:lnTo>
                  <a:lnTo>
                    <a:pt x="987" y="2655"/>
                  </a:lnTo>
                  <a:lnTo>
                    <a:pt x="972" y="2657"/>
                  </a:lnTo>
                  <a:lnTo>
                    <a:pt x="957" y="2662"/>
                  </a:lnTo>
                  <a:lnTo>
                    <a:pt x="925" y="2670"/>
                  </a:lnTo>
                  <a:lnTo>
                    <a:pt x="891" y="2680"/>
                  </a:lnTo>
                  <a:lnTo>
                    <a:pt x="879" y="2682"/>
                  </a:lnTo>
                  <a:lnTo>
                    <a:pt x="867" y="2682"/>
                  </a:lnTo>
                  <a:lnTo>
                    <a:pt x="862" y="2682"/>
                  </a:lnTo>
                  <a:lnTo>
                    <a:pt x="856" y="2683"/>
                  </a:lnTo>
                  <a:lnTo>
                    <a:pt x="851" y="2686"/>
                  </a:lnTo>
                  <a:lnTo>
                    <a:pt x="847" y="2689"/>
                  </a:lnTo>
                  <a:lnTo>
                    <a:pt x="840" y="2695"/>
                  </a:lnTo>
                  <a:lnTo>
                    <a:pt x="837" y="2702"/>
                  </a:lnTo>
                  <a:lnTo>
                    <a:pt x="835" y="2708"/>
                  </a:lnTo>
                  <a:lnTo>
                    <a:pt x="834" y="2716"/>
                  </a:lnTo>
                  <a:lnTo>
                    <a:pt x="835" y="2732"/>
                  </a:lnTo>
                  <a:lnTo>
                    <a:pt x="835" y="2749"/>
                  </a:lnTo>
                  <a:lnTo>
                    <a:pt x="836" y="2760"/>
                  </a:lnTo>
                  <a:lnTo>
                    <a:pt x="838" y="2771"/>
                  </a:lnTo>
                  <a:lnTo>
                    <a:pt x="841" y="2781"/>
                  </a:lnTo>
                  <a:lnTo>
                    <a:pt x="845" y="2790"/>
                  </a:lnTo>
                  <a:lnTo>
                    <a:pt x="855" y="2808"/>
                  </a:lnTo>
                  <a:lnTo>
                    <a:pt x="867" y="2824"/>
                  </a:lnTo>
                  <a:lnTo>
                    <a:pt x="879" y="2840"/>
                  </a:lnTo>
                  <a:lnTo>
                    <a:pt x="890" y="2857"/>
                  </a:lnTo>
                  <a:lnTo>
                    <a:pt x="893" y="2866"/>
                  </a:lnTo>
                  <a:lnTo>
                    <a:pt x="896" y="2876"/>
                  </a:lnTo>
                  <a:lnTo>
                    <a:pt x="898" y="2886"/>
                  </a:lnTo>
                  <a:lnTo>
                    <a:pt x="899" y="2897"/>
                  </a:lnTo>
                  <a:lnTo>
                    <a:pt x="898" y="2913"/>
                  </a:lnTo>
                  <a:lnTo>
                    <a:pt x="897" y="2930"/>
                  </a:lnTo>
                  <a:lnTo>
                    <a:pt x="894" y="2944"/>
                  </a:lnTo>
                  <a:lnTo>
                    <a:pt x="890" y="2958"/>
                  </a:lnTo>
                  <a:lnTo>
                    <a:pt x="885" y="2971"/>
                  </a:lnTo>
                  <a:lnTo>
                    <a:pt x="879" y="2984"/>
                  </a:lnTo>
                  <a:lnTo>
                    <a:pt x="872" y="2995"/>
                  </a:lnTo>
                  <a:lnTo>
                    <a:pt x="864" y="3007"/>
                  </a:lnTo>
                  <a:lnTo>
                    <a:pt x="855" y="3018"/>
                  </a:lnTo>
                  <a:lnTo>
                    <a:pt x="847" y="3029"/>
                  </a:lnTo>
                  <a:lnTo>
                    <a:pt x="836" y="3040"/>
                  </a:lnTo>
                  <a:lnTo>
                    <a:pt x="825" y="3049"/>
                  </a:lnTo>
                  <a:lnTo>
                    <a:pt x="801" y="3070"/>
                  </a:lnTo>
                  <a:lnTo>
                    <a:pt x="776" y="3089"/>
                  </a:lnTo>
                  <a:lnTo>
                    <a:pt x="759" y="3103"/>
                  </a:lnTo>
                  <a:lnTo>
                    <a:pt x="746" y="3118"/>
                  </a:lnTo>
                  <a:lnTo>
                    <a:pt x="739" y="3124"/>
                  </a:lnTo>
                  <a:lnTo>
                    <a:pt x="731" y="3130"/>
                  </a:lnTo>
                  <a:lnTo>
                    <a:pt x="722" y="3136"/>
                  </a:lnTo>
                  <a:lnTo>
                    <a:pt x="712" y="3140"/>
                  </a:lnTo>
                  <a:lnTo>
                    <a:pt x="693" y="3149"/>
                  </a:lnTo>
                  <a:lnTo>
                    <a:pt x="676" y="3156"/>
                  </a:lnTo>
                  <a:lnTo>
                    <a:pt x="660" y="3163"/>
                  </a:lnTo>
                  <a:lnTo>
                    <a:pt x="645" y="3168"/>
                  </a:lnTo>
                  <a:lnTo>
                    <a:pt x="613" y="3179"/>
                  </a:lnTo>
                  <a:lnTo>
                    <a:pt x="577" y="3191"/>
                  </a:lnTo>
                  <a:lnTo>
                    <a:pt x="556" y="3200"/>
                  </a:lnTo>
                  <a:lnTo>
                    <a:pt x="538" y="3209"/>
                  </a:lnTo>
                  <a:lnTo>
                    <a:pt x="528" y="3215"/>
                  </a:lnTo>
                  <a:lnTo>
                    <a:pt x="518" y="3218"/>
                  </a:lnTo>
                  <a:lnTo>
                    <a:pt x="507" y="3220"/>
                  </a:lnTo>
                  <a:lnTo>
                    <a:pt x="496" y="3221"/>
                  </a:lnTo>
                  <a:lnTo>
                    <a:pt x="487" y="3221"/>
                  </a:lnTo>
                  <a:lnTo>
                    <a:pt x="478" y="3220"/>
                  </a:lnTo>
                  <a:lnTo>
                    <a:pt x="471" y="3219"/>
                  </a:lnTo>
                  <a:lnTo>
                    <a:pt x="462" y="3217"/>
                  </a:lnTo>
                  <a:lnTo>
                    <a:pt x="448" y="3210"/>
                  </a:lnTo>
                  <a:lnTo>
                    <a:pt x="435" y="3203"/>
                  </a:lnTo>
                  <a:lnTo>
                    <a:pt x="423" y="3194"/>
                  </a:lnTo>
                  <a:lnTo>
                    <a:pt x="411" y="3184"/>
                  </a:lnTo>
                  <a:lnTo>
                    <a:pt x="400" y="3174"/>
                  </a:lnTo>
                  <a:lnTo>
                    <a:pt x="391" y="3162"/>
                  </a:lnTo>
                  <a:lnTo>
                    <a:pt x="369" y="3137"/>
                  </a:lnTo>
                  <a:lnTo>
                    <a:pt x="346" y="3114"/>
                  </a:lnTo>
                  <a:lnTo>
                    <a:pt x="334" y="3103"/>
                  </a:lnTo>
                  <a:lnTo>
                    <a:pt x="319" y="3094"/>
                  </a:lnTo>
                  <a:lnTo>
                    <a:pt x="305" y="3085"/>
                  </a:lnTo>
                  <a:lnTo>
                    <a:pt x="288" y="3079"/>
                  </a:lnTo>
                  <a:lnTo>
                    <a:pt x="249" y="3068"/>
                  </a:lnTo>
                  <a:lnTo>
                    <a:pt x="215" y="3059"/>
                  </a:lnTo>
                  <a:lnTo>
                    <a:pt x="199" y="3055"/>
                  </a:lnTo>
                  <a:lnTo>
                    <a:pt x="181" y="3049"/>
                  </a:lnTo>
                  <a:lnTo>
                    <a:pt x="164" y="3041"/>
                  </a:lnTo>
                  <a:lnTo>
                    <a:pt x="146" y="3031"/>
                  </a:lnTo>
                  <a:lnTo>
                    <a:pt x="134" y="3022"/>
                  </a:lnTo>
                  <a:lnTo>
                    <a:pt x="123" y="3014"/>
                  </a:lnTo>
                  <a:lnTo>
                    <a:pt x="113" y="3005"/>
                  </a:lnTo>
                  <a:lnTo>
                    <a:pt x="103" y="2997"/>
                  </a:lnTo>
                  <a:lnTo>
                    <a:pt x="84" y="2977"/>
                  </a:lnTo>
                  <a:lnTo>
                    <a:pt x="62" y="2960"/>
                  </a:lnTo>
                  <a:lnTo>
                    <a:pt x="62" y="2960"/>
                  </a:lnTo>
                  <a:lnTo>
                    <a:pt x="8" y="2790"/>
                  </a:lnTo>
                  <a:lnTo>
                    <a:pt x="20" y="2750"/>
                  </a:lnTo>
                  <a:lnTo>
                    <a:pt x="32" y="2716"/>
                  </a:lnTo>
                  <a:lnTo>
                    <a:pt x="36" y="2698"/>
                  </a:lnTo>
                  <a:lnTo>
                    <a:pt x="41" y="2681"/>
                  </a:lnTo>
                  <a:lnTo>
                    <a:pt x="44" y="2662"/>
                  </a:lnTo>
                  <a:lnTo>
                    <a:pt x="44" y="2641"/>
                  </a:lnTo>
                  <a:lnTo>
                    <a:pt x="44" y="2633"/>
                  </a:lnTo>
                  <a:lnTo>
                    <a:pt x="43" y="2625"/>
                  </a:lnTo>
                  <a:lnTo>
                    <a:pt x="41" y="2617"/>
                  </a:lnTo>
                  <a:lnTo>
                    <a:pt x="39" y="2611"/>
                  </a:lnTo>
                  <a:lnTo>
                    <a:pt x="32" y="2598"/>
                  </a:lnTo>
                  <a:lnTo>
                    <a:pt x="25" y="2585"/>
                  </a:lnTo>
                  <a:lnTo>
                    <a:pt x="18" y="2573"/>
                  </a:lnTo>
                  <a:lnTo>
                    <a:pt x="12" y="2559"/>
                  </a:lnTo>
                  <a:lnTo>
                    <a:pt x="8" y="2553"/>
                  </a:lnTo>
                  <a:lnTo>
                    <a:pt x="7" y="2545"/>
                  </a:lnTo>
                  <a:lnTo>
                    <a:pt x="6" y="2538"/>
                  </a:lnTo>
                  <a:lnTo>
                    <a:pt x="5" y="2529"/>
                  </a:lnTo>
                  <a:lnTo>
                    <a:pt x="9" y="2517"/>
                  </a:lnTo>
                  <a:lnTo>
                    <a:pt x="14" y="2504"/>
                  </a:lnTo>
                  <a:lnTo>
                    <a:pt x="13" y="2489"/>
                  </a:lnTo>
                  <a:lnTo>
                    <a:pt x="12" y="2476"/>
                  </a:lnTo>
                  <a:lnTo>
                    <a:pt x="9" y="2464"/>
                  </a:lnTo>
                  <a:lnTo>
                    <a:pt x="6" y="2452"/>
                  </a:lnTo>
                  <a:lnTo>
                    <a:pt x="4" y="2440"/>
                  </a:lnTo>
                  <a:lnTo>
                    <a:pt x="2" y="2427"/>
                  </a:lnTo>
                  <a:lnTo>
                    <a:pt x="0" y="2414"/>
                  </a:lnTo>
                  <a:lnTo>
                    <a:pt x="0" y="2400"/>
                  </a:lnTo>
                  <a:lnTo>
                    <a:pt x="0" y="2397"/>
                  </a:lnTo>
                  <a:lnTo>
                    <a:pt x="2" y="2395"/>
                  </a:lnTo>
                  <a:lnTo>
                    <a:pt x="4" y="2393"/>
                  </a:lnTo>
                  <a:lnTo>
                    <a:pt x="6" y="2392"/>
                  </a:lnTo>
                  <a:lnTo>
                    <a:pt x="13" y="2389"/>
                  </a:lnTo>
                  <a:lnTo>
                    <a:pt x="19" y="2386"/>
                  </a:lnTo>
                  <a:lnTo>
                    <a:pt x="29" y="2380"/>
                  </a:lnTo>
                  <a:lnTo>
                    <a:pt x="39" y="2373"/>
                  </a:lnTo>
                  <a:lnTo>
                    <a:pt x="43" y="2370"/>
                  </a:lnTo>
                  <a:lnTo>
                    <a:pt x="47" y="2368"/>
                  </a:lnTo>
                  <a:lnTo>
                    <a:pt x="53" y="2367"/>
                  </a:lnTo>
                  <a:lnTo>
                    <a:pt x="59" y="2367"/>
                  </a:lnTo>
                  <a:lnTo>
                    <a:pt x="74" y="2368"/>
                  </a:lnTo>
                  <a:lnTo>
                    <a:pt x="89" y="2369"/>
                  </a:lnTo>
                  <a:lnTo>
                    <a:pt x="156" y="2095"/>
                  </a:lnTo>
                  <a:lnTo>
                    <a:pt x="161" y="2086"/>
                  </a:lnTo>
                  <a:lnTo>
                    <a:pt x="165" y="2079"/>
                  </a:lnTo>
                  <a:lnTo>
                    <a:pt x="167" y="2074"/>
                  </a:lnTo>
                  <a:lnTo>
                    <a:pt x="169" y="2071"/>
                  </a:lnTo>
                  <a:lnTo>
                    <a:pt x="170" y="2067"/>
                  </a:lnTo>
                  <a:lnTo>
                    <a:pt x="170" y="2061"/>
                  </a:lnTo>
                  <a:lnTo>
                    <a:pt x="168" y="2047"/>
                  </a:lnTo>
                  <a:lnTo>
                    <a:pt x="167" y="2033"/>
                  </a:lnTo>
                  <a:lnTo>
                    <a:pt x="167" y="2020"/>
                  </a:lnTo>
                  <a:lnTo>
                    <a:pt x="167" y="2008"/>
                  </a:lnTo>
                  <a:lnTo>
                    <a:pt x="168" y="1982"/>
                  </a:lnTo>
                  <a:lnTo>
                    <a:pt x="170" y="1954"/>
                  </a:lnTo>
                  <a:lnTo>
                    <a:pt x="170" y="1949"/>
                  </a:lnTo>
                  <a:lnTo>
                    <a:pt x="172" y="1945"/>
                  </a:lnTo>
                  <a:lnTo>
                    <a:pt x="174" y="1940"/>
                  </a:lnTo>
                  <a:lnTo>
                    <a:pt x="175" y="1936"/>
                  </a:lnTo>
                  <a:lnTo>
                    <a:pt x="180" y="1930"/>
                  </a:lnTo>
                  <a:lnTo>
                    <a:pt x="186" y="1923"/>
                  </a:lnTo>
                  <a:lnTo>
                    <a:pt x="201" y="1911"/>
                  </a:lnTo>
                  <a:lnTo>
                    <a:pt x="216" y="1898"/>
                  </a:lnTo>
                  <a:lnTo>
                    <a:pt x="226" y="1890"/>
                  </a:lnTo>
                  <a:lnTo>
                    <a:pt x="236" y="1883"/>
                  </a:lnTo>
                  <a:lnTo>
                    <a:pt x="247" y="1878"/>
                  </a:lnTo>
                  <a:lnTo>
                    <a:pt x="258" y="1874"/>
                  </a:lnTo>
                  <a:lnTo>
                    <a:pt x="270" y="1872"/>
                  </a:lnTo>
                  <a:lnTo>
                    <a:pt x="283" y="1871"/>
                  </a:lnTo>
                  <a:lnTo>
                    <a:pt x="296" y="1870"/>
                  </a:lnTo>
                  <a:lnTo>
                    <a:pt x="310" y="1870"/>
                  </a:lnTo>
                  <a:lnTo>
                    <a:pt x="319" y="1871"/>
                  </a:lnTo>
                  <a:lnTo>
                    <a:pt x="329" y="1872"/>
                  </a:lnTo>
                  <a:lnTo>
                    <a:pt x="338" y="1874"/>
                  </a:lnTo>
                  <a:lnTo>
                    <a:pt x="345" y="1877"/>
                  </a:lnTo>
                  <a:lnTo>
                    <a:pt x="354" y="1878"/>
                  </a:lnTo>
                  <a:lnTo>
                    <a:pt x="363" y="1880"/>
                  </a:lnTo>
                  <a:lnTo>
                    <a:pt x="372" y="1881"/>
                  </a:lnTo>
                  <a:lnTo>
                    <a:pt x="382" y="1882"/>
                  </a:lnTo>
                  <a:lnTo>
                    <a:pt x="392" y="1881"/>
                  </a:lnTo>
                  <a:lnTo>
                    <a:pt x="402" y="1880"/>
                  </a:lnTo>
                  <a:lnTo>
                    <a:pt x="410" y="1878"/>
                  </a:lnTo>
                  <a:lnTo>
                    <a:pt x="419" y="1876"/>
                  </a:lnTo>
                  <a:lnTo>
                    <a:pt x="434" y="1868"/>
                  </a:lnTo>
                  <a:lnTo>
                    <a:pt x="449" y="1860"/>
                  </a:lnTo>
                  <a:lnTo>
                    <a:pt x="464" y="1853"/>
                  </a:lnTo>
                  <a:lnTo>
                    <a:pt x="479" y="1846"/>
                  </a:lnTo>
                  <a:lnTo>
                    <a:pt x="488" y="1843"/>
                  </a:lnTo>
                  <a:lnTo>
                    <a:pt x="497" y="1842"/>
                  </a:lnTo>
                  <a:lnTo>
                    <a:pt x="506" y="1840"/>
                  </a:lnTo>
                  <a:lnTo>
                    <a:pt x="516" y="1840"/>
                  </a:lnTo>
                  <a:lnTo>
                    <a:pt x="527" y="1840"/>
                  </a:lnTo>
                  <a:lnTo>
                    <a:pt x="538" y="1840"/>
                  </a:lnTo>
                  <a:lnTo>
                    <a:pt x="562" y="1823"/>
                  </a:lnTo>
                  <a:lnTo>
                    <a:pt x="582" y="1806"/>
                  </a:lnTo>
                  <a:lnTo>
                    <a:pt x="601" y="1790"/>
                  </a:lnTo>
                  <a:lnTo>
                    <a:pt x="625" y="1773"/>
                  </a:lnTo>
                  <a:lnTo>
                    <a:pt x="636" y="1763"/>
                  </a:lnTo>
                  <a:lnTo>
                    <a:pt x="646" y="1755"/>
                  </a:lnTo>
                  <a:lnTo>
                    <a:pt x="651" y="1750"/>
                  </a:lnTo>
                  <a:lnTo>
                    <a:pt x="656" y="1747"/>
                  </a:lnTo>
                  <a:lnTo>
                    <a:pt x="663" y="1744"/>
                  </a:lnTo>
                  <a:lnTo>
                    <a:pt x="669" y="1742"/>
                  </a:lnTo>
                  <a:lnTo>
                    <a:pt x="689" y="1738"/>
                  </a:lnTo>
                  <a:lnTo>
                    <a:pt x="708" y="1737"/>
                  </a:lnTo>
                  <a:lnTo>
                    <a:pt x="717" y="1736"/>
                  </a:lnTo>
                  <a:lnTo>
                    <a:pt x="726" y="1733"/>
                  </a:lnTo>
                  <a:lnTo>
                    <a:pt x="729" y="1732"/>
                  </a:lnTo>
                  <a:lnTo>
                    <a:pt x="733" y="1729"/>
                  </a:lnTo>
                  <a:lnTo>
                    <a:pt x="736" y="1725"/>
                  </a:lnTo>
                  <a:lnTo>
                    <a:pt x="740" y="1722"/>
                  </a:lnTo>
                  <a:lnTo>
                    <a:pt x="744" y="1715"/>
                  </a:lnTo>
                  <a:lnTo>
                    <a:pt x="747" y="1707"/>
                  </a:lnTo>
                  <a:lnTo>
                    <a:pt x="749" y="1699"/>
                  </a:lnTo>
                  <a:lnTo>
                    <a:pt x="752" y="1693"/>
                  </a:lnTo>
                  <a:lnTo>
                    <a:pt x="753" y="1685"/>
                  </a:lnTo>
                  <a:lnTo>
                    <a:pt x="755" y="1678"/>
                  </a:lnTo>
                  <a:lnTo>
                    <a:pt x="758" y="1670"/>
                  </a:lnTo>
                  <a:lnTo>
                    <a:pt x="762" y="1663"/>
                  </a:lnTo>
                  <a:lnTo>
                    <a:pt x="772" y="1652"/>
                  </a:lnTo>
                  <a:lnTo>
                    <a:pt x="782" y="1642"/>
                  </a:lnTo>
                  <a:lnTo>
                    <a:pt x="793" y="1635"/>
                  </a:lnTo>
                  <a:lnTo>
                    <a:pt x="804" y="1629"/>
                  </a:lnTo>
                  <a:lnTo>
                    <a:pt x="817" y="1624"/>
                  </a:lnTo>
                  <a:lnTo>
                    <a:pt x="830" y="1621"/>
                  </a:lnTo>
                  <a:lnTo>
                    <a:pt x="844" y="1616"/>
                  </a:lnTo>
                  <a:lnTo>
                    <a:pt x="861" y="1613"/>
                  </a:lnTo>
                  <a:lnTo>
                    <a:pt x="869" y="1610"/>
                  </a:lnTo>
                  <a:lnTo>
                    <a:pt x="877" y="1606"/>
                  </a:lnTo>
                  <a:lnTo>
                    <a:pt x="884" y="1600"/>
                  </a:lnTo>
                  <a:lnTo>
                    <a:pt x="891" y="1595"/>
                  </a:lnTo>
                  <a:lnTo>
                    <a:pt x="897" y="1590"/>
                  </a:lnTo>
                  <a:lnTo>
                    <a:pt x="905" y="1586"/>
                  </a:lnTo>
                  <a:lnTo>
                    <a:pt x="912" y="1583"/>
                  </a:lnTo>
                  <a:lnTo>
                    <a:pt x="922" y="1582"/>
                  </a:lnTo>
                  <a:lnTo>
                    <a:pt x="939" y="1583"/>
                  </a:lnTo>
                  <a:lnTo>
                    <a:pt x="955" y="1585"/>
                  </a:lnTo>
                  <a:lnTo>
                    <a:pt x="969" y="1588"/>
                  </a:lnTo>
                  <a:lnTo>
                    <a:pt x="983" y="1593"/>
                  </a:lnTo>
                  <a:lnTo>
                    <a:pt x="1011" y="1602"/>
                  </a:lnTo>
                  <a:lnTo>
                    <a:pt x="1042" y="1613"/>
                  </a:lnTo>
                  <a:lnTo>
                    <a:pt x="1070" y="1620"/>
                  </a:lnTo>
                  <a:lnTo>
                    <a:pt x="1095" y="1625"/>
                  </a:lnTo>
                  <a:lnTo>
                    <a:pt x="1108" y="1628"/>
                  </a:lnTo>
                  <a:lnTo>
                    <a:pt x="1120" y="1633"/>
                  </a:lnTo>
                  <a:lnTo>
                    <a:pt x="1133" y="1637"/>
                  </a:lnTo>
                  <a:lnTo>
                    <a:pt x="1146" y="1643"/>
                  </a:lnTo>
                  <a:lnTo>
                    <a:pt x="1164" y="1655"/>
                  </a:lnTo>
                  <a:lnTo>
                    <a:pt x="1179" y="1667"/>
                  </a:lnTo>
                  <a:lnTo>
                    <a:pt x="1188" y="1672"/>
                  </a:lnTo>
                  <a:lnTo>
                    <a:pt x="1196" y="1677"/>
                  </a:lnTo>
                  <a:lnTo>
                    <a:pt x="1205" y="1679"/>
                  </a:lnTo>
                  <a:lnTo>
                    <a:pt x="1216" y="1680"/>
                  </a:lnTo>
                  <a:lnTo>
                    <a:pt x="1227" y="1679"/>
                  </a:lnTo>
                  <a:lnTo>
                    <a:pt x="1238" y="1677"/>
                  </a:lnTo>
                  <a:lnTo>
                    <a:pt x="1247" y="1674"/>
                  </a:lnTo>
                  <a:lnTo>
                    <a:pt x="1255" y="1668"/>
                  </a:lnTo>
                  <a:lnTo>
                    <a:pt x="1263" y="1663"/>
                  </a:lnTo>
                  <a:lnTo>
                    <a:pt x="1270" y="1655"/>
                  </a:lnTo>
                  <a:lnTo>
                    <a:pt x="1276" y="1648"/>
                  </a:lnTo>
                  <a:lnTo>
                    <a:pt x="1282" y="1639"/>
                  </a:lnTo>
                  <a:lnTo>
                    <a:pt x="1287" y="1629"/>
                  </a:lnTo>
                  <a:lnTo>
                    <a:pt x="1292" y="1618"/>
                  </a:lnTo>
                  <a:lnTo>
                    <a:pt x="1296" y="1609"/>
                  </a:lnTo>
                  <a:lnTo>
                    <a:pt x="1299" y="1597"/>
                  </a:lnTo>
                  <a:lnTo>
                    <a:pt x="1305" y="1574"/>
                  </a:lnTo>
                  <a:lnTo>
                    <a:pt x="1309" y="1552"/>
                  </a:lnTo>
                  <a:lnTo>
                    <a:pt x="1312" y="1535"/>
                  </a:lnTo>
                  <a:lnTo>
                    <a:pt x="1316" y="1522"/>
                  </a:lnTo>
                  <a:lnTo>
                    <a:pt x="1319" y="1516"/>
                  </a:lnTo>
                  <a:lnTo>
                    <a:pt x="1321" y="1508"/>
                  </a:lnTo>
                  <a:lnTo>
                    <a:pt x="1322" y="1501"/>
                  </a:lnTo>
                  <a:lnTo>
                    <a:pt x="1323" y="1493"/>
                  </a:lnTo>
                  <a:lnTo>
                    <a:pt x="1323" y="1478"/>
                  </a:lnTo>
                  <a:lnTo>
                    <a:pt x="1323" y="1464"/>
                  </a:lnTo>
                  <a:lnTo>
                    <a:pt x="1323" y="1451"/>
                  </a:lnTo>
                  <a:lnTo>
                    <a:pt x="1323" y="1436"/>
                  </a:lnTo>
                  <a:lnTo>
                    <a:pt x="1322" y="1426"/>
                  </a:lnTo>
                  <a:lnTo>
                    <a:pt x="1321" y="1419"/>
                  </a:lnTo>
                  <a:lnTo>
                    <a:pt x="1317" y="1411"/>
                  </a:lnTo>
                  <a:lnTo>
                    <a:pt x="1314" y="1405"/>
                  </a:lnTo>
                  <a:lnTo>
                    <a:pt x="1310" y="1398"/>
                  </a:lnTo>
                  <a:lnTo>
                    <a:pt x="1305" y="1392"/>
                  </a:lnTo>
                  <a:lnTo>
                    <a:pt x="1299" y="1386"/>
                  </a:lnTo>
                  <a:lnTo>
                    <a:pt x="1293" y="1381"/>
                  </a:lnTo>
                  <a:lnTo>
                    <a:pt x="1280" y="1371"/>
                  </a:lnTo>
                  <a:lnTo>
                    <a:pt x="1267" y="1359"/>
                  </a:lnTo>
                  <a:lnTo>
                    <a:pt x="1260" y="1354"/>
                  </a:lnTo>
                  <a:lnTo>
                    <a:pt x="1255" y="1347"/>
                  </a:lnTo>
                  <a:lnTo>
                    <a:pt x="1249" y="1340"/>
                  </a:lnTo>
                  <a:lnTo>
                    <a:pt x="1244" y="1332"/>
                  </a:lnTo>
                  <a:lnTo>
                    <a:pt x="1242" y="1327"/>
                  </a:lnTo>
                  <a:lnTo>
                    <a:pt x="1240" y="1321"/>
                  </a:lnTo>
                  <a:lnTo>
                    <a:pt x="1240" y="1316"/>
                  </a:lnTo>
                  <a:lnTo>
                    <a:pt x="1240" y="1311"/>
                  </a:lnTo>
                  <a:lnTo>
                    <a:pt x="1241" y="1300"/>
                  </a:lnTo>
                  <a:lnTo>
                    <a:pt x="1241" y="1287"/>
                  </a:lnTo>
                  <a:lnTo>
                    <a:pt x="1241" y="1277"/>
                  </a:lnTo>
                  <a:lnTo>
                    <a:pt x="1241" y="1270"/>
                  </a:lnTo>
                  <a:lnTo>
                    <a:pt x="1241" y="1261"/>
                  </a:lnTo>
                  <a:lnTo>
                    <a:pt x="1241" y="1252"/>
                  </a:lnTo>
                  <a:lnTo>
                    <a:pt x="1242" y="1236"/>
                  </a:lnTo>
                  <a:lnTo>
                    <a:pt x="1243" y="1223"/>
                  </a:lnTo>
                  <a:lnTo>
                    <a:pt x="1244" y="1210"/>
                  </a:lnTo>
                  <a:lnTo>
                    <a:pt x="1244" y="1194"/>
                  </a:lnTo>
                  <a:lnTo>
                    <a:pt x="1244" y="1188"/>
                  </a:lnTo>
                  <a:lnTo>
                    <a:pt x="1245" y="1181"/>
                  </a:lnTo>
                  <a:lnTo>
                    <a:pt x="1247" y="1176"/>
                  </a:lnTo>
                  <a:lnTo>
                    <a:pt x="1249" y="1170"/>
                  </a:lnTo>
                  <a:lnTo>
                    <a:pt x="1256" y="1161"/>
                  </a:lnTo>
                  <a:lnTo>
                    <a:pt x="1263" y="1152"/>
                  </a:lnTo>
                  <a:lnTo>
                    <a:pt x="1283" y="1137"/>
                  </a:lnTo>
                  <a:lnTo>
                    <a:pt x="1306" y="1123"/>
                  </a:lnTo>
                  <a:lnTo>
                    <a:pt x="1311" y="1117"/>
                  </a:lnTo>
                  <a:lnTo>
                    <a:pt x="1315" y="1113"/>
                  </a:lnTo>
                  <a:lnTo>
                    <a:pt x="1320" y="1108"/>
                  </a:lnTo>
                  <a:lnTo>
                    <a:pt x="1322" y="1101"/>
                  </a:lnTo>
                  <a:lnTo>
                    <a:pt x="1326" y="1088"/>
                  </a:lnTo>
                  <a:lnTo>
                    <a:pt x="1332" y="1074"/>
                  </a:lnTo>
                  <a:lnTo>
                    <a:pt x="1336" y="1064"/>
                  </a:lnTo>
                  <a:lnTo>
                    <a:pt x="1342" y="1057"/>
                  </a:lnTo>
                  <a:lnTo>
                    <a:pt x="1346" y="1053"/>
                  </a:lnTo>
                  <a:lnTo>
                    <a:pt x="1349" y="1048"/>
                  </a:lnTo>
                  <a:lnTo>
                    <a:pt x="1351" y="1044"/>
                  </a:lnTo>
                  <a:lnTo>
                    <a:pt x="1353" y="1039"/>
                  </a:lnTo>
                  <a:lnTo>
                    <a:pt x="1362" y="1015"/>
                  </a:lnTo>
                  <a:lnTo>
                    <a:pt x="1369" y="992"/>
                  </a:lnTo>
                  <a:lnTo>
                    <a:pt x="1377" y="972"/>
                  </a:lnTo>
                  <a:lnTo>
                    <a:pt x="1383" y="951"/>
                  </a:lnTo>
                  <a:lnTo>
                    <a:pt x="1390" y="931"/>
                  </a:lnTo>
                  <a:lnTo>
                    <a:pt x="1394" y="910"/>
                  </a:lnTo>
                  <a:lnTo>
                    <a:pt x="1397" y="887"/>
                  </a:lnTo>
                  <a:lnTo>
                    <a:pt x="1398" y="861"/>
                  </a:lnTo>
                  <a:lnTo>
                    <a:pt x="1397" y="846"/>
                  </a:lnTo>
                  <a:lnTo>
                    <a:pt x="1396" y="832"/>
                  </a:lnTo>
                  <a:lnTo>
                    <a:pt x="1394" y="818"/>
                  </a:lnTo>
                  <a:lnTo>
                    <a:pt x="1391" y="805"/>
                  </a:lnTo>
                  <a:lnTo>
                    <a:pt x="1386" y="793"/>
                  </a:lnTo>
                  <a:lnTo>
                    <a:pt x="1380" y="780"/>
                  </a:lnTo>
                  <a:lnTo>
                    <a:pt x="1373" y="769"/>
                  </a:lnTo>
                  <a:lnTo>
                    <a:pt x="1365" y="756"/>
                  </a:lnTo>
                  <a:lnTo>
                    <a:pt x="1359" y="749"/>
                  </a:lnTo>
                  <a:lnTo>
                    <a:pt x="1352" y="744"/>
                  </a:lnTo>
                  <a:lnTo>
                    <a:pt x="1350" y="740"/>
                  </a:lnTo>
                  <a:lnTo>
                    <a:pt x="1347" y="737"/>
                  </a:lnTo>
                  <a:lnTo>
                    <a:pt x="1346" y="734"/>
                  </a:lnTo>
                  <a:lnTo>
                    <a:pt x="1346" y="730"/>
                  </a:lnTo>
                  <a:lnTo>
                    <a:pt x="1346" y="717"/>
                  </a:lnTo>
                  <a:lnTo>
                    <a:pt x="1349" y="706"/>
                  </a:lnTo>
                  <a:lnTo>
                    <a:pt x="1352" y="695"/>
                  </a:lnTo>
                  <a:lnTo>
                    <a:pt x="1356" y="684"/>
                  </a:lnTo>
                  <a:lnTo>
                    <a:pt x="1361" y="675"/>
                  </a:lnTo>
                  <a:lnTo>
                    <a:pt x="1364" y="664"/>
                  </a:lnTo>
                  <a:lnTo>
                    <a:pt x="1366" y="652"/>
                  </a:lnTo>
                  <a:lnTo>
                    <a:pt x="1367" y="639"/>
                  </a:lnTo>
                  <a:lnTo>
                    <a:pt x="1367" y="629"/>
                  </a:lnTo>
                  <a:lnTo>
                    <a:pt x="1366" y="619"/>
                  </a:lnTo>
                  <a:lnTo>
                    <a:pt x="1365" y="611"/>
                  </a:lnTo>
                  <a:lnTo>
                    <a:pt x="1363" y="602"/>
                  </a:lnTo>
                  <a:lnTo>
                    <a:pt x="1360" y="595"/>
                  </a:lnTo>
                  <a:lnTo>
                    <a:pt x="1355" y="586"/>
                  </a:lnTo>
                  <a:lnTo>
                    <a:pt x="1351" y="578"/>
                  </a:lnTo>
                  <a:lnTo>
                    <a:pt x="1346" y="570"/>
                  </a:lnTo>
                  <a:lnTo>
                    <a:pt x="1340" y="565"/>
                  </a:lnTo>
                  <a:lnTo>
                    <a:pt x="1335" y="562"/>
                  </a:lnTo>
                  <a:lnTo>
                    <a:pt x="1333" y="561"/>
                  </a:lnTo>
                  <a:lnTo>
                    <a:pt x="1330" y="559"/>
                  </a:lnTo>
                  <a:lnTo>
                    <a:pt x="1328" y="557"/>
                  </a:lnTo>
                  <a:lnTo>
                    <a:pt x="1328" y="554"/>
                  </a:lnTo>
                  <a:lnTo>
                    <a:pt x="1328" y="547"/>
                  </a:lnTo>
                  <a:lnTo>
                    <a:pt x="1329" y="541"/>
                  </a:lnTo>
                  <a:lnTo>
                    <a:pt x="1332" y="535"/>
                  </a:lnTo>
                  <a:lnTo>
                    <a:pt x="1335" y="530"/>
                  </a:lnTo>
                  <a:lnTo>
                    <a:pt x="1341" y="521"/>
                  </a:lnTo>
                  <a:lnTo>
                    <a:pt x="1350" y="514"/>
                  </a:lnTo>
                  <a:lnTo>
                    <a:pt x="1371" y="500"/>
                  </a:lnTo>
                  <a:lnTo>
                    <a:pt x="1393" y="483"/>
                  </a:lnTo>
                  <a:lnTo>
                    <a:pt x="1403" y="474"/>
                  </a:lnTo>
                  <a:lnTo>
                    <a:pt x="1411" y="465"/>
                  </a:lnTo>
                  <a:lnTo>
                    <a:pt x="1419" y="456"/>
                  </a:lnTo>
                  <a:lnTo>
                    <a:pt x="1425" y="447"/>
                  </a:lnTo>
                  <a:lnTo>
                    <a:pt x="1432" y="437"/>
                  </a:lnTo>
                  <a:lnTo>
                    <a:pt x="1437" y="426"/>
                  </a:lnTo>
                  <a:lnTo>
                    <a:pt x="1442" y="415"/>
                  </a:lnTo>
                  <a:lnTo>
                    <a:pt x="1446" y="402"/>
                  </a:lnTo>
                  <a:lnTo>
                    <a:pt x="1452" y="376"/>
                  </a:lnTo>
                  <a:lnTo>
                    <a:pt x="1460" y="355"/>
                  </a:lnTo>
                  <a:lnTo>
                    <a:pt x="1467" y="332"/>
                  </a:lnTo>
                  <a:lnTo>
                    <a:pt x="1474" y="306"/>
                  </a:lnTo>
                  <a:lnTo>
                    <a:pt x="1477" y="295"/>
                  </a:lnTo>
                  <a:lnTo>
                    <a:pt x="1482" y="286"/>
                  </a:lnTo>
                  <a:lnTo>
                    <a:pt x="1486" y="276"/>
                  </a:lnTo>
                  <a:lnTo>
                    <a:pt x="1491" y="266"/>
                  </a:lnTo>
                  <a:lnTo>
                    <a:pt x="1498" y="259"/>
                  </a:lnTo>
                  <a:lnTo>
                    <a:pt x="1505" y="253"/>
                  </a:lnTo>
                  <a:lnTo>
                    <a:pt x="1510" y="251"/>
                  </a:lnTo>
                  <a:lnTo>
                    <a:pt x="1514" y="249"/>
                  </a:lnTo>
                  <a:lnTo>
                    <a:pt x="1519" y="248"/>
                  </a:lnTo>
                  <a:lnTo>
                    <a:pt x="1525" y="248"/>
                  </a:lnTo>
                  <a:lnTo>
                    <a:pt x="1530" y="249"/>
                  </a:lnTo>
                  <a:lnTo>
                    <a:pt x="1536" y="250"/>
                  </a:lnTo>
                  <a:lnTo>
                    <a:pt x="1541" y="252"/>
                  </a:lnTo>
                  <a:lnTo>
                    <a:pt x="1545" y="254"/>
                  </a:lnTo>
                  <a:lnTo>
                    <a:pt x="1550" y="258"/>
                  </a:lnTo>
                  <a:lnTo>
                    <a:pt x="1555" y="260"/>
                  </a:lnTo>
                  <a:lnTo>
                    <a:pt x="1560" y="261"/>
                  </a:lnTo>
                  <a:lnTo>
                    <a:pt x="1566" y="262"/>
                  </a:lnTo>
                  <a:lnTo>
                    <a:pt x="1573" y="262"/>
                  </a:lnTo>
                  <a:lnTo>
                    <a:pt x="1580" y="260"/>
                  </a:lnTo>
                  <a:lnTo>
                    <a:pt x="1586" y="258"/>
                  </a:lnTo>
                  <a:lnTo>
                    <a:pt x="1592" y="256"/>
                  </a:lnTo>
                  <a:lnTo>
                    <a:pt x="1597" y="251"/>
                  </a:lnTo>
                  <a:lnTo>
                    <a:pt x="1602" y="247"/>
                  </a:lnTo>
                  <a:lnTo>
                    <a:pt x="1607" y="243"/>
                  </a:lnTo>
                  <a:lnTo>
                    <a:pt x="1610" y="237"/>
                  </a:lnTo>
                  <a:lnTo>
                    <a:pt x="1626" y="214"/>
                  </a:lnTo>
                  <a:lnTo>
                    <a:pt x="1643" y="189"/>
                  </a:lnTo>
                  <a:lnTo>
                    <a:pt x="1651" y="179"/>
                  </a:lnTo>
                  <a:lnTo>
                    <a:pt x="1661" y="170"/>
                  </a:lnTo>
                  <a:lnTo>
                    <a:pt x="1672" y="165"/>
                  </a:lnTo>
                  <a:lnTo>
                    <a:pt x="1683" y="160"/>
                  </a:lnTo>
                  <a:lnTo>
                    <a:pt x="1694" y="156"/>
                  </a:lnTo>
                  <a:lnTo>
                    <a:pt x="1707" y="154"/>
                  </a:lnTo>
                  <a:lnTo>
                    <a:pt x="1720" y="152"/>
                  </a:lnTo>
                  <a:lnTo>
                    <a:pt x="1734" y="150"/>
                  </a:lnTo>
                  <a:lnTo>
                    <a:pt x="1754" y="148"/>
                  </a:lnTo>
                  <a:lnTo>
                    <a:pt x="1770" y="145"/>
                  </a:lnTo>
                  <a:lnTo>
                    <a:pt x="1779" y="143"/>
                  </a:lnTo>
                  <a:lnTo>
                    <a:pt x="1786" y="140"/>
                  </a:lnTo>
                  <a:lnTo>
                    <a:pt x="1794" y="136"/>
                  </a:lnTo>
                  <a:lnTo>
                    <a:pt x="1801" y="130"/>
                  </a:lnTo>
                  <a:lnTo>
                    <a:pt x="1809" y="124"/>
                  </a:lnTo>
                  <a:lnTo>
                    <a:pt x="1815" y="117"/>
                  </a:lnTo>
                  <a:lnTo>
                    <a:pt x="1821" y="110"/>
                  </a:lnTo>
                  <a:lnTo>
                    <a:pt x="1825" y="102"/>
                  </a:lnTo>
                  <a:lnTo>
                    <a:pt x="1833" y="87"/>
                  </a:lnTo>
                  <a:lnTo>
                    <a:pt x="1838" y="71"/>
                  </a:lnTo>
                  <a:lnTo>
                    <a:pt x="1842" y="54"/>
                  </a:lnTo>
                  <a:lnTo>
                    <a:pt x="1847" y="36"/>
                  </a:lnTo>
                  <a:lnTo>
                    <a:pt x="1853" y="18"/>
                  </a:lnTo>
                  <a:lnTo>
                    <a:pt x="1861" y="0"/>
                  </a:lnTo>
                  <a:lnTo>
                    <a:pt x="1861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23">
              <a:extLst>
                <a:ext uri="{FF2B5EF4-FFF2-40B4-BE49-F238E27FC236}">
                  <a16:creationId xmlns:a16="http://schemas.microsoft.com/office/drawing/2014/main" id="{EA484CF7-6F0C-40F3-B7A2-976054A05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84750" y="2244726"/>
              <a:ext cx="1912938" cy="1754188"/>
            </a:xfrm>
            <a:custGeom>
              <a:avLst/>
              <a:gdLst>
                <a:gd name="T0" fmla="*/ 4815 w 4820"/>
                <a:gd name="T1" fmla="*/ 1320 h 4421"/>
                <a:gd name="T2" fmla="*/ 4759 w 4820"/>
                <a:gd name="T3" fmla="*/ 1610 h 4421"/>
                <a:gd name="T4" fmla="*/ 4777 w 4820"/>
                <a:gd name="T5" fmla="*/ 1838 h 4421"/>
                <a:gd name="T6" fmla="*/ 4723 w 4820"/>
                <a:gd name="T7" fmla="*/ 2035 h 4421"/>
                <a:gd name="T8" fmla="*/ 4623 w 4820"/>
                <a:gd name="T9" fmla="*/ 2260 h 4421"/>
                <a:gd name="T10" fmla="*/ 4508 w 4820"/>
                <a:gd name="T11" fmla="*/ 2527 h 4421"/>
                <a:gd name="T12" fmla="*/ 4424 w 4820"/>
                <a:gd name="T13" fmla="*/ 2757 h 4421"/>
                <a:gd name="T14" fmla="*/ 4385 w 4820"/>
                <a:gd name="T15" fmla="*/ 2926 h 4421"/>
                <a:gd name="T16" fmla="*/ 4335 w 4820"/>
                <a:gd name="T17" fmla="*/ 3110 h 4421"/>
                <a:gd name="T18" fmla="*/ 4271 w 4820"/>
                <a:gd name="T19" fmla="*/ 3240 h 4421"/>
                <a:gd name="T20" fmla="*/ 4192 w 4820"/>
                <a:gd name="T21" fmla="*/ 3337 h 4421"/>
                <a:gd name="T22" fmla="*/ 4097 w 4820"/>
                <a:gd name="T23" fmla="*/ 3344 h 4421"/>
                <a:gd name="T24" fmla="*/ 4008 w 4820"/>
                <a:gd name="T25" fmla="*/ 3512 h 4421"/>
                <a:gd name="T26" fmla="*/ 3954 w 4820"/>
                <a:gd name="T27" fmla="*/ 3660 h 4421"/>
                <a:gd name="T28" fmla="*/ 3756 w 4820"/>
                <a:gd name="T29" fmla="*/ 3681 h 4421"/>
                <a:gd name="T30" fmla="*/ 3647 w 4820"/>
                <a:gd name="T31" fmla="*/ 3756 h 4421"/>
                <a:gd name="T32" fmla="*/ 3618 w 4820"/>
                <a:gd name="T33" fmla="*/ 3887 h 4421"/>
                <a:gd name="T34" fmla="*/ 3412 w 4820"/>
                <a:gd name="T35" fmla="*/ 4104 h 4421"/>
                <a:gd name="T36" fmla="*/ 3352 w 4820"/>
                <a:gd name="T37" fmla="*/ 4240 h 4421"/>
                <a:gd name="T38" fmla="*/ 3345 w 4820"/>
                <a:gd name="T39" fmla="*/ 4361 h 4421"/>
                <a:gd name="T40" fmla="*/ 3265 w 4820"/>
                <a:gd name="T41" fmla="*/ 4285 h 4421"/>
                <a:gd name="T42" fmla="*/ 3114 w 4820"/>
                <a:gd name="T43" fmla="*/ 4247 h 4421"/>
                <a:gd name="T44" fmla="*/ 2914 w 4820"/>
                <a:gd name="T45" fmla="*/ 4235 h 4421"/>
                <a:gd name="T46" fmla="*/ 2683 w 4820"/>
                <a:gd name="T47" fmla="*/ 4211 h 4421"/>
                <a:gd name="T48" fmla="*/ 2547 w 4820"/>
                <a:gd name="T49" fmla="*/ 4302 h 4421"/>
                <a:gd name="T50" fmla="*/ 2412 w 4820"/>
                <a:gd name="T51" fmla="*/ 4321 h 4421"/>
                <a:gd name="T52" fmla="*/ 2273 w 4820"/>
                <a:gd name="T53" fmla="*/ 4223 h 4421"/>
                <a:gd name="T54" fmla="*/ 2077 w 4820"/>
                <a:gd name="T55" fmla="*/ 4269 h 4421"/>
                <a:gd name="T56" fmla="*/ 2015 w 4820"/>
                <a:gd name="T57" fmla="*/ 4343 h 4421"/>
                <a:gd name="T58" fmla="*/ 1865 w 4820"/>
                <a:gd name="T59" fmla="*/ 4390 h 4421"/>
                <a:gd name="T60" fmla="*/ 1705 w 4820"/>
                <a:gd name="T61" fmla="*/ 4393 h 4421"/>
                <a:gd name="T62" fmla="*/ 1585 w 4820"/>
                <a:gd name="T63" fmla="*/ 4259 h 4421"/>
                <a:gd name="T64" fmla="*/ 1521 w 4820"/>
                <a:gd name="T65" fmla="*/ 4197 h 4421"/>
                <a:gd name="T66" fmla="*/ 1342 w 4820"/>
                <a:gd name="T67" fmla="*/ 4073 h 4421"/>
                <a:gd name="T68" fmla="*/ 1311 w 4820"/>
                <a:gd name="T69" fmla="*/ 3903 h 4421"/>
                <a:gd name="T70" fmla="*/ 1392 w 4820"/>
                <a:gd name="T71" fmla="*/ 3708 h 4421"/>
                <a:gd name="T72" fmla="*/ 1295 w 4820"/>
                <a:gd name="T73" fmla="*/ 3685 h 4421"/>
                <a:gd name="T74" fmla="*/ 433 w 4820"/>
                <a:gd name="T75" fmla="*/ 3197 h 4421"/>
                <a:gd name="T76" fmla="*/ 577 w 4820"/>
                <a:gd name="T77" fmla="*/ 3070 h 4421"/>
                <a:gd name="T78" fmla="*/ 597 w 4820"/>
                <a:gd name="T79" fmla="*/ 2872 h 4421"/>
                <a:gd name="T80" fmla="*/ 521 w 4820"/>
                <a:gd name="T81" fmla="*/ 2668 h 4421"/>
                <a:gd name="T82" fmla="*/ 401 w 4820"/>
                <a:gd name="T83" fmla="*/ 2554 h 4421"/>
                <a:gd name="T84" fmla="*/ 549 w 4820"/>
                <a:gd name="T85" fmla="*/ 2319 h 4421"/>
                <a:gd name="T86" fmla="*/ 686 w 4820"/>
                <a:gd name="T87" fmla="*/ 2109 h 4421"/>
                <a:gd name="T88" fmla="*/ 767 w 4820"/>
                <a:gd name="T89" fmla="*/ 1905 h 4421"/>
                <a:gd name="T90" fmla="*/ 708 w 4820"/>
                <a:gd name="T91" fmla="*/ 1780 h 4421"/>
                <a:gd name="T92" fmla="*/ 764 w 4820"/>
                <a:gd name="T93" fmla="*/ 1646 h 4421"/>
                <a:gd name="T94" fmla="*/ 667 w 4820"/>
                <a:gd name="T95" fmla="*/ 1518 h 4421"/>
                <a:gd name="T96" fmla="*/ 441 w 4820"/>
                <a:gd name="T97" fmla="*/ 1462 h 4421"/>
                <a:gd name="T98" fmla="*/ 293 w 4820"/>
                <a:gd name="T99" fmla="*/ 1383 h 4421"/>
                <a:gd name="T100" fmla="*/ 148 w 4820"/>
                <a:gd name="T101" fmla="*/ 996 h 4421"/>
                <a:gd name="T102" fmla="*/ 95 w 4820"/>
                <a:gd name="T103" fmla="*/ 623 h 4421"/>
                <a:gd name="T104" fmla="*/ 1600 w 4820"/>
                <a:gd name="T105" fmla="*/ 433 h 4421"/>
                <a:gd name="T106" fmla="*/ 1675 w 4820"/>
                <a:gd name="T107" fmla="*/ 284 h 4421"/>
                <a:gd name="T108" fmla="*/ 1678 w 4820"/>
                <a:gd name="T109" fmla="*/ 137 h 4421"/>
                <a:gd name="T110" fmla="*/ 1840 w 4820"/>
                <a:gd name="T111" fmla="*/ 104 h 4421"/>
                <a:gd name="T112" fmla="*/ 1879 w 4820"/>
                <a:gd name="T113" fmla="*/ 285 h 4421"/>
                <a:gd name="T114" fmla="*/ 1900 w 4820"/>
                <a:gd name="T115" fmla="*/ 444 h 4421"/>
                <a:gd name="T116" fmla="*/ 2025 w 4820"/>
                <a:gd name="T117" fmla="*/ 622 h 4421"/>
                <a:gd name="T118" fmla="*/ 2180 w 4820"/>
                <a:gd name="T119" fmla="*/ 767 h 4421"/>
                <a:gd name="T120" fmla="*/ 2244 w 4820"/>
                <a:gd name="T121" fmla="*/ 843 h 4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20" h="4421">
                  <a:moveTo>
                    <a:pt x="4755" y="1140"/>
                  </a:moveTo>
                  <a:lnTo>
                    <a:pt x="4768" y="1158"/>
                  </a:lnTo>
                  <a:lnTo>
                    <a:pt x="4780" y="1174"/>
                  </a:lnTo>
                  <a:lnTo>
                    <a:pt x="4791" y="1190"/>
                  </a:lnTo>
                  <a:lnTo>
                    <a:pt x="4801" y="1206"/>
                  </a:lnTo>
                  <a:lnTo>
                    <a:pt x="4808" y="1224"/>
                  </a:lnTo>
                  <a:lnTo>
                    <a:pt x="4815" y="1242"/>
                  </a:lnTo>
                  <a:lnTo>
                    <a:pt x="4817" y="1251"/>
                  </a:lnTo>
                  <a:lnTo>
                    <a:pt x="4818" y="1260"/>
                  </a:lnTo>
                  <a:lnTo>
                    <a:pt x="4819" y="1271"/>
                  </a:lnTo>
                  <a:lnTo>
                    <a:pt x="4820" y="1282"/>
                  </a:lnTo>
                  <a:lnTo>
                    <a:pt x="4819" y="1296"/>
                  </a:lnTo>
                  <a:lnTo>
                    <a:pt x="4817" y="1308"/>
                  </a:lnTo>
                  <a:lnTo>
                    <a:pt x="4815" y="1320"/>
                  </a:lnTo>
                  <a:lnTo>
                    <a:pt x="4813" y="1331"/>
                  </a:lnTo>
                  <a:lnTo>
                    <a:pt x="4806" y="1353"/>
                  </a:lnTo>
                  <a:lnTo>
                    <a:pt x="4800" y="1378"/>
                  </a:lnTo>
                  <a:lnTo>
                    <a:pt x="4795" y="1419"/>
                  </a:lnTo>
                  <a:lnTo>
                    <a:pt x="4793" y="1455"/>
                  </a:lnTo>
                  <a:lnTo>
                    <a:pt x="4792" y="1472"/>
                  </a:lnTo>
                  <a:lnTo>
                    <a:pt x="4790" y="1490"/>
                  </a:lnTo>
                  <a:lnTo>
                    <a:pt x="4786" y="1510"/>
                  </a:lnTo>
                  <a:lnTo>
                    <a:pt x="4780" y="1530"/>
                  </a:lnTo>
                  <a:lnTo>
                    <a:pt x="4773" y="1554"/>
                  </a:lnTo>
                  <a:lnTo>
                    <a:pt x="4765" y="1576"/>
                  </a:lnTo>
                  <a:lnTo>
                    <a:pt x="4762" y="1586"/>
                  </a:lnTo>
                  <a:lnTo>
                    <a:pt x="4760" y="1598"/>
                  </a:lnTo>
                  <a:lnTo>
                    <a:pt x="4759" y="1610"/>
                  </a:lnTo>
                  <a:lnTo>
                    <a:pt x="4758" y="1623"/>
                  </a:lnTo>
                  <a:lnTo>
                    <a:pt x="4759" y="1642"/>
                  </a:lnTo>
                  <a:lnTo>
                    <a:pt x="4761" y="1658"/>
                  </a:lnTo>
                  <a:lnTo>
                    <a:pt x="4764" y="1673"/>
                  </a:lnTo>
                  <a:lnTo>
                    <a:pt x="4768" y="1687"/>
                  </a:lnTo>
                  <a:lnTo>
                    <a:pt x="4772" y="1702"/>
                  </a:lnTo>
                  <a:lnTo>
                    <a:pt x="4775" y="1717"/>
                  </a:lnTo>
                  <a:lnTo>
                    <a:pt x="4777" y="1732"/>
                  </a:lnTo>
                  <a:lnTo>
                    <a:pt x="4778" y="1751"/>
                  </a:lnTo>
                  <a:lnTo>
                    <a:pt x="4778" y="1770"/>
                  </a:lnTo>
                  <a:lnTo>
                    <a:pt x="4778" y="1787"/>
                  </a:lnTo>
                  <a:lnTo>
                    <a:pt x="4778" y="1805"/>
                  </a:lnTo>
                  <a:lnTo>
                    <a:pt x="4778" y="1825"/>
                  </a:lnTo>
                  <a:lnTo>
                    <a:pt x="4777" y="1838"/>
                  </a:lnTo>
                  <a:lnTo>
                    <a:pt x="4776" y="1850"/>
                  </a:lnTo>
                  <a:lnTo>
                    <a:pt x="4774" y="1861"/>
                  </a:lnTo>
                  <a:lnTo>
                    <a:pt x="4772" y="1872"/>
                  </a:lnTo>
                  <a:lnTo>
                    <a:pt x="4764" y="1893"/>
                  </a:lnTo>
                  <a:lnTo>
                    <a:pt x="4755" y="1917"/>
                  </a:lnTo>
                  <a:lnTo>
                    <a:pt x="4751" y="1929"/>
                  </a:lnTo>
                  <a:lnTo>
                    <a:pt x="4748" y="1941"/>
                  </a:lnTo>
                  <a:lnTo>
                    <a:pt x="4746" y="1952"/>
                  </a:lnTo>
                  <a:lnTo>
                    <a:pt x="4744" y="1962"/>
                  </a:lnTo>
                  <a:lnTo>
                    <a:pt x="4743" y="1974"/>
                  </a:lnTo>
                  <a:lnTo>
                    <a:pt x="4740" y="1985"/>
                  </a:lnTo>
                  <a:lnTo>
                    <a:pt x="4737" y="1997"/>
                  </a:lnTo>
                  <a:lnTo>
                    <a:pt x="4733" y="2009"/>
                  </a:lnTo>
                  <a:lnTo>
                    <a:pt x="4723" y="2035"/>
                  </a:lnTo>
                  <a:lnTo>
                    <a:pt x="4714" y="2057"/>
                  </a:lnTo>
                  <a:lnTo>
                    <a:pt x="4707" y="2079"/>
                  </a:lnTo>
                  <a:lnTo>
                    <a:pt x="4699" y="2099"/>
                  </a:lnTo>
                  <a:lnTo>
                    <a:pt x="4693" y="2120"/>
                  </a:lnTo>
                  <a:lnTo>
                    <a:pt x="4686" y="2142"/>
                  </a:lnTo>
                  <a:lnTo>
                    <a:pt x="4680" y="2165"/>
                  </a:lnTo>
                  <a:lnTo>
                    <a:pt x="4673" y="2192"/>
                  </a:lnTo>
                  <a:lnTo>
                    <a:pt x="4673" y="2192"/>
                  </a:lnTo>
                  <a:lnTo>
                    <a:pt x="4662" y="2204"/>
                  </a:lnTo>
                  <a:lnTo>
                    <a:pt x="4652" y="2215"/>
                  </a:lnTo>
                  <a:lnTo>
                    <a:pt x="4643" y="2226"/>
                  </a:lnTo>
                  <a:lnTo>
                    <a:pt x="4636" y="2238"/>
                  </a:lnTo>
                  <a:lnTo>
                    <a:pt x="4629" y="2249"/>
                  </a:lnTo>
                  <a:lnTo>
                    <a:pt x="4623" y="2260"/>
                  </a:lnTo>
                  <a:lnTo>
                    <a:pt x="4617" y="2272"/>
                  </a:lnTo>
                  <a:lnTo>
                    <a:pt x="4612" y="2283"/>
                  </a:lnTo>
                  <a:lnTo>
                    <a:pt x="4603" y="2308"/>
                  </a:lnTo>
                  <a:lnTo>
                    <a:pt x="4595" y="2334"/>
                  </a:lnTo>
                  <a:lnTo>
                    <a:pt x="4587" y="2361"/>
                  </a:lnTo>
                  <a:lnTo>
                    <a:pt x="4578" y="2390"/>
                  </a:lnTo>
                  <a:lnTo>
                    <a:pt x="4572" y="2411"/>
                  </a:lnTo>
                  <a:lnTo>
                    <a:pt x="4564" y="2428"/>
                  </a:lnTo>
                  <a:lnTo>
                    <a:pt x="4555" y="2444"/>
                  </a:lnTo>
                  <a:lnTo>
                    <a:pt x="4546" y="2459"/>
                  </a:lnTo>
                  <a:lnTo>
                    <a:pt x="4536" y="2474"/>
                  </a:lnTo>
                  <a:lnTo>
                    <a:pt x="4527" y="2490"/>
                  </a:lnTo>
                  <a:lnTo>
                    <a:pt x="4517" y="2508"/>
                  </a:lnTo>
                  <a:lnTo>
                    <a:pt x="4508" y="2527"/>
                  </a:lnTo>
                  <a:lnTo>
                    <a:pt x="4500" y="2555"/>
                  </a:lnTo>
                  <a:lnTo>
                    <a:pt x="4494" y="2580"/>
                  </a:lnTo>
                  <a:lnTo>
                    <a:pt x="4491" y="2593"/>
                  </a:lnTo>
                  <a:lnTo>
                    <a:pt x="4487" y="2605"/>
                  </a:lnTo>
                  <a:lnTo>
                    <a:pt x="4481" y="2618"/>
                  </a:lnTo>
                  <a:lnTo>
                    <a:pt x="4475" y="2631"/>
                  </a:lnTo>
                  <a:lnTo>
                    <a:pt x="4468" y="2645"/>
                  </a:lnTo>
                  <a:lnTo>
                    <a:pt x="4463" y="2658"/>
                  </a:lnTo>
                  <a:lnTo>
                    <a:pt x="4457" y="2670"/>
                  </a:lnTo>
                  <a:lnTo>
                    <a:pt x="4453" y="2682"/>
                  </a:lnTo>
                  <a:lnTo>
                    <a:pt x="4446" y="2706"/>
                  </a:lnTo>
                  <a:lnTo>
                    <a:pt x="4436" y="2735"/>
                  </a:lnTo>
                  <a:lnTo>
                    <a:pt x="4430" y="2746"/>
                  </a:lnTo>
                  <a:lnTo>
                    <a:pt x="4424" y="2757"/>
                  </a:lnTo>
                  <a:lnTo>
                    <a:pt x="4417" y="2767"/>
                  </a:lnTo>
                  <a:lnTo>
                    <a:pt x="4411" y="2777"/>
                  </a:lnTo>
                  <a:lnTo>
                    <a:pt x="4404" y="2785"/>
                  </a:lnTo>
                  <a:lnTo>
                    <a:pt x="4398" y="2795"/>
                  </a:lnTo>
                  <a:lnTo>
                    <a:pt x="4394" y="2806"/>
                  </a:lnTo>
                  <a:lnTo>
                    <a:pt x="4390" y="2819"/>
                  </a:lnTo>
                  <a:lnTo>
                    <a:pt x="4389" y="2834"/>
                  </a:lnTo>
                  <a:lnTo>
                    <a:pt x="4388" y="2847"/>
                  </a:lnTo>
                  <a:lnTo>
                    <a:pt x="4388" y="2860"/>
                  </a:lnTo>
                  <a:lnTo>
                    <a:pt x="4389" y="2872"/>
                  </a:lnTo>
                  <a:lnTo>
                    <a:pt x="4389" y="2885"/>
                  </a:lnTo>
                  <a:lnTo>
                    <a:pt x="4388" y="2898"/>
                  </a:lnTo>
                  <a:lnTo>
                    <a:pt x="4387" y="2911"/>
                  </a:lnTo>
                  <a:lnTo>
                    <a:pt x="4385" y="2926"/>
                  </a:lnTo>
                  <a:lnTo>
                    <a:pt x="4383" y="2936"/>
                  </a:lnTo>
                  <a:lnTo>
                    <a:pt x="4380" y="2946"/>
                  </a:lnTo>
                  <a:lnTo>
                    <a:pt x="4376" y="2956"/>
                  </a:lnTo>
                  <a:lnTo>
                    <a:pt x="4372" y="2966"/>
                  </a:lnTo>
                  <a:lnTo>
                    <a:pt x="4365" y="2983"/>
                  </a:lnTo>
                  <a:lnTo>
                    <a:pt x="4356" y="2999"/>
                  </a:lnTo>
                  <a:lnTo>
                    <a:pt x="4347" y="3015"/>
                  </a:lnTo>
                  <a:lnTo>
                    <a:pt x="4341" y="3033"/>
                  </a:lnTo>
                  <a:lnTo>
                    <a:pt x="4339" y="3042"/>
                  </a:lnTo>
                  <a:lnTo>
                    <a:pt x="4336" y="3052"/>
                  </a:lnTo>
                  <a:lnTo>
                    <a:pt x="4335" y="3062"/>
                  </a:lnTo>
                  <a:lnTo>
                    <a:pt x="4335" y="3074"/>
                  </a:lnTo>
                  <a:lnTo>
                    <a:pt x="4335" y="3093"/>
                  </a:lnTo>
                  <a:lnTo>
                    <a:pt x="4335" y="3110"/>
                  </a:lnTo>
                  <a:lnTo>
                    <a:pt x="4335" y="3128"/>
                  </a:lnTo>
                  <a:lnTo>
                    <a:pt x="4335" y="3147"/>
                  </a:lnTo>
                  <a:lnTo>
                    <a:pt x="4334" y="3157"/>
                  </a:lnTo>
                  <a:lnTo>
                    <a:pt x="4332" y="3165"/>
                  </a:lnTo>
                  <a:lnTo>
                    <a:pt x="4330" y="3173"/>
                  </a:lnTo>
                  <a:lnTo>
                    <a:pt x="4327" y="3179"/>
                  </a:lnTo>
                  <a:lnTo>
                    <a:pt x="4322" y="3186"/>
                  </a:lnTo>
                  <a:lnTo>
                    <a:pt x="4317" y="3191"/>
                  </a:lnTo>
                  <a:lnTo>
                    <a:pt x="4312" y="3198"/>
                  </a:lnTo>
                  <a:lnTo>
                    <a:pt x="4306" y="3203"/>
                  </a:lnTo>
                  <a:lnTo>
                    <a:pt x="4293" y="3214"/>
                  </a:lnTo>
                  <a:lnTo>
                    <a:pt x="4281" y="3226"/>
                  </a:lnTo>
                  <a:lnTo>
                    <a:pt x="4276" y="3232"/>
                  </a:lnTo>
                  <a:lnTo>
                    <a:pt x="4271" y="3240"/>
                  </a:lnTo>
                  <a:lnTo>
                    <a:pt x="4266" y="3248"/>
                  </a:lnTo>
                  <a:lnTo>
                    <a:pt x="4262" y="3256"/>
                  </a:lnTo>
                  <a:lnTo>
                    <a:pt x="4257" y="3270"/>
                  </a:lnTo>
                  <a:lnTo>
                    <a:pt x="4250" y="3285"/>
                  </a:lnTo>
                  <a:lnTo>
                    <a:pt x="4245" y="3298"/>
                  </a:lnTo>
                  <a:lnTo>
                    <a:pt x="4237" y="3311"/>
                  </a:lnTo>
                  <a:lnTo>
                    <a:pt x="4233" y="3317"/>
                  </a:lnTo>
                  <a:lnTo>
                    <a:pt x="4228" y="3322"/>
                  </a:lnTo>
                  <a:lnTo>
                    <a:pt x="4224" y="3326"/>
                  </a:lnTo>
                  <a:lnTo>
                    <a:pt x="4219" y="3330"/>
                  </a:lnTo>
                  <a:lnTo>
                    <a:pt x="4212" y="3333"/>
                  </a:lnTo>
                  <a:lnTo>
                    <a:pt x="4207" y="3335"/>
                  </a:lnTo>
                  <a:lnTo>
                    <a:pt x="4199" y="3337"/>
                  </a:lnTo>
                  <a:lnTo>
                    <a:pt x="4192" y="3337"/>
                  </a:lnTo>
                  <a:lnTo>
                    <a:pt x="4183" y="3337"/>
                  </a:lnTo>
                  <a:lnTo>
                    <a:pt x="4175" y="3336"/>
                  </a:lnTo>
                  <a:lnTo>
                    <a:pt x="4168" y="3334"/>
                  </a:lnTo>
                  <a:lnTo>
                    <a:pt x="4161" y="3332"/>
                  </a:lnTo>
                  <a:lnTo>
                    <a:pt x="4154" y="3330"/>
                  </a:lnTo>
                  <a:lnTo>
                    <a:pt x="4146" y="3327"/>
                  </a:lnTo>
                  <a:lnTo>
                    <a:pt x="4139" y="3326"/>
                  </a:lnTo>
                  <a:lnTo>
                    <a:pt x="4130" y="3326"/>
                  </a:lnTo>
                  <a:lnTo>
                    <a:pt x="4125" y="3326"/>
                  </a:lnTo>
                  <a:lnTo>
                    <a:pt x="4120" y="3327"/>
                  </a:lnTo>
                  <a:lnTo>
                    <a:pt x="4115" y="3329"/>
                  </a:lnTo>
                  <a:lnTo>
                    <a:pt x="4111" y="3331"/>
                  </a:lnTo>
                  <a:lnTo>
                    <a:pt x="4103" y="3336"/>
                  </a:lnTo>
                  <a:lnTo>
                    <a:pt x="4097" y="3344"/>
                  </a:lnTo>
                  <a:lnTo>
                    <a:pt x="4085" y="3360"/>
                  </a:lnTo>
                  <a:lnTo>
                    <a:pt x="4072" y="3377"/>
                  </a:lnTo>
                  <a:lnTo>
                    <a:pt x="4046" y="3403"/>
                  </a:lnTo>
                  <a:lnTo>
                    <a:pt x="4024" y="3429"/>
                  </a:lnTo>
                  <a:lnTo>
                    <a:pt x="4020" y="3435"/>
                  </a:lnTo>
                  <a:lnTo>
                    <a:pt x="4017" y="3442"/>
                  </a:lnTo>
                  <a:lnTo>
                    <a:pt x="4012" y="3449"/>
                  </a:lnTo>
                  <a:lnTo>
                    <a:pt x="4010" y="3457"/>
                  </a:lnTo>
                  <a:lnTo>
                    <a:pt x="4007" y="3465"/>
                  </a:lnTo>
                  <a:lnTo>
                    <a:pt x="4006" y="3473"/>
                  </a:lnTo>
                  <a:lnTo>
                    <a:pt x="4005" y="3482"/>
                  </a:lnTo>
                  <a:lnTo>
                    <a:pt x="4004" y="3492"/>
                  </a:lnTo>
                  <a:lnTo>
                    <a:pt x="4006" y="3502"/>
                  </a:lnTo>
                  <a:lnTo>
                    <a:pt x="4008" y="3512"/>
                  </a:lnTo>
                  <a:lnTo>
                    <a:pt x="4011" y="3521"/>
                  </a:lnTo>
                  <a:lnTo>
                    <a:pt x="4012" y="3533"/>
                  </a:lnTo>
                  <a:lnTo>
                    <a:pt x="4012" y="3552"/>
                  </a:lnTo>
                  <a:lnTo>
                    <a:pt x="4009" y="3570"/>
                  </a:lnTo>
                  <a:lnTo>
                    <a:pt x="4006" y="3589"/>
                  </a:lnTo>
                  <a:lnTo>
                    <a:pt x="3999" y="3605"/>
                  </a:lnTo>
                  <a:lnTo>
                    <a:pt x="3996" y="3613"/>
                  </a:lnTo>
                  <a:lnTo>
                    <a:pt x="3992" y="3620"/>
                  </a:lnTo>
                  <a:lnTo>
                    <a:pt x="3988" y="3628"/>
                  </a:lnTo>
                  <a:lnTo>
                    <a:pt x="3982" y="3634"/>
                  </a:lnTo>
                  <a:lnTo>
                    <a:pt x="3976" y="3641"/>
                  </a:lnTo>
                  <a:lnTo>
                    <a:pt x="3969" y="3647"/>
                  </a:lnTo>
                  <a:lnTo>
                    <a:pt x="3962" y="3654"/>
                  </a:lnTo>
                  <a:lnTo>
                    <a:pt x="3954" y="3660"/>
                  </a:lnTo>
                  <a:lnTo>
                    <a:pt x="3948" y="3663"/>
                  </a:lnTo>
                  <a:lnTo>
                    <a:pt x="3941" y="3667"/>
                  </a:lnTo>
                  <a:lnTo>
                    <a:pt x="3934" y="3670"/>
                  </a:lnTo>
                  <a:lnTo>
                    <a:pt x="3927" y="3671"/>
                  </a:lnTo>
                  <a:lnTo>
                    <a:pt x="3914" y="3673"/>
                  </a:lnTo>
                  <a:lnTo>
                    <a:pt x="3901" y="3673"/>
                  </a:lnTo>
                  <a:lnTo>
                    <a:pt x="3872" y="3670"/>
                  </a:lnTo>
                  <a:lnTo>
                    <a:pt x="3842" y="3668"/>
                  </a:lnTo>
                  <a:lnTo>
                    <a:pt x="3822" y="3668"/>
                  </a:lnTo>
                  <a:lnTo>
                    <a:pt x="3805" y="3669"/>
                  </a:lnTo>
                  <a:lnTo>
                    <a:pt x="3788" y="3670"/>
                  </a:lnTo>
                  <a:lnTo>
                    <a:pt x="3768" y="3674"/>
                  </a:lnTo>
                  <a:lnTo>
                    <a:pt x="3762" y="3676"/>
                  </a:lnTo>
                  <a:lnTo>
                    <a:pt x="3756" y="3681"/>
                  </a:lnTo>
                  <a:lnTo>
                    <a:pt x="3752" y="3686"/>
                  </a:lnTo>
                  <a:lnTo>
                    <a:pt x="3748" y="3692"/>
                  </a:lnTo>
                  <a:lnTo>
                    <a:pt x="3745" y="3698"/>
                  </a:lnTo>
                  <a:lnTo>
                    <a:pt x="3740" y="3704"/>
                  </a:lnTo>
                  <a:lnTo>
                    <a:pt x="3735" y="3711"/>
                  </a:lnTo>
                  <a:lnTo>
                    <a:pt x="3729" y="3716"/>
                  </a:lnTo>
                  <a:lnTo>
                    <a:pt x="3719" y="3724"/>
                  </a:lnTo>
                  <a:lnTo>
                    <a:pt x="3708" y="3732"/>
                  </a:lnTo>
                  <a:lnTo>
                    <a:pt x="3702" y="3736"/>
                  </a:lnTo>
                  <a:lnTo>
                    <a:pt x="3697" y="3739"/>
                  </a:lnTo>
                  <a:lnTo>
                    <a:pt x="3692" y="3741"/>
                  </a:lnTo>
                  <a:lnTo>
                    <a:pt x="3685" y="3743"/>
                  </a:lnTo>
                  <a:lnTo>
                    <a:pt x="3666" y="3750"/>
                  </a:lnTo>
                  <a:lnTo>
                    <a:pt x="3647" y="3756"/>
                  </a:lnTo>
                  <a:lnTo>
                    <a:pt x="3640" y="3761"/>
                  </a:lnTo>
                  <a:lnTo>
                    <a:pt x="3633" y="3766"/>
                  </a:lnTo>
                  <a:lnTo>
                    <a:pt x="3631" y="3769"/>
                  </a:lnTo>
                  <a:lnTo>
                    <a:pt x="3630" y="3773"/>
                  </a:lnTo>
                  <a:lnTo>
                    <a:pt x="3629" y="3778"/>
                  </a:lnTo>
                  <a:lnTo>
                    <a:pt x="3629" y="3782"/>
                  </a:lnTo>
                  <a:lnTo>
                    <a:pt x="3629" y="3797"/>
                  </a:lnTo>
                  <a:lnTo>
                    <a:pt x="3629" y="3811"/>
                  </a:lnTo>
                  <a:lnTo>
                    <a:pt x="3629" y="3824"/>
                  </a:lnTo>
                  <a:lnTo>
                    <a:pt x="3629" y="3839"/>
                  </a:lnTo>
                  <a:lnTo>
                    <a:pt x="3628" y="3853"/>
                  </a:lnTo>
                  <a:lnTo>
                    <a:pt x="3626" y="3865"/>
                  </a:lnTo>
                  <a:lnTo>
                    <a:pt x="3622" y="3876"/>
                  </a:lnTo>
                  <a:lnTo>
                    <a:pt x="3618" y="3887"/>
                  </a:lnTo>
                  <a:lnTo>
                    <a:pt x="3607" y="3907"/>
                  </a:lnTo>
                  <a:lnTo>
                    <a:pt x="3598" y="3931"/>
                  </a:lnTo>
                  <a:lnTo>
                    <a:pt x="3590" y="3954"/>
                  </a:lnTo>
                  <a:lnTo>
                    <a:pt x="3581" y="3974"/>
                  </a:lnTo>
                  <a:lnTo>
                    <a:pt x="3576" y="3983"/>
                  </a:lnTo>
                  <a:lnTo>
                    <a:pt x="3570" y="3992"/>
                  </a:lnTo>
                  <a:lnTo>
                    <a:pt x="3562" y="4000"/>
                  </a:lnTo>
                  <a:lnTo>
                    <a:pt x="3553" y="4007"/>
                  </a:lnTo>
                  <a:lnTo>
                    <a:pt x="3508" y="4035"/>
                  </a:lnTo>
                  <a:lnTo>
                    <a:pt x="3467" y="4059"/>
                  </a:lnTo>
                  <a:lnTo>
                    <a:pt x="3448" y="4072"/>
                  </a:lnTo>
                  <a:lnTo>
                    <a:pt x="3429" y="4086"/>
                  </a:lnTo>
                  <a:lnTo>
                    <a:pt x="3421" y="4094"/>
                  </a:lnTo>
                  <a:lnTo>
                    <a:pt x="3412" y="4104"/>
                  </a:lnTo>
                  <a:lnTo>
                    <a:pt x="3404" y="4114"/>
                  </a:lnTo>
                  <a:lnTo>
                    <a:pt x="3396" y="4124"/>
                  </a:lnTo>
                  <a:lnTo>
                    <a:pt x="3378" y="4147"/>
                  </a:lnTo>
                  <a:lnTo>
                    <a:pt x="3362" y="4167"/>
                  </a:lnTo>
                  <a:lnTo>
                    <a:pt x="3356" y="4177"/>
                  </a:lnTo>
                  <a:lnTo>
                    <a:pt x="3350" y="4188"/>
                  </a:lnTo>
                  <a:lnTo>
                    <a:pt x="3348" y="4195"/>
                  </a:lnTo>
                  <a:lnTo>
                    <a:pt x="3347" y="4200"/>
                  </a:lnTo>
                  <a:lnTo>
                    <a:pt x="3346" y="4208"/>
                  </a:lnTo>
                  <a:lnTo>
                    <a:pt x="3346" y="4214"/>
                  </a:lnTo>
                  <a:lnTo>
                    <a:pt x="3346" y="4222"/>
                  </a:lnTo>
                  <a:lnTo>
                    <a:pt x="3347" y="4228"/>
                  </a:lnTo>
                  <a:lnTo>
                    <a:pt x="3350" y="4234"/>
                  </a:lnTo>
                  <a:lnTo>
                    <a:pt x="3352" y="4240"/>
                  </a:lnTo>
                  <a:lnTo>
                    <a:pt x="3360" y="4251"/>
                  </a:lnTo>
                  <a:lnTo>
                    <a:pt x="3368" y="4263"/>
                  </a:lnTo>
                  <a:lnTo>
                    <a:pt x="3378" y="4293"/>
                  </a:lnTo>
                  <a:lnTo>
                    <a:pt x="3387" y="4322"/>
                  </a:lnTo>
                  <a:lnTo>
                    <a:pt x="3391" y="4336"/>
                  </a:lnTo>
                  <a:lnTo>
                    <a:pt x="3396" y="4351"/>
                  </a:lnTo>
                  <a:lnTo>
                    <a:pt x="3399" y="4366"/>
                  </a:lnTo>
                  <a:lnTo>
                    <a:pt x="3401" y="4383"/>
                  </a:lnTo>
                  <a:lnTo>
                    <a:pt x="3401" y="4383"/>
                  </a:lnTo>
                  <a:lnTo>
                    <a:pt x="3390" y="4382"/>
                  </a:lnTo>
                  <a:lnTo>
                    <a:pt x="3381" y="4379"/>
                  </a:lnTo>
                  <a:lnTo>
                    <a:pt x="3371" y="4376"/>
                  </a:lnTo>
                  <a:lnTo>
                    <a:pt x="3362" y="4372"/>
                  </a:lnTo>
                  <a:lnTo>
                    <a:pt x="3345" y="4361"/>
                  </a:lnTo>
                  <a:lnTo>
                    <a:pt x="3325" y="4349"/>
                  </a:lnTo>
                  <a:lnTo>
                    <a:pt x="3314" y="4344"/>
                  </a:lnTo>
                  <a:lnTo>
                    <a:pt x="3301" y="4342"/>
                  </a:lnTo>
                  <a:lnTo>
                    <a:pt x="3295" y="4339"/>
                  </a:lnTo>
                  <a:lnTo>
                    <a:pt x="3289" y="4337"/>
                  </a:lnTo>
                  <a:lnTo>
                    <a:pt x="3283" y="4334"/>
                  </a:lnTo>
                  <a:lnTo>
                    <a:pt x="3278" y="4330"/>
                  </a:lnTo>
                  <a:lnTo>
                    <a:pt x="3275" y="4325"/>
                  </a:lnTo>
                  <a:lnTo>
                    <a:pt x="3271" y="4321"/>
                  </a:lnTo>
                  <a:lnTo>
                    <a:pt x="3269" y="4317"/>
                  </a:lnTo>
                  <a:lnTo>
                    <a:pt x="3268" y="4312"/>
                  </a:lnTo>
                  <a:lnTo>
                    <a:pt x="3266" y="4304"/>
                  </a:lnTo>
                  <a:lnTo>
                    <a:pt x="3266" y="4295"/>
                  </a:lnTo>
                  <a:lnTo>
                    <a:pt x="3265" y="4285"/>
                  </a:lnTo>
                  <a:lnTo>
                    <a:pt x="3264" y="4276"/>
                  </a:lnTo>
                  <a:lnTo>
                    <a:pt x="3263" y="4266"/>
                  </a:lnTo>
                  <a:lnTo>
                    <a:pt x="3259" y="4256"/>
                  </a:lnTo>
                  <a:lnTo>
                    <a:pt x="3256" y="4253"/>
                  </a:lnTo>
                  <a:lnTo>
                    <a:pt x="3253" y="4250"/>
                  </a:lnTo>
                  <a:lnTo>
                    <a:pt x="3251" y="4247"/>
                  </a:lnTo>
                  <a:lnTo>
                    <a:pt x="3248" y="4244"/>
                  </a:lnTo>
                  <a:lnTo>
                    <a:pt x="3240" y="4241"/>
                  </a:lnTo>
                  <a:lnTo>
                    <a:pt x="3232" y="4240"/>
                  </a:lnTo>
                  <a:lnTo>
                    <a:pt x="3213" y="4239"/>
                  </a:lnTo>
                  <a:lnTo>
                    <a:pt x="3194" y="4240"/>
                  </a:lnTo>
                  <a:lnTo>
                    <a:pt x="3165" y="4241"/>
                  </a:lnTo>
                  <a:lnTo>
                    <a:pt x="3139" y="4243"/>
                  </a:lnTo>
                  <a:lnTo>
                    <a:pt x="3114" y="4247"/>
                  </a:lnTo>
                  <a:lnTo>
                    <a:pt x="3089" y="4251"/>
                  </a:lnTo>
                  <a:lnTo>
                    <a:pt x="3065" y="4255"/>
                  </a:lnTo>
                  <a:lnTo>
                    <a:pt x="3040" y="4258"/>
                  </a:lnTo>
                  <a:lnTo>
                    <a:pt x="3013" y="4262"/>
                  </a:lnTo>
                  <a:lnTo>
                    <a:pt x="2984" y="4263"/>
                  </a:lnTo>
                  <a:lnTo>
                    <a:pt x="2969" y="4262"/>
                  </a:lnTo>
                  <a:lnTo>
                    <a:pt x="2955" y="4258"/>
                  </a:lnTo>
                  <a:lnTo>
                    <a:pt x="2947" y="4256"/>
                  </a:lnTo>
                  <a:lnTo>
                    <a:pt x="2941" y="4254"/>
                  </a:lnTo>
                  <a:lnTo>
                    <a:pt x="2936" y="4251"/>
                  </a:lnTo>
                  <a:lnTo>
                    <a:pt x="2929" y="4248"/>
                  </a:lnTo>
                  <a:lnTo>
                    <a:pt x="2924" y="4243"/>
                  </a:lnTo>
                  <a:lnTo>
                    <a:pt x="2918" y="4239"/>
                  </a:lnTo>
                  <a:lnTo>
                    <a:pt x="2914" y="4235"/>
                  </a:lnTo>
                  <a:lnTo>
                    <a:pt x="2910" y="4229"/>
                  </a:lnTo>
                  <a:lnTo>
                    <a:pt x="2905" y="4223"/>
                  </a:lnTo>
                  <a:lnTo>
                    <a:pt x="2902" y="4216"/>
                  </a:lnTo>
                  <a:lnTo>
                    <a:pt x="2900" y="4210"/>
                  </a:lnTo>
                  <a:lnTo>
                    <a:pt x="2897" y="4202"/>
                  </a:lnTo>
                  <a:lnTo>
                    <a:pt x="2860" y="4202"/>
                  </a:lnTo>
                  <a:lnTo>
                    <a:pt x="2828" y="4203"/>
                  </a:lnTo>
                  <a:lnTo>
                    <a:pt x="2795" y="4203"/>
                  </a:lnTo>
                  <a:lnTo>
                    <a:pt x="2757" y="4203"/>
                  </a:lnTo>
                  <a:lnTo>
                    <a:pt x="2744" y="4204"/>
                  </a:lnTo>
                  <a:lnTo>
                    <a:pt x="2733" y="4208"/>
                  </a:lnTo>
                  <a:lnTo>
                    <a:pt x="2720" y="4210"/>
                  </a:lnTo>
                  <a:lnTo>
                    <a:pt x="2707" y="4212"/>
                  </a:lnTo>
                  <a:lnTo>
                    <a:pt x="2683" y="4211"/>
                  </a:lnTo>
                  <a:lnTo>
                    <a:pt x="2662" y="4209"/>
                  </a:lnTo>
                  <a:lnTo>
                    <a:pt x="2653" y="4208"/>
                  </a:lnTo>
                  <a:lnTo>
                    <a:pt x="2642" y="4208"/>
                  </a:lnTo>
                  <a:lnTo>
                    <a:pt x="2631" y="4209"/>
                  </a:lnTo>
                  <a:lnTo>
                    <a:pt x="2619" y="4212"/>
                  </a:lnTo>
                  <a:lnTo>
                    <a:pt x="2609" y="4216"/>
                  </a:lnTo>
                  <a:lnTo>
                    <a:pt x="2600" y="4222"/>
                  </a:lnTo>
                  <a:lnTo>
                    <a:pt x="2592" y="4229"/>
                  </a:lnTo>
                  <a:lnTo>
                    <a:pt x="2586" y="4237"/>
                  </a:lnTo>
                  <a:lnTo>
                    <a:pt x="2574" y="4255"/>
                  </a:lnTo>
                  <a:lnTo>
                    <a:pt x="2563" y="4275"/>
                  </a:lnTo>
                  <a:lnTo>
                    <a:pt x="2558" y="4284"/>
                  </a:lnTo>
                  <a:lnTo>
                    <a:pt x="2552" y="4293"/>
                  </a:lnTo>
                  <a:lnTo>
                    <a:pt x="2547" y="4302"/>
                  </a:lnTo>
                  <a:lnTo>
                    <a:pt x="2540" y="4309"/>
                  </a:lnTo>
                  <a:lnTo>
                    <a:pt x="2533" y="4315"/>
                  </a:lnTo>
                  <a:lnTo>
                    <a:pt x="2524" y="4320"/>
                  </a:lnTo>
                  <a:lnTo>
                    <a:pt x="2520" y="4321"/>
                  </a:lnTo>
                  <a:lnTo>
                    <a:pt x="2515" y="4323"/>
                  </a:lnTo>
                  <a:lnTo>
                    <a:pt x="2510" y="4323"/>
                  </a:lnTo>
                  <a:lnTo>
                    <a:pt x="2504" y="4324"/>
                  </a:lnTo>
                  <a:lnTo>
                    <a:pt x="2487" y="4324"/>
                  </a:lnTo>
                  <a:lnTo>
                    <a:pt x="2474" y="4324"/>
                  </a:lnTo>
                  <a:lnTo>
                    <a:pt x="2460" y="4324"/>
                  </a:lnTo>
                  <a:lnTo>
                    <a:pt x="2444" y="4324"/>
                  </a:lnTo>
                  <a:lnTo>
                    <a:pt x="2432" y="4323"/>
                  </a:lnTo>
                  <a:lnTo>
                    <a:pt x="2423" y="4323"/>
                  </a:lnTo>
                  <a:lnTo>
                    <a:pt x="2412" y="4321"/>
                  </a:lnTo>
                  <a:lnTo>
                    <a:pt x="2402" y="4319"/>
                  </a:lnTo>
                  <a:lnTo>
                    <a:pt x="2385" y="4313"/>
                  </a:lnTo>
                  <a:lnTo>
                    <a:pt x="2367" y="4306"/>
                  </a:lnTo>
                  <a:lnTo>
                    <a:pt x="2350" y="4297"/>
                  </a:lnTo>
                  <a:lnTo>
                    <a:pt x="2334" y="4286"/>
                  </a:lnTo>
                  <a:lnTo>
                    <a:pt x="2318" y="4275"/>
                  </a:lnTo>
                  <a:lnTo>
                    <a:pt x="2300" y="4263"/>
                  </a:lnTo>
                  <a:lnTo>
                    <a:pt x="2293" y="4257"/>
                  </a:lnTo>
                  <a:lnTo>
                    <a:pt x="2288" y="4252"/>
                  </a:lnTo>
                  <a:lnTo>
                    <a:pt x="2282" y="4247"/>
                  </a:lnTo>
                  <a:lnTo>
                    <a:pt x="2278" y="4240"/>
                  </a:lnTo>
                  <a:lnTo>
                    <a:pt x="2276" y="4232"/>
                  </a:lnTo>
                  <a:lnTo>
                    <a:pt x="2273" y="4225"/>
                  </a:lnTo>
                  <a:lnTo>
                    <a:pt x="2273" y="4223"/>
                  </a:lnTo>
                  <a:lnTo>
                    <a:pt x="2271" y="4220"/>
                  </a:lnTo>
                  <a:lnTo>
                    <a:pt x="2269" y="4218"/>
                  </a:lnTo>
                  <a:lnTo>
                    <a:pt x="2266" y="4217"/>
                  </a:lnTo>
                  <a:lnTo>
                    <a:pt x="2248" y="4218"/>
                  </a:lnTo>
                  <a:lnTo>
                    <a:pt x="2230" y="4220"/>
                  </a:lnTo>
                  <a:lnTo>
                    <a:pt x="2214" y="4223"/>
                  </a:lnTo>
                  <a:lnTo>
                    <a:pt x="2199" y="4227"/>
                  </a:lnTo>
                  <a:lnTo>
                    <a:pt x="2169" y="4239"/>
                  </a:lnTo>
                  <a:lnTo>
                    <a:pt x="2134" y="4254"/>
                  </a:lnTo>
                  <a:lnTo>
                    <a:pt x="2122" y="4258"/>
                  </a:lnTo>
                  <a:lnTo>
                    <a:pt x="2110" y="4262"/>
                  </a:lnTo>
                  <a:lnTo>
                    <a:pt x="2099" y="4264"/>
                  </a:lnTo>
                  <a:lnTo>
                    <a:pt x="2088" y="4266"/>
                  </a:lnTo>
                  <a:lnTo>
                    <a:pt x="2077" y="4269"/>
                  </a:lnTo>
                  <a:lnTo>
                    <a:pt x="2067" y="4274"/>
                  </a:lnTo>
                  <a:lnTo>
                    <a:pt x="2062" y="4276"/>
                  </a:lnTo>
                  <a:lnTo>
                    <a:pt x="2057" y="4279"/>
                  </a:lnTo>
                  <a:lnTo>
                    <a:pt x="2052" y="4283"/>
                  </a:lnTo>
                  <a:lnTo>
                    <a:pt x="2048" y="4288"/>
                  </a:lnTo>
                  <a:lnTo>
                    <a:pt x="2043" y="4294"/>
                  </a:lnTo>
                  <a:lnTo>
                    <a:pt x="2040" y="4301"/>
                  </a:lnTo>
                  <a:lnTo>
                    <a:pt x="2038" y="4307"/>
                  </a:lnTo>
                  <a:lnTo>
                    <a:pt x="2037" y="4315"/>
                  </a:lnTo>
                  <a:lnTo>
                    <a:pt x="2035" y="4321"/>
                  </a:lnTo>
                  <a:lnTo>
                    <a:pt x="2032" y="4328"/>
                  </a:lnTo>
                  <a:lnTo>
                    <a:pt x="2028" y="4333"/>
                  </a:lnTo>
                  <a:lnTo>
                    <a:pt x="2023" y="4338"/>
                  </a:lnTo>
                  <a:lnTo>
                    <a:pt x="2015" y="4343"/>
                  </a:lnTo>
                  <a:lnTo>
                    <a:pt x="2008" y="4347"/>
                  </a:lnTo>
                  <a:lnTo>
                    <a:pt x="2000" y="4350"/>
                  </a:lnTo>
                  <a:lnTo>
                    <a:pt x="1993" y="4352"/>
                  </a:lnTo>
                  <a:lnTo>
                    <a:pt x="1978" y="4356"/>
                  </a:lnTo>
                  <a:lnTo>
                    <a:pt x="1964" y="4359"/>
                  </a:lnTo>
                  <a:lnTo>
                    <a:pt x="1948" y="4360"/>
                  </a:lnTo>
                  <a:lnTo>
                    <a:pt x="1933" y="4362"/>
                  </a:lnTo>
                  <a:lnTo>
                    <a:pt x="1917" y="4364"/>
                  </a:lnTo>
                  <a:lnTo>
                    <a:pt x="1900" y="4369"/>
                  </a:lnTo>
                  <a:lnTo>
                    <a:pt x="1892" y="4371"/>
                  </a:lnTo>
                  <a:lnTo>
                    <a:pt x="1886" y="4374"/>
                  </a:lnTo>
                  <a:lnTo>
                    <a:pt x="1880" y="4377"/>
                  </a:lnTo>
                  <a:lnTo>
                    <a:pt x="1875" y="4382"/>
                  </a:lnTo>
                  <a:lnTo>
                    <a:pt x="1865" y="4390"/>
                  </a:lnTo>
                  <a:lnTo>
                    <a:pt x="1855" y="4399"/>
                  </a:lnTo>
                  <a:lnTo>
                    <a:pt x="1847" y="4407"/>
                  </a:lnTo>
                  <a:lnTo>
                    <a:pt x="1836" y="4415"/>
                  </a:lnTo>
                  <a:lnTo>
                    <a:pt x="1831" y="4418"/>
                  </a:lnTo>
                  <a:lnTo>
                    <a:pt x="1824" y="4420"/>
                  </a:lnTo>
                  <a:lnTo>
                    <a:pt x="1818" y="4421"/>
                  </a:lnTo>
                  <a:lnTo>
                    <a:pt x="1811" y="4421"/>
                  </a:lnTo>
                  <a:lnTo>
                    <a:pt x="1794" y="4421"/>
                  </a:lnTo>
                  <a:lnTo>
                    <a:pt x="1778" y="4420"/>
                  </a:lnTo>
                  <a:lnTo>
                    <a:pt x="1762" y="4418"/>
                  </a:lnTo>
                  <a:lnTo>
                    <a:pt x="1747" y="4414"/>
                  </a:lnTo>
                  <a:lnTo>
                    <a:pt x="1733" y="4409"/>
                  </a:lnTo>
                  <a:lnTo>
                    <a:pt x="1719" y="4402"/>
                  </a:lnTo>
                  <a:lnTo>
                    <a:pt x="1705" y="4393"/>
                  </a:lnTo>
                  <a:lnTo>
                    <a:pt x="1692" y="4383"/>
                  </a:lnTo>
                  <a:lnTo>
                    <a:pt x="1681" y="4373"/>
                  </a:lnTo>
                  <a:lnTo>
                    <a:pt x="1671" y="4363"/>
                  </a:lnTo>
                  <a:lnTo>
                    <a:pt x="1662" y="4353"/>
                  </a:lnTo>
                  <a:lnTo>
                    <a:pt x="1655" y="4343"/>
                  </a:lnTo>
                  <a:lnTo>
                    <a:pt x="1642" y="4321"/>
                  </a:lnTo>
                  <a:lnTo>
                    <a:pt x="1628" y="4296"/>
                  </a:lnTo>
                  <a:lnTo>
                    <a:pt x="1621" y="4283"/>
                  </a:lnTo>
                  <a:lnTo>
                    <a:pt x="1614" y="4271"/>
                  </a:lnTo>
                  <a:lnTo>
                    <a:pt x="1609" y="4266"/>
                  </a:lnTo>
                  <a:lnTo>
                    <a:pt x="1604" y="4263"/>
                  </a:lnTo>
                  <a:lnTo>
                    <a:pt x="1597" y="4261"/>
                  </a:lnTo>
                  <a:lnTo>
                    <a:pt x="1591" y="4259"/>
                  </a:lnTo>
                  <a:lnTo>
                    <a:pt x="1585" y="4259"/>
                  </a:lnTo>
                  <a:lnTo>
                    <a:pt x="1580" y="4261"/>
                  </a:lnTo>
                  <a:lnTo>
                    <a:pt x="1576" y="4263"/>
                  </a:lnTo>
                  <a:lnTo>
                    <a:pt x="1571" y="4265"/>
                  </a:lnTo>
                  <a:lnTo>
                    <a:pt x="1562" y="4268"/>
                  </a:lnTo>
                  <a:lnTo>
                    <a:pt x="1551" y="4270"/>
                  </a:lnTo>
                  <a:lnTo>
                    <a:pt x="1551" y="4270"/>
                  </a:lnTo>
                  <a:lnTo>
                    <a:pt x="1547" y="4255"/>
                  </a:lnTo>
                  <a:lnTo>
                    <a:pt x="1543" y="4241"/>
                  </a:lnTo>
                  <a:lnTo>
                    <a:pt x="1538" y="4225"/>
                  </a:lnTo>
                  <a:lnTo>
                    <a:pt x="1533" y="4209"/>
                  </a:lnTo>
                  <a:lnTo>
                    <a:pt x="1530" y="4204"/>
                  </a:lnTo>
                  <a:lnTo>
                    <a:pt x="1527" y="4201"/>
                  </a:lnTo>
                  <a:lnTo>
                    <a:pt x="1524" y="4199"/>
                  </a:lnTo>
                  <a:lnTo>
                    <a:pt x="1521" y="4197"/>
                  </a:lnTo>
                  <a:lnTo>
                    <a:pt x="1513" y="4194"/>
                  </a:lnTo>
                  <a:lnTo>
                    <a:pt x="1504" y="4189"/>
                  </a:lnTo>
                  <a:lnTo>
                    <a:pt x="1474" y="4174"/>
                  </a:lnTo>
                  <a:lnTo>
                    <a:pt x="1448" y="4160"/>
                  </a:lnTo>
                  <a:lnTo>
                    <a:pt x="1422" y="4145"/>
                  </a:lnTo>
                  <a:lnTo>
                    <a:pt x="1392" y="4131"/>
                  </a:lnTo>
                  <a:lnTo>
                    <a:pt x="1386" y="4128"/>
                  </a:lnTo>
                  <a:lnTo>
                    <a:pt x="1379" y="4124"/>
                  </a:lnTo>
                  <a:lnTo>
                    <a:pt x="1374" y="4120"/>
                  </a:lnTo>
                  <a:lnTo>
                    <a:pt x="1369" y="4116"/>
                  </a:lnTo>
                  <a:lnTo>
                    <a:pt x="1361" y="4107"/>
                  </a:lnTo>
                  <a:lnTo>
                    <a:pt x="1353" y="4096"/>
                  </a:lnTo>
                  <a:lnTo>
                    <a:pt x="1348" y="4086"/>
                  </a:lnTo>
                  <a:lnTo>
                    <a:pt x="1342" y="4073"/>
                  </a:lnTo>
                  <a:lnTo>
                    <a:pt x="1338" y="4060"/>
                  </a:lnTo>
                  <a:lnTo>
                    <a:pt x="1333" y="4047"/>
                  </a:lnTo>
                  <a:lnTo>
                    <a:pt x="1326" y="4032"/>
                  </a:lnTo>
                  <a:lnTo>
                    <a:pt x="1318" y="4020"/>
                  </a:lnTo>
                  <a:lnTo>
                    <a:pt x="1313" y="4013"/>
                  </a:lnTo>
                  <a:lnTo>
                    <a:pt x="1311" y="4007"/>
                  </a:lnTo>
                  <a:lnTo>
                    <a:pt x="1309" y="3999"/>
                  </a:lnTo>
                  <a:lnTo>
                    <a:pt x="1308" y="3991"/>
                  </a:lnTo>
                  <a:lnTo>
                    <a:pt x="1308" y="3977"/>
                  </a:lnTo>
                  <a:lnTo>
                    <a:pt x="1308" y="3964"/>
                  </a:lnTo>
                  <a:lnTo>
                    <a:pt x="1308" y="3951"/>
                  </a:lnTo>
                  <a:lnTo>
                    <a:pt x="1308" y="3937"/>
                  </a:lnTo>
                  <a:lnTo>
                    <a:pt x="1309" y="3919"/>
                  </a:lnTo>
                  <a:lnTo>
                    <a:pt x="1311" y="3903"/>
                  </a:lnTo>
                  <a:lnTo>
                    <a:pt x="1315" y="3888"/>
                  </a:lnTo>
                  <a:lnTo>
                    <a:pt x="1321" y="3874"/>
                  </a:lnTo>
                  <a:lnTo>
                    <a:pt x="1327" y="3860"/>
                  </a:lnTo>
                  <a:lnTo>
                    <a:pt x="1335" y="3847"/>
                  </a:lnTo>
                  <a:lnTo>
                    <a:pt x="1342" y="3834"/>
                  </a:lnTo>
                  <a:lnTo>
                    <a:pt x="1350" y="3822"/>
                  </a:lnTo>
                  <a:lnTo>
                    <a:pt x="1358" y="3809"/>
                  </a:lnTo>
                  <a:lnTo>
                    <a:pt x="1365" y="3796"/>
                  </a:lnTo>
                  <a:lnTo>
                    <a:pt x="1373" y="3783"/>
                  </a:lnTo>
                  <a:lnTo>
                    <a:pt x="1379" y="3770"/>
                  </a:lnTo>
                  <a:lnTo>
                    <a:pt x="1385" y="3756"/>
                  </a:lnTo>
                  <a:lnTo>
                    <a:pt x="1388" y="3741"/>
                  </a:lnTo>
                  <a:lnTo>
                    <a:pt x="1391" y="3725"/>
                  </a:lnTo>
                  <a:lnTo>
                    <a:pt x="1392" y="3708"/>
                  </a:lnTo>
                  <a:lnTo>
                    <a:pt x="1391" y="3700"/>
                  </a:lnTo>
                  <a:lnTo>
                    <a:pt x="1390" y="3692"/>
                  </a:lnTo>
                  <a:lnTo>
                    <a:pt x="1388" y="3685"/>
                  </a:lnTo>
                  <a:lnTo>
                    <a:pt x="1386" y="3678"/>
                  </a:lnTo>
                  <a:lnTo>
                    <a:pt x="1381" y="3673"/>
                  </a:lnTo>
                  <a:lnTo>
                    <a:pt x="1377" y="3669"/>
                  </a:lnTo>
                  <a:lnTo>
                    <a:pt x="1371" y="3667"/>
                  </a:lnTo>
                  <a:lnTo>
                    <a:pt x="1364" y="3665"/>
                  </a:lnTo>
                  <a:lnTo>
                    <a:pt x="1353" y="3665"/>
                  </a:lnTo>
                  <a:lnTo>
                    <a:pt x="1345" y="3667"/>
                  </a:lnTo>
                  <a:lnTo>
                    <a:pt x="1335" y="3669"/>
                  </a:lnTo>
                  <a:lnTo>
                    <a:pt x="1326" y="3671"/>
                  </a:lnTo>
                  <a:lnTo>
                    <a:pt x="1310" y="3677"/>
                  </a:lnTo>
                  <a:lnTo>
                    <a:pt x="1295" y="3685"/>
                  </a:lnTo>
                  <a:lnTo>
                    <a:pt x="1279" y="3692"/>
                  </a:lnTo>
                  <a:lnTo>
                    <a:pt x="1263" y="3698"/>
                  </a:lnTo>
                  <a:lnTo>
                    <a:pt x="1254" y="3701"/>
                  </a:lnTo>
                  <a:lnTo>
                    <a:pt x="1245" y="3703"/>
                  </a:lnTo>
                  <a:lnTo>
                    <a:pt x="1236" y="3704"/>
                  </a:lnTo>
                  <a:lnTo>
                    <a:pt x="1225" y="3704"/>
                  </a:lnTo>
                  <a:lnTo>
                    <a:pt x="1215" y="3704"/>
                  </a:lnTo>
                  <a:lnTo>
                    <a:pt x="1207" y="3702"/>
                  </a:lnTo>
                  <a:lnTo>
                    <a:pt x="1199" y="3700"/>
                  </a:lnTo>
                  <a:lnTo>
                    <a:pt x="1191" y="3697"/>
                  </a:lnTo>
                  <a:lnTo>
                    <a:pt x="1176" y="3690"/>
                  </a:lnTo>
                  <a:lnTo>
                    <a:pt x="1159" y="3682"/>
                  </a:lnTo>
                  <a:lnTo>
                    <a:pt x="644" y="3674"/>
                  </a:lnTo>
                  <a:lnTo>
                    <a:pt x="433" y="3197"/>
                  </a:lnTo>
                  <a:lnTo>
                    <a:pt x="446" y="3195"/>
                  </a:lnTo>
                  <a:lnTo>
                    <a:pt x="458" y="3191"/>
                  </a:lnTo>
                  <a:lnTo>
                    <a:pt x="470" y="3189"/>
                  </a:lnTo>
                  <a:lnTo>
                    <a:pt x="482" y="3189"/>
                  </a:lnTo>
                  <a:lnTo>
                    <a:pt x="506" y="3189"/>
                  </a:lnTo>
                  <a:lnTo>
                    <a:pt x="528" y="3189"/>
                  </a:lnTo>
                  <a:lnTo>
                    <a:pt x="550" y="3189"/>
                  </a:lnTo>
                  <a:lnTo>
                    <a:pt x="575" y="3189"/>
                  </a:lnTo>
                  <a:lnTo>
                    <a:pt x="575" y="3164"/>
                  </a:lnTo>
                  <a:lnTo>
                    <a:pt x="575" y="3144"/>
                  </a:lnTo>
                  <a:lnTo>
                    <a:pt x="575" y="3122"/>
                  </a:lnTo>
                  <a:lnTo>
                    <a:pt x="575" y="3098"/>
                  </a:lnTo>
                  <a:lnTo>
                    <a:pt x="576" y="3084"/>
                  </a:lnTo>
                  <a:lnTo>
                    <a:pt x="577" y="3070"/>
                  </a:lnTo>
                  <a:lnTo>
                    <a:pt x="578" y="3059"/>
                  </a:lnTo>
                  <a:lnTo>
                    <a:pt x="580" y="3046"/>
                  </a:lnTo>
                  <a:lnTo>
                    <a:pt x="584" y="3023"/>
                  </a:lnTo>
                  <a:lnTo>
                    <a:pt x="590" y="3000"/>
                  </a:lnTo>
                  <a:lnTo>
                    <a:pt x="595" y="2978"/>
                  </a:lnTo>
                  <a:lnTo>
                    <a:pt x="599" y="2954"/>
                  </a:lnTo>
                  <a:lnTo>
                    <a:pt x="602" y="2942"/>
                  </a:lnTo>
                  <a:lnTo>
                    <a:pt x="603" y="2929"/>
                  </a:lnTo>
                  <a:lnTo>
                    <a:pt x="604" y="2916"/>
                  </a:lnTo>
                  <a:lnTo>
                    <a:pt x="605" y="2902"/>
                  </a:lnTo>
                  <a:lnTo>
                    <a:pt x="604" y="2893"/>
                  </a:lnTo>
                  <a:lnTo>
                    <a:pt x="603" y="2886"/>
                  </a:lnTo>
                  <a:lnTo>
                    <a:pt x="600" y="2878"/>
                  </a:lnTo>
                  <a:lnTo>
                    <a:pt x="597" y="2872"/>
                  </a:lnTo>
                  <a:lnTo>
                    <a:pt x="591" y="2859"/>
                  </a:lnTo>
                  <a:lnTo>
                    <a:pt x="582" y="2847"/>
                  </a:lnTo>
                  <a:lnTo>
                    <a:pt x="572" y="2835"/>
                  </a:lnTo>
                  <a:lnTo>
                    <a:pt x="563" y="2823"/>
                  </a:lnTo>
                  <a:lnTo>
                    <a:pt x="558" y="2817"/>
                  </a:lnTo>
                  <a:lnTo>
                    <a:pt x="555" y="2809"/>
                  </a:lnTo>
                  <a:lnTo>
                    <a:pt x="551" y="2801"/>
                  </a:lnTo>
                  <a:lnTo>
                    <a:pt x="549" y="2794"/>
                  </a:lnTo>
                  <a:lnTo>
                    <a:pt x="543" y="2777"/>
                  </a:lnTo>
                  <a:lnTo>
                    <a:pt x="540" y="2760"/>
                  </a:lnTo>
                  <a:lnTo>
                    <a:pt x="537" y="2745"/>
                  </a:lnTo>
                  <a:lnTo>
                    <a:pt x="535" y="2731"/>
                  </a:lnTo>
                  <a:lnTo>
                    <a:pt x="528" y="2701"/>
                  </a:lnTo>
                  <a:lnTo>
                    <a:pt x="521" y="2668"/>
                  </a:lnTo>
                  <a:lnTo>
                    <a:pt x="517" y="2659"/>
                  </a:lnTo>
                  <a:lnTo>
                    <a:pt x="514" y="2650"/>
                  </a:lnTo>
                  <a:lnTo>
                    <a:pt x="511" y="2643"/>
                  </a:lnTo>
                  <a:lnTo>
                    <a:pt x="506" y="2635"/>
                  </a:lnTo>
                  <a:lnTo>
                    <a:pt x="502" y="2629"/>
                  </a:lnTo>
                  <a:lnTo>
                    <a:pt x="497" y="2622"/>
                  </a:lnTo>
                  <a:lnTo>
                    <a:pt x="491" y="2616"/>
                  </a:lnTo>
                  <a:lnTo>
                    <a:pt x="486" y="2610"/>
                  </a:lnTo>
                  <a:lnTo>
                    <a:pt x="473" y="2601"/>
                  </a:lnTo>
                  <a:lnTo>
                    <a:pt x="459" y="2591"/>
                  </a:lnTo>
                  <a:lnTo>
                    <a:pt x="444" y="2581"/>
                  </a:lnTo>
                  <a:lnTo>
                    <a:pt x="428" y="2573"/>
                  </a:lnTo>
                  <a:lnTo>
                    <a:pt x="414" y="2564"/>
                  </a:lnTo>
                  <a:lnTo>
                    <a:pt x="401" y="2554"/>
                  </a:lnTo>
                  <a:lnTo>
                    <a:pt x="389" y="2544"/>
                  </a:lnTo>
                  <a:lnTo>
                    <a:pt x="377" y="2536"/>
                  </a:lnTo>
                  <a:lnTo>
                    <a:pt x="377" y="2536"/>
                  </a:lnTo>
                  <a:lnTo>
                    <a:pt x="383" y="2521"/>
                  </a:lnTo>
                  <a:lnTo>
                    <a:pt x="390" y="2508"/>
                  </a:lnTo>
                  <a:lnTo>
                    <a:pt x="397" y="2496"/>
                  </a:lnTo>
                  <a:lnTo>
                    <a:pt x="406" y="2485"/>
                  </a:lnTo>
                  <a:lnTo>
                    <a:pt x="424" y="2465"/>
                  </a:lnTo>
                  <a:lnTo>
                    <a:pt x="445" y="2441"/>
                  </a:lnTo>
                  <a:lnTo>
                    <a:pt x="468" y="2413"/>
                  </a:lnTo>
                  <a:lnTo>
                    <a:pt x="488" y="2387"/>
                  </a:lnTo>
                  <a:lnTo>
                    <a:pt x="509" y="2363"/>
                  </a:lnTo>
                  <a:lnTo>
                    <a:pt x="528" y="2341"/>
                  </a:lnTo>
                  <a:lnTo>
                    <a:pt x="549" y="2319"/>
                  </a:lnTo>
                  <a:lnTo>
                    <a:pt x="570" y="2297"/>
                  </a:lnTo>
                  <a:lnTo>
                    <a:pt x="593" y="2273"/>
                  </a:lnTo>
                  <a:lnTo>
                    <a:pt x="619" y="2247"/>
                  </a:lnTo>
                  <a:lnTo>
                    <a:pt x="627" y="2238"/>
                  </a:lnTo>
                  <a:lnTo>
                    <a:pt x="635" y="2229"/>
                  </a:lnTo>
                  <a:lnTo>
                    <a:pt x="643" y="2219"/>
                  </a:lnTo>
                  <a:lnTo>
                    <a:pt x="648" y="2211"/>
                  </a:lnTo>
                  <a:lnTo>
                    <a:pt x="654" y="2201"/>
                  </a:lnTo>
                  <a:lnTo>
                    <a:pt x="659" y="2192"/>
                  </a:lnTo>
                  <a:lnTo>
                    <a:pt x="664" y="2183"/>
                  </a:lnTo>
                  <a:lnTo>
                    <a:pt x="668" y="2173"/>
                  </a:lnTo>
                  <a:lnTo>
                    <a:pt x="675" y="2152"/>
                  </a:lnTo>
                  <a:lnTo>
                    <a:pt x="680" y="2132"/>
                  </a:lnTo>
                  <a:lnTo>
                    <a:pt x="686" y="2109"/>
                  </a:lnTo>
                  <a:lnTo>
                    <a:pt x="691" y="2084"/>
                  </a:lnTo>
                  <a:lnTo>
                    <a:pt x="694" y="2068"/>
                  </a:lnTo>
                  <a:lnTo>
                    <a:pt x="699" y="2053"/>
                  </a:lnTo>
                  <a:lnTo>
                    <a:pt x="704" y="2039"/>
                  </a:lnTo>
                  <a:lnTo>
                    <a:pt x="708" y="2026"/>
                  </a:lnTo>
                  <a:lnTo>
                    <a:pt x="721" y="1999"/>
                  </a:lnTo>
                  <a:lnTo>
                    <a:pt x="737" y="1970"/>
                  </a:lnTo>
                  <a:lnTo>
                    <a:pt x="745" y="1956"/>
                  </a:lnTo>
                  <a:lnTo>
                    <a:pt x="756" y="1943"/>
                  </a:lnTo>
                  <a:lnTo>
                    <a:pt x="760" y="1936"/>
                  </a:lnTo>
                  <a:lnTo>
                    <a:pt x="764" y="1930"/>
                  </a:lnTo>
                  <a:lnTo>
                    <a:pt x="766" y="1922"/>
                  </a:lnTo>
                  <a:lnTo>
                    <a:pt x="767" y="1914"/>
                  </a:lnTo>
                  <a:lnTo>
                    <a:pt x="767" y="1905"/>
                  </a:lnTo>
                  <a:lnTo>
                    <a:pt x="766" y="1898"/>
                  </a:lnTo>
                  <a:lnTo>
                    <a:pt x="764" y="1890"/>
                  </a:lnTo>
                  <a:lnTo>
                    <a:pt x="761" y="1882"/>
                  </a:lnTo>
                  <a:lnTo>
                    <a:pt x="759" y="1876"/>
                  </a:lnTo>
                  <a:lnTo>
                    <a:pt x="757" y="1868"/>
                  </a:lnTo>
                  <a:lnTo>
                    <a:pt x="756" y="1861"/>
                  </a:lnTo>
                  <a:lnTo>
                    <a:pt x="756" y="1852"/>
                  </a:lnTo>
                  <a:lnTo>
                    <a:pt x="748" y="1839"/>
                  </a:lnTo>
                  <a:lnTo>
                    <a:pt x="740" y="1827"/>
                  </a:lnTo>
                  <a:lnTo>
                    <a:pt x="732" y="1818"/>
                  </a:lnTo>
                  <a:lnTo>
                    <a:pt x="724" y="1807"/>
                  </a:lnTo>
                  <a:lnTo>
                    <a:pt x="716" y="1796"/>
                  </a:lnTo>
                  <a:lnTo>
                    <a:pt x="711" y="1785"/>
                  </a:lnTo>
                  <a:lnTo>
                    <a:pt x="708" y="1780"/>
                  </a:lnTo>
                  <a:lnTo>
                    <a:pt x="706" y="1773"/>
                  </a:lnTo>
                  <a:lnTo>
                    <a:pt x="705" y="1767"/>
                  </a:lnTo>
                  <a:lnTo>
                    <a:pt x="705" y="1759"/>
                  </a:lnTo>
                  <a:lnTo>
                    <a:pt x="706" y="1750"/>
                  </a:lnTo>
                  <a:lnTo>
                    <a:pt x="707" y="1741"/>
                  </a:lnTo>
                  <a:lnTo>
                    <a:pt x="711" y="1733"/>
                  </a:lnTo>
                  <a:lnTo>
                    <a:pt x="715" y="1726"/>
                  </a:lnTo>
                  <a:lnTo>
                    <a:pt x="724" y="1712"/>
                  </a:lnTo>
                  <a:lnTo>
                    <a:pt x="734" y="1698"/>
                  </a:lnTo>
                  <a:lnTo>
                    <a:pt x="745" y="1685"/>
                  </a:lnTo>
                  <a:lnTo>
                    <a:pt x="755" y="1671"/>
                  </a:lnTo>
                  <a:lnTo>
                    <a:pt x="759" y="1663"/>
                  </a:lnTo>
                  <a:lnTo>
                    <a:pt x="761" y="1655"/>
                  </a:lnTo>
                  <a:lnTo>
                    <a:pt x="764" y="1646"/>
                  </a:lnTo>
                  <a:lnTo>
                    <a:pt x="765" y="1636"/>
                  </a:lnTo>
                  <a:lnTo>
                    <a:pt x="764" y="1624"/>
                  </a:lnTo>
                  <a:lnTo>
                    <a:pt x="761" y="1612"/>
                  </a:lnTo>
                  <a:lnTo>
                    <a:pt x="758" y="1602"/>
                  </a:lnTo>
                  <a:lnTo>
                    <a:pt x="754" y="1591"/>
                  </a:lnTo>
                  <a:lnTo>
                    <a:pt x="748" y="1581"/>
                  </a:lnTo>
                  <a:lnTo>
                    <a:pt x="743" y="1572"/>
                  </a:lnTo>
                  <a:lnTo>
                    <a:pt x="735" y="1564"/>
                  </a:lnTo>
                  <a:lnTo>
                    <a:pt x="728" y="1556"/>
                  </a:lnTo>
                  <a:lnTo>
                    <a:pt x="719" y="1549"/>
                  </a:lnTo>
                  <a:lnTo>
                    <a:pt x="710" y="1542"/>
                  </a:lnTo>
                  <a:lnTo>
                    <a:pt x="700" y="1536"/>
                  </a:lnTo>
                  <a:lnTo>
                    <a:pt x="689" y="1529"/>
                  </a:lnTo>
                  <a:lnTo>
                    <a:pt x="667" y="1518"/>
                  </a:lnTo>
                  <a:lnTo>
                    <a:pt x="644" y="1508"/>
                  </a:lnTo>
                  <a:lnTo>
                    <a:pt x="612" y="1493"/>
                  </a:lnTo>
                  <a:lnTo>
                    <a:pt x="584" y="1477"/>
                  </a:lnTo>
                  <a:lnTo>
                    <a:pt x="570" y="1472"/>
                  </a:lnTo>
                  <a:lnTo>
                    <a:pt x="556" y="1467"/>
                  </a:lnTo>
                  <a:lnTo>
                    <a:pt x="549" y="1466"/>
                  </a:lnTo>
                  <a:lnTo>
                    <a:pt x="540" y="1463"/>
                  </a:lnTo>
                  <a:lnTo>
                    <a:pt x="531" y="1463"/>
                  </a:lnTo>
                  <a:lnTo>
                    <a:pt x="523" y="1462"/>
                  </a:lnTo>
                  <a:lnTo>
                    <a:pt x="508" y="1462"/>
                  </a:lnTo>
                  <a:lnTo>
                    <a:pt x="494" y="1462"/>
                  </a:lnTo>
                  <a:lnTo>
                    <a:pt x="481" y="1462"/>
                  </a:lnTo>
                  <a:lnTo>
                    <a:pt x="465" y="1462"/>
                  </a:lnTo>
                  <a:lnTo>
                    <a:pt x="441" y="1462"/>
                  </a:lnTo>
                  <a:lnTo>
                    <a:pt x="419" y="1460"/>
                  </a:lnTo>
                  <a:lnTo>
                    <a:pt x="408" y="1458"/>
                  </a:lnTo>
                  <a:lnTo>
                    <a:pt x="398" y="1456"/>
                  </a:lnTo>
                  <a:lnTo>
                    <a:pt x="388" y="1453"/>
                  </a:lnTo>
                  <a:lnTo>
                    <a:pt x="378" y="1449"/>
                  </a:lnTo>
                  <a:lnTo>
                    <a:pt x="368" y="1446"/>
                  </a:lnTo>
                  <a:lnTo>
                    <a:pt x="360" y="1442"/>
                  </a:lnTo>
                  <a:lnTo>
                    <a:pt x="351" y="1436"/>
                  </a:lnTo>
                  <a:lnTo>
                    <a:pt x="341" y="1431"/>
                  </a:lnTo>
                  <a:lnTo>
                    <a:pt x="333" y="1424"/>
                  </a:lnTo>
                  <a:lnTo>
                    <a:pt x="324" y="1417"/>
                  </a:lnTo>
                  <a:lnTo>
                    <a:pt x="315" y="1409"/>
                  </a:lnTo>
                  <a:lnTo>
                    <a:pt x="308" y="1401"/>
                  </a:lnTo>
                  <a:lnTo>
                    <a:pt x="293" y="1383"/>
                  </a:lnTo>
                  <a:lnTo>
                    <a:pt x="280" y="1366"/>
                  </a:lnTo>
                  <a:lnTo>
                    <a:pt x="270" y="1349"/>
                  </a:lnTo>
                  <a:lnTo>
                    <a:pt x="261" y="1332"/>
                  </a:lnTo>
                  <a:lnTo>
                    <a:pt x="246" y="1294"/>
                  </a:lnTo>
                  <a:lnTo>
                    <a:pt x="229" y="1253"/>
                  </a:lnTo>
                  <a:lnTo>
                    <a:pt x="211" y="1208"/>
                  </a:lnTo>
                  <a:lnTo>
                    <a:pt x="193" y="1169"/>
                  </a:lnTo>
                  <a:lnTo>
                    <a:pt x="179" y="1131"/>
                  </a:lnTo>
                  <a:lnTo>
                    <a:pt x="167" y="1094"/>
                  </a:lnTo>
                  <a:lnTo>
                    <a:pt x="162" y="1075"/>
                  </a:lnTo>
                  <a:lnTo>
                    <a:pt x="158" y="1056"/>
                  </a:lnTo>
                  <a:lnTo>
                    <a:pt x="153" y="1037"/>
                  </a:lnTo>
                  <a:lnTo>
                    <a:pt x="150" y="1016"/>
                  </a:lnTo>
                  <a:lnTo>
                    <a:pt x="148" y="996"/>
                  </a:lnTo>
                  <a:lnTo>
                    <a:pt x="146" y="974"/>
                  </a:lnTo>
                  <a:lnTo>
                    <a:pt x="145" y="951"/>
                  </a:lnTo>
                  <a:lnTo>
                    <a:pt x="145" y="928"/>
                  </a:lnTo>
                  <a:lnTo>
                    <a:pt x="145" y="894"/>
                  </a:lnTo>
                  <a:lnTo>
                    <a:pt x="145" y="865"/>
                  </a:lnTo>
                  <a:lnTo>
                    <a:pt x="144" y="837"/>
                  </a:lnTo>
                  <a:lnTo>
                    <a:pt x="144" y="810"/>
                  </a:lnTo>
                  <a:lnTo>
                    <a:pt x="143" y="783"/>
                  </a:lnTo>
                  <a:lnTo>
                    <a:pt x="143" y="755"/>
                  </a:lnTo>
                  <a:lnTo>
                    <a:pt x="144" y="725"/>
                  </a:lnTo>
                  <a:lnTo>
                    <a:pt x="145" y="692"/>
                  </a:lnTo>
                  <a:lnTo>
                    <a:pt x="128" y="666"/>
                  </a:lnTo>
                  <a:lnTo>
                    <a:pt x="112" y="644"/>
                  </a:lnTo>
                  <a:lnTo>
                    <a:pt x="95" y="623"/>
                  </a:lnTo>
                  <a:lnTo>
                    <a:pt x="78" y="604"/>
                  </a:lnTo>
                  <a:lnTo>
                    <a:pt x="59" y="585"/>
                  </a:lnTo>
                  <a:lnTo>
                    <a:pt x="41" y="566"/>
                  </a:lnTo>
                  <a:lnTo>
                    <a:pt x="22" y="546"/>
                  </a:lnTo>
                  <a:lnTo>
                    <a:pt x="0" y="524"/>
                  </a:lnTo>
                  <a:lnTo>
                    <a:pt x="1580" y="543"/>
                  </a:lnTo>
                  <a:lnTo>
                    <a:pt x="1581" y="531"/>
                  </a:lnTo>
                  <a:lnTo>
                    <a:pt x="1582" y="521"/>
                  </a:lnTo>
                  <a:lnTo>
                    <a:pt x="1583" y="508"/>
                  </a:lnTo>
                  <a:lnTo>
                    <a:pt x="1583" y="496"/>
                  </a:lnTo>
                  <a:lnTo>
                    <a:pt x="1585" y="484"/>
                  </a:lnTo>
                  <a:lnTo>
                    <a:pt x="1588" y="473"/>
                  </a:lnTo>
                  <a:lnTo>
                    <a:pt x="1593" y="452"/>
                  </a:lnTo>
                  <a:lnTo>
                    <a:pt x="1600" y="433"/>
                  </a:lnTo>
                  <a:lnTo>
                    <a:pt x="1607" y="414"/>
                  </a:lnTo>
                  <a:lnTo>
                    <a:pt x="1617" y="394"/>
                  </a:lnTo>
                  <a:lnTo>
                    <a:pt x="1627" y="373"/>
                  </a:lnTo>
                  <a:lnTo>
                    <a:pt x="1636" y="350"/>
                  </a:lnTo>
                  <a:lnTo>
                    <a:pt x="1641" y="340"/>
                  </a:lnTo>
                  <a:lnTo>
                    <a:pt x="1647" y="333"/>
                  </a:lnTo>
                  <a:lnTo>
                    <a:pt x="1654" y="325"/>
                  </a:lnTo>
                  <a:lnTo>
                    <a:pt x="1660" y="317"/>
                  </a:lnTo>
                  <a:lnTo>
                    <a:pt x="1665" y="311"/>
                  </a:lnTo>
                  <a:lnTo>
                    <a:pt x="1671" y="303"/>
                  </a:lnTo>
                  <a:lnTo>
                    <a:pt x="1672" y="299"/>
                  </a:lnTo>
                  <a:lnTo>
                    <a:pt x="1674" y="295"/>
                  </a:lnTo>
                  <a:lnTo>
                    <a:pt x="1675" y="289"/>
                  </a:lnTo>
                  <a:lnTo>
                    <a:pt x="1675" y="284"/>
                  </a:lnTo>
                  <a:lnTo>
                    <a:pt x="1674" y="276"/>
                  </a:lnTo>
                  <a:lnTo>
                    <a:pt x="1673" y="270"/>
                  </a:lnTo>
                  <a:lnTo>
                    <a:pt x="1672" y="265"/>
                  </a:lnTo>
                  <a:lnTo>
                    <a:pt x="1670" y="258"/>
                  </a:lnTo>
                  <a:lnTo>
                    <a:pt x="1668" y="253"/>
                  </a:lnTo>
                  <a:lnTo>
                    <a:pt x="1665" y="246"/>
                  </a:lnTo>
                  <a:lnTo>
                    <a:pt x="1664" y="240"/>
                  </a:lnTo>
                  <a:lnTo>
                    <a:pt x="1664" y="232"/>
                  </a:lnTo>
                  <a:lnTo>
                    <a:pt x="1664" y="215"/>
                  </a:lnTo>
                  <a:lnTo>
                    <a:pt x="1665" y="198"/>
                  </a:lnTo>
                  <a:lnTo>
                    <a:pt x="1668" y="181"/>
                  </a:lnTo>
                  <a:lnTo>
                    <a:pt x="1671" y="166"/>
                  </a:lnTo>
                  <a:lnTo>
                    <a:pt x="1674" y="151"/>
                  </a:lnTo>
                  <a:lnTo>
                    <a:pt x="1678" y="137"/>
                  </a:lnTo>
                  <a:lnTo>
                    <a:pt x="1683" y="123"/>
                  </a:lnTo>
                  <a:lnTo>
                    <a:pt x="1689" y="109"/>
                  </a:lnTo>
                  <a:lnTo>
                    <a:pt x="1696" y="96"/>
                  </a:lnTo>
                  <a:lnTo>
                    <a:pt x="1702" y="82"/>
                  </a:lnTo>
                  <a:lnTo>
                    <a:pt x="1710" y="69"/>
                  </a:lnTo>
                  <a:lnTo>
                    <a:pt x="1718" y="56"/>
                  </a:lnTo>
                  <a:lnTo>
                    <a:pt x="1736" y="28"/>
                  </a:lnTo>
                  <a:lnTo>
                    <a:pt x="1756" y="0"/>
                  </a:lnTo>
                  <a:lnTo>
                    <a:pt x="1780" y="26"/>
                  </a:lnTo>
                  <a:lnTo>
                    <a:pt x="1800" y="50"/>
                  </a:lnTo>
                  <a:lnTo>
                    <a:pt x="1811" y="62"/>
                  </a:lnTo>
                  <a:lnTo>
                    <a:pt x="1821" y="74"/>
                  </a:lnTo>
                  <a:lnTo>
                    <a:pt x="1831" y="89"/>
                  </a:lnTo>
                  <a:lnTo>
                    <a:pt x="1840" y="104"/>
                  </a:lnTo>
                  <a:lnTo>
                    <a:pt x="1862" y="136"/>
                  </a:lnTo>
                  <a:lnTo>
                    <a:pt x="1880" y="166"/>
                  </a:lnTo>
                  <a:lnTo>
                    <a:pt x="1888" y="181"/>
                  </a:lnTo>
                  <a:lnTo>
                    <a:pt x="1894" y="198"/>
                  </a:lnTo>
                  <a:lnTo>
                    <a:pt x="1897" y="206"/>
                  </a:lnTo>
                  <a:lnTo>
                    <a:pt x="1898" y="215"/>
                  </a:lnTo>
                  <a:lnTo>
                    <a:pt x="1899" y="225"/>
                  </a:lnTo>
                  <a:lnTo>
                    <a:pt x="1900" y="235"/>
                  </a:lnTo>
                  <a:lnTo>
                    <a:pt x="1899" y="243"/>
                  </a:lnTo>
                  <a:lnTo>
                    <a:pt x="1898" y="249"/>
                  </a:lnTo>
                  <a:lnTo>
                    <a:pt x="1895" y="256"/>
                  </a:lnTo>
                  <a:lnTo>
                    <a:pt x="1893" y="262"/>
                  </a:lnTo>
                  <a:lnTo>
                    <a:pt x="1887" y="274"/>
                  </a:lnTo>
                  <a:lnTo>
                    <a:pt x="1879" y="285"/>
                  </a:lnTo>
                  <a:lnTo>
                    <a:pt x="1873" y="297"/>
                  </a:lnTo>
                  <a:lnTo>
                    <a:pt x="1866" y="309"/>
                  </a:lnTo>
                  <a:lnTo>
                    <a:pt x="1864" y="314"/>
                  </a:lnTo>
                  <a:lnTo>
                    <a:pt x="1862" y="322"/>
                  </a:lnTo>
                  <a:lnTo>
                    <a:pt x="1861" y="328"/>
                  </a:lnTo>
                  <a:lnTo>
                    <a:pt x="1860" y="336"/>
                  </a:lnTo>
                  <a:lnTo>
                    <a:pt x="1861" y="343"/>
                  </a:lnTo>
                  <a:lnTo>
                    <a:pt x="1863" y="351"/>
                  </a:lnTo>
                  <a:lnTo>
                    <a:pt x="1865" y="357"/>
                  </a:lnTo>
                  <a:lnTo>
                    <a:pt x="1868" y="363"/>
                  </a:lnTo>
                  <a:lnTo>
                    <a:pt x="1876" y="375"/>
                  </a:lnTo>
                  <a:lnTo>
                    <a:pt x="1882" y="389"/>
                  </a:lnTo>
                  <a:lnTo>
                    <a:pt x="1891" y="418"/>
                  </a:lnTo>
                  <a:lnTo>
                    <a:pt x="1900" y="444"/>
                  </a:lnTo>
                  <a:lnTo>
                    <a:pt x="1904" y="456"/>
                  </a:lnTo>
                  <a:lnTo>
                    <a:pt x="1908" y="469"/>
                  </a:lnTo>
                  <a:lnTo>
                    <a:pt x="1915" y="482"/>
                  </a:lnTo>
                  <a:lnTo>
                    <a:pt x="1921" y="496"/>
                  </a:lnTo>
                  <a:lnTo>
                    <a:pt x="1942" y="538"/>
                  </a:lnTo>
                  <a:lnTo>
                    <a:pt x="1961" y="576"/>
                  </a:lnTo>
                  <a:lnTo>
                    <a:pt x="1967" y="584"/>
                  </a:lnTo>
                  <a:lnTo>
                    <a:pt x="1973" y="592"/>
                  </a:lnTo>
                  <a:lnTo>
                    <a:pt x="1980" y="599"/>
                  </a:lnTo>
                  <a:lnTo>
                    <a:pt x="1987" y="606"/>
                  </a:lnTo>
                  <a:lnTo>
                    <a:pt x="1995" y="611"/>
                  </a:lnTo>
                  <a:lnTo>
                    <a:pt x="2005" y="616"/>
                  </a:lnTo>
                  <a:lnTo>
                    <a:pt x="2014" y="619"/>
                  </a:lnTo>
                  <a:lnTo>
                    <a:pt x="2025" y="622"/>
                  </a:lnTo>
                  <a:lnTo>
                    <a:pt x="2037" y="624"/>
                  </a:lnTo>
                  <a:lnTo>
                    <a:pt x="2047" y="627"/>
                  </a:lnTo>
                  <a:lnTo>
                    <a:pt x="2056" y="632"/>
                  </a:lnTo>
                  <a:lnTo>
                    <a:pt x="2066" y="637"/>
                  </a:lnTo>
                  <a:lnTo>
                    <a:pt x="2074" y="643"/>
                  </a:lnTo>
                  <a:lnTo>
                    <a:pt x="2081" y="649"/>
                  </a:lnTo>
                  <a:lnTo>
                    <a:pt x="2089" y="656"/>
                  </a:lnTo>
                  <a:lnTo>
                    <a:pt x="2095" y="663"/>
                  </a:lnTo>
                  <a:lnTo>
                    <a:pt x="2120" y="698"/>
                  </a:lnTo>
                  <a:lnTo>
                    <a:pt x="2146" y="737"/>
                  </a:lnTo>
                  <a:lnTo>
                    <a:pt x="2154" y="746"/>
                  </a:lnTo>
                  <a:lnTo>
                    <a:pt x="2162" y="754"/>
                  </a:lnTo>
                  <a:lnTo>
                    <a:pt x="2171" y="760"/>
                  </a:lnTo>
                  <a:lnTo>
                    <a:pt x="2180" y="767"/>
                  </a:lnTo>
                  <a:lnTo>
                    <a:pt x="2188" y="772"/>
                  </a:lnTo>
                  <a:lnTo>
                    <a:pt x="2197" y="779"/>
                  </a:lnTo>
                  <a:lnTo>
                    <a:pt x="2205" y="786"/>
                  </a:lnTo>
                  <a:lnTo>
                    <a:pt x="2213" y="796"/>
                  </a:lnTo>
                  <a:lnTo>
                    <a:pt x="2217" y="802"/>
                  </a:lnTo>
                  <a:lnTo>
                    <a:pt x="2221" y="811"/>
                  </a:lnTo>
                  <a:lnTo>
                    <a:pt x="2223" y="819"/>
                  </a:lnTo>
                  <a:lnTo>
                    <a:pt x="2225" y="826"/>
                  </a:lnTo>
                  <a:lnTo>
                    <a:pt x="2227" y="833"/>
                  </a:lnTo>
                  <a:lnTo>
                    <a:pt x="2231" y="838"/>
                  </a:lnTo>
                  <a:lnTo>
                    <a:pt x="2234" y="840"/>
                  </a:lnTo>
                  <a:lnTo>
                    <a:pt x="2237" y="841"/>
                  </a:lnTo>
                  <a:lnTo>
                    <a:pt x="2240" y="842"/>
                  </a:lnTo>
                  <a:lnTo>
                    <a:pt x="2244" y="843"/>
                  </a:lnTo>
                  <a:lnTo>
                    <a:pt x="4755" y="1140"/>
                  </a:lnTo>
                  <a:lnTo>
                    <a:pt x="4755" y="1140"/>
                  </a:lnTo>
                  <a:close/>
                </a:path>
              </a:pathLst>
            </a:custGeom>
            <a:solidFill>
              <a:srgbClr val="1496D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24">
              <a:extLst>
                <a:ext uri="{FF2B5EF4-FFF2-40B4-BE49-F238E27FC236}">
                  <a16:creationId xmlns:a16="http://schemas.microsoft.com/office/drawing/2014/main" id="{4122F486-7F6B-4901-AD62-B39EDC20B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84750" y="2244726"/>
              <a:ext cx="1912938" cy="1754188"/>
            </a:xfrm>
            <a:custGeom>
              <a:avLst/>
              <a:gdLst>
                <a:gd name="T0" fmla="*/ 4815 w 4820"/>
                <a:gd name="T1" fmla="*/ 1320 h 4421"/>
                <a:gd name="T2" fmla="*/ 4759 w 4820"/>
                <a:gd name="T3" fmla="*/ 1610 h 4421"/>
                <a:gd name="T4" fmla="*/ 4777 w 4820"/>
                <a:gd name="T5" fmla="*/ 1838 h 4421"/>
                <a:gd name="T6" fmla="*/ 4723 w 4820"/>
                <a:gd name="T7" fmla="*/ 2035 h 4421"/>
                <a:gd name="T8" fmla="*/ 4623 w 4820"/>
                <a:gd name="T9" fmla="*/ 2260 h 4421"/>
                <a:gd name="T10" fmla="*/ 4508 w 4820"/>
                <a:gd name="T11" fmla="*/ 2527 h 4421"/>
                <a:gd name="T12" fmla="*/ 4424 w 4820"/>
                <a:gd name="T13" fmla="*/ 2757 h 4421"/>
                <a:gd name="T14" fmla="*/ 4385 w 4820"/>
                <a:gd name="T15" fmla="*/ 2926 h 4421"/>
                <a:gd name="T16" fmla="*/ 4335 w 4820"/>
                <a:gd name="T17" fmla="*/ 3110 h 4421"/>
                <a:gd name="T18" fmla="*/ 4271 w 4820"/>
                <a:gd name="T19" fmla="*/ 3240 h 4421"/>
                <a:gd name="T20" fmla="*/ 4192 w 4820"/>
                <a:gd name="T21" fmla="*/ 3337 h 4421"/>
                <a:gd name="T22" fmla="*/ 4097 w 4820"/>
                <a:gd name="T23" fmla="*/ 3344 h 4421"/>
                <a:gd name="T24" fmla="*/ 4008 w 4820"/>
                <a:gd name="T25" fmla="*/ 3512 h 4421"/>
                <a:gd name="T26" fmla="*/ 3954 w 4820"/>
                <a:gd name="T27" fmla="*/ 3660 h 4421"/>
                <a:gd name="T28" fmla="*/ 3756 w 4820"/>
                <a:gd name="T29" fmla="*/ 3681 h 4421"/>
                <a:gd name="T30" fmla="*/ 3647 w 4820"/>
                <a:gd name="T31" fmla="*/ 3756 h 4421"/>
                <a:gd name="T32" fmla="*/ 3618 w 4820"/>
                <a:gd name="T33" fmla="*/ 3887 h 4421"/>
                <a:gd name="T34" fmla="*/ 3412 w 4820"/>
                <a:gd name="T35" fmla="*/ 4104 h 4421"/>
                <a:gd name="T36" fmla="*/ 3352 w 4820"/>
                <a:gd name="T37" fmla="*/ 4240 h 4421"/>
                <a:gd name="T38" fmla="*/ 3345 w 4820"/>
                <a:gd name="T39" fmla="*/ 4361 h 4421"/>
                <a:gd name="T40" fmla="*/ 3265 w 4820"/>
                <a:gd name="T41" fmla="*/ 4285 h 4421"/>
                <a:gd name="T42" fmla="*/ 3114 w 4820"/>
                <a:gd name="T43" fmla="*/ 4247 h 4421"/>
                <a:gd name="T44" fmla="*/ 2914 w 4820"/>
                <a:gd name="T45" fmla="*/ 4235 h 4421"/>
                <a:gd name="T46" fmla="*/ 2683 w 4820"/>
                <a:gd name="T47" fmla="*/ 4211 h 4421"/>
                <a:gd name="T48" fmla="*/ 2547 w 4820"/>
                <a:gd name="T49" fmla="*/ 4302 h 4421"/>
                <a:gd name="T50" fmla="*/ 2412 w 4820"/>
                <a:gd name="T51" fmla="*/ 4321 h 4421"/>
                <a:gd name="T52" fmla="*/ 2273 w 4820"/>
                <a:gd name="T53" fmla="*/ 4223 h 4421"/>
                <a:gd name="T54" fmla="*/ 2077 w 4820"/>
                <a:gd name="T55" fmla="*/ 4269 h 4421"/>
                <a:gd name="T56" fmla="*/ 2015 w 4820"/>
                <a:gd name="T57" fmla="*/ 4343 h 4421"/>
                <a:gd name="T58" fmla="*/ 1865 w 4820"/>
                <a:gd name="T59" fmla="*/ 4390 h 4421"/>
                <a:gd name="T60" fmla="*/ 1705 w 4820"/>
                <a:gd name="T61" fmla="*/ 4393 h 4421"/>
                <a:gd name="T62" fmla="*/ 1585 w 4820"/>
                <a:gd name="T63" fmla="*/ 4259 h 4421"/>
                <a:gd name="T64" fmla="*/ 1521 w 4820"/>
                <a:gd name="T65" fmla="*/ 4197 h 4421"/>
                <a:gd name="T66" fmla="*/ 1342 w 4820"/>
                <a:gd name="T67" fmla="*/ 4073 h 4421"/>
                <a:gd name="T68" fmla="*/ 1311 w 4820"/>
                <a:gd name="T69" fmla="*/ 3903 h 4421"/>
                <a:gd name="T70" fmla="*/ 1392 w 4820"/>
                <a:gd name="T71" fmla="*/ 3708 h 4421"/>
                <a:gd name="T72" fmla="*/ 1295 w 4820"/>
                <a:gd name="T73" fmla="*/ 3685 h 4421"/>
                <a:gd name="T74" fmla="*/ 433 w 4820"/>
                <a:gd name="T75" fmla="*/ 3197 h 4421"/>
                <a:gd name="T76" fmla="*/ 577 w 4820"/>
                <a:gd name="T77" fmla="*/ 3070 h 4421"/>
                <a:gd name="T78" fmla="*/ 597 w 4820"/>
                <a:gd name="T79" fmla="*/ 2872 h 4421"/>
                <a:gd name="T80" fmla="*/ 521 w 4820"/>
                <a:gd name="T81" fmla="*/ 2668 h 4421"/>
                <a:gd name="T82" fmla="*/ 401 w 4820"/>
                <a:gd name="T83" fmla="*/ 2554 h 4421"/>
                <a:gd name="T84" fmla="*/ 549 w 4820"/>
                <a:gd name="T85" fmla="*/ 2319 h 4421"/>
                <a:gd name="T86" fmla="*/ 686 w 4820"/>
                <a:gd name="T87" fmla="*/ 2109 h 4421"/>
                <a:gd name="T88" fmla="*/ 767 w 4820"/>
                <a:gd name="T89" fmla="*/ 1905 h 4421"/>
                <a:gd name="T90" fmla="*/ 708 w 4820"/>
                <a:gd name="T91" fmla="*/ 1780 h 4421"/>
                <a:gd name="T92" fmla="*/ 764 w 4820"/>
                <a:gd name="T93" fmla="*/ 1646 h 4421"/>
                <a:gd name="T94" fmla="*/ 667 w 4820"/>
                <a:gd name="T95" fmla="*/ 1518 h 4421"/>
                <a:gd name="T96" fmla="*/ 441 w 4820"/>
                <a:gd name="T97" fmla="*/ 1462 h 4421"/>
                <a:gd name="T98" fmla="*/ 293 w 4820"/>
                <a:gd name="T99" fmla="*/ 1383 h 4421"/>
                <a:gd name="T100" fmla="*/ 148 w 4820"/>
                <a:gd name="T101" fmla="*/ 996 h 4421"/>
                <a:gd name="T102" fmla="*/ 95 w 4820"/>
                <a:gd name="T103" fmla="*/ 623 h 4421"/>
                <a:gd name="T104" fmla="*/ 1600 w 4820"/>
                <a:gd name="T105" fmla="*/ 433 h 4421"/>
                <a:gd name="T106" fmla="*/ 1675 w 4820"/>
                <a:gd name="T107" fmla="*/ 284 h 4421"/>
                <a:gd name="T108" fmla="*/ 1678 w 4820"/>
                <a:gd name="T109" fmla="*/ 137 h 4421"/>
                <a:gd name="T110" fmla="*/ 1840 w 4820"/>
                <a:gd name="T111" fmla="*/ 104 h 4421"/>
                <a:gd name="T112" fmla="*/ 1879 w 4820"/>
                <a:gd name="T113" fmla="*/ 285 h 4421"/>
                <a:gd name="T114" fmla="*/ 1900 w 4820"/>
                <a:gd name="T115" fmla="*/ 444 h 4421"/>
                <a:gd name="T116" fmla="*/ 2025 w 4820"/>
                <a:gd name="T117" fmla="*/ 622 h 4421"/>
                <a:gd name="T118" fmla="*/ 2180 w 4820"/>
                <a:gd name="T119" fmla="*/ 767 h 4421"/>
                <a:gd name="T120" fmla="*/ 2244 w 4820"/>
                <a:gd name="T121" fmla="*/ 843 h 4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20" h="4421">
                  <a:moveTo>
                    <a:pt x="4755" y="1140"/>
                  </a:moveTo>
                  <a:lnTo>
                    <a:pt x="4768" y="1158"/>
                  </a:lnTo>
                  <a:lnTo>
                    <a:pt x="4780" y="1174"/>
                  </a:lnTo>
                  <a:lnTo>
                    <a:pt x="4791" y="1190"/>
                  </a:lnTo>
                  <a:lnTo>
                    <a:pt x="4801" y="1206"/>
                  </a:lnTo>
                  <a:lnTo>
                    <a:pt x="4808" y="1224"/>
                  </a:lnTo>
                  <a:lnTo>
                    <a:pt x="4815" y="1242"/>
                  </a:lnTo>
                  <a:lnTo>
                    <a:pt x="4817" y="1251"/>
                  </a:lnTo>
                  <a:lnTo>
                    <a:pt x="4818" y="1260"/>
                  </a:lnTo>
                  <a:lnTo>
                    <a:pt x="4819" y="1271"/>
                  </a:lnTo>
                  <a:lnTo>
                    <a:pt x="4820" y="1282"/>
                  </a:lnTo>
                  <a:lnTo>
                    <a:pt x="4819" y="1296"/>
                  </a:lnTo>
                  <a:lnTo>
                    <a:pt x="4817" y="1308"/>
                  </a:lnTo>
                  <a:lnTo>
                    <a:pt x="4815" y="1320"/>
                  </a:lnTo>
                  <a:lnTo>
                    <a:pt x="4813" y="1331"/>
                  </a:lnTo>
                  <a:lnTo>
                    <a:pt x="4806" y="1353"/>
                  </a:lnTo>
                  <a:lnTo>
                    <a:pt x="4800" y="1378"/>
                  </a:lnTo>
                  <a:lnTo>
                    <a:pt x="4795" y="1419"/>
                  </a:lnTo>
                  <a:lnTo>
                    <a:pt x="4793" y="1455"/>
                  </a:lnTo>
                  <a:lnTo>
                    <a:pt x="4792" y="1472"/>
                  </a:lnTo>
                  <a:lnTo>
                    <a:pt x="4790" y="1490"/>
                  </a:lnTo>
                  <a:lnTo>
                    <a:pt x="4786" y="1510"/>
                  </a:lnTo>
                  <a:lnTo>
                    <a:pt x="4780" y="1530"/>
                  </a:lnTo>
                  <a:lnTo>
                    <a:pt x="4773" y="1554"/>
                  </a:lnTo>
                  <a:lnTo>
                    <a:pt x="4765" y="1576"/>
                  </a:lnTo>
                  <a:lnTo>
                    <a:pt x="4762" y="1586"/>
                  </a:lnTo>
                  <a:lnTo>
                    <a:pt x="4760" y="1598"/>
                  </a:lnTo>
                  <a:lnTo>
                    <a:pt x="4759" y="1610"/>
                  </a:lnTo>
                  <a:lnTo>
                    <a:pt x="4758" y="1623"/>
                  </a:lnTo>
                  <a:lnTo>
                    <a:pt x="4759" y="1642"/>
                  </a:lnTo>
                  <a:lnTo>
                    <a:pt x="4761" y="1658"/>
                  </a:lnTo>
                  <a:lnTo>
                    <a:pt x="4764" y="1673"/>
                  </a:lnTo>
                  <a:lnTo>
                    <a:pt x="4768" y="1687"/>
                  </a:lnTo>
                  <a:lnTo>
                    <a:pt x="4772" y="1702"/>
                  </a:lnTo>
                  <a:lnTo>
                    <a:pt x="4775" y="1717"/>
                  </a:lnTo>
                  <a:lnTo>
                    <a:pt x="4777" y="1732"/>
                  </a:lnTo>
                  <a:lnTo>
                    <a:pt x="4778" y="1751"/>
                  </a:lnTo>
                  <a:lnTo>
                    <a:pt x="4778" y="1770"/>
                  </a:lnTo>
                  <a:lnTo>
                    <a:pt x="4778" y="1787"/>
                  </a:lnTo>
                  <a:lnTo>
                    <a:pt x="4778" y="1805"/>
                  </a:lnTo>
                  <a:lnTo>
                    <a:pt x="4778" y="1825"/>
                  </a:lnTo>
                  <a:lnTo>
                    <a:pt x="4777" y="1838"/>
                  </a:lnTo>
                  <a:lnTo>
                    <a:pt x="4776" y="1850"/>
                  </a:lnTo>
                  <a:lnTo>
                    <a:pt x="4774" y="1861"/>
                  </a:lnTo>
                  <a:lnTo>
                    <a:pt x="4772" y="1872"/>
                  </a:lnTo>
                  <a:lnTo>
                    <a:pt x="4764" y="1893"/>
                  </a:lnTo>
                  <a:lnTo>
                    <a:pt x="4755" y="1917"/>
                  </a:lnTo>
                  <a:lnTo>
                    <a:pt x="4751" y="1929"/>
                  </a:lnTo>
                  <a:lnTo>
                    <a:pt x="4748" y="1941"/>
                  </a:lnTo>
                  <a:lnTo>
                    <a:pt x="4746" y="1952"/>
                  </a:lnTo>
                  <a:lnTo>
                    <a:pt x="4744" y="1962"/>
                  </a:lnTo>
                  <a:lnTo>
                    <a:pt x="4743" y="1974"/>
                  </a:lnTo>
                  <a:lnTo>
                    <a:pt x="4740" y="1985"/>
                  </a:lnTo>
                  <a:lnTo>
                    <a:pt x="4737" y="1997"/>
                  </a:lnTo>
                  <a:lnTo>
                    <a:pt x="4733" y="2009"/>
                  </a:lnTo>
                  <a:lnTo>
                    <a:pt x="4723" y="2035"/>
                  </a:lnTo>
                  <a:lnTo>
                    <a:pt x="4714" y="2057"/>
                  </a:lnTo>
                  <a:lnTo>
                    <a:pt x="4707" y="2079"/>
                  </a:lnTo>
                  <a:lnTo>
                    <a:pt x="4699" y="2099"/>
                  </a:lnTo>
                  <a:lnTo>
                    <a:pt x="4693" y="2120"/>
                  </a:lnTo>
                  <a:lnTo>
                    <a:pt x="4686" y="2142"/>
                  </a:lnTo>
                  <a:lnTo>
                    <a:pt x="4680" y="2165"/>
                  </a:lnTo>
                  <a:lnTo>
                    <a:pt x="4673" y="2192"/>
                  </a:lnTo>
                  <a:lnTo>
                    <a:pt x="4673" y="2192"/>
                  </a:lnTo>
                  <a:lnTo>
                    <a:pt x="4662" y="2204"/>
                  </a:lnTo>
                  <a:lnTo>
                    <a:pt x="4652" y="2215"/>
                  </a:lnTo>
                  <a:lnTo>
                    <a:pt x="4643" y="2226"/>
                  </a:lnTo>
                  <a:lnTo>
                    <a:pt x="4636" y="2238"/>
                  </a:lnTo>
                  <a:lnTo>
                    <a:pt x="4629" y="2249"/>
                  </a:lnTo>
                  <a:lnTo>
                    <a:pt x="4623" y="2260"/>
                  </a:lnTo>
                  <a:lnTo>
                    <a:pt x="4617" y="2272"/>
                  </a:lnTo>
                  <a:lnTo>
                    <a:pt x="4612" y="2283"/>
                  </a:lnTo>
                  <a:lnTo>
                    <a:pt x="4603" y="2308"/>
                  </a:lnTo>
                  <a:lnTo>
                    <a:pt x="4595" y="2334"/>
                  </a:lnTo>
                  <a:lnTo>
                    <a:pt x="4587" y="2361"/>
                  </a:lnTo>
                  <a:lnTo>
                    <a:pt x="4578" y="2390"/>
                  </a:lnTo>
                  <a:lnTo>
                    <a:pt x="4572" y="2411"/>
                  </a:lnTo>
                  <a:lnTo>
                    <a:pt x="4564" y="2428"/>
                  </a:lnTo>
                  <a:lnTo>
                    <a:pt x="4555" y="2444"/>
                  </a:lnTo>
                  <a:lnTo>
                    <a:pt x="4546" y="2459"/>
                  </a:lnTo>
                  <a:lnTo>
                    <a:pt x="4536" y="2474"/>
                  </a:lnTo>
                  <a:lnTo>
                    <a:pt x="4527" y="2490"/>
                  </a:lnTo>
                  <a:lnTo>
                    <a:pt x="4517" y="2508"/>
                  </a:lnTo>
                  <a:lnTo>
                    <a:pt x="4508" y="2527"/>
                  </a:lnTo>
                  <a:lnTo>
                    <a:pt x="4500" y="2555"/>
                  </a:lnTo>
                  <a:lnTo>
                    <a:pt x="4494" y="2580"/>
                  </a:lnTo>
                  <a:lnTo>
                    <a:pt x="4491" y="2593"/>
                  </a:lnTo>
                  <a:lnTo>
                    <a:pt x="4487" y="2605"/>
                  </a:lnTo>
                  <a:lnTo>
                    <a:pt x="4481" y="2618"/>
                  </a:lnTo>
                  <a:lnTo>
                    <a:pt x="4475" y="2631"/>
                  </a:lnTo>
                  <a:lnTo>
                    <a:pt x="4468" y="2645"/>
                  </a:lnTo>
                  <a:lnTo>
                    <a:pt x="4463" y="2658"/>
                  </a:lnTo>
                  <a:lnTo>
                    <a:pt x="4457" y="2670"/>
                  </a:lnTo>
                  <a:lnTo>
                    <a:pt x="4453" y="2682"/>
                  </a:lnTo>
                  <a:lnTo>
                    <a:pt x="4446" y="2706"/>
                  </a:lnTo>
                  <a:lnTo>
                    <a:pt x="4436" y="2735"/>
                  </a:lnTo>
                  <a:lnTo>
                    <a:pt x="4430" y="2746"/>
                  </a:lnTo>
                  <a:lnTo>
                    <a:pt x="4424" y="2757"/>
                  </a:lnTo>
                  <a:lnTo>
                    <a:pt x="4417" y="2767"/>
                  </a:lnTo>
                  <a:lnTo>
                    <a:pt x="4411" y="2777"/>
                  </a:lnTo>
                  <a:lnTo>
                    <a:pt x="4404" y="2785"/>
                  </a:lnTo>
                  <a:lnTo>
                    <a:pt x="4398" y="2795"/>
                  </a:lnTo>
                  <a:lnTo>
                    <a:pt x="4394" y="2806"/>
                  </a:lnTo>
                  <a:lnTo>
                    <a:pt x="4390" y="2819"/>
                  </a:lnTo>
                  <a:lnTo>
                    <a:pt x="4389" y="2834"/>
                  </a:lnTo>
                  <a:lnTo>
                    <a:pt x="4388" y="2847"/>
                  </a:lnTo>
                  <a:lnTo>
                    <a:pt x="4388" y="2860"/>
                  </a:lnTo>
                  <a:lnTo>
                    <a:pt x="4389" y="2872"/>
                  </a:lnTo>
                  <a:lnTo>
                    <a:pt x="4389" y="2885"/>
                  </a:lnTo>
                  <a:lnTo>
                    <a:pt x="4388" y="2898"/>
                  </a:lnTo>
                  <a:lnTo>
                    <a:pt x="4387" y="2911"/>
                  </a:lnTo>
                  <a:lnTo>
                    <a:pt x="4385" y="2926"/>
                  </a:lnTo>
                  <a:lnTo>
                    <a:pt x="4383" y="2936"/>
                  </a:lnTo>
                  <a:lnTo>
                    <a:pt x="4380" y="2946"/>
                  </a:lnTo>
                  <a:lnTo>
                    <a:pt x="4376" y="2956"/>
                  </a:lnTo>
                  <a:lnTo>
                    <a:pt x="4372" y="2966"/>
                  </a:lnTo>
                  <a:lnTo>
                    <a:pt x="4365" y="2983"/>
                  </a:lnTo>
                  <a:lnTo>
                    <a:pt x="4356" y="2999"/>
                  </a:lnTo>
                  <a:lnTo>
                    <a:pt x="4347" y="3015"/>
                  </a:lnTo>
                  <a:lnTo>
                    <a:pt x="4341" y="3033"/>
                  </a:lnTo>
                  <a:lnTo>
                    <a:pt x="4339" y="3042"/>
                  </a:lnTo>
                  <a:lnTo>
                    <a:pt x="4336" y="3052"/>
                  </a:lnTo>
                  <a:lnTo>
                    <a:pt x="4335" y="3062"/>
                  </a:lnTo>
                  <a:lnTo>
                    <a:pt x="4335" y="3074"/>
                  </a:lnTo>
                  <a:lnTo>
                    <a:pt x="4335" y="3093"/>
                  </a:lnTo>
                  <a:lnTo>
                    <a:pt x="4335" y="3110"/>
                  </a:lnTo>
                  <a:lnTo>
                    <a:pt x="4335" y="3128"/>
                  </a:lnTo>
                  <a:lnTo>
                    <a:pt x="4335" y="3147"/>
                  </a:lnTo>
                  <a:lnTo>
                    <a:pt x="4334" y="3157"/>
                  </a:lnTo>
                  <a:lnTo>
                    <a:pt x="4332" y="3165"/>
                  </a:lnTo>
                  <a:lnTo>
                    <a:pt x="4330" y="3173"/>
                  </a:lnTo>
                  <a:lnTo>
                    <a:pt x="4327" y="3179"/>
                  </a:lnTo>
                  <a:lnTo>
                    <a:pt x="4322" y="3186"/>
                  </a:lnTo>
                  <a:lnTo>
                    <a:pt x="4317" y="3191"/>
                  </a:lnTo>
                  <a:lnTo>
                    <a:pt x="4312" y="3198"/>
                  </a:lnTo>
                  <a:lnTo>
                    <a:pt x="4306" y="3203"/>
                  </a:lnTo>
                  <a:lnTo>
                    <a:pt x="4293" y="3214"/>
                  </a:lnTo>
                  <a:lnTo>
                    <a:pt x="4281" y="3226"/>
                  </a:lnTo>
                  <a:lnTo>
                    <a:pt x="4276" y="3232"/>
                  </a:lnTo>
                  <a:lnTo>
                    <a:pt x="4271" y="3240"/>
                  </a:lnTo>
                  <a:lnTo>
                    <a:pt x="4266" y="3248"/>
                  </a:lnTo>
                  <a:lnTo>
                    <a:pt x="4262" y="3256"/>
                  </a:lnTo>
                  <a:lnTo>
                    <a:pt x="4257" y="3270"/>
                  </a:lnTo>
                  <a:lnTo>
                    <a:pt x="4250" y="3285"/>
                  </a:lnTo>
                  <a:lnTo>
                    <a:pt x="4245" y="3298"/>
                  </a:lnTo>
                  <a:lnTo>
                    <a:pt x="4237" y="3311"/>
                  </a:lnTo>
                  <a:lnTo>
                    <a:pt x="4233" y="3317"/>
                  </a:lnTo>
                  <a:lnTo>
                    <a:pt x="4228" y="3322"/>
                  </a:lnTo>
                  <a:lnTo>
                    <a:pt x="4224" y="3326"/>
                  </a:lnTo>
                  <a:lnTo>
                    <a:pt x="4219" y="3330"/>
                  </a:lnTo>
                  <a:lnTo>
                    <a:pt x="4212" y="3333"/>
                  </a:lnTo>
                  <a:lnTo>
                    <a:pt x="4207" y="3335"/>
                  </a:lnTo>
                  <a:lnTo>
                    <a:pt x="4199" y="3337"/>
                  </a:lnTo>
                  <a:lnTo>
                    <a:pt x="4192" y="3337"/>
                  </a:lnTo>
                  <a:lnTo>
                    <a:pt x="4183" y="3337"/>
                  </a:lnTo>
                  <a:lnTo>
                    <a:pt x="4175" y="3336"/>
                  </a:lnTo>
                  <a:lnTo>
                    <a:pt x="4168" y="3334"/>
                  </a:lnTo>
                  <a:lnTo>
                    <a:pt x="4161" y="3332"/>
                  </a:lnTo>
                  <a:lnTo>
                    <a:pt x="4154" y="3330"/>
                  </a:lnTo>
                  <a:lnTo>
                    <a:pt x="4146" y="3327"/>
                  </a:lnTo>
                  <a:lnTo>
                    <a:pt x="4139" y="3326"/>
                  </a:lnTo>
                  <a:lnTo>
                    <a:pt x="4130" y="3326"/>
                  </a:lnTo>
                  <a:lnTo>
                    <a:pt x="4125" y="3326"/>
                  </a:lnTo>
                  <a:lnTo>
                    <a:pt x="4120" y="3327"/>
                  </a:lnTo>
                  <a:lnTo>
                    <a:pt x="4115" y="3329"/>
                  </a:lnTo>
                  <a:lnTo>
                    <a:pt x="4111" y="3331"/>
                  </a:lnTo>
                  <a:lnTo>
                    <a:pt x="4103" y="3336"/>
                  </a:lnTo>
                  <a:lnTo>
                    <a:pt x="4097" y="3344"/>
                  </a:lnTo>
                  <a:lnTo>
                    <a:pt x="4085" y="3360"/>
                  </a:lnTo>
                  <a:lnTo>
                    <a:pt x="4072" y="3377"/>
                  </a:lnTo>
                  <a:lnTo>
                    <a:pt x="4046" y="3403"/>
                  </a:lnTo>
                  <a:lnTo>
                    <a:pt x="4024" y="3429"/>
                  </a:lnTo>
                  <a:lnTo>
                    <a:pt x="4020" y="3435"/>
                  </a:lnTo>
                  <a:lnTo>
                    <a:pt x="4017" y="3442"/>
                  </a:lnTo>
                  <a:lnTo>
                    <a:pt x="4012" y="3449"/>
                  </a:lnTo>
                  <a:lnTo>
                    <a:pt x="4010" y="3457"/>
                  </a:lnTo>
                  <a:lnTo>
                    <a:pt x="4007" y="3465"/>
                  </a:lnTo>
                  <a:lnTo>
                    <a:pt x="4006" y="3473"/>
                  </a:lnTo>
                  <a:lnTo>
                    <a:pt x="4005" y="3482"/>
                  </a:lnTo>
                  <a:lnTo>
                    <a:pt x="4004" y="3492"/>
                  </a:lnTo>
                  <a:lnTo>
                    <a:pt x="4006" y="3502"/>
                  </a:lnTo>
                  <a:lnTo>
                    <a:pt x="4008" y="3512"/>
                  </a:lnTo>
                  <a:lnTo>
                    <a:pt x="4011" y="3521"/>
                  </a:lnTo>
                  <a:lnTo>
                    <a:pt x="4012" y="3533"/>
                  </a:lnTo>
                  <a:lnTo>
                    <a:pt x="4012" y="3552"/>
                  </a:lnTo>
                  <a:lnTo>
                    <a:pt x="4009" y="3570"/>
                  </a:lnTo>
                  <a:lnTo>
                    <a:pt x="4006" y="3589"/>
                  </a:lnTo>
                  <a:lnTo>
                    <a:pt x="3999" y="3605"/>
                  </a:lnTo>
                  <a:lnTo>
                    <a:pt x="3996" y="3613"/>
                  </a:lnTo>
                  <a:lnTo>
                    <a:pt x="3992" y="3620"/>
                  </a:lnTo>
                  <a:lnTo>
                    <a:pt x="3988" y="3628"/>
                  </a:lnTo>
                  <a:lnTo>
                    <a:pt x="3982" y="3634"/>
                  </a:lnTo>
                  <a:lnTo>
                    <a:pt x="3976" y="3641"/>
                  </a:lnTo>
                  <a:lnTo>
                    <a:pt x="3969" y="3647"/>
                  </a:lnTo>
                  <a:lnTo>
                    <a:pt x="3962" y="3654"/>
                  </a:lnTo>
                  <a:lnTo>
                    <a:pt x="3954" y="3660"/>
                  </a:lnTo>
                  <a:lnTo>
                    <a:pt x="3948" y="3663"/>
                  </a:lnTo>
                  <a:lnTo>
                    <a:pt x="3941" y="3667"/>
                  </a:lnTo>
                  <a:lnTo>
                    <a:pt x="3934" y="3670"/>
                  </a:lnTo>
                  <a:lnTo>
                    <a:pt x="3927" y="3671"/>
                  </a:lnTo>
                  <a:lnTo>
                    <a:pt x="3914" y="3673"/>
                  </a:lnTo>
                  <a:lnTo>
                    <a:pt x="3901" y="3673"/>
                  </a:lnTo>
                  <a:lnTo>
                    <a:pt x="3872" y="3670"/>
                  </a:lnTo>
                  <a:lnTo>
                    <a:pt x="3842" y="3668"/>
                  </a:lnTo>
                  <a:lnTo>
                    <a:pt x="3822" y="3668"/>
                  </a:lnTo>
                  <a:lnTo>
                    <a:pt x="3805" y="3669"/>
                  </a:lnTo>
                  <a:lnTo>
                    <a:pt x="3788" y="3670"/>
                  </a:lnTo>
                  <a:lnTo>
                    <a:pt x="3768" y="3674"/>
                  </a:lnTo>
                  <a:lnTo>
                    <a:pt x="3762" y="3676"/>
                  </a:lnTo>
                  <a:lnTo>
                    <a:pt x="3756" y="3681"/>
                  </a:lnTo>
                  <a:lnTo>
                    <a:pt x="3752" y="3686"/>
                  </a:lnTo>
                  <a:lnTo>
                    <a:pt x="3748" y="3692"/>
                  </a:lnTo>
                  <a:lnTo>
                    <a:pt x="3745" y="3698"/>
                  </a:lnTo>
                  <a:lnTo>
                    <a:pt x="3740" y="3704"/>
                  </a:lnTo>
                  <a:lnTo>
                    <a:pt x="3735" y="3711"/>
                  </a:lnTo>
                  <a:lnTo>
                    <a:pt x="3729" y="3716"/>
                  </a:lnTo>
                  <a:lnTo>
                    <a:pt x="3719" y="3724"/>
                  </a:lnTo>
                  <a:lnTo>
                    <a:pt x="3708" y="3732"/>
                  </a:lnTo>
                  <a:lnTo>
                    <a:pt x="3702" y="3736"/>
                  </a:lnTo>
                  <a:lnTo>
                    <a:pt x="3697" y="3739"/>
                  </a:lnTo>
                  <a:lnTo>
                    <a:pt x="3692" y="3741"/>
                  </a:lnTo>
                  <a:lnTo>
                    <a:pt x="3685" y="3743"/>
                  </a:lnTo>
                  <a:lnTo>
                    <a:pt x="3666" y="3750"/>
                  </a:lnTo>
                  <a:lnTo>
                    <a:pt x="3647" y="3756"/>
                  </a:lnTo>
                  <a:lnTo>
                    <a:pt x="3640" y="3761"/>
                  </a:lnTo>
                  <a:lnTo>
                    <a:pt x="3633" y="3766"/>
                  </a:lnTo>
                  <a:lnTo>
                    <a:pt x="3631" y="3769"/>
                  </a:lnTo>
                  <a:lnTo>
                    <a:pt x="3630" y="3773"/>
                  </a:lnTo>
                  <a:lnTo>
                    <a:pt x="3629" y="3778"/>
                  </a:lnTo>
                  <a:lnTo>
                    <a:pt x="3629" y="3782"/>
                  </a:lnTo>
                  <a:lnTo>
                    <a:pt x="3629" y="3797"/>
                  </a:lnTo>
                  <a:lnTo>
                    <a:pt x="3629" y="3811"/>
                  </a:lnTo>
                  <a:lnTo>
                    <a:pt x="3629" y="3824"/>
                  </a:lnTo>
                  <a:lnTo>
                    <a:pt x="3629" y="3839"/>
                  </a:lnTo>
                  <a:lnTo>
                    <a:pt x="3628" y="3853"/>
                  </a:lnTo>
                  <a:lnTo>
                    <a:pt x="3626" y="3865"/>
                  </a:lnTo>
                  <a:lnTo>
                    <a:pt x="3622" y="3876"/>
                  </a:lnTo>
                  <a:lnTo>
                    <a:pt x="3618" y="3887"/>
                  </a:lnTo>
                  <a:lnTo>
                    <a:pt x="3607" y="3907"/>
                  </a:lnTo>
                  <a:lnTo>
                    <a:pt x="3598" y="3931"/>
                  </a:lnTo>
                  <a:lnTo>
                    <a:pt x="3590" y="3954"/>
                  </a:lnTo>
                  <a:lnTo>
                    <a:pt x="3581" y="3974"/>
                  </a:lnTo>
                  <a:lnTo>
                    <a:pt x="3576" y="3983"/>
                  </a:lnTo>
                  <a:lnTo>
                    <a:pt x="3570" y="3992"/>
                  </a:lnTo>
                  <a:lnTo>
                    <a:pt x="3562" y="4000"/>
                  </a:lnTo>
                  <a:lnTo>
                    <a:pt x="3553" y="4007"/>
                  </a:lnTo>
                  <a:lnTo>
                    <a:pt x="3508" y="4035"/>
                  </a:lnTo>
                  <a:lnTo>
                    <a:pt x="3467" y="4059"/>
                  </a:lnTo>
                  <a:lnTo>
                    <a:pt x="3448" y="4072"/>
                  </a:lnTo>
                  <a:lnTo>
                    <a:pt x="3429" y="4086"/>
                  </a:lnTo>
                  <a:lnTo>
                    <a:pt x="3421" y="4094"/>
                  </a:lnTo>
                  <a:lnTo>
                    <a:pt x="3412" y="4104"/>
                  </a:lnTo>
                  <a:lnTo>
                    <a:pt x="3404" y="4114"/>
                  </a:lnTo>
                  <a:lnTo>
                    <a:pt x="3396" y="4124"/>
                  </a:lnTo>
                  <a:lnTo>
                    <a:pt x="3378" y="4147"/>
                  </a:lnTo>
                  <a:lnTo>
                    <a:pt x="3362" y="4167"/>
                  </a:lnTo>
                  <a:lnTo>
                    <a:pt x="3356" y="4177"/>
                  </a:lnTo>
                  <a:lnTo>
                    <a:pt x="3350" y="4188"/>
                  </a:lnTo>
                  <a:lnTo>
                    <a:pt x="3348" y="4195"/>
                  </a:lnTo>
                  <a:lnTo>
                    <a:pt x="3347" y="4200"/>
                  </a:lnTo>
                  <a:lnTo>
                    <a:pt x="3346" y="4208"/>
                  </a:lnTo>
                  <a:lnTo>
                    <a:pt x="3346" y="4214"/>
                  </a:lnTo>
                  <a:lnTo>
                    <a:pt x="3346" y="4222"/>
                  </a:lnTo>
                  <a:lnTo>
                    <a:pt x="3347" y="4228"/>
                  </a:lnTo>
                  <a:lnTo>
                    <a:pt x="3350" y="4234"/>
                  </a:lnTo>
                  <a:lnTo>
                    <a:pt x="3352" y="4240"/>
                  </a:lnTo>
                  <a:lnTo>
                    <a:pt x="3360" y="4251"/>
                  </a:lnTo>
                  <a:lnTo>
                    <a:pt x="3368" y="4263"/>
                  </a:lnTo>
                  <a:lnTo>
                    <a:pt x="3378" y="4293"/>
                  </a:lnTo>
                  <a:lnTo>
                    <a:pt x="3387" y="4322"/>
                  </a:lnTo>
                  <a:lnTo>
                    <a:pt x="3391" y="4336"/>
                  </a:lnTo>
                  <a:lnTo>
                    <a:pt x="3396" y="4351"/>
                  </a:lnTo>
                  <a:lnTo>
                    <a:pt x="3399" y="4366"/>
                  </a:lnTo>
                  <a:lnTo>
                    <a:pt x="3401" y="4383"/>
                  </a:lnTo>
                  <a:lnTo>
                    <a:pt x="3401" y="4383"/>
                  </a:lnTo>
                  <a:lnTo>
                    <a:pt x="3390" y="4382"/>
                  </a:lnTo>
                  <a:lnTo>
                    <a:pt x="3381" y="4379"/>
                  </a:lnTo>
                  <a:lnTo>
                    <a:pt x="3371" y="4376"/>
                  </a:lnTo>
                  <a:lnTo>
                    <a:pt x="3362" y="4372"/>
                  </a:lnTo>
                  <a:lnTo>
                    <a:pt x="3345" y="4361"/>
                  </a:lnTo>
                  <a:lnTo>
                    <a:pt x="3325" y="4349"/>
                  </a:lnTo>
                  <a:lnTo>
                    <a:pt x="3314" y="4344"/>
                  </a:lnTo>
                  <a:lnTo>
                    <a:pt x="3301" y="4342"/>
                  </a:lnTo>
                  <a:lnTo>
                    <a:pt x="3295" y="4339"/>
                  </a:lnTo>
                  <a:lnTo>
                    <a:pt x="3289" y="4337"/>
                  </a:lnTo>
                  <a:lnTo>
                    <a:pt x="3283" y="4334"/>
                  </a:lnTo>
                  <a:lnTo>
                    <a:pt x="3278" y="4330"/>
                  </a:lnTo>
                  <a:lnTo>
                    <a:pt x="3275" y="4325"/>
                  </a:lnTo>
                  <a:lnTo>
                    <a:pt x="3271" y="4321"/>
                  </a:lnTo>
                  <a:lnTo>
                    <a:pt x="3269" y="4317"/>
                  </a:lnTo>
                  <a:lnTo>
                    <a:pt x="3268" y="4312"/>
                  </a:lnTo>
                  <a:lnTo>
                    <a:pt x="3266" y="4304"/>
                  </a:lnTo>
                  <a:lnTo>
                    <a:pt x="3266" y="4295"/>
                  </a:lnTo>
                  <a:lnTo>
                    <a:pt x="3265" y="4285"/>
                  </a:lnTo>
                  <a:lnTo>
                    <a:pt x="3264" y="4276"/>
                  </a:lnTo>
                  <a:lnTo>
                    <a:pt x="3263" y="4266"/>
                  </a:lnTo>
                  <a:lnTo>
                    <a:pt x="3259" y="4256"/>
                  </a:lnTo>
                  <a:lnTo>
                    <a:pt x="3256" y="4253"/>
                  </a:lnTo>
                  <a:lnTo>
                    <a:pt x="3253" y="4250"/>
                  </a:lnTo>
                  <a:lnTo>
                    <a:pt x="3251" y="4247"/>
                  </a:lnTo>
                  <a:lnTo>
                    <a:pt x="3248" y="4244"/>
                  </a:lnTo>
                  <a:lnTo>
                    <a:pt x="3240" y="4241"/>
                  </a:lnTo>
                  <a:lnTo>
                    <a:pt x="3232" y="4240"/>
                  </a:lnTo>
                  <a:lnTo>
                    <a:pt x="3213" y="4239"/>
                  </a:lnTo>
                  <a:lnTo>
                    <a:pt x="3194" y="4240"/>
                  </a:lnTo>
                  <a:lnTo>
                    <a:pt x="3165" y="4241"/>
                  </a:lnTo>
                  <a:lnTo>
                    <a:pt x="3139" y="4243"/>
                  </a:lnTo>
                  <a:lnTo>
                    <a:pt x="3114" y="4247"/>
                  </a:lnTo>
                  <a:lnTo>
                    <a:pt x="3089" y="4251"/>
                  </a:lnTo>
                  <a:lnTo>
                    <a:pt x="3065" y="4255"/>
                  </a:lnTo>
                  <a:lnTo>
                    <a:pt x="3040" y="4258"/>
                  </a:lnTo>
                  <a:lnTo>
                    <a:pt x="3013" y="4262"/>
                  </a:lnTo>
                  <a:lnTo>
                    <a:pt x="2984" y="4263"/>
                  </a:lnTo>
                  <a:lnTo>
                    <a:pt x="2969" y="4262"/>
                  </a:lnTo>
                  <a:lnTo>
                    <a:pt x="2955" y="4258"/>
                  </a:lnTo>
                  <a:lnTo>
                    <a:pt x="2947" y="4256"/>
                  </a:lnTo>
                  <a:lnTo>
                    <a:pt x="2941" y="4254"/>
                  </a:lnTo>
                  <a:lnTo>
                    <a:pt x="2936" y="4251"/>
                  </a:lnTo>
                  <a:lnTo>
                    <a:pt x="2929" y="4248"/>
                  </a:lnTo>
                  <a:lnTo>
                    <a:pt x="2924" y="4243"/>
                  </a:lnTo>
                  <a:lnTo>
                    <a:pt x="2918" y="4239"/>
                  </a:lnTo>
                  <a:lnTo>
                    <a:pt x="2914" y="4235"/>
                  </a:lnTo>
                  <a:lnTo>
                    <a:pt x="2910" y="4229"/>
                  </a:lnTo>
                  <a:lnTo>
                    <a:pt x="2905" y="4223"/>
                  </a:lnTo>
                  <a:lnTo>
                    <a:pt x="2902" y="4216"/>
                  </a:lnTo>
                  <a:lnTo>
                    <a:pt x="2900" y="4210"/>
                  </a:lnTo>
                  <a:lnTo>
                    <a:pt x="2897" y="4202"/>
                  </a:lnTo>
                  <a:lnTo>
                    <a:pt x="2860" y="4202"/>
                  </a:lnTo>
                  <a:lnTo>
                    <a:pt x="2828" y="4203"/>
                  </a:lnTo>
                  <a:lnTo>
                    <a:pt x="2795" y="4203"/>
                  </a:lnTo>
                  <a:lnTo>
                    <a:pt x="2757" y="4203"/>
                  </a:lnTo>
                  <a:lnTo>
                    <a:pt x="2744" y="4204"/>
                  </a:lnTo>
                  <a:lnTo>
                    <a:pt x="2733" y="4208"/>
                  </a:lnTo>
                  <a:lnTo>
                    <a:pt x="2720" y="4210"/>
                  </a:lnTo>
                  <a:lnTo>
                    <a:pt x="2707" y="4212"/>
                  </a:lnTo>
                  <a:lnTo>
                    <a:pt x="2683" y="4211"/>
                  </a:lnTo>
                  <a:lnTo>
                    <a:pt x="2662" y="4209"/>
                  </a:lnTo>
                  <a:lnTo>
                    <a:pt x="2653" y="4208"/>
                  </a:lnTo>
                  <a:lnTo>
                    <a:pt x="2642" y="4208"/>
                  </a:lnTo>
                  <a:lnTo>
                    <a:pt x="2631" y="4209"/>
                  </a:lnTo>
                  <a:lnTo>
                    <a:pt x="2619" y="4212"/>
                  </a:lnTo>
                  <a:lnTo>
                    <a:pt x="2609" y="4216"/>
                  </a:lnTo>
                  <a:lnTo>
                    <a:pt x="2600" y="4222"/>
                  </a:lnTo>
                  <a:lnTo>
                    <a:pt x="2592" y="4229"/>
                  </a:lnTo>
                  <a:lnTo>
                    <a:pt x="2586" y="4237"/>
                  </a:lnTo>
                  <a:lnTo>
                    <a:pt x="2574" y="4255"/>
                  </a:lnTo>
                  <a:lnTo>
                    <a:pt x="2563" y="4275"/>
                  </a:lnTo>
                  <a:lnTo>
                    <a:pt x="2558" y="4284"/>
                  </a:lnTo>
                  <a:lnTo>
                    <a:pt x="2552" y="4293"/>
                  </a:lnTo>
                  <a:lnTo>
                    <a:pt x="2547" y="4302"/>
                  </a:lnTo>
                  <a:lnTo>
                    <a:pt x="2540" y="4309"/>
                  </a:lnTo>
                  <a:lnTo>
                    <a:pt x="2533" y="4315"/>
                  </a:lnTo>
                  <a:lnTo>
                    <a:pt x="2524" y="4320"/>
                  </a:lnTo>
                  <a:lnTo>
                    <a:pt x="2520" y="4321"/>
                  </a:lnTo>
                  <a:lnTo>
                    <a:pt x="2515" y="4323"/>
                  </a:lnTo>
                  <a:lnTo>
                    <a:pt x="2510" y="4323"/>
                  </a:lnTo>
                  <a:lnTo>
                    <a:pt x="2504" y="4324"/>
                  </a:lnTo>
                  <a:lnTo>
                    <a:pt x="2487" y="4324"/>
                  </a:lnTo>
                  <a:lnTo>
                    <a:pt x="2474" y="4324"/>
                  </a:lnTo>
                  <a:lnTo>
                    <a:pt x="2460" y="4324"/>
                  </a:lnTo>
                  <a:lnTo>
                    <a:pt x="2444" y="4324"/>
                  </a:lnTo>
                  <a:lnTo>
                    <a:pt x="2432" y="4323"/>
                  </a:lnTo>
                  <a:lnTo>
                    <a:pt x="2423" y="4323"/>
                  </a:lnTo>
                  <a:lnTo>
                    <a:pt x="2412" y="4321"/>
                  </a:lnTo>
                  <a:lnTo>
                    <a:pt x="2402" y="4319"/>
                  </a:lnTo>
                  <a:lnTo>
                    <a:pt x="2385" y="4313"/>
                  </a:lnTo>
                  <a:lnTo>
                    <a:pt x="2367" y="4306"/>
                  </a:lnTo>
                  <a:lnTo>
                    <a:pt x="2350" y="4297"/>
                  </a:lnTo>
                  <a:lnTo>
                    <a:pt x="2334" y="4286"/>
                  </a:lnTo>
                  <a:lnTo>
                    <a:pt x="2318" y="4275"/>
                  </a:lnTo>
                  <a:lnTo>
                    <a:pt x="2300" y="4263"/>
                  </a:lnTo>
                  <a:lnTo>
                    <a:pt x="2293" y="4257"/>
                  </a:lnTo>
                  <a:lnTo>
                    <a:pt x="2288" y="4252"/>
                  </a:lnTo>
                  <a:lnTo>
                    <a:pt x="2282" y="4247"/>
                  </a:lnTo>
                  <a:lnTo>
                    <a:pt x="2278" y="4240"/>
                  </a:lnTo>
                  <a:lnTo>
                    <a:pt x="2276" y="4232"/>
                  </a:lnTo>
                  <a:lnTo>
                    <a:pt x="2273" y="4225"/>
                  </a:lnTo>
                  <a:lnTo>
                    <a:pt x="2273" y="4223"/>
                  </a:lnTo>
                  <a:lnTo>
                    <a:pt x="2271" y="4220"/>
                  </a:lnTo>
                  <a:lnTo>
                    <a:pt x="2269" y="4218"/>
                  </a:lnTo>
                  <a:lnTo>
                    <a:pt x="2266" y="4217"/>
                  </a:lnTo>
                  <a:lnTo>
                    <a:pt x="2248" y="4218"/>
                  </a:lnTo>
                  <a:lnTo>
                    <a:pt x="2230" y="4220"/>
                  </a:lnTo>
                  <a:lnTo>
                    <a:pt x="2214" y="4223"/>
                  </a:lnTo>
                  <a:lnTo>
                    <a:pt x="2199" y="4227"/>
                  </a:lnTo>
                  <a:lnTo>
                    <a:pt x="2169" y="4239"/>
                  </a:lnTo>
                  <a:lnTo>
                    <a:pt x="2134" y="4254"/>
                  </a:lnTo>
                  <a:lnTo>
                    <a:pt x="2122" y="4258"/>
                  </a:lnTo>
                  <a:lnTo>
                    <a:pt x="2110" y="4262"/>
                  </a:lnTo>
                  <a:lnTo>
                    <a:pt x="2099" y="4264"/>
                  </a:lnTo>
                  <a:lnTo>
                    <a:pt x="2088" y="4266"/>
                  </a:lnTo>
                  <a:lnTo>
                    <a:pt x="2077" y="4269"/>
                  </a:lnTo>
                  <a:lnTo>
                    <a:pt x="2067" y="4274"/>
                  </a:lnTo>
                  <a:lnTo>
                    <a:pt x="2062" y="4276"/>
                  </a:lnTo>
                  <a:lnTo>
                    <a:pt x="2057" y="4279"/>
                  </a:lnTo>
                  <a:lnTo>
                    <a:pt x="2052" y="4283"/>
                  </a:lnTo>
                  <a:lnTo>
                    <a:pt x="2048" y="4288"/>
                  </a:lnTo>
                  <a:lnTo>
                    <a:pt x="2043" y="4294"/>
                  </a:lnTo>
                  <a:lnTo>
                    <a:pt x="2040" y="4301"/>
                  </a:lnTo>
                  <a:lnTo>
                    <a:pt x="2038" y="4307"/>
                  </a:lnTo>
                  <a:lnTo>
                    <a:pt x="2037" y="4315"/>
                  </a:lnTo>
                  <a:lnTo>
                    <a:pt x="2035" y="4321"/>
                  </a:lnTo>
                  <a:lnTo>
                    <a:pt x="2032" y="4328"/>
                  </a:lnTo>
                  <a:lnTo>
                    <a:pt x="2028" y="4333"/>
                  </a:lnTo>
                  <a:lnTo>
                    <a:pt x="2023" y="4338"/>
                  </a:lnTo>
                  <a:lnTo>
                    <a:pt x="2015" y="4343"/>
                  </a:lnTo>
                  <a:lnTo>
                    <a:pt x="2008" y="4347"/>
                  </a:lnTo>
                  <a:lnTo>
                    <a:pt x="2000" y="4350"/>
                  </a:lnTo>
                  <a:lnTo>
                    <a:pt x="1993" y="4352"/>
                  </a:lnTo>
                  <a:lnTo>
                    <a:pt x="1978" y="4356"/>
                  </a:lnTo>
                  <a:lnTo>
                    <a:pt x="1964" y="4359"/>
                  </a:lnTo>
                  <a:lnTo>
                    <a:pt x="1948" y="4360"/>
                  </a:lnTo>
                  <a:lnTo>
                    <a:pt x="1933" y="4362"/>
                  </a:lnTo>
                  <a:lnTo>
                    <a:pt x="1917" y="4364"/>
                  </a:lnTo>
                  <a:lnTo>
                    <a:pt x="1900" y="4369"/>
                  </a:lnTo>
                  <a:lnTo>
                    <a:pt x="1892" y="4371"/>
                  </a:lnTo>
                  <a:lnTo>
                    <a:pt x="1886" y="4374"/>
                  </a:lnTo>
                  <a:lnTo>
                    <a:pt x="1880" y="4377"/>
                  </a:lnTo>
                  <a:lnTo>
                    <a:pt x="1875" y="4382"/>
                  </a:lnTo>
                  <a:lnTo>
                    <a:pt x="1865" y="4390"/>
                  </a:lnTo>
                  <a:lnTo>
                    <a:pt x="1855" y="4399"/>
                  </a:lnTo>
                  <a:lnTo>
                    <a:pt x="1847" y="4407"/>
                  </a:lnTo>
                  <a:lnTo>
                    <a:pt x="1836" y="4415"/>
                  </a:lnTo>
                  <a:lnTo>
                    <a:pt x="1831" y="4418"/>
                  </a:lnTo>
                  <a:lnTo>
                    <a:pt x="1824" y="4420"/>
                  </a:lnTo>
                  <a:lnTo>
                    <a:pt x="1818" y="4421"/>
                  </a:lnTo>
                  <a:lnTo>
                    <a:pt x="1811" y="4421"/>
                  </a:lnTo>
                  <a:lnTo>
                    <a:pt x="1794" y="4421"/>
                  </a:lnTo>
                  <a:lnTo>
                    <a:pt x="1778" y="4420"/>
                  </a:lnTo>
                  <a:lnTo>
                    <a:pt x="1762" y="4418"/>
                  </a:lnTo>
                  <a:lnTo>
                    <a:pt x="1747" y="4414"/>
                  </a:lnTo>
                  <a:lnTo>
                    <a:pt x="1733" y="4409"/>
                  </a:lnTo>
                  <a:lnTo>
                    <a:pt x="1719" y="4402"/>
                  </a:lnTo>
                  <a:lnTo>
                    <a:pt x="1705" y="4393"/>
                  </a:lnTo>
                  <a:lnTo>
                    <a:pt x="1692" y="4383"/>
                  </a:lnTo>
                  <a:lnTo>
                    <a:pt x="1681" y="4373"/>
                  </a:lnTo>
                  <a:lnTo>
                    <a:pt x="1671" y="4363"/>
                  </a:lnTo>
                  <a:lnTo>
                    <a:pt x="1662" y="4353"/>
                  </a:lnTo>
                  <a:lnTo>
                    <a:pt x="1655" y="4343"/>
                  </a:lnTo>
                  <a:lnTo>
                    <a:pt x="1642" y="4321"/>
                  </a:lnTo>
                  <a:lnTo>
                    <a:pt x="1628" y="4296"/>
                  </a:lnTo>
                  <a:lnTo>
                    <a:pt x="1621" y="4283"/>
                  </a:lnTo>
                  <a:lnTo>
                    <a:pt x="1614" y="4271"/>
                  </a:lnTo>
                  <a:lnTo>
                    <a:pt x="1609" y="4266"/>
                  </a:lnTo>
                  <a:lnTo>
                    <a:pt x="1604" y="4263"/>
                  </a:lnTo>
                  <a:lnTo>
                    <a:pt x="1597" y="4261"/>
                  </a:lnTo>
                  <a:lnTo>
                    <a:pt x="1591" y="4259"/>
                  </a:lnTo>
                  <a:lnTo>
                    <a:pt x="1585" y="4259"/>
                  </a:lnTo>
                  <a:lnTo>
                    <a:pt x="1580" y="4261"/>
                  </a:lnTo>
                  <a:lnTo>
                    <a:pt x="1576" y="4263"/>
                  </a:lnTo>
                  <a:lnTo>
                    <a:pt x="1571" y="4265"/>
                  </a:lnTo>
                  <a:lnTo>
                    <a:pt x="1562" y="4268"/>
                  </a:lnTo>
                  <a:lnTo>
                    <a:pt x="1551" y="4270"/>
                  </a:lnTo>
                  <a:lnTo>
                    <a:pt x="1551" y="4270"/>
                  </a:lnTo>
                  <a:lnTo>
                    <a:pt x="1547" y="4255"/>
                  </a:lnTo>
                  <a:lnTo>
                    <a:pt x="1543" y="4241"/>
                  </a:lnTo>
                  <a:lnTo>
                    <a:pt x="1538" y="4225"/>
                  </a:lnTo>
                  <a:lnTo>
                    <a:pt x="1533" y="4209"/>
                  </a:lnTo>
                  <a:lnTo>
                    <a:pt x="1530" y="4204"/>
                  </a:lnTo>
                  <a:lnTo>
                    <a:pt x="1527" y="4201"/>
                  </a:lnTo>
                  <a:lnTo>
                    <a:pt x="1524" y="4199"/>
                  </a:lnTo>
                  <a:lnTo>
                    <a:pt x="1521" y="4197"/>
                  </a:lnTo>
                  <a:lnTo>
                    <a:pt x="1513" y="4194"/>
                  </a:lnTo>
                  <a:lnTo>
                    <a:pt x="1504" y="4189"/>
                  </a:lnTo>
                  <a:lnTo>
                    <a:pt x="1474" y="4174"/>
                  </a:lnTo>
                  <a:lnTo>
                    <a:pt x="1448" y="4160"/>
                  </a:lnTo>
                  <a:lnTo>
                    <a:pt x="1422" y="4145"/>
                  </a:lnTo>
                  <a:lnTo>
                    <a:pt x="1392" y="4131"/>
                  </a:lnTo>
                  <a:lnTo>
                    <a:pt x="1386" y="4128"/>
                  </a:lnTo>
                  <a:lnTo>
                    <a:pt x="1379" y="4124"/>
                  </a:lnTo>
                  <a:lnTo>
                    <a:pt x="1374" y="4120"/>
                  </a:lnTo>
                  <a:lnTo>
                    <a:pt x="1369" y="4116"/>
                  </a:lnTo>
                  <a:lnTo>
                    <a:pt x="1361" y="4107"/>
                  </a:lnTo>
                  <a:lnTo>
                    <a:pt x="1353" y="4096"/>
                  </a:lnTo>
                  <a:lnTo>
                    <a:pt x="1348" y="4086"/>
                  </a:lnTo>
                  <a:lnTo>
                    <a:pt x="1342" y="4073"/>
                  </a:lnTo>
                  <a:lnTo>
                    <a:pt x="1338" y="4060"/>
                  </a:lnTo>
                  <a:lnTo>
                    <a:pt x="1333" y="4047"/>
                  </a:lnTo>
                  <a:lnTo>
                    <a:pt x="1326" y="4032"/>
                  </a:lnTo>
                  <a:lnTo>
                    <a:pt x="1318" y="4020"/>
                  </a:lnTo>
                  <a:lnTo>
                    <a:pt x="1313" y="4013"/>
                  </a:lnTo>
                  <a:lnTo>
                    <a:pt x="1311" y="4007"/>
                  </a:lnTo>
                  <a:lnTo>
                    <a:pt x="1309" y="3999"/>
                  </a:lnTo>
                  <a:lnTo>
                    <a:pt x="1308" y="3991"/>
                  </a:lnTo>
                  <a:lnTo>
                    <a:pt x="1308" y="3977"/>
                  </a:lnTo>
                  <a:lnTo>
                    <a:pt x="1308" y="3964"/>
                  </a:lnTo>
                  <a:lnTo>
                    <a:pt x="1308" y="3951"/>
                  </a:lnTo>
                  <a:lnTo>
                    <a:pt x="1308" y="3937"/>
                  </a:lnTo>
                  <a:lnTo>
                    <a:pt x="1309" y="3919"/>
                  </a:lnTo>
                  <a:lnTo>
                    <a:pt x="1311" y="3903"/>
                  </a:lnTo>
                  <a:lnTo>
                    <a:pt x="1315" y="3888"/>
                  </a:lnTo>
                  <a:lnTo>
                    <a:pt x="1321" y="3874"/>
                  </a:lnTo>
                  <a:lnTo>
                    <a:pt x="1327" y="3860"/>
                  </a:lnTo>
                  <a:lnTo>
                    <a:pt x="1335" y="3847"/>
                  </a:lnTo>
                  <a:lnTo>
                    <a:pt x="1342" y="3834"/>
                  </a:lnTo>
                  <a:lnTo>
                    <a:pt x="1350" y="3822"/>
                  </a:lnTo>
                  <a:lnTo>
                    <a:pt x="1358" y="3809"/>
                  </a:lnTo>
                  <a:lnTo>
                    <a:pt x="1365" y="3796"/>
                  </a:lnTo>
                  <a:lnTo>
                    <a:pt x="1373" y="3783"/>
                  </a:lnTo>
                  <a:lnTo>
                    <a:pt x="1379" y="3770"/>
                  </a:lnTo>
                  <a:lnTo>
                    <a:pt x="1385" y="3756"/>
                  </a:lnTo>
                  <a:lnTo>
                    <a:pt x="1388" y="3741"/>
                  </a:lnTo>
                  <a:lnTo>
                    <a:pt x="1391" y="3725"/>
                  </a:lnTo>
                  <a:lnTo>
                    <a:pt x="1392" y="3708"/>
                  </a:lnTo>
                  <a:lnTo>
                    <a:pt x="1391" y="3700"/>
                  </a:lnTo>
                  <a:lnTo>
                    <a:pt x="1390" y="3692"/>
                  </a:lnTo>
                  <a:lnTo>
                    <a:pt x="1388" y="3685"/>
                  </a:lnTo>
                  <a:lnTo>
                    <a:pt x="1386" y="3678"/>
                  </a:lnTo>
                  <a:lnTo>
                    <a:pt x="1381" y="3673"/>
                  </a:lnTo>
                  <a:lnTo>
                    <a:pt x="1377" y="3669"/>
                  </a:lnTo>
                  <a:lnTo>
                    <a:pt x="1371" y="3667"/>
                  </a:lnTo>
                  <a:lnTo>
                    <a:pt x="1364" y="3665"/>
                  </a:lnTo>
                  <a:lnTo>
                    <a:pt x="1353" y="3665"/>
                  </a:lnTo>
                  <a:lnTo>
                    <a:pt x="1345" y="3667"/>
                  </a:lnTo>
                  <a:lnTo>
                    <a:pt x="1335" y="3669"/>
                  </a:lnTo>
                  <a:lnTo>
                    <a:pt x="1326" y="3671"/>
                  </a:lnTo>
                  <a:lnTo>
                    <a:pt x="1310" y="3677"/>
                  </a:lnTo>
                  <a:lnTo>
                    <a:pt x="1295" y="3685"/>
                  </a:lnTo>
                  <a:lnTo>
                    <a:pt x="1279" y="3692"/>
                  </a:lnTo>
                  <a:lnTo>
                    <a:pt x="1263" y="3698"/>
                  </a:lnTo>
                  <a:lnTo>
                    <a:pt x="1254" y="3701"/>
                  </a:lnTo>
                  <a:lnTo>
                    <a:pt x="1245" y="3703"/>
                  </a:lnTo>
                  <a:lnTo>
                    <a:pt x="1236" y="3704"/>
                  </a:lnTo>
                  <a:lnTo>
                    <a:pt x="1225" y="3704"/>
                  </a:lnTo>
                  <a:lnTo>
                    <a:pt x="1215" y="3704"/>
                  </a:lnTo>
                  <a:lnTo>
                    <a:pt x="1207" y="3702"/>
                  </a:lnTo>
                  <a:lnTo>
                    <a:pt x="1199" y="3700"/>
                  </a:lnTo>
                  <a:lnTo>
                    <a:pt x="1191" y="3697"/>
                  </a:lnTo>
                  <a:lnTo>
                    <a:pt x="1176" y="3690"/>
                  </a:lnTo>
                  <a:lnTo>
                    <a:pt x="1159" y="3682"/>
                  </a:lnTo>
                  <a:lnTo>
                    <a:pt x="644" y="3674"/>
                  </a:lnTo>
                  <a:lnTo>
                    <a:pt x="433" y="3197"/>
                  </a:lnTo>
                  <a:lnTo>
                    <a:pt x="446" y="3195"/>
                  </a:lnTo>
                  <a:lnTo>
                    <a:pt x="458" y="3191"/>
                  </a:lnTo>
                  <a:lnTo>
                    <a:pt x="470" y="3189"/>
                  </a:lnTo>
                  <a:lnTo>
                    <a:pt x="482" y="3189"/>
                  </a:lnTo>
                  <a:lnTo>
                    <a:pt x="506" y="3189"/>
                  </a:lnTo>
                  <a:lnTo>
                    <a:pt x="528" y="3189"/>
                  </a:lnTo>
                  <a:lnTo>
                    <a:pt x="550" y="3189"/>
                  </a:lnTo>
                  <a:lnTo>
                    <a:pt x="575" y="3189"/>
                  </a:lnTo>
                  <a:lnTo>
                    <a:pt x="575" y="3164"/>
                  </a:lnTo>
                  <a:lnTo>
                    <a:pt x="575" y="3144"/>
                  </a:lnTo>
                  <a:lnTo>
                    <a:pt x="575" y="3122"/>
                  </a:lnTo>
                  <a:lnTo>
                    <a:pt x="575" y="3098"/>
                  </a:lnTo>
                  <a:lnTo>
                    <a:pt x="576" y="3084"/>
                  </a:lnTo>
                  <a:lnTo>
                    <a:pt x="577" y="3070"/>
                  </a:lnTo>
                  <a:lnTo>
                    <a:pt x="578" y="3059"/>
                  </a:lnTo>
                  <a:lnTo>
                    <a:pt x="580" y="3046"/>
                  </a:lnTo>
                  <a:lnTo>
                    <a:pt x="584" y="3023"/>
                  </a:lnTo>
                  <a:lnTo>
                    <a:pt x="590" y="3000"/>
                  </a:lnTo>
                  <a:lnTo>
                    <a:pt x="595" y="2978"/>
                  </a:lnTo>
                  <a:lnTo>
                    <a:pt x="599" y="2954"/>
                  </a:lnTo>
                  <a:lnTo>
                    <a:pt x="602" y="2942"/>
                  </a:lnTo>
                  <a:lnTo>
                    <a:pt x="603" y="2929"/>
                  </a:lnTo>
                  <a:lnTo>
                    <a:pt x="604" y="2916"/>
                  </a:lnTo>
                  <a:lnTo>
                    <a:pt x="605" y="2902"/>
                  </a:lnTo>
                  <a:lnTo>
                    <a:pt x="604" y="2893"/>
                  </a:lnTo>
                  <a:lnTo>
                    <a:pt x="603" y="2886"/>
                  </a:lnTo>
                  <a:lnTo>
                    <a:pt x="600" y="2878"/>
                  </a:lnTo>
                  <a:lnTo>
                    <a:pt x="597" y="2872"/>
                  </a:lnTo>
                  <a:lnTo>
                    <a:pt x="591" y="2859"/>
                  </a:lnTo>
                  <a:lnTo>
                    <a:pt x="582" y="2847"/>
                  </a:lnTo>
                  <a:lnTo>
                    <a:pt x="572" y="2835"/>
                  </a:lnTo>
                  <a:lnTo>
                    <a:pt x="563" y="2823"/>
                  </a:lnTo>
                  <a:lnTo>
                    <a:pt x="558" y="2817"/>
                  </a:lnTo>
                  <a:lnTo>
                    <a:pt x="555" y="2809"/>
                  </a:lnTo>
                  <a:lnTo>
                    <a:pt x="551" y="2801"/>
                  </a:lnTo>
                  <a:lnTo>
                    <a:pt x="549" y="2794"/>
                  </a:lnTo>
                  <a:lnTo>
                    <a:pt x="543" y="2777"/>
                  </a:lnTo>
                  <a:lnTo>
                    <a:pt x="540" y="2760"/>
                  </a:lnTo>
                  <a:lnTo>
                    <a:pt x="537" y="2745"/>
                  </a:lnTo>
                  <a:lnTo>
                    <a:pt x="535" y="2731"/>
                  </a:lnTo>
                  <a:lnTo>
                    <a:pt x="528" y="2701"/>
                  </a:lnTo>
                  <a:lnTo>
                    <a:pt x="521" y="2668"/>
                  </a:lnTo>
                  <a:lnTo>
                    <a:pt x="517" y="2659"/>
                  </a:lnTo>
                  <a:lnTo>
                    <a:pt x="514" y="2650"/>
                  </a:lnTo>
                  <a:lnTo>
                    <a:pt x="511" y="2643"/>
                  </a:lnTo>
                  <a:lnTo>
                    <a:pt x="506" y="2635"/>
                  </a:lnTo>
                  <a:lnTo>
                    <a:pt x="502" y="2629"/>
                  </a:lnTo>
                  <a:lnTo>
                    <a:pt x="497" y="2622"/>
                  </a:lnTo>
                  <a:lnTo>
                    <a:pt x="491" y="2616"/>
                  </a:lnTo>
                  <a:lnTo>
                    <a:pt x="486" y="2610"/>
                  </a:lnTo>
                  <a:lnTo>
                    <a:pt x="473" y="2601"/>
                  </a:lnTo>
                  <a:lnTo>
                    <a:pt x="459" y="2591"/>
                  </a:lnTo>
                  <a:lnTo>
                    <a:pt x="444" y="2581"/>
                  </a:lnTo>
                  <a:lnTo>
                    <a:pt x="428" y="2573"/>
                  </a:lnTo>
                  <a:lnTo>
                    <a:pt x="414" y="2564"/>
                  </a:lnTo>
                  <a:lnTo>
                    <a:pt x="401" y="2554"/>
                  </a:lnTo>
                  <a:lnTo>
                    <a:pt x="389" y="2544"/>
                  </a:lnTo>
                  <a:lnTo>
                    <a:pt x="377" y="2536"/>
                  </a:lnTo>
                  <a:lnTo>
                    <a:pt x="377" y="2536"/>
                  </a:lnTo>
                  <a:lnTo>
                    <a:pt x="383" y="2521"/>
                  </a:lnTo>
                  <a:lnTo>
                    <a:pt x="390" y="2508"/>
                  </a:lnTo>
                  <a:lnTo>
                    <a:pt x="397" y="2496"/>
                  </a:lnTo>
                  <a:lnTo>
                    <a:pt x="406" y="2485"/>
                  </a:lnTo>
                  <a:lnTo>
                    <a:pt x="424" y="2465"/>
                  </a:lnTo>
                  <a:lnTo>
                    <a:pt x="445" y="2441"/>
                  </a:lnTo>
                  <a:lnTo>
                    <a:pt x="468" y="2413"/>
                  </a:lnTo>
                  <a:lnTo>
                    <a:pt x="488" y="2387"/>
                  </a:lnTo>
                  <a:lnTo>
                    <a:pt x="509" y="2363"/>
                  </a:lnTo>
                  <a:lnTo>
                    <a:pt x="528" y="2341"/>
                  </a:lnTo>
                  <a:lnTo>
                    <a:pt x="549" y="2319"/>
                  </a:lnTo>
                  <a:lnTo>
                    <a:pt x="570" y="2297"/>
                  </a:lnTo>
                  <a:lnTo>
                    <a:pt x="593" y="2273"/>
                  </a:lnTo>
                  <a:lnTo>
                    <a:pt x="619" y="2247"/>
                  </a:lnTo>
                  <a:lnTo>
                    <a:pt x="627" y="2238"/>
                  </a:lnTo>
                  <a:lnTo>
                    <a:pt x="635" y="2229"/>
                  </a:lnTo>
                  <a:lnTo>
                    <a:pt x="643" y="2219"/>
                  </a:lnTo>
                  <a:lnTo>
                    <a:pt x="648" y="2211"/>
                  </a:lnTo>
                  <a:lnTo>
                    <a:pt x="654" y="2201"/>
                  </a:lnTo>
                  <a:lnTo>
                    <a:pt x="659" y="2192"/>
                  </a:lnTo>
                  <a:lnTo>
                    <a:pt x="664" y="2183"/>
                  </a:lnTo>
                  <a:lnTo>
                    <a:pt x="668" y="2173"/>
                  </a:lnTo>
                  <a:lnTo>
                    <a:pt x="675" y="2152"/>
                  </a:lnTo>
                  <a:lnTo>
                    <a:pt x="680" y="2132"/>
                  </a:lnTo>
                  <a:lnTo>
                    <a:pt x="686" y="2109"/>
                  </a:lnTo>
                  <a:lnTo>
                    <a:pt x="691" y="2084"/>
                  </a:lnTo>
                  <a:lnTo>
                    <a:pt x="694" y="2068"/>
                  </a:lnTo>
                  <a:lnTo>
                    <a:pt x="699" y="2053"/>
                  </a:lnTo>
                  <a:lnTo>
                    <a:pt x="704" y="2039"/>
                  </a:lnTo>
                  <a:lnTo>
                    <a:pt x="708" y="2026"/>
                  </a:lnTo>
                  <a:lnTo>
                    <a:pt x="721" y="1999"/>
                  </a:lnTo>
                  <a:lnTo>
                    <a:pt x="737" y="1970"/>
                  </a:lnTo>
                  <a:lnTo>
                    <a:pt x="745" y="1956"/>
                  </a:lnTo>
                  <a:lnTo>
                    <a:pt x="756" y="1943"/>
                  </a:lnTo>
                  <a:lnTo>
                    <a:pt x="760" y="1936"/>
                  </a:lnTo>
                  <a:lnTo>
                    <a:pt x="764" y="1930"/>
                  </a:lnTo>
                  <a:lnTo>
                    <a:pt x="766" y="1922"/>
                  </a:lnTo>
                  <a:lnTo>
                    <a:pt x="767" y="1914"/>
                  </a:lnTo>
                  <a:lnTo>
                    <a:pt x="767" y="1905"/>
                  </a:lnTo>
                  <a:lnTo>
                    <a:pt x="766" y="1898"/>
                  </a:lnTo>
                  <a:lnTo>
                    <a:pt x="764" y="1890"/>
                  </a:lnTo>
                  <a:lnTo>
                    <a:pt x="761" y="1882"/>
                  </a:lnTo>
                  <a:lnTo>
                    <a:pt x="759" y="1876"/>
                  </a:lnTo>
                  <a:lnTo>
                    <a:pt x="757" y="1868"/>
                  </a:lnTo>
                  <a:lnTo>
                    <a:pt x="756" y="1861"/>
                  </a:lnTo>
                  <a:lnTo>
                    <a:pt x="756" y="1852"/>
                  </a:lnTo>
                  <a:lnTo>
                    <a:pt x="748" y="1839"/>
                  </a:lnTo>
                  <a:lnTo>
                    <a:pt x="740" y="1827"/>
                  </a:lnTo>
                  <a:lnTo>
                    <a:pt x="732" y="1818"/>
                  </a:lnTo>
                  <a:lnTo>
                    <a:pt x="724" y="1807"/>
                  </a:lnTo>
                  <a:lnTo>
                    <a:pt x="716" y="1796"/>
                  </a:lnTo>
                  <a:lnTo>
                    <a:pt x="711" y="1785"/>
                  </a:lnTo>
                  <a:lnTo>
                    <a:pt x="708" y="1780"/>
                  </a:lnTo>
                  <a:lnTo>
                    <a:pt x="706" y="1773"/>
                  </a:lnTo>
                  <a:lnTo>
                    <a:pt x="705" y="1767"/>
                  </a:lnTo>
                  <a:lnTo>
                    <a:pt x="705" y="1759"/>
                  </a:lnTo>
                  <a:lnTo>
                    <a:pt x="706" y="1750"/>
                  </a:lnTo>
                  <a:lnTo>
                    <a:pt x="707" y="1741"/>
                  </a:lnTo>
                  <a:lnTo>
                    <a:pt x="711" y="1733"/>
                  </a:lnTo>
                  <a:lnTo>
                    <a:pt x="715" y="1726"/>
                  </a:lnTo>
                  <a:lnTo>
                    <a:pt x="724" y="1712"/>
                  </a:lnTo>
                  <a:lnTo>
                    <a:pt x="734" y="1698"/>
                  </a:lnTo>
                  <a:lnTo>
                    <a:pt x="745" y="1685"/>
                  </a:lnTo>
                  <a:lnTo>
                    <a:pt x="755" y="1671"/>
                  </a:lnTo>
                  <a:lnTo>
                    <a:pt x="759" y="1663"/>
                  </a:lnTo>
                  <a:lnTo>
                    <a:pt x="761" y="1655"/>
                  </a:lnTo>
                  <a:lnTo>
                    <a:pt x="764" y="1646"/>
                  </a:lnTo>
                  <a:lnTo>
                    <a:pt x="765" y="1636"/>
                  </a:lnTo>
                  <a:lnTo>
                    <a:pt x="764" y="1624"/>
                  </a:lnTo>
                  <a:lnTo>
                    <a:pt x="761" y="1612"/>
                  </a:lnTo>
                  <a:lnTo>
                    <a:pt x="758" y="1602"/>
                  </a:lnTo>
                  <a:lnTo>
                    <a:pt x="754" y="1591"/>
                  </a:lnTo>
                  <a:lnTo>
                    <a:pt x="748" y="1581"/>
                  </a:lnTo>
                  <a:lnTo>
                    <a:pt x="743" y="1572"/>
                  </a:lnTo>
                  <a:lnTo>
                    <a:pt x="735" y="1564"/>
                  </a:lnTo>
                  <a:lnTo>
                    <a:pt x="728" y="1556"/>
                  </a:lnTo>
                  <a:lnTo>
                    <a:pt x="719" y="1549"/>
                  </a:lnTo>
                  <a:lnTo>
                    <a:pt x="710" y="1542"/>
                  </a:lnTo>
                  <a:lnTo>
                    <a:pt x="700" y="1536"/>
                  </a:lnTo>
                  <a:lnTo>
                    <a:pt x="689" y="1529"/>
                  </a:lnTo>
                  <a:lnTo>
                    <a:pt x="667" y="1518"/>
                  </a:lnTo>
                  <a:lnTo>
                    <a:pt x="644" y="1508"/>
                  </a:lnTo>
                  <a:lnTo>
                    <a:pt x="612" y="1493"/>
                  </a:lnTo>
                  <a:lnTo>
                    <a:pt x="584" y="1477"/>
                  </a:lnTo>
                  <a:lnTo>
                    <a:pt x="570" y="1472"/>
                  </a:lnTo>
                  <a:lnTo>
                    <a:pt x="556" y="1467"/>
                  </a:lnTo>
                  <a:lnTo>
                    <a:pt x="549" y="1466"/>
                  </a:lnTo>
                  <a:lnTo>
                    <a:pt x="540" y="1463"/>
                  </a:lnTo>
                  <a:lnTo>
                    <a:pt x="531" y="1463"/>
                  </a:lnTo>
                  <a:lnTo>
                    <a:pt x="523" y="1462"/>
                  </a:lnTo>
                  <a:lnTo>
                    <a:pt x="508" y="1462"/>
                  </a:lnTo>
                  <a:lnTo>
                    <a:pt x="494" y="1462"/>
                  </a:lnTo>
                  <a:lnTo>
                    <a:pt x="481" y="1462"/>
                  </a:lnTo>
                  <a:lnTo>
                    <a:pt x="465" y="1462"/>
                  </a:lnTo>
                  <a:lnTo>
                    <a:pt x="441" y="1462"/>
                  </a:lnTo>
                  <a:lnTo>
                    <a:pt x="419" y="1460"/>
                  </a:lnTo>
                  <a:lnTo>
                    <a:pt x="408" y="1458"/>
                  </a:lnTo>
                  <a:lnTo>
                    <a:pt x="398" y="1456"/>
                  </a:lnTo>
                  <a:lnTo>
                    <a:pt x="388" y="1453"/>
                  </a:lnTo>
                  <a:lnTo>
                    <a:pt x="378" y="1449"/>
                  </a:lnTo>
                  <a:lnTo>
                    <a:pt x="368" y="1446"/>
                  </a:lnTo>
                  <a:lnTo>
                    <a:pt x="360" y="1442"/>
                  </a:lnTo>
                  <a:lnTo>
                    <a:pt x="351" y="1436"/>
                  </a:lnTo>
                  <a:lnTo>
                    <a:pt x="341" y="1431"/>
                  </a:lnTo>
                  <a:lnTo>
                    <a:pt x="333" y="1424"/>
                  </a:lnTo>
                  <a:lnTo>
                    <a:pt x="324" y="1417"/>
                  </a:lnTo>
                  <a:lnTo>
                    <a:pt x="315" y="1409"/>
                  </a:lnTo>
                  <a:lnTo>
                    <a:pt x="308" y="1401"/>
                  </a:lnTo>
                  <a:lnTo>
                    <a:pt x="293" y="1383"/>
                  </a:lnTo>
                  <a:lnTo>
                    <a:pt x="280" y="1366"/>
                  </a:lnTo>
                  <a:lnTo>
                    <a:pt x="270" y="1349"/>
                  </a:lnTo>
                  <a:lnTo>
                    <a:pt x="261" y="1332"/>
                  </a:lnTo>
                  <a:lnTo>
                    <a:pt x="246" y="1294"/>
                  </a:lnTo>
                  <a:lnTo>
                    <a:pt x="229" y="1253"/>
                  </a:lnTo>
                  <a:lnTo>
                    <a:pt x="211" y="1208"/>
                  </a:lnTo>
                  <a:lnTo>
                    <a:pt x="193" y="1169"/>
                  </a:lnTo>
                  <a:lnTo>
                    <a:pt x="179" y="1131"/>
                  </a:lnTo>
                  <a:lnTo>
                    <a:pt x="167" y="1094"/>
                  </a:lnTo>
                  <a:lnTo>
                    <a:pt x="162" y="1075"/>
                  </a:lnTo>
                  <a:lnTo>
                    <a:pt x="158" y="1056"/>
                  </a:lnTo>
                  <a:lnTo>
                    <a:pt x="153" y="1037"/>
                  </a:lnTo>
                  <a:lnTo>
                    <a:pt x="150" y="1016"/>
                  </a:lnTo>
                  <a:lnTo>
                    <a:pt x="148" y="996"/>
                  </a:lnTo>
                  <a:lnTo>
                    <a:pt x="146" y="974"/>
                  </a:lnTo>
                  <a:lnTo>
                    <a:pt x="145" y="951"/>
                  </a:lnTo>
                  <a:lnTo>
                    <a:pt x="145" y="928"/>
                  </a:lnTo>
                  <a:lnTo>
                    <a:pt x="145" y="894"/>
                  </a:lnTo>
                  <a:lnTo>
                    <a:pt x="145" y="865"/>
                  </a:lnTo>
                  <a:lnTo>
                    <a:pt x="144" y="837"/>
                  </a:lnTo>
                  <a:lnTo>
                    <a:pt x="144" y="810"/>
                  </a:lnTo>
                  <a:lnTo>
                    <a:pt x="143" y="783"/>
                  </a:lnTo>
                  <a:lnTo>
                    <a:pt x="143" y="755"/>
                  </a:lnTo>
                  <a:lnTo>
                    <a:pt x="144" y="725"/>
                  </a:lnTo>
                  <a:lnTo>
                    <a:pt x="145" y="692"/>
                  </a:lnTo>
                  <a:lnTo>
                    <a:pt x="128" y="666"/>
                  </a:lnTo>
                  <a:lnTo>
                    <a:pt x="112" y="644"/>
                  </a:lnTo>
                  <a:lnTo>
                    <a:pt x="95" y="623"/>
                  </a:lnTo>
                  <a:lnTo>
                    <a:pt x="78" y="604"/>
                  </a:lnTo>
                  <a:lnTo>
                    <a:pt x="59" y="585"/>
                  </a:lnTo>
                  <a:lnTo>
                    <a:pt x="41" y="566"/>
                  </a:lnTo>
                  <a:lnTo>
                    <a:pt x="22" y="546"/>
                  </a:lnTo>
                  <a:lnTo>
                    <a:pt x="0" y="524"/>
                  </a:lnTo>
                  <a:lnTo>
                    <a:pt x="1580" y="543"/>
                  </a:lnTo>
                  <a:lnTo>
                    <a:pt x="1581" y="531"/>
                  </a:lnTo>
                  <a:lnTo>
                    <a:pt x="1582" y="521"/>
                  </a:lnTo>
                  <a:lnTo>
                    <a:pt x="1583" y="508"/>
                  </a:lnTo>
                  <a:lnTo>
                    <a:pt x="1583" y="496"/>
                  </a:lnTo>
                  <a:lnTo>
                    <a:pt x="1585" y="484"/>
                  </a:lnTo>
                  <a:lnTo>
                    <a:pt x="1588" y="473"/>
                  </a:lnTo>
                  <a:lnTo>
                    <a:pt x="1593" y="452"/>
                  </a:lnTo>
                  <a:lnTo>
                    <a:pt x="1600" y="433"/>
                  </a:lnTo>
                  <a:lnTo>
                    <a:pt x="1607" y="414"/>
                  </a:lnTo>
                  <a:lnTo>
                    <a:pt x="1617" y="394"/>
                  </a:lnTo>
                  <a:lnTo>
                    <a:pt x="1627" y="373"/>
                  </a:lnTo>
                  <a:lnTo>
                    <a:pt x="1636" y="350"/>
                  </a:lnTo>
                  <a:lnTo>
                    <a:pt x="1641" y="340"/>
                  </a:lnTo>
                  <a:lnTo>
                    <a:pt x="1647" y="333"/>
                  </a:lnTo>
                  <a:lnTo>
                    <a:pt x="1654" y="325"/>
                  </a:lnTo>
                  <a:lnTo>
                    <a:pt x="1660" y="317"/>
                  </a:lnTo>
                  <a:lnTo>
                    <a:pt x="1665" y="311"/>
                  </a:lnTo>
                  <a:lnTo>
                    <a:pt x="1671" y="303"/>
                  </a:lnTo>
                  <a:lnTo>
                    <a:pt x="1672" y="299"/>
                  </a:lnTo>
                  <a:lnTo>
                    <a:pt x="1674" y="295"/>
                  </a:lnTo>
                  <a:lnTo>
                    <a:pt x="1675" y="289"/>
                  </a:lnTo>
                  <a:lnTo>
                    <a:pt x="1675" y="284"/>
                  </a:lnTo>
                  <a:lnTo>
                    <a:pt x="1674" y="276"/>
                  </a:lnTo>
                  <a:lnTo>
                    <a:pt x="1673" y="270"/>
                  </a:lnTo>
                  <a:lnTo>
                    <a:pt x="1672" y="265"/>
                  </a:lnTo>
                  <a:lnTo>
                    <a:pt x="1670" y="258"/>
                  </a:lnTo>
                  <a:lnTo>
                    <a:pt x="1668" y="253"/>
                  </a:lnTo>
                  <a:lnTo>
                    <a:pt x="1665" y="246"/>
                  </a:lnTo>
                  <a:lnTo>
                    <a:pt x="1664" y="240"/>
                  </a:lnTo>
                  <a:lnTo>
                    <a:pt x="1664" y="232"/>
                  </a:lnTo>
                  <a:lnTo>
                    <a:pt x="1664" y="215"/>
                  </a:lnTo>
                  <a:lnTo>
                    <a:pt x="1665" y="198"/>
                  </a:lnTo>
                  <a:lnTo>
                    <a:pt x="1668" y="181"/>
                  </a:lnTo>
                  <a:lnTo>
                    <a:pt x="1671" y="166"/>
                  </a:lnTo>
                  <a:lnTo>
                    <a:pt x="1674" y="151"/>
                  </a:lnTo>
                  <a:lnTo>
                    <a:pt x="1678" y="137"/>
                  </a:lnTo>
                  <a:lnTo>
                    <a:pt x="1683" y="123"/>
                  </a:lnTo>
                  <a:lnTo>
                    <a:pt x="1689" y="109"/>
                  </a:lnTo>
                  <a:lnTo>
                    <a:pt x="1696" y="96"/>
                  </a:lnTo>
                  <a:lnTo>
                    <a:pt x="1702" y="82"/>
                  </a:lnTo>
                  <a:lnTo>
                    <a:pt x="1710" y="69"/>
                  </a:lnTo>
                  <a:lnTo>
                    <a:pt x="1718" y="56"/>
                  </a:lnTo>
                  <a:lnTo>
                    <a:pt x="1736" y="28"/>
                  </a:lnTo>
                  <a:lnTo>
                    <a:pt x="1756" y="0"/>
                  </a:lnTo>
                  <a:lnTo>
                    <a:pt x="1780" y="26"/>
                  </a:lnTo>
                  <a:lnTo>
                    <a:pt x="1800" y="50"/>
                  </a:lnTo>
                  <a:lnTo>
                    <a:pt x="1811" y="62"/>
                  </a:lnTo>
                  <a:lnTo>
                    <a:pt x="1821" y="74"/>
                  </a:lnTo>
                  <a:lnTo>
                    <a:pt x="1831" y="89"/>
                  </a:lnTo>
                  <a:lnTo>
                    <a:pt x="1840" y="104"/>
                  </a:lnTo>
                  <a:lnTo>
                    <a:pt x="1862" y="136"/>
                  </a:lnTo>
                  <a:lnTo>
                    <a:pt x="1880" y="166"/>
                  </a:lnTo>
                  <a:lnTo>
                    <a:pt x="1888" y="181"/>
                  </a:lnTo>
                  <a:lnTo>
                    <a:pt x="1894" y="198"/>
                  </a:lnTo>
                  <a:lnTo>
                    <a:pt x="1897" y="206"/>
                  </a:lnTo>
                  <a:lnTo>
                    <a:pt x="1898" y="215"/>
                  </a:lnTo>
                  <a:lnTo>
                    <a:pt x="1899" y="225"/>
                  </a:lnTo>
                  <a:lnTo>
                    <a:pt x="1900" y="235"/>
                  </a:lnTo>
                  <a:lnTo>
                    <a:pt x="1899" y="243"/>
                  </a:lnTo>
                  <a:lnTo>
                    <a:pt x="1898" y="249"/>
                  </a:lnTo>
                  <a:lnTo>
                    <a:pt x="1895" y="256"/>
                  </a:lnTo>
                  <a:lnTo>
                    <a:pt x="1893" y="262"/>
                  </a:lnTo>
                  <a:lnTo>
                    <a:pt x="1887" y="274"/>
                  </a:lnTo>
                  <a:lnTo>
                    <a:pt x="1879" y="285"/>
                  </a:lnTo>
                  <a:lnTo>
                    <a:pt x="1873" y="297"/>
                  </a:lnTo>
                  <a:lnTo>
                    <a:pt x="1866" y="309"/>
                  </a:lnTo>
                  <a:lnTo>
                    <a:pt x="1864" y="314"/>
                  </a:lnTo>
                  <a:lnTo>
                    <a:pt x="1862" y="322"/>
                  </a:lnTo>
                  <a:lnTo>
                    <a:pt x="1861" y="328"/>
                  </a:lnTo>
                  <a:lnTo>
                    <a:pt x="1860" y="336"/>
                  </a:lnTo>
                  <a:lnTo>
                    <a:pt x="1861" y="343"/>
                  </a:lnTo>
                  <a:lnTo>
                    <a:pt x="1863" y="351"/>
                  </a:lnTo>
                  <a:lnTo>
                    <a:pt x="1865" y="357"/>
                  </a:lnTo>
                  <a:lnTo>
                    <a:pt x="1868" y="363"/>
                  </a:lnTo>
                  <a:lnTo>
                    <a:pt x="1876" y="375"/>
                  </a:lnTo>
                  <a:lnTo>
                    <a:pt x="1882" y="389"/>
                  </a:lnTo>
                  <a:lnTo>
                    <a:pt x="1891" y="418"/>
                  </a:lnTo>
                  <a:lnTo>
                    <a:pt x="1900" y="444"/>
                  </a:lnTo>
                  <a:lnTo>
                    <a:pt x="1904" y="456"/>
                  </a:lnTo>
                  <a:lnTo>
                    <a:pt x="1908" y="469"/>
                  </a:lnTo>
                  <a:lnTo>
                    <a:pt x="1915" y="482"/>
                  </a:lnTo>
                  <a:lnTo>
                    <a:pt x="1921" y="496"/>
                  </a:lnTo>
                  <a:lnTo>
                    <a:pt x="1942" y="538"/>
                  </a:lnTo>
                  <a:lnTo>
                    <a:pt x="1961" y="576"/>
                  </a:lnTo>
                  <a:lnTo>
                    <a:pt x="1967" y="584"/>
                  </a:lnTo>
                  <a:lnTo>
                    <a:pt x="1973" y="592"/>
                  </a:lnTo>
                  <a:lnTo>
                    <a:pt x="1980" y="599"/>
                  </a:lnTo>
                  <a:lnTo>
                    <a:pt x="1987" y="606"/>
                  </a:lnTo>
                  <a:lnTo>
                    <a:pt x="1995" y="611"/>
                  </a:lnTo>
                  <a:lnTo>
                    <a:pt x="2005" y="616"/>
                  </a:lnTo>
                  <a:lnTo>
                    <a:pt x="2014" y="619"/>
                  </a:lnTo>
                  <a:lnTo>
                    <a:pt x="2025" y="622"/>
                  </a:lnTo>
                  <a:lnTo>
                    <a:pt x="2037" y="624"/>
                  </a:lnTo>
                  <a:lnTo>
                    <a:pt x="2047" y="627"/>
                  </a:lnTo>
                  <a:lnTo>
                    <a:pt x="2056" y="632"/>
                  </a:lnTo>
                  <a:lnTo>
                    <a:pt x="2066" y="637"/>
                  </a:lnTo>
                  <a:lnTo>
                    <a:pt x="2074" y="643"/>
                  </a:lnTo>
                  <a:lnTo>
                    <a:pt x="2081" y="649"/>
                  </a:lnTo>
                  <a:lnTo>
                    <a:pt x="2089" y="656"/>
                  </a:lnTo>
                  <a:lnTo>
                    <a:pt x="2095" y="663"/>
                  </a:lnTo>
                  <a:lnTo>
                    <a:pt x="2120" y="698"/>
                  </a:lnTo>
                  <a:lnTo>
                    <a:pt x="2146" y="737"/>
                  </a:lnTo>
                  <a:lnTo>
                    <a:pt x="2154" y="746"/>
                  </a:lnTo>
                  <a:lnTo>
                    <a:pt x="2162" y="754"/>
                  </a:lnTo>
                  <a:lnTo>
                    <a:pt x="2171" y="760"/>
                  </a:lnTo>
                  <a:lnTo>
                    <a:pt x="2180" y="767"/>
                  </a:lnTo>
                  <a:lnTo>
                    <a:pt x="2188" y="772"/>
                  </a:lnTo>
                  <a:lnTo>
                    <a:pt x="2197" y="779"/>
                  </a:lnTo>
                  <a:lnTo>
                    <a:pt x="2205" y="786"/>
                  </a:lnTo>
                  <a:lnTo>
                    <a:pt x="2213" y="796"/>
                  </a:lnTo>
                  <a:lnTo>
                    <a:pt x="2217" y="802"/>
                  </a:lnTo>
                  <a:lnTo>
                    <a:pt x="2221" y="811"/>
                  </a:lnTo>
                  <a:lnTo>
                    <a:pt x="2223" y="819"/>
                  </a:lnTo>
                  <a:lnTo>
                    <a:pt x="2225" y="826"/>
                  </a:lnTo>
                  <a:lnTo>
                    <a:pt x="2227" y="833"/>
                  </a:lnTo>
                  <a:lnTo>
                    <a:pt x="2231" y="838"/>
                  </a:lnTo>
                  <a:lnTo>
                    <a:pt x="2234" y="840"/>
                  </a:lnTo>
                  <a:lnTo>
                    <a:pt x="2237" y="841"/>
                  </a:lnTo>
                  <a:lnTo>
                    <a:pt x="2240" y="842"/>
                  </a:lnTo>
                  <a:lnTo>
                    <a:pt x="2244" y="843"/>
                  </a:lnTo>
                  <a:lnTo>
                    <a:pt x="4755" y="1140"/>
                  </a:lnTo>
                  <a:lnTo>
                    <a:pt x="4755" y="114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25">
              <a:extLst>
                <a:ext uri="{FF2B5EF4-FFF2-40B4-BE49-F238E27FC236}">
                  <a16:creationId xmlns:a16="http://schemas.microsoft.com/office/drawing/2014/main" id="{78DDF04E-0F48-441B-B64D-8283D7471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0550" y="1930401"/>
              <a:ext cx="762000" cy="1401763"/>
            </a:xfrm>
            <a:custGeom>
              <a:avLst/>
              <a:gdLst>
                <a:gd name="T0" fmla="*/ 960 w 1921"/>
                <a:gd name="T1" fmla="*/ 220 h 3535"/>
                <a:gd name="T2" fmla="*/ 952 w 1921"/>
                <a:gd name="T3" fmla="*/ 307 h 3535"/>
                <a:gd name="T4" fmla="*/ 916 w 1921"/>
                <a:gd name="T5" fmla="*/ 440 h 3535"/>
                <a:gd name="T6" fmla="*/ 847 w 1921"/>
                <a:gd name="T7" fmla="*/ 630 h 3535"/>
                <a:gd name="T8" fmla="*/ 769 w 1921"/>
                <a:gd name="T9" fmla="*/ 636 h 3535"/>
                <a:gd name="T10" fmla="*/ 716 w 1921"/>
                <a:gd name="T11" fmla="*/ 760 h 3535"/>
                <a:gd name="T12" fmla="*/ 575 w 1921"/>
                <a:gd name="T13" fmla="*/ 851 h 3535"/>
                <a:gd name="T14" fmla="*/ 470 w 1921"/>
                <a:gd name="T15" fmla="*/ 1040 h 3535"/>
                <a:gd name="T16" fmla="*/ 475 w 1921"/>
                <a:gd name="T17" fmla="*/ 1149 h 3535"/>
                <a:gd name="T18" fmla="*/ 532 w 1921"/>
                <a:gd name="T19" fmla="*/ 1264 h 3535"/>
                <a:gd name="T20" fmla="*/ 475 w 1921"/>
                <a:gd name="T21" fmla="*/ 1357 h 3535"/>
                <a:gd name="T22" fmla="*/ 422 w 1921"/>
                <a:gd name="T23" fmla="*/ 1486 h 3535"/>
                <a:gd name="T24" fmla="*/ 201 w 1921"/>
                <a:gd name="T25" fmla="*/ 1715 h 3535"/>
                <a:gd name="T26" fmla="*/ 90 w 1921"/>
                <a:gd name="T27" fmla="*/ 1927 h 3535"/>
                <a:gd name="T28" fmla="*/ 146 w 1921"/>
                <a:gd name="T29" fmla="*/ 2090 h 3535"/>
                <a:gd name="T30" fmla="*/ 92 w 1921"/>
                <a:gd name="T31" fmla="*/ 2370 h 3535"/>
                <a:gd name="T32" fmla="*/ 105 w 1921"/>
                <a:gd name="T33" fmla="*/ 2564 h 3535"/>
                <a:gd name="T34" fmla="*/ 71 w 1921"/>
                <a:gd name="T35" fmla="*/ 2756 h 3535"/>
                <a:gd name="T36" fmla="*/ 0 w 1921"/>
                <a:gd name="T37" fmla="*/ 2986 h 3535"/>
                <a:gd name="T38" fmla="*/ 26 w 1921"/>
                <a:gd name="T39" fmla="*/ 3175 h 3535"/>
                <a:gd name="T40" fmla="*/ 91 w 1921"/>
                <a:gd name="T41" fmla="*/ 3276 h 3535"/>
                <a:gd name="T42" fmla="*/ 299 w 1921"/>
                <a:gd name="T43" fmla="*/ 3306 h 3535"/>
                <a:gd name="T44" fmla="*/ 391 w 1921"/>
                <a:gd name="T45" fmla="*/ 3170 h 3535"/>
                <a:gd name="T46" fmla="*/ 493 w 1921"/>
                <a:gd name="T47" fmla="*/ 3196 h 3535"/>
                <a:gd name="T48" fmla="*/ 504 w 1921"/>
                <a:gd name="T49" fmla="*/ 3347 h 3535"/>
                <a:gd name="T50" fmla="*/ 527 w 1921"/>
                <a:gd name="T51" fmla="*/ 3444 h 3535"/>
                <a:gd name="T52" fmla="*/ 604 w 1921"/>
                <a:gd name="T53" fmla="*/ 3363 h 3535"/>
                <a:gd name="T54" fmla="*/ 691 w 1921"/>
                <a:gd name="T55" fmla="*/ 3398 h 3535"/>
                <a:gd name="T56" fmla="*/ 777 w 1921"/>
                <a:gd name="T57" fmla="*/ 3401 h 3535"/>
                <a:gd name="T58" fmla="*/ 974 w 1921"/>
                <a:gd name="T59" fmla="*/ 3535 h 3535"/>
                <a:gd name="T60" fmla="*/ 1045 w 1921"/>
                <a:gd name="T61" fmla="*/ 3459 h 3535"/>
                <a:gd name="T62" fmla="*/ 1151 w 1921"/>
                <a:gd name="T63" fmla="*/ 3512 h 3535"/>
                <a:gd name="T64" fmla="*/ 1398 w 1921"/>
                <a:gd name="T65" fmla="*/ 3460 h 3535"/>
                <a:gd name="T66" fmla="*/ 1466 w 1921"/>
                <a:gd name="T67" fmla="*/ 3381 h 3535"/>
                <a:gd name="T68" fmla="*/ 1699 w 1921"/>
                <a:gd name="T69" fmla="*/ 3338 h 3535"/>
                <a:gd name="T70" fmla="*/ 1700 w 1921"/>
                <a:gd name="T71" fmla="*/ 3153 h 3535"/>
                <a:gd name="T72" fmla="*/ 1681 w 1921"/>
                <a:gd name="T73" fmla="*/ 2996 h 3535"/>
                <a:gd name="T74" fmla="*/ 1713 w 1921"/>
                <a:gd name="T75" fmla="*/ 2915 h 3535"/>
                <a:gd name="T76" fmla="*/ 1698 w 1921"/>
                <a:gd name="T77" fmla="*/ 2829 h 3535"/>
                <a:gd name="T78" fmla="*/ 1704 w 1921"/>
                <a:gd name="T79" fmla="*/ 2750 h 3535"/>
                <a:gd name="T80" fmla="*/ 1709 w 1921"/>
                <a:gd name="T81" fmla="*/ 2649 h 3535"/>
                <a:gd name="T82" fmla="*/ 1770 w 1921"/>
                <a:gd name="T83" fmla="*/ 2464 h 3535"/>
                <a:gd name="T84" fmla="*/ 1885 w 1921"/>
                <a:gd name="T85" fmla="*/ 2261 h 3535"/>
                <a:gd name="T86" fmla="*/ 1906 w 1921"/>
                <a:gd name="T87" fmla="*/ 2196 h 3535"/>
                <a:gd name="T88" fmla="*/ 1762 w 1921"/>
                <a:gd name="T89" fmla="*/ 2152 h 3535"/>
                <a:gd name="T90" fmla="*/ 1684 w 1921"/>
                <a:gd name="T91" fmla="*/ 1954 h 3535"/>
                <a:gd name="T92" fmla="*/ 1506 w 1921"/>
                <a:gd name="T93" fmla="*/ 1701 h 3535"/>
                <a:gd name="T94" fmla="*/ 1456 w 1921"/>
                <a:gd name="T95" fmla="*/ 1602 h 3535"/>
                <a:gd name="T96" fmla="*/ 1538 w 1921"/>
                <a:gd name="T97" fmla="*/ 1445 h 3535"/>
                <a:gd name="T98" fmla="*/ 1614 w 1921"/>
                <a:gd name="T99" fmla="*/ 1412 h 3535"/>
                <a:gd name="T100" fmla="*/ 1630 w 1921"/>
                <a:gd name="T101" fmla="*/ 1305 h 3535"/>
                <a:gd name="T102" fmla="*/ 1529 w 1921"/>
                <a:gd name="T103" fmla="*/ 1267 h 3535"/>
                <a:gd name="T104" fmla="*/ 1408 w 1921"/>
                <a:gd name="T105" fmla="*/ 1254 h 3535"/>
                <a:gd name="T106" fmla="*/ 1299 w 1921"/>
                <a:gd name="T107" fmla="*/ 1036 h 3535"/>
                <a:gd name="T108" fmla="*/ 1206 w 1921"/>
                <a:gd name="T109" fmla="*/ 898 h 3535"/>
                <a:gd name="T110" fmla="*/ 1170 w 1921"/>
                <a:gd name="T111" fmla="*/ 819 h 3535"/>
                <a:gd name="T112" fmla="*/ 1246 w 1921"/>
                <a:gd name="T113" fmla="*/ 699 h 3535"/>
                <a:gd name="T114" fmla="*/ 1301 w 1921"/>
                <a:gd name="T115" fmla="*/ 474 h 3535"/>
                <a:gd name="T116" fmla="*/ 1332 w 1921"/>
                <a:gd name="T117" fmla="*/ 289 h 3535"/>
                <a:gd name="T118" fmla="*/ 1301 w 1921"/>
                <a:gd name="T119" fmla="*/ 119 h 3535"/>
                <a:gd name="T120" fmla="*/ 1132 w 1921"/>
                <a:gd name="T121" fmla="*/ 28 h 3535"/>
                <a:gd name="T122" fmla="*/ 1002 w 1921"/>
                <a:gd name="T123" fmla="*/ 4 h 3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1" h="3535">
                  <a:moveTo>
                    <a:pt x="870" y="74"/>
                  </a:moveTo>
                  <a:lnTo>
                    <a:pt x="866" y="88"/>
                  </a:lnTo>
                  <a:lnTo>
                    <a:pt x="861" y="102"/>
                  </a:lnTo>
                  <a:lnTo>
                    <a:pt x="862" y="109"/>
                  </a:lnTo>
                  <a:lnTo>
                    <a:pt x="866" y="115"/>
                  </a:lnTo>
                  <a:lnTo>
                    <a:pt x="870" y="119"/>
                  </a:lnTo>
                  <a:lnTo>
                    <a:pt x="875" y="123"/>
                  </a:lnTo>
                  <a:lnTo>
                    <a:pt x="887" y="131"/>
                  </a:lnTo>
                  <a:lnTo>
                    <a:pt x="898" y="141"/>
                  </a:lnTo>
                  <a:lnTo>
                    <a:pt x="926" y="173"/>
                  </a:lnTo>
                  <a:lnTo>
                    <a:pt x="950" y="204"/>
                  </a:lnTo>
                  <a:lnTo>
                    <a:pt x="955" y="212"/>
                  </a:lnTo>
                  <a:lnTo>
                    <a:pt x="960" y="220"/>
                  </a:lnTo>
                  <a:lnTo>
                    <a:pt x="964" y="228"/>
                  </a:lnTo>
                  <a:lnTo>
                    <a:pt x="967" y="238"/>
                  </a:lnTo>
                  <a:lnTo>
                    <a:pt x="970" y="246"/>
                  </a:lnTo>
                  <a:lnTo>
                    <a:pt x="972" y="256"/>
                  </a:lnTo>
                  <a:lnTo>
                    <a:pt x="974" y="267"/>
                  </a:lnTo>
                  <a:lnTo>
                    <a:pt x="974" y="278"/>
                  </a:lnTo>
                  <a:lnTo>
                    <a:pt x="974" y="282"/>
                  </a:lnTo>
                  <a:lnTo>
                    <a:pt x="972" y="286"/>
                  </a:lnTo>
                  <a:lnTo>
                    <a:pt x="971" y="290"/>
                  </a:lnTo>
                  <a:lnTo>
                    <a:pt x="969" y="292"/>
                  </a:lnTo>
                  <a:lnTo>
                    <a:pt x="964" y="297"/>
                  </a:lnTo>
                  <a:lnTo>
                    <a:pt x="958" y="303"/>
                  </a:lnTo>
                  <a:lnTo>
                    <a:pt x="952" y="307"/>
                  </a:lnTo>
                  <a:lnTo>
                    <a:pt x="947" y="312"/>
                  </a:lnTo>
                  <a:lnTo>
                    <a:pt x="941" y="319"/>
                  </a:lnTo>
                  <a:lnTo>
                    <a:pt x="937" y="325"/>
                  </a:lnTo>
                  <a:lnTo>
                    <a:pt x="934" y="336"/>
                  </a:lnTo>
                  <a:lnTo>
                    <a:pt x="933" y="346"/>
                  </a:lnTo>
                  <a:lnTo>
                    <a:pt x="931" y="355"/>
                  </a:lnTo>
                  <a:lnTo>
                    <a:pt x="930" y="364"/>
                  </a:lnTo>
                  <a:lnTo>
                    <a:pt x="930" y="384"/>
                  </a:lnTo>
                  <a:lnTo>
                    <a:pt x="929" y="404"/>
                  </a:lnTo>
                  <a:lnTo>
                    <a:pt x="927" y="414"/>
                  </a:lnTo>
                  <a:lnTo>
                    <a:pt x="924" y="424"/>
                  </a:lnTo>
                  <a:lnTo>
                    <a:pt x="921" y="431"/>
                  </a:lnTo>
                  <a:lnTo>
                    <a:pt x="916" y="440"/>
                  </a:lnTo>
                  <a:lnTo>
                    <a:pt x="913" y="447"/>
                  </a:lnTo>
                  <a:lnTo>
                    <a:pt x="909" y="456"/>
                  </a:lnTo>
                  <a:lnTo>
                    <a:pt x="907" y="465"/>
                  </a:lnTo>
                  <a:lnTo>
                    <a:pt x="903" y="474"/>
                  </a:lnTo>
                  <a:lnTo>
                    <a:pt x="898" y="505"/>
                  </a:lnTo>
                  <a:lnTo>
                    <a:pt x="893" y="532"/>
                  </a:lnTo>
                  <a:lnTo>
                    <a:pt x="889" y="544"/>
                  </a:lnTo>
                  <a:lnTo>
                    <a:pt x="885" y="559"/>
                  </a:lnTo>
                  <a:lnTo>
                    <a:pt x="880" y="571"/>
                  </a:lnTo>
                  <a:lnTo>
                    <a:pt x="873" y="587"/>
                  </a:lnTo>
                  <a:lnTo>
                    <a:pt x="863" y="605"/>
                  </a:lnTo>
                  <a:lnTo>
                    <a:pt x="854" y="622"/>
                  </a:lnTo>
                  <a:lnTo>
                    <a:pt x="847" y="630"/>
                  </a:lnTo>
                  <a:lnTo>
                    <a:pt x="841" y="635"/>
                  </a:lnTo>
                  <a:lnTo>
                    <a:pt x="836" y="636"/>
                  </a:lnTo>
                  <a:lnTo>
                    <a:pt x="832" y="638"/>
                  </a:lnTo>
                  <a:lnTo>
                    <a:pt x="828" y="640"/>
                  </a:lnTo>
                  <a:lnTo>
                    <a:pt x="822" y="640"/>
                  </a:lnTo>
                  <a:lnTo>
                    <a:pt x="808" y="631"/>
                  </a:lnTo>
                  <a:lnTo>
                    <a:pt x="794" y="622"/>
                  </a:lnTo>
                  <a:lnTo>
                    <a:pt x="789" y="623"/>
                  </a:lnTo>
                  <a:lnTo>
                    <a:pt x="785" y="624"/>
                  </a:lnTo>
                  <a:lnTo>
                    <a:pt x="780" y="627"/>
                  </a:lnTo>
                  <a:lnTo>
                    <a:pt x="776" y="629"/>
                  </a:lnTo>
                  <a:lnTo>
                    <a:pt x="773" y="632"/>
                  </a:lnTo>
                  <a:lnTo>
                    <a:pt x="769" y="636"/>
                  </a:lnTo>
                  <a:lnTo>
                    <a:pt x="767" y="641"/>
                  </a:lnTo>
                  <a:lnTo>
                    <a:pt x="765" y="645"/>
                  </a:lnTo>
                  <a:lnTo>
                    <a:pt x="762" y="656"/>
                  </a:lnTo>
                  <a:lnTo>
                    <a:pt x="759" y="668"/>
                  </a:lnTo>
                  <a:lnTo>
                    <a:pt x="756" y="678"/>
                  </a:lnTo>
                  <a:lnTo>
                    <a:pt x="755" y="690"/>
                  </a:lnTo>
                  <a:lnTo>
                    <a:pt x="753" y="699"/>
                  </a:lnTo>
                  <a:lnTo>
                    <a:pt x="751" y="708"/>
                  </a:lnTo>
                  <a:lnTo>
                    <a:pt x="748" y="715"/>
                  </a:lnTo>
                  <a:lnTo>
                    <a:pt x="745" y="722"/>
                  </a:lnTo>
                  <a:lnTo>
                    <a:pt x="736" y="736"/>
                  </a:lnTo>
                  <a:lnTo>
                    <a:pt x="724" y="749"/>
                  </a:lnTo>
                  <a:lnTo>
                    <a:pt x="716" y="760"/>
                  </a:lnTo>
                  <a:lnTo>
                    <a:pt x="711" y="772"/>
                  </a:lnTo>
                  <a:lnTo>
                    <a:pt x="708" y="778"/>
                  </a:lnTo>
                  <a:lnTo>
                    <a:pt x="704" y="783"/>
                  </a:lnTo>
                  <a:lnTo>
                    <a:pt x="699" y="787"/>
                  </a:lnTo>
                  <a:lnTo>
                    <a:pt x="694" y="791"/>
                  </a:lnTo>
                  <a:lnTo>
                    <a:pt x="666" y="803"/>
                  </a:lnTo>
                  <a:lnTo>
                    <a:pt x="640" y="812"/>
                  </a:lnTo>
                  <a:lnTo>
                    <a:pt x="627" y="817"/>
                  </a:lnTo>
                  <a:lnTo>
                    <a:pt x="615" y="823"/>
                  </a:lnTo>
                  <a:lnTo>
                    <a:pt x="602" y="830"/>
                  </a:lnTo>
                  <a:lnTo>
                    <a:pt x="590" y="838"/>
                  </a:lnTo>
                  <a:lnTo>
                    <a:pt x="581" y="845"/>
                  </a:lnTo>
                  <a:lnTo>
                    <a:pt x="575" y="851"/>
                  </a:lnTo>
                  <a:lnTo>
                    <a:pt x="569" y="859"/>
                  </a:lnTo>
                  <a:lnTo>
                    <a:pt x="563" y="865"/>
                  </a:lnTo>
                  <a:lnTo>
                    <a:pt x="554" y="880"/>
                  </a:lnTo>
                  <a:lnTo>
                    <a:pt x="547" y="895"/>
                  </a:lnTo>
                  <a:lnTo>
                    <a:pt x="535" y="930"/>
                  </a:lnTo>
                  <a:lnTo>
                    <a:pt x="522" y="968"/>
                  </a:lnTo>
                  <a:lnTo>
                    <a:pt x="518" y="978"/>
                  </a:lnTo>
                  <a:lnTo>
                    <a:pt x="512" y="987"/>
                  </a:lnTo>
                  <a:lnTo>
                    <a:pt x="507" y="996"/>
                  </a:lnTo>
                  <a:lnTo>
                    <a:pt x="502" y="1003"/>
                  </a:lnTo>
                  <a:lnTo>
                    <a:pt x="489" y="1019"/>
                  </a:lnTo>
                  <a:lnTo>
                    <a:pt x="476" y="1033"/>
                  </a:lnTo>
                  <a:lnTo>
                    <a:pt x="470" y="1040"/>
                  </a:lnTo>
                  <a:lnTo>
                    <a:pt x="465" y="1048"/>
                  </a:lnTo>
                  <a:lnTo>
                    <a:pt x="459" y="1055"/>
                  </a:lnTo>
                  <a:lnTo>
                    <a:pt x="455" y="1063"/>
                  </a:lnTo>
                  <a:lnTo>
                    <a:pt x="452" y="1072"/>
                  </a:lnTo>
                  <a:lnTo>
                    <a:pt x="449" y="1081"/>
                  </a:lnTo>
                  <a:lnTo>
                    <a:pt x="448" y="1091"/>
                  </a:lnTo>
                  <a:lnTo>
                    <a:pt x="446" y="1102"/>
                  </a:lnTo>
                  <a:lnTo>
                    <a:pt x="448" y="1113"/>
                  </a:lnTo>
                  <a:lnTo>
                    <a:pt x="451" y="1121"/>
                  </a:lnTo>
                  <a:lnTo>
                    <a:pt x="455" y="1130"/>
                  </a:lnTo>
                  <a:lnTo>
                    <a:pt x="461" y="1136"/>
                  </a:lnTo>
                  <a:lnTo>
                    <a:pt x="467" y="1144"/>
                  </a:lnTo>
                  <a:lnTo>
                    <a:pt x="475" y="1149"/>
                  </a:lnTo>
                  <a:lnTo>
                    <a:pt x="482" y="1156"/>
                  </a:lnTo>
                  <a:lnTo>
                    <a:pt x="490" y="1161"/>
                  </a:lnTo>
                  <a:lnTo>
                    <a:pt x="498" y="1168"/>
                  </a:lnTo>
                  <a:lnTo>
                    <a:pt x="506" y="1173"/>
                  </a:lnTo>
                  <a:lnTo>
                    <a:pt x="513" y="1180"/>
                  </a:lnTo>
                  <a:lnTo>
                    <a:pt x="520" y="1186"/>
                  </a:lnTo>
                  <a:lnTo>
                    <a:pt x="525" y="1194"/>
                  </a:lnTo>
                  <a:lnTo>
                    <a:pt x="530" y="1202"/>
                  </a:lnTo>
                  <a:lnTo>
                    <a:pt x="533" y="1211"/>
                  </a:lnTo>
                  <a:lnTo>
                    <a:pt x="534" y="1221"/>
                  </a:lnTo>
                  <a:lnTo>
                    <a:pt x="534" y="1236"/>
                  </a:lnTo>
                  <a:lnTo>
                    <a:pt x="533" y="1250"/>
                  </a:lnTo>
                  <a:lnTo>
                    <a:pt x="532" y="1264"/>
                  </a:lnTo>
                  <a:lnTo>
                    <a:pt x="530" y="1277"/>
                  </a:lnTo>
                  <a:lnTo>
                    <a:pt x="526" y="1289"/>
                  </a:lnTo>
                  <a:lnTo>
                    <a:pt x="521" y="1299"/>
                  </a:lnTo>
                  <a:lnTo>
                    <a:pt x="517" y="1305"/>
                  </a:lnTo>
                  <a:lnTo>
                    <a:pt x="513" y="1310"/>
                  </a:lnTo>
                  <a:lnTo>
                    <a:pt x="508" y="1316"/>
                  </a:lnTo>
                  <a:lnTo>
                    <a:pt x="503" y="1321"/>
                  </a:lnTo>
                  <a:lnTo>
                    <a:pt x="493" y="1329"/>
                  </a:lnTo>
                  <a:lnTo>
                    <a:pt x="483" y="1336"/>
                  </a:lnTo>
                  <a:lnTo>
                    <a:pt x="480" y="1340"/>
                  </a:lnTo>
                  <a:lnTo>
                    <a:pt x="477" y="1345"/>
                  </a:lnTo>
                  <a:lnTo>
                    <a:pt x="476" y="1350"/>
                  </a:lnTo>
                  <a:lnTo>
                    <a:pt x="475" y="1357"/>
                  </a:lnTo>
                  <a:lnTo>
                    <a:pt x="475" y="1372"/>
                  </a:lnTo>
                  <a:lnTo>
                    <a:pt x="475" y="1385"/>
                  </a:lnTo>
                  <a:lnTo>
                    <a:pt x="475" y="1399"/>
                  </a:lnTo>
                  <a:lnTo>
                    <a:pt x="475" y="1414"/>
                  </a:lnTo>
                  <a:lnTo>
                    <a:pt x="475" y="1419"/>
                  </a:lnTo>
                  <a:lnTo>
                    <a:pt x="473" y="1424"/>
                  </a:lnTo>
                  <a:lnTo>
                    <a:pt x="472" y="1428"/>
                  </a:lnTo>
                  <a:lnTo>
                    <a:pt x="470" y="1431"/>
                  </a:lnTo>
                  <a:lnTo>
                    <a:pt x="466" y="1439"/>
                  </a:lnTo>
                  <a:lnTo>
                    <a:pt x="459" y="1445"/>
                  </a:lnTo>
                  <a:lnTo>
                    <a:pt x="446" y="1457"/>
                  </a:lnTo>
                  <a:lnTo>
                    <a:pt x="432" y="1472"/>
                  </a:lnTo>
                  <a:lnTo>
                    <a:pt x="422" y="1486"/>
                  </a:lnTo>
                  <a:lnTo>
                    <a:pt x="410" y="1498"/>
                  </a:lnTo>
                  <a:lnTo>
                    <a:pt x="398" y="1510"/>
                  </a:lnTo>
                  <a:lnTo>
                    <a:pt x="385" y="1520"/>
                  </a:lnTo>
                  <a:lnTo>
                    <a:pt x="360" y="1538"/>
                  </a:lnTo>
                  <a:lnTo>
                    <a:pt x="335" y="1555"/>
                  </a:lnTo>
                  <a:lnTo>
                    <a:pt x="310" y="1573"/>
                  </a:lnTo>
                  <a:lnTo>
                    <a:pt x="286" y="1592"/>
                  </a:lnTo>
                  <a:lnTo>
                    <a:pt x="274" y="1603"/>
                  </a:lnTo>
                  <a:lnTo>
                    <a:pt x="263" y="1615"/>
                  </a:lnTo>
                  <a:lnTo>
                    <a:pt x="252" y="1628"/>
                  </a:lnTo>
                  <a:lnTo>
                    <a:pt x="242" y="1643"/>
                  </a:lnTo>
                  <a:lnTo>
                    <a:pt x="220" y="1681"/>
                  </a:lnTo>
                  <a:lnTo>
                    <a:pt x="201" y="1715"/>
                  </a:lnTo>
                  <a:lnTo>
                    <a:pt x="183" y="1751"/>
                  </a:lnTo>
                  <a:lnTo>
                    <a:pt x="164" y="1792"/>
                  </a:lnTo>
                  <a:lnTo>
                    <a:pt x="153" y="1810"/>
                  </a:lnTo>
                  <a:lnTo>
                    <a:pt x="141" y="1826"/>
                  </a:lnTo>
                  <a:lnTo>
                    <a:pt x="135" y="1834"/>
                  </a:lnTo>
                  <a:lnTo>
                    <a:pt x="131" y="1843"/>
                  </a:lnTo>
                  <a:lnTo>
                    <a:pt x="126" y="1851"/>
                  </a:lnTo>
                  <a:lnTo>
                    <a:pt x="121" y="1861"/>
                  </a:lnTo>
                  <a:lnTo>
                    <a:pt x="114" y="1883"/>
                  </a:lnTo>
                  <a:lnTo>
                    <a:pt x="107" y="1901"/>
                  </a:lnTo>
                  <a:lnTo>
                    <a:pt x="102" y="1910"/>
                  </a:lnTo>
                  <a:lnTo>
                    <a:pt x="97" y="1918"/>
                  </a:lnTo>
                  <a:lnTo>
                    <a:pt x="90" y="1927"/>
                  </a:lnTo>
                  <a:lnTo>
                    <a:pt x="82" y="1934"/>
                  </a:lnTo>
                  <a:lnTo>
                    <a:pt x="82" y="1934"/>
                  </a:lnTo>
                  <a:lnTo>
                    <a:pt x="95" y="1952"/>
                  </a:lnTo>
                  <a:lnTo>
                    <a:pt x="107" y="1968"/>
                  </a:lnTo>
                  <a:lnTo>
                    <a:pt x="118" y="1984"/>
                  </a:lnTo>
                  <a:lnTo>
                    <a:pt x="128" y="2000"/>
                  </a:lnTo>
                  <a:lnTo>
                    <a:pt x="135" y="2018"/>
                  </a:lnTo>
                  <a:lnTo>
                    <a:pt x="142" y="2036"/>
                  </a:lnTo>
                  <a:lnTo>
                    <a:pt x="144" y="2045"/>
                  </a:lnTo>
                  <a:lnTo>
                    <a:pt x="145" y="2054"/>
                  </a:lnTo>
                  <a:lnTo>
                    <a:pt x="146" y="2065"/>
                  </a:lnTo>
                  <a:lnTo>
                    <a:pt x="147" y="2076"/>
                  </a:lnTo>
                  <a:lnTo>
                    <a:pt x="146" y="2090"/>
                  </a:lnTo>
                  <a:lnTo>
                    <a:pt x="144" y="2102"/>
                  </a:lnTo>
                  <a:lnTo>
                    <a:pt x="142" y="2114"/>
                  </a:lnTo>
                  <a:lnTo>
                    <a:pt x="140" y="2125"/>
                  </a:lnTo>
                  <a:lnTo>
                    <a:pt x="133" y="2147"/>
                  </a:lnTo>
                  <a:lnTo>
                    <a:pt x="127" y="2172"/>
                  </a:lnTo>
                  <a:lnTo>
                    <a:pt x="122" y="2213"/>
                  </a:lnTo>
                  <a:lnTo>
                    <a:pt x="120" y="2249"/>
                  </a:lnTo>
                  <a:lnTo>
                    <a:pt x="119" y="2266"/>
                  </a:lnTo>
                  <a:lnTo>
                    <a:pt x="117" y="2284"/>
                  </a:lnTo>
                  <a:lnTo>
                    <a:pt x="113" y="2304"/>
                  </a:lnTo>
                  <a:lnTo>
                    <a:pt x="107" y="2324"/>
                  </a:lnTo>
                  <a:lnTo>
                    <a:pt x="100" y="2348"/>
                  </a:lnTo>
                  <a:lnTo>
                    <a:pt x="92" y="2370"/>
                  </a:lnTo>
                  <a:lnTo>
                    <a:pt x="89" y="2380"/>
                  </a:lnTo>
                  <a:lnTo>
                    <a:pt x="87" y="2392"/>
                  </a:lnTo>
                  <a:lnTo>
                    <a:pt x="86" y="2404"/>
                  </a:lnTo>
                  <a:lnTo>
                    <a:pt x="85" y="2417"/>
                  </a:lnTo>
                  <a:lnTo>
                    <a:pt x="86" y="2436"/>
                  </a:lnTo>
                  <a:lnTo>
                    <a:pt x="88" y="2452"/>
                  </a:lnTo>
                  <a:lnTo>
                    <a:pt x="91" y="2467"/>
                  </a:lnTo>
                  <a:lnTo>
                    <a:pt x="95" y="2481"/>
                  </a:lnTo>
                  <a:lnTo>
                    <a:pt x="99" y="2496"/>
                  </a:lnTo>
                  <a:lnTo>
                    <a:pt x="102" y="2511"/>
                  </a:lnTo>
                  <a:lnTo>
                    <a:pt x="104" y="2526"/>
                  </a:lnTo>
                  <a:lnTo>
                    <a:pt x="105" y="2545"/>
                  </a:lnTo>
                  <a:lnTo>
                    <a:pt x="105" y="2564"/>
                  </a:lnTo>
                  <a:lnTo>
                    <a:pt x="105" y="2581"/>
                  </a:lnTo>
                  <a:lnTo>
                    <a:pt x="105" y="2599"/>
                  </a:lnTo>
                  <a:lnTo>
                    <a:pt x="105" y="2619"/>
                  </a:lnTo>
                  <a:lnTo>
                    <a:pt x="104" y="2632"/>
                  </a:lnTo>
                  <a:lnTo>
                    <a:pt x="103" y="2644"/>
                  </a:lnTo>
                  <a:lnTo>
                    <a:pt x="101" y="2655"/>
                  </a:lnTo>
                  <a:lnTo>
                    <a:pt x="99" y="2666"/>
                  </a:lnTo>
                  <a:lnTo>
                    <a:pt x="91" y="2687"/>
                  </a:lnTo>
                  <a:lnTo>
                    <a:pt x="82" y="2711"/>
                  </a:lnTo>
                  <a:lnTo>
                    <a:pt x="78" y="2723"/>
                  </a:lnTo>
                  <a:lnTo>
                    <a:pt x="75" y="2735"/>
                  </a:lnTo>
                  <a:lnTo>
                    <a:pt x="73" y="2746"/>
                  </a:lnTo>
                  <a:lnTo>
                    <a:pt x="71" y="2756"/>
                  </a:lnTo>
                  <a:lnTo>
                    <a:pt x="70" y="2768"/>
                  </a:lnTo>
                  <a:lnTo>
                    <a:pt x="67" y="2779"/>
                  </a:lnTo>
                  <a:lnTo>
                    <a:pt x="64" y="2791"/>
                  </a:lnTo>
                  <a:lnTo>
                    <a:pt x="60" y="2803"/>
                  </a:lnTo>
                  <a:lnTo>
                    <a:pt x="50" y="2829"/>
                  </a:lnTo>
                  <a:lnTo>
                    <a:pt x="41" y="2851"/>
                  </a:lnTo>
                  <a:lnTo>
                    <a:pt x="34" y="2873"/>
                  </a:lnTo>
                  <a:lnTo>
                    <a:pt x="26" y="2893"/>
                  </a:lnTo>
                  <a:lnTo>
                    <a:pt x="20" y="2914"/>
                  </a:lnTo>
                  <a:lnTo>
                    <a:pt x="13" y="2936"/>
                  </a:lnTo>
                  <a:lnTo>
                    <a:pt x="7" y="2959"/>
                  </a:lnTo>
                  <a:lnTo>
                    <a:pt x="0" y="2986"/>
                  </a:lnTo>
                  <a:lnTo>
                    <a:pt x="0" y="2986"/>
                  </a:lnTo>
                  <a:lnTo>
                    <a:pt x="107" y="3033"/>
                  </a:lnTo>
                  <a:lnTo>
                    <a:pt x="105" y="3046"/>
                  </a:lnTo>
                  <a:lnTo>
                    <a:pt x="101" y="3058"/>
                  </a:lnTo>
                  <a:lnTo>
                    <a:pt x="95" y="3070"/>
                  </a:lnTo>
                  <a:lnTo>
                    <a:pt x="90" y="3080"/>
                  </a:lnTo>
                  <a:lnTo>
                    <a:pt x="76" y="3099"/>
                  </a:lnTo>
                  <a:lnTo>
                    <a:pt x="61" y="3117"/>
                  </a:lnTo>
                  <a:lnTo>
                    <a:pt x="54" y="3126"/>
                  </a:lnTo>
                  <a:lnTo>
                    <a:pt x="47" y="3134"/>
                  </a:lnTo>
                  <a:lnTo>
                    <a:pt x="40" y="3144"/>
                  </a:lnTo>
                  <a:lnTo>
                    <a:pt x="35" y="3154"/>
                  </a:lnTo>
                  <a:lnTo>
                    <a:pt x="31" y="3165"/>
                  </a:lnTo>
                  <a:lnTo>
                    <a:pt x="26" y="3175"/>
                  </a:lnTo>
                  <a:lnTo>
                    <a:pt x="24" y="3188"/>
                  </a:lnTo>
                  <a:lnTo>
                    <a:pt x="23" y="3201"/>
                  </a:lnTo>
                  <a:lnTo>
                    <a:pt x="24" y="3209"/>
                  </a:lnTo>
                  <a:lnTo>
                    <a:pt x="25" y="3216"/>
                  </a:lnTo>
                  <a:lnTo>
                    <a:pt x="27" y="3224"/>
                  </a:lnTo>
                  <a:lnTo>
                    <a:pt x="31" y="3230"/>
                  </a:lnTo>
                  <a:lnTo>
                    <a:pt x="34" y="3237"/>
                  </a:lnTo>
                  <a:lnTo>
                    <a:pt x="39" y="3242"/>
                  </a:lnTo>
                  <a:lnTo>
                    <a:pt x="44" y="3248"/>
                  </a:lnTo>
                  <a:lnTo>
                    <a:pt x="49" y="3253"/>
                  </a:lnTo>
                  <a:lnTo>
                    <a:pt x="62" y="3262"/>
                  </a:lnTo>
                  <a:lnTo>
                    <a:pt x="76" y="3269"/>
                  </a:lnTo>
                  <a:lnTo>
                    <a:pt x="91" y="3276"/>
                  </a:lnTo>
                  <a:lnTo>
                    <a:pt x="107" y="3282"/>
                  </a:lnTo>
                  <a:lnTo>
                    <a:pt x="146" y="3297"/>
                  </a:lnTo>
                  <a:lnTo>
                    <a:pt x="181" y="3309"/>
                  </a:lnTo>
                  <a:lnTo>
                    <a:pt x="198" y="3315"/>
                  </a:lnTo>
                  <a:lnTo>
                    <a:pt x="215" y="3318"/>
                  </a:lnTo>
                  <a:lnTo>
                    <a:pt x="235" y="3321"/>
                  </a:lnTo>
                  <a:lnTo>
                    <a:pt x="256" y="3321"/>
                  </a:lnTo>
                  <a:lnTo>
                    <a:pt x="264" y="3321"/>
                  </a:lnTo>
                  <a:lnTo>
                    <a:pt x="273" y="3320"/>
                  </a:lnTo>
                  <a:lnTo>
                    <a:pt x="279" y="3318"/>
                  </a:lnTo>
                  <a:lnTo>
                    <a:pt x="286" y="3315"/>
                  </a:lnTo>
                  <a:lnTo>
                    <a:pt x="292" y="3310"/>
                  </a:lnTo>
                  <a:lnTo>
                    <a:pt x="299" y="3306"/>
                  </a:lnTo>
                  <a:lnTo>
                    <a:pt x="304" y="3302"/>
                  </a:lnTo>
                  <a:lnTo>
                    <a:pt x="308" y="3296"/>
                  </a:lnTo>
                  <a:lnTo>
                    <a:pt x="318" y="3283"/>
                  </a:lnTo>
                  <a:lnTo>
                    <a:pt x="327" y="3270"/>
                  </a:lnTo>
                  <a:lnTo>
                    <a:pt x="334" y="3255"/>
                  </a:lnTo>
                  <a:lnTo>
                    <a:pt x="342" y="3240"/>
                  </a:lnTo>
                  <a:lnTo>
                    <a:pt x="349" y="3225"/>
                  </a:lnTo>
                  <a:lnTo>
                    <a:pt x="357" y="3210"/>
                  </a:lnTo>
                  <a:lnTo>
                    <a:pt x="365" y="3197"/>
                  </a:lnTo>
                  <a:lnTo>
                    <a:pt x="374" y="3184"/>
                  </a:lnTo>
                  <a:lnTo>
                    <a:pt x="380" y="3179"/>
                  </a:lnTo>
                  <a:lnTo>
                    <a:pt x="385" y="3174"/>
                  </a:lnTo>
                  <a:lnTo>
                    <a:pt x="391" y="3170"/>
                  </a:lnTo>
                  <a:lnTo>
                    <a:pt x="397" y="3166"/>
                  </a:lnTo>
                  <a:lnTo>
                    <a:pt x="404" y="3163"/>
                  </a:lnTo>
                  <a:lnTo>
                    <a:pt x="411" y="3160"/>
                  </a:lnTo>
                  <a:lnTo>
                    <a:pt x="418" y="3159"/>
                  </a:lnTo>
                  <a:lnTo>
                    <a:pt x="427" y="3159"/>
                  </a:lnTo>
                  <a:lnTo>
                    <a:pt x="438" y="3159"/>
                  </a:lnTo>
                  <a:lnTo>
                    <a:pt x="448" y="3161"/>
                  </a:lnTo>
                  <a:lnTo>
                    <a:pt x="456" y="3165"/>
                  </a:lnTo>
                  <a:lnTo>
                    <a:pt x="465" y="3169"/>
                  </a:lnTo>
                  <a:lnTo>
                    <a:pt x="473" y="3174"/>
                  </a:lnTo>
                  <a:lnTo>
                    <a:pt x="481" y="3181"/>
                  </a:lnTo>
                  <a:lnTo>
                    <a:pt x="488" y="3187"/>
                  </a:lnTo>
                  <a:lnTo>
                    <a:pt x="493" y="3196"/>
                  </a:lnTo>
                  <a:lnTo>
                    <a:pt x="498" y="3205"/>
                  </a:lnTo>
                  <a:lnTo>
                    <a:pt x="504" y="3213"/>
                  </a:lnTo>
                  <a:lnTo>
                    <a:pt x="508" y="3223"/>
                  </a:lnTo>
                  <a:lnTo>
                    <a:pt x="511" y="3233"/>
                  </a:lnTo>
                  <a:lnTo>
                    <a:pt x="513" y="3243"/>
                  </a:lnTo>
                  <a:lnTo>
                    <a:pt x="516" y="3254"/>
                  </a:lnTo>
                  <a:lnTo>
                    <a:pt x="517" y="3265"/>
                  </a:lnTo>
                  <a:lnTo>
                    <a:pt x="517" y="3275"/>
                  </a:lnTo>
                  <a:lnTo>
                    <a:pt x="516" y="3292"/>
                  </a:lnTo>
                  <a:lnTo>
                    <a:pt x="513" y="3306"/>
                  </a:lnTo>
                  <a:lnTo>
                    <a:pt x="510" y="3320"/>
                  </a:lnTo>
                  <a:lnTo>
                    <a:pt x="507" y="3333"/>
                  </a:lnTo>
                  <a:lnTo>
                    <a:pt x="504" y="3347"/>
                  </a:lnTo>
                  <a:lnTo>
                    <a:pt x="500" y="3360"/>
                  </a:lnTo>
                  <a:lnTo>
                    <a:pt x="498" y="3375"/>
                  </a:lnTo>
                  <a:lnTo>
                    <a:pt x="497" y="3391"/>
                  </a:lnTo>
                  <a:lnTo>
                    <a:pt x="497" y="3401"/>
                  </a:lnTo>
                  <a:lnTo>
                    <a:pt x="498" y="3410"/>
                  </a:lnTo>
                  <a:lnTo>
                    <a:pt x="500" y="3418"/>
                  </a:lnTo>
                  <a:lnTo>
                    <a:pt x="504" y="3427"/>
                  </a:lnTo>
                  <a:lnTo>
                    <a:pt x="508" y="3435"/>
                  </a:lnTo>
                  <a:lnTo>
                    <a:pt x="513" y="3440"/>
                  </a:lnTo>
                  <a:lnTo>
                    <a:pt x="517" y="3442"/>
                  </a:lnTo>
                  <a:lnTo>
                    <a:pt x="520" y="3443"/>
                  </a:lnTo>
                  <a:lnTo>
                    <a:pt x="523" y="3444"/>
                  </a:lnTo>
                  <a:lnTo>
                    <a:pt x="527" y="3444"/>
                  </a:lnTo>
                  <a:lnTo>
                    <a:pt x="534" y="3444"/>
                  </a:lnTo>
                  <a:lnTo>
                    <a:pt x="538" y="3442"/>
                  </a:lnTo>
                  <a:lnTo>
                    <a:pt x="543" y="3438"/>
                  </a:lnTo>
                  <a:lnTo>
                    <a:pt x="546" y="3433"/>
                  </a:lnTo>
                  <a:lnTo>
                    <a:pt x="551" y="3423"/>
                  </a:lnTo>
                  <a:lnTo>
                    <a:pt x="556" y="3411"/>
                  </a:lnTo>
                  <a:lnTo>
                    <a:pt x="563" y="3397"/>
                  </a:lnTo>
                  <a:lnTo>
                    <a:pt x="571" y="3384"/>
                  </a:lnTo>
                  <a:lnTo>
                    <a:pt x="577" y="3370"/>
                  </a:lnTo>
                  <a:lnTo>
                    <a:pt x="584" y="3355"/>
                  </a:lnTo>
                  <a:lnTo>
                    <a:pt x="591" y="3357"/>
                  </a:lnTo>
                  <a:lnTo>
                    <a:pt x="598" y="3360"/>
                  </a:lnTo>
                  <a:lnTo>
                    <a:pt x="604" y="3363"/>
                  </a:lnTo>
                  <a:lnTo>
                    <a:pt x="610" y="3367"/>
                  </a:lnTo>
                  <a:lnTo>
                    <a:pt x="619" y="3374"/>
                  </a:lnTo>
                  <a:lnTo>
                    <a:pt x="630" y="3383"/>
                  </a:lnTo>
                  <a:lnTo>
                    <a:pt x="640" y="3390"/>
                  </a:lnTo>
                  <a:lnTo>
                    <a:pt x="651" y="3397"/>
                  </a:lnTo>
                  <a:lnTo>
                    <a:pt x="656" y="3399"/>
                  </a:lnTo>
                  <a:lnTo>
                    <a:pt x="662" y="3401"/>
                  </a:lnTo>
                  <a:lnTo>
                    <a:pt x="669" y="3402"/>
                  </a:lnTo>
                  <a:lnTo>
                    <a:pt x="677" y="3403"/>
                  </a:lnTo>
                  <a:lnTo>
                    <a:pt x="681" y="3402"/>
                  </a:lnTo>
                  <a:lnTo>
                    <a:pt x="684" y="3401"/>
                  </a:lnTo>
                  <a:lnTo>
                    <a:pt x="687" y="3400"/>
                  </a:lnTo>
                  <a:lnTo>
                    <a:pt x="691" y="3398"/>
                  </a:lnTo>
                  <a:lnTo>
                    <a:pt x="697" y="3394"/>
                  </a:lnTo>
                  <a:lnTo>
                    <a:pt x="701" y="3387"/>
                  </a:lnTo>
                  <a:lnTo>
                    <a:pt x="707" y="3382"/>
                  </a:lnTo>
                  <a:lnTo>
                    <a:pt x="712" y="3376"/>
                  </a:lnTo>
                  <a:lnTo>
                    <a:pt x="715" y="3375"/>
                  </a:lnTo>
                  <a:lnTo>
                    <a:pt x="719" y="3373"/>
                  </a:lnTo>
                  <a:lnTo>
                    <a:pt x="723" y="3372"/>
                  </a:lnTo>
                  <a:lnTo>
                    <a:pt x="727" y="3372"/>
                  </a:lnTo>
                  <a:lnTo>
                    <a:pt x="738" y="3373"/>
                  </a:lnTo>
                  <a:lnTo>
                    <a:pt x="747" y="3376"/>
                  </a:lnTo>
                  <a:lnTo>
                    <a:pt x="755" y="3381"/>
                  </a:lnTo>
                  <a:lnTo>
                    <a:pt x="763" y="3386"/>
                  </a:lnTo>
                  <a:lnTo>
                    <a:pt x="777" y="3401"/>
                  </a:lnTo>
                  <a:lnTo>
                    <a:pt x="791" y="3417"/>
                  </a:lnTo>
                  <a:lnTo>
                    <a:pt x="805" y="3430"/>
                  </a:lnTo>
                  <a:lnTo>
                    <a:pt x="818" y="3441"/>
                  </a:lnTo>
                  <a:lnTo>
                    <a:pt x="832" y="3451"/>
                  </a:lnTo>
                  <a:lnTo>
                    <a:pt x="845" y="3459"/>
                  </a:lnTo>
                  <a:lnTo>
                    <a:pt x="871" y="3477"/>
                  </a:lnTo>
                  <a:lnTo>
                    <a:pt x="901" y="3498"/>
                  </a:lnTo>
                  <a:lnTo>
                    <a:pt x="918" y="3512"/>
                  </a:lnTo>
                  <a:lnTo>
                    <a:pt x="935" y="3523"/>
                  </a:lnTo>
                  <a:lnTo>
                    <a:pt x="943" y="3529"/>
                  </a:lnTo>
                  <a:lnTo>
                    <a:pt x="952" y="3532"/>
                  </a:lnTo>
                  <a:lnTo>
                    <a:pt x="963" y="3534"/>
                  </a:lnTo>
                  <a:lnTo>
                    <a:pt x="974" y="3535"/>
                  </a:lnTo>
                  <a:lnTo>
                    <a:pt x="979" y="3534"/>
                  </a:lnTo>
                  <a:lnTo>
                    <a:pt x="982" y="3532"/>
                  </a:lnTo>
                  <a:lnTo>
                    <a:pt x="985" y="3527"/>
                  </a:lnTo>
                  <a:lnTo>
                    <a:pt x="988" y="3523"/>
                  </a:lnTo>
                  <a:lnTo>
                    <a:pt x="992" y="3513"/>
                  </a:lnTo>
                  <a:lnTo>
                    <a:pt x="996" y="3504"/>
                  </a:lnTo>
                  <a:lnTo>
                    <a:pt x="1002" y="3495"/>
                  </a:lnTo>
                  <a:lnTo>
                    <a:pt x="1007" y="3486"/>
                  </a:lnTo>
                  <a:lnTo>
                    <a:pt x="1014" y="3479"/>
                  </a:lnTo>
                  <a:lnTo>
                    <a:pt x="1020" y="3472"/>
                  </a:lnTo>
                  <a:lnTo>
                    <a:pt x="1028" y="3467"/>
                  </a:lnTo>
                  <a:lnTo>
                    <a:pt x="1035" y="3463"/>
                  </a:lnTo>
                  <a:lnTo>
                    <a:pt x="1045" y="3459"/>
                  </a:lnTo>
                  <a:lnTo>
                    <a:pt x="1055" y="3458"/>
                  </a:lnTo>
                  <a:lnTo>
                    <a:pt x="1062" y="3459"/>
                  </a:lnTo>
                  <a:lnTo>
                    <a:pt x="1070" y="3462"/>
                  </a:lnTo>
                  <a:lnTo>
                    <a:pt x="1076" y="3464"/>
                  </a:lnTo>
                  <a:lnTo>
                    <a:pt x="1082" y="3467"/>
                  </a:lnTo>
                  <a:lnTo>
                    <a:pt x="1092" y="3476"/>
                  </a:lnTo>
                  <a:lnTo>
                    <a:pt x="1103" y="3485"/>
                  </a:lnTo>
                  <a:lnTo>
                    <a:pt x="1113" y="3495"/>
                  </a:lnTo>
                  <a:lnTo>
                    <a:pt x="1124" y="3504"/>
                  </a:lnTo>
                  <a:lnTo>
                    <a:pt x="1130" y="3507"/>
                  </a:lnTo>
                  <a:lnTo>
                    <a:pt x="1137" y="3510"/>
                  </a:lnTo>
                  <a:lnTo>
                    <a:pt x="1143" y="3511"/>
                  </a:lnTo>
                  <a:lnTo>
                    <a:pt x="1151" y="3512"/>
                  </a:lnTo>
                  <a:lnTo>
                    <a:pt x="1165" y="3512"/>
                  </a:lnTo>
                  <a:lnTo>
                    <a:pt x="1177" y="3512"/>
                  </a:lnTo>
                  <a:lnTo>
                    <a:pt x="1188" y="3512"/>
                  </a:lnTo>
                  <a:lnTo>
                    <a:pt x="1203" y="3512"/>
                  </a:lnTo>
                  <a:lnTo>
                    <a:pt x="1219" y="3511"/>
                  </a:lnTo>
                  <a:lnTo>
                    <a:pt x="1234" y="3509"/>
                  </a:lnTo>
                  <a:lnTo>
                    <a:pt x="1248" y="3506"/>
                  </a:lnTo>
                  <a:lnTo>
                    <a:pt x="1262" y="3503"/>
                  </a:lnTo>
                  <a:lnTo>
                    <a:pt x="1289" y="3492"/>
                  </a:lnTo>
                  <a:lnTo>
                    <a:pt x="1318" y="3481"/>
                  </a:lnTo>
                  <a:lnTo>
                    <a:pt x="1353" y="3471"/>
                  </a:lnTo>
                  <a:lnTo>
                    <a:pt x="1383" y="3465"/>
                  </a:lnTo>
                  <a:lnTo>
                    <a:pt x="1398" y="3460"/>
                  </a:lnTo>
                  <a:lnTo>
                    <a:pt x="1412" y="3454"/>
                  </a:lnTo>
                  <a:lnTo>
                    <a:pt x="1420" y="3451"/>
                  </a:lnTo>
                  <a:lnTo>
                    <a:pt x="1427" y="3446"/>
                  </a:lnTo>
                  <a:lnTo>
                    <a:pt x="1435" y="3442"/>
                  </a:lnTo>
                  <a:lnTo>
                    <a:pt x="1441" y="3437"/>
                  </a:lnTo>
                  <a:lnTo>
                    <a:pt x="1446" y="3432"/>
                  </a:lnTo>
                  <a:lnTo>
                    <a:pt x="1450" y="3428"/>
                  </a:lnTo>
                  <a:lnTo>
                    <a:pt x="1452" y="3424"/>
                  </a:lnTo>
                  <a:lnTo>
                    <a:pt x="1454" y="3419"/>
                  </a:lnTo>
                  <a:lnTo>
                    <a:pt x="1457" y="3410"/>
                  </a:lnTo>
                  <a:lnTo>
                    <a:pt x="1461" y="3400"/>
                  </a:lnTo>
                  <a:lnTo>
                    <a:pt x="1463" y="3390"/>
                  </a:lnTo>
                  <a:lnTo>
                    <a:pt x="1466" y="3381"/>
                  </a:lnTo>
                  <a:lnTo>
                    <a:pt x="1468" y="3376"/>
                  </a:lnTo>
                  <a:lnTo>
                    <a:pt x="1470" y="3372"/>
                  </a:lnTo>
                  <a:lnTo>
                    <a:pt x="1474" y="3368"/>
                  </a:lnTo>
                  <a:lnTo>
                    <a:pt x="1478" y="3363"/>
                  </a:lnTo>
                  <a:lnTo>
                    <a:pt x="1483" y="3359"/>
                  </a:lnTo>
                  <a:lnTo>
                    <a:pt x="1489" y="3356"/>
                  </a:lnTo>
                  <a:lnTo>
                    <a:pt x="1494" y="3354"/>
                  </a:lnTo>
                  <a:lnTo>
                    <a:pt x="1500" y="3351"/>
                  </a:lnTo>
                  <a:lnTo>
                    <a:pt x="1510" y="3349"/>
                  </a:lnTo>
                  <a:lnTo>
                    <a:pt x="1521" y="3348"/>
                  </a:lnTo>
                  <a:lnTo>
                    <a:pt x="1545" y="3347"/>
                  </a:lnTo>
                  <a:lnTo>
                    <a:pt x="1571" y="3344"/>
                  </a:lnTo>
                  <a:lnTo>
                    <a:pt x="1699" y="3338"/>
                  </a:lnTo>
                  <a:lnTo>
                    <a:pt x="1699" y="3338"/>
                  </a:lnTo>
                  <a:lnTo>
                    <a:pt x="1696" y="3328"/>
                  </a:lnTo>
                  <a:lnTo>
                    <a:pt x="1693" y="3318"/>
                  </a:lnTo>
                  <a:lnTo>
                    <a:pt x="1691" y="3308"/>
                  </a:lnTo>
                  <a:lnTo>
                    <a:pt x="1690" y="3298"/>
                  </a:lnTo>
                  <a:lnTo>
                    <a:pt x="1689" y="3279"/>
                  </a:lnTo>
                  <a:lnTo>
                    <a:pt x="1689" y="3257"/>
                  </a:lnTo>
                  <a:lnTo>
                    <a:pt x="1689" y="3237"/>
                  </a:lnTo>
                  <a:lnTo>
                    <a:pt x="1691" y="3220"/>
                  </a:lnTo>
                  <a:lnTo>
                    <a:pt x="1693" y="3202"/>
                  </a:lnTo>
                  <a:lnTo>
                    <a:pt x="1695" y="3186"/>
                  </a:lnTo>
                  <a:lnTo>
                    <a:pt x="1698" y="3170"/>
                  </a:lnTo>
                  <a:lnTo>
                    <a:pt x="1700" y="3153"/>
                  </a:lnTo>
                  <a:lnTo>
                    <a:pt x="1702" y="3135"/>
                  </a:lnTo>
                  <a:lnTo>
                    <a:pt x="1703" y="3116"/>
                  </a:lnTo>
                  <a:lnTo>
                    <a:pt x="1702" y="3101"/>
                  </a:lnTo>
                  <a:lnTo>
                    <a:pt x="1698" y="3088"/>
                  </a:lnTo>
                  <a:lnTo>
                    <a:pt x="1694" y="3076"/>
                  </a:lnTo>
                  <a:lnTo>
                    <a:pt x="1690" y="3064"/>
                  </a:lnTo>
                  <a:lnTo>
                    <a:pt x="1685" y="3053"/>
                  </a:lnTo>
                  <a:lnTo>
                    <a:pt x="1681" y="3040"/>
                  </a:lnTo>
                  <a:lnTo>
                    <a:pt x="1678" y="3027"/>
                  </a:lnTo>
                  <a:lnTo>
                    <a:pt x="1677" y="3013"/>
                  </a:lnTo>
                  <a:lnTo>
                    <a:pt x="1678" y="3007"/>
                  </a:lnTo>
                  <a:lnTo>
                    <a:pt x="1679" y="3001"/>
                  </a:lnTo>
                  <a:lnTo>
                    <a:pt x="1681" y="2996"/>
                  </a:lnTo>
                  <a:lnTo>
                    <a:pt x="1683" y="2991"/>
                  </a:lnTo>
                  <a:lnTo>
                    <a:pt x="1691" y="2982"/>
                  </a:lnTo>
                  <a:lnTo>
                    <a:pt x="1698" y="2974"/>
                  </a:lnTo>
                  <a:lnTo>
                    <a:pt x="1706" y="2966"/>
                  </a:lnTo>
                  <a:lnTo>
                    <a:pt x="1712" y="2957"/>
                  </a:lnTo>
                  <a:lnTo>
                    <a:pt x="1716" y="2952"/>
                  </a:lnTo>
                  <a:lnTo>
                    <a:pt x="1718" y="2946"/>
                  </a:lnTo>
                  <a:lnTo>
                    <a:pt x="1719" y="2941"/>
                  </a:lnTo>
                  <a:lnTo>
                    <a:pt x="1719" y="2935"/>
                  </a:lnTo>
                  <a:lnTo>
                    <a:pt x="1719" y="2929"/>
                  </a:lnTo>
                  <a:lnTo>
                    <a:pt x="1718" y="2924"/>
                  </a:lnTo>
                  <a:lnTo>
                    <a:pt x="1716" y="2919"/>
                  </a:lnTo>
                  <a:lnTo>
                    <a:pt x="1713" y="2915"/>
                  </a:lnTo>
                  <a:lnTo>
                    <a:pt x="1708" y="2906"/>
                  </a:lnTo>
                  <a:lnTo>
                    <a:pt x="1703" y="2899"/>
                  </a:lnTo>
                  <a:lnTo>
                    <a:pt x="1696" y="2891"/>
                  </a:lnTo>
                  <a:lnTo>
                    <a:pt x="1691" y="2883"/>
                  </a:lnTo>
                  <a:lnTo>
                    <a:pt x="1689" y="2878"/>
                  </a:lnTo>
                  <a:lnTo>
                    <a:pt x="1687" y="2874"/>
                  </a:lnTo>
                  <a:lnTo>
                    <a:pt x="1686" y="2869"/>
                  </a:lnTo>
                  <a:lnTo>
                    <a:pt x="1685" y="2863"/>
                  </a:lnTo>
                  <a:lnTo>
                    <a:pt x="1686" y="2857"/>
                  </a:lnTo>
                  <a:lnTo>
                    <a:pt x="1687" y="2850"/>
                  </a:lnTo>
                  <a:lnTo>
                    <a:pt x="1690" y="2844"/>
                  </a:lnTo>
                  <a:lnTo>
                    <a:pt x="1692" y="2838"/>
                  </a:lnTo>
                  <a:lnTo>
                    <a:pt x="1698" y="2829"/>
                  </a:lnTo>
                  <a:lnTo>
                    <a:pt x="1707" y="2819"/>
                  </a:lnTo>
                  <a:lnTo>
                    <a:pt x="1714" y="2809"/>
                  </a:lnTo>
                  <a:lnTo>
                    <a:pt x="1721" y="2800"/>
                  </a:lnTo>
                  <a:lnTo>
                    <a:pt x="1724" y="2794"/>
                  </a:lnTo>
                  <a:lnTo>
                    <a:pt x="1725" y="2788"/>
                  </a:lnTo>
                  <a:lnTo>
                    <a:pt x="1727" y="2782"/>
                  </a:lnTo>
                  <a:lnTo>
                    <a:pt x="1727" y="2775"/>
                  </a:lnTo>
                  <a:lnTo>
                    <a:pt x="1727" y="2770"/>
                  </a:lnTo>
                  <a:lnTo>
                    <a:pt x="1725" y="2766"/>
                  </a:lnTo>
                  <a:lnTo>
                    <a:pt x="1723" y="2763"/>
                  </a:lnTo>
                  <a:lnTo>
                    <a:pt x="1720" y="2760"/>
                  </a:lnTo>
                  <a:lnTo>
                    <a:pt x="1712" y="2754"/>
                  </a:lnTo>
                  <a:lnTo>
                    <a:pt x="1704" y="2750"/>
                  </a:lnTo>
                  <a:lnTo>
                    <a:pt x="1695" y="2746"/>
                  </a:lnTo>
                  <a:lnTo>
                    <a:pt x="1687" y="2740"/>
                  </a:lnTo>
                  <a:lnTo>
                    <a:pt x="1684" y="2737"/>
                  </a:lnTo>
                  <a:lnTo>
                    <a:pt x="1682" y="2734"/>
                  </a:lnTo>
                  <a:lnTo>
                    <a:pt x="1680" y="2729"/>
                  </a:lnTo>
                  <a:lnTo>
                    <a:pt x="1680" y="2725"/>
                  </a:lnTo>
                  <a:lnTo>
                    <a:pt x="1681" y="2712"/>
                  </a:lnTo>
                  <a:lnTo>
                    <a:pt x="1683" y="2700"/>
                  </a:lnTo>
                  <a:lnTo>
                    <a:pt x="1687" y="2690"/>
                  </a:lnTo>
                  <a:lnTo>
                    <a:pt x="1693" y="2681"/>
                  </a:lnTo>
                  <a:lnTo>
                    <a:pt x="1698" y="2671"/>
                  </a:lnTo>
                  <a:lnTo>
                    <a:pt x="1704" y="2660"/>
                  </a:lnTo>
                  <a:lnTo>
                    <a:pt x="1709" y="2649"/>
                  </a:lnTo>
                  <a:lnTo>
                    <a:pt x="1713" y="2638"/>
                  </a:lnTo>
                  <a:lnTo>
                    <a:pt x="1718" y="2625"/>
                  </a:lnTo>
                  <a:lnTo>
                    <a:pt x="1720" y="2613"/>
                  </a:lnTo>
                  <a:lnTo>
                    <a:pt x="1722" y="2601"/>
                  </a:lnTo>
                  <a:lnTo>
                    <a:pt x="1723" y="2590"/>
                  </a:lnTo>
                  <a:lnTo>
                    <a:pt x="1724" y="2578"/>
                  </a:lnTo>
                  <a:lnTo>
                    <a:pt x="1726" y="2567"/>
                  </a:lnTo>
                  <a:lnTo>
                    <a:pt x="1730" y="2555"/>
                  </a:lnTo>
                  <a:lnTo>
                    <a:pt x="1733" y="2542"/>
                  </a:lnTo>
                  <a:lnTo>
                    <a:pt x="1741" y="2521"/>
                  </a:lnTo>
                  <a:lnTo>
                    <a:pt x="1751" y="2504"/>
                  </a:lnTo>
                  <a:lnTo>
                    <a:pt x="1761" y="2485"/>
                  </a:lnTo>
                  <a:lnTo>
                    <a:pt x="1770" y="2464"/>
                  </a:lnTo>
                  <a:lnTo>
                    <a:pt x="1780" y="2431"/>
                  </a:lnTo>
                  <a:lnTo>
                    <a:pt x="1789" y="2402"/>
                  </a:lnTo>
                  <a:lnTo>
                    <a:pt x="1798" y="2373"/>
                  </a:lnTo>
                  <a:lnTo>
                    <a:pt x="1808" y="2341"/>
                  </a:lnTo>
                  <a:lnTo>
                    <a:pt x="1814" y="2329"/>
                  </a:lnTo>
                  <a:lnTo>
                    <a:pt x="1819" y="2318"/>
                  </a:lnTo>
                  <a:lnTo>
                    <a:pt x="1826" y="2308"/>
                  </a:lnTo>
                  <a:lnTo>
                    <a:pt x="1832" y="2298"/>
                  </a:lnTo>
                  <a:lnTo>
                    <a:pt x="1839" y="2290"/>
                  </a:lnTo>
                  <a:lnTo>
                    <a:pt x="1847" y="2282"/>
                  </a:lnTo>
                  <a:lnTo>
                    <a:pt x="1857" y="2275"/>
                  </a:lnTo>
                  <a:lnTo>
                    <a:pt x="1868" y="2268"/>
                  </a:lnTo>
                  <a:lnTo>
                    <a:pt x="1885" y="2261"/>
                  </a:lnTo>
                  <a:lnTo>
                    <a:pt x="1902" y="2254"/>
                  </a:lnTo>
                  <a:lnTo>
                    <a:pt x="1910" y="2251"/>
                  </a:lnTo>
                  <a:lnTo>
                    <a:pt x="1915" y="2245"/>
                  </a:lnTo>
                  <a:lnTo>
                    <a:pt x="1918" y="2243"/>
                  </a:lnTo>
                  <a:lnTo>
                    <a:pt x="1920" y="2240"/>
                  </a:lnTo>
                  <a:lnTo>
                    <a:pt x="1921" y="2236"/>
                  </a:lnTo>
                  <a:lnTo>
                    <a:pt x="1921" y="2231"/>
                  </a:lnTo>
                  <a:lnTo>
                    <a:pt x="1920" y="2224"/>
                  </a:lnTo>
                  <a:lnTo>
                    <a:pt x="1919" y="2218"/>
                  </a:lnTo>
                  <a:lnTo>
                    <a:pt x="1915" y="2212"/>
                  </a:lnTo>
                  <a:lnTo>
                    <a:pt x="1912" y="2207"/>
                  </a:lnTo>
                  <a:lnTo>
                    <a:pt x="1909" y="2201"/>
                  </a:lnTo>
                  <a:lnTo>
                    <a:pt x="1906" y="2196"/>
                  </a:lnTo>
                  <a:lnTo>
                    <a:pt x="1904" y="2189"/>
                  </a:lnTo>
                  <a:lnTo>
                    <a:pt x="1902" y="2183"/>
                  </a:lnTo>
                  <a:lnTo>
                    <a:pt x="1902" y="2183"/>
                  </a:lnTo>
                  <a:lnTo>
                    <a:pt x="1883" y="2181"/>
                  </a:lnTo>
                  <a:lnTo>
                    <a:pt x="1867" y="2179"/>
                  </a:lnTo>
                  <a:lnTo>
                    <a:pt x="1852" y="2176"/>
                  </a:lnTo>
                  <a:lnTo>
                    <a:pt x="1832" y="2175"/>
                  </a:lnTo>
                  <a:lnTo>
                    <a:pt x="1818" y="2174"/>
                  </a:lnTo>
                  <a:lnTo>
                    <a:pt x="1806" y="2172"/>
                  </a:lnTo>
                  <a:lnTo>
                    <a:pt x="1793" y="2169"/>
                  </a:lnTo>
                  <a:lnTo>
                    <a:pt x="1783" y="2164"/>
                  </a:lnTo>
                  <a:lnTo>
                    <a:pt x="1772" y="2158"/>
                  </a:lnTo>
                  <a:lnTo>
                    <a:pt x="1762" y="2152"/>
                  </a:lnTo>
                  <a:lnTo>
                    <a:pt x="1753" y="2143"/>
                  </a:lnTo>
                  <a:lnTo>
                    <a:pt x="1745" y="2134"/>
                  </a:lnTo>
                  <a:lnTo>
                    <a:pt x="1737" y="2125"/>
                  </a:lnTo>
                  <a:lnTo>
                    <a:pt x="1730" y="2114"/>
                  </a:lnTo>
                  <a:lnTo>
                    <a:pt x="1724" y="2102"/>
                  </a:lnTo>
                  <a:lnTo>
                    <a:pt x="1718" y="2090"/>
                  </a:lnTo>
                  <a:lnTo>
                    <a:pt x="1713" y="2078"/>
                  </a:lnTo>
                  <a:lnTo>
                    <a:pt x="1709" y="2065"/>
                  </a:lnTo>
                  <a:lnTo>
                    <a:pt x="1705" y="2051"/>
                  </a:lnTo>
                  <a:lnTo>
                    <a:pt x="1703" y="2038"/>
                  </a:lnTo>
                  <a:lnTo>
                    <a:pt x="1696" y="2001"/>
                  </a:lnTo>
                  <a:lnTo>
                    <a:pt x="1689" y="1970"/>
                  </a:lnTo>
                  <a:lnTo>
                    <a:pt x="1684" y="1954"/>
                  </a:lnTo>
                  <a:lnTo>
                    <a:pt x="1679" y="1939"/>
                  </a:lnTo>
                  <a:lnTo>
                    <a:pt x="1672" y="1923"/>
                  </a:lnTo>
                  <a:lnTo>
                    <a:pt x="1663" y="1906"/>
                  </a:lnTo>
                  <a:lnTo>
                    <a:pt x="1652" y="1885"/>
                  </a:lnTo>
                  <a:lnTo>
                    <a:pt x="1641" y="1866"/>
                  </a:lnTo>
                  <a:lnTo>
                    <a:pt x="1630" y="1849"/>
                  </a:lnTo>
                  <a:lnTo>
                    <a:pt x="1619" y="1833"/>
                  </a:lnTo>
                  <a:lnTo>
                    <a:pt x="1595" y="1802"/>
                  </a:lnTo>
                  <a:lnTo>
                    <a:pt x="1565" y="1766"/>
                  </a:lnTo>
                  <a:lnTo>
                    <a:pt x="1550" y="1749"/>
                  </a:lnTo>
                  <a:lnTo>
                    <a:pt x="1537" y="1732"/>
                  </a:lnTo>
                  <a:lnTo>
                    <a:pt x="1523" y="1717"/>
                  </a:lnTo>
                  <a:lnTo>
                    <a:pt x="1506" y="1701"/>
                  </a:lnTo>
                  <a:lnTo>
                    <a:pt x="1486" y="1687"/>
                  </a:lnTo>
                  <a:lnTo>
                    <a:pt x="1466" y="1675"/>
                  </a:lnTo>
                  <a:lnTo>
                    <a:pt x="1457" y="1669"/>
                  </a:lnTo>
                  <a:lnTo>
                    <a:pt x="1451" y="1661"/>
                  </a:lnTo>
                  <a:lnTo>
                    <a:pt x="1448" y="1656"/>
                  </a:lnTo>
                  <a:lnTo>
                    <a:pt x="1447" y="1651"/>
                  </a:lnTo>
                  <a:lnTo>
                    <a:pt x="1444" y="1646"/>
                  </a:lnTo>
                  <a:lnTo>
                    <a:pt x="1444" y="1640"/>
                  </a:lnTo>
                  <a:lnTo>
                    <a:pt x="1444" y="1632"/>
                  </a:lnTo>
                  <a:lnTo>
                    <a:pt x="1446" y="1626"/>
                  </a:lnTo>
                  <a:lnTo>
                    <a:pt x="1448" y="1619"/>
                  </a:lnTo>
                  <a:lnTo>
                    <a:pt x="1450" y="1614"/>
                  </a:lnTo>
                  <a:lnTo>
                    <a:pt x="1456" y="1602"/>
                  </a:lnTo>
                  <a:lnTo>
                    <a:pt x="1465" y="1592"/>
                  </a:lnTo>
                  <a:lnTo>
                    <a:pt x="1484" y="1574"/>
                  </a:lnTo>
                  <a:lnTo>
                    <a:pt x="1506" y="1553"/>
                  </a:lnTo>
                  <a:lnTo>
                    <a:pt x="1513" y="1545"/>
                  </a:lnTo>
                  <a:lnTo>
                    <a:pt x="1518" y="1537"/>
                  </a:lnTo>
                  <a:lnTo>
                    <a:pt x="1521" y="1528"/>
                  </a:lnTo>
                  <a:lnTo>
                    <a:pt x="1524" y="1520"/>
                  </a:lnTo>
                  <a:lnTo>
                    <a:pt x="1528" y="1501"/>
                  </a:lnTo>
                  <a:lnTo>
                    <a:pt x="1531" y="1480"/>
                  </a:lnTo>
                  <a:lnTo>
                    <a:pt x="1533" y="1468"/>
                  </a:lnTo>
                  <a:lnTo>
                    <a:pt x="1535" y="1456"/>
                  </a:lnTo>
                  <a:lnTo>
                    <a:pt x="1536" y="1451"/>
                  </a:lnTo>
                  <a:lnTo>
                    <a:pt x="1538" y="1445"/>
                  </a:lnTo>
                  <a:lnTo>
                    <a:pt x="1542" y="1441"/>
                  </a:lnTo>
                  <a:lnTo>
                    <a:pt x="1545" y="1435"/>
                  </a:lnTo>
                  <a:lnTo>
                    <a:pt x="1549" y="1432"/>
                  </a:lnTo>
                  <a:lnTo>
                    <a:pt x="1554" y="1429"/>
                  </a:lnTo>
                  <a:lnTo>
                    <a:pt x="1558" y="1427"/>
                  </a:lnTo>
                  <a:lnTo>
                    <a:pt x="1562" y="1425"/>
                  </a:lnTo>
                  <a:lnTo>
                    <a:pt x="1572" y="1423"/>
                  </a:lnTo>
                  <a:lnTo>
                    <a:pt x="1583" y="1421"/>
                  </a:lnTo>
                  <a:lnTo>
                    <a:pt x="1592" y="1420"/>
                  </a:lnTo>
                  <a:lnTo>
                    <a:pt x="1602" y="1418"/>
                  </a:lnTo>
                  <a:lnTo>
                    <a:pt x="1606" y="1416"/>
                  </a:lnTo>
                  <a:lnTo>
                    <a:pt x="1611" y="1414"/>
                  </a:lnTo>
                  <a:lnTo>
                    <a:pt x="1614" y="1412"/>
                  </a:lnTo>
                  <a:lnTo>
                    <a:pt x="1618" y="1407"/>
                  </a:lnTo>
                  <a:lnTo>
                    <a:pt x="1624" y="1401"/>
                  </a:lnTo>
                  <a:lnTo>
                    <a:pt x="1627" y="1394"/>
                  </a:lnTo>
                  <a:lnTo>
                    <a:pt x="1631" y="1388"/>
                  </a:lnTo>
                  <a:lnTo>
                    <a:pt x="1633" y="1381"/>
                  </a:lnTo>
                  <a:lnTo>
                    <a:pt x="1636" y="1375"/>
                  </a:lnTo>
                  <a:lnTo>
                    <a:pt x="1637" y="1367"/>
                  </a:lnTo>
                  <a:lnTo>
                    <a:pt x="1638" y="1360"/>
                  </a:lnTo>
                  <a:lnTo>
                    <a:pt x="1638" y="1351"/>
                  </a:lnTo>
                  <a:lnTo>
                    <a:pt x="1637" y="1335"/>
                  </a:lnTo>
                  <a:lnTo>
                    <a:pt x="1635" y="1320"/>
                  </a:lnTo>
                  <a:lnTo>
                    <a:pt x="1632" y="1312"/>
                  </a:lnTo>
                  <a:lnTo>
                    <a:pt x="1630" y="1305"/>
                  </a:lnTo>
                  <a:lnTo>
                    <a:pt x="1627" y="1297"/>
                  </a:lnTo>
                  <a:lnTo>
                    <a:pt x="1624" y="1291"/>
                  </a:lnTo>
                  <a:lnTo>
                    <a:pt x="1621" y="1284"/>
                  </a:lnTo>
                  <a:lnTo>
                    <a:pt x="1616" y="1279"/>
                  </a:lnTo>
                  <a:lnTo>
                    <a:pt x="1611" y="1275"/>
                  </a:lnTo>
                  <a:lnTo>
                    <a:pt x="1606" y="1270"/>
                  </a:lnTo>
                  <a:lnTo>
                    <a:pt x="1600" y="1266"/>
                  </a:lnTo>
                  <a:lnTo>
                    <a:pt x="1594" y="1264"/>
                  </a:lnTo>
                  <a:lnTo>
                    <a:pt x="1587" y="1263"/>
                  </a:lnTo>
                  <a:lnTo>
                    <a:pt x="1579" y="1262"/>
                  </a:lnTo>
                  <a:lnTo>
                    <a:pt x="1561" y="1263"/>
                  </a:lnTo>
                  <a:lnTo>
                    <a:pt x="1544" y="1265"/>
                  </a:lnTo>
                  <a:lnTo>
                    <a:pt x="1529" y="1267"/>
                  </a:lnTo>
                  <a:lnTo>
                    <a:pt x="1514" y="1270"/>
                  </a:lnTo>
                  <a:lnTo>
                    <a:pt x="1498" y="1273"/>
                  </a:lnTo>
                  <a:lnTo>
                    <a:pt x="1482" y="1276"/>
                  </a:lnTo>
                  <a:lnTo>
                    <a:pt x="1466" y="1278"/>
                  </a:lnTo>
                  <a:lnTo>
                    <a:pt x="1448" y="1279"/>
                  </a:lnTo>
                  <a:lnTo>
                    <a:pt x="1440" y="1278"/>
                  </a:lnTo>
                  <a:lnTo>
                    <a:pt x="1435" y="1277"/>
                  </a:lnTo>
                  <a:lnTo>
                    <a:pt x="1429" y="1275"/>
                  </a:lnTo>
                  <a:lnTo>
                    <a:pt x="1424" y="1271"/>
                  </a:lnTo>
                  <a:lnTo>
                    <a:pt x="1420" y="1268"/>
                  </a:lnTo>
                  <a:lnTo>
                    <a:pt x="1415" y="1264"/>
                  </a:lnTo>
                  <a:lnTo>
                    <a:pt x="1412" y="1259"/>
                  </a:lnTo>
                  <a:lnTo>
                    <a:pt x="1408" y="1254"/>
                  </a:lnTo>
                  <a:lnTo>
                    <a:pt x="1402" y="1242"/>
                  </a:lnTo>
                  <a:lnTo>
                    <a:pt x="1397" y="1229"/>
                  </a:lnTo>
                  <a:lnTo>
                    <a:pt x="1393" y="1216"/>
                  </a:lnTo>
                  <a:lnTo>
                    <a:pt x="1388" y="1203"/>
                  </a:lnTo>
                  <a:lnTo>
                    <a:pt x="1382" y="1183"/>
                  </a:lnTo>
                  <a:lnTo>
                    <a:pt x="1376" y="1163"/>
                  </a:lnTo>
                  <a:lnTo>
                    <a:pt x="1370" y="1146"/>
                  </a:lnTo>
                  <a:lnTo>
                    <a:pt x="1363" y="1130"/>
                  </a:lnTo>
                  <a:lnTo>
                    <a:pt x="1355" y="1114"/>
                  </a:lnTo>
                  <a:lnTo>
                    <a:pt x="1346" y="1097"/>
                  </a:lnTo>
                  <a:lnTo>
                    <a:pt x="1334" y="1082"/>
                  </a:lnTo>
                  <a:lnTo>
                    <a:pt x="1321" y="1065"/>
                  </a:lnTo>
                  <a:lnTo>
                    <a:pt x="1299" y="1036"/>
                  </a:lnTo>
                  <a:lnTo>
                    <a:pt x="1278" y="1009"/>
                  </a:lnTo>
                  <a:lnTo>
                    <a:pt x="1268" y="997"/>
                  </a:lnTo>
                  <a:lnTo>
                    <a:pt x="1258" y="984"/>
                  </a:lnTo>
                  <a:lnTo>
                    <a:pt x="1244" y="973"/>
                  </a:lnTo>
                  <a:lnTo>
                    <a:pt x="1228" y="961"/>
                  </a:lnTo>
                  <a:lnTo>
                    <a:pt x="1224" y="958"/>
                  </a:lnTo>
                  <a:lnTo>
                    <a:pt x="1221" y="953"/>
                  </a:lnTo>
                  <a:lnTo>
                    <a:pt x="1220" y="947"/>
                  </a:lnTo>
                  <a:lnTo>
                    <a:pt x="1219" y="941"/>
                  </a:lnTo>
                  <a:lnTo>
                    <a:pt x="1218" y="928"/>
                  </a:lnTo>
                  <a:lnTo>
                    <a:pt x="1214" y="914"/>
                  </a:lnTo>
                  <a:lnTo>
                    <a:pt x="1210" y="905"/>
                  </a:lnTo>
                  <a:lnTo>
                    <a:pt x="1206" y="898"/>
                  </a:lnTo>
                  <a:lnTo>
                    <a:pt x="1200" y="891"/>
                  </a:lnTo>
                  <a:lnTo>
                    <a:pt x="1194" y="886"/>
                  </a:lnTo>
                  <a:lnTo>
                    <a:pt x="1187" y="881"/>
                  </a:lnTo>
                  <a:lnTo>
                    <a:pt x="1179" y="878"/>
                  </a:lnTo>
                  <a:lnTo>
                    <a:pt x="1171" y="876"/>
                  </a:lnTo>
                  <a:lnTo>
                    <a:pt x="1161" y="875"/>
                  </a:lnTo>
                  <a:lnTo>
                    <a:pt x="1159" y="863"/>
                  </a:lnTo>
                  <a:lnTo>
                    <a:pt x="1158" y="852"/>
                  </a:lnTo>
                  <a:lnTo>
                    <a:pt x="1159" y="845"/>
                  </a:lnTo>
                  <a:lnTo>
                    <a:pt x="1160" y="839"/>
                  </a:lnTo>
                  <a:lnTo>
                    <a:pt x="1161" y="833"/>
                  </a:lnTo>
                  <a:lnTo>
                    <a:pt x="1164" y="829"/>
                  </a:lnTo>
                  <a:lnTo>
                    <a:pt x="1170" y="819"/>
                  </a:lnTo>
                  <a:lnTo>
                    <a:pt x="1178" y="809"/>
                  </a:lnTo>
                  <a:lnTo>
                    <a:pt x="1186" y="800"/>
                  </a:lnTo>
                  <a:lnTo>
                    <a:pt x="1195" y="792"/>
                  </a:lnTo>
                  <a:lnTo>
                    <a:pt x="1204" y="782"/>
                  </a:lnTo>
                  <a:lnTo>
                    <a:pt x="1212" y="771"/>
                  </a:lnTo>
                  <a:lnTo>
                    <a:pt x="1218" y="762"/>
                  </a:lnTo>
                  <a:lnTo>
                    <a:pt x="1221" y="752"/>
                  </a:lnTo>
                  <a:lnTo>
                    <a:pt x="1225" y="743"/>
                  </a:lnTo>
                  <a:lnTo>
                    <a:pt x="1227" y="735"/>
                  </a:lnTo>
                  <a:lnTo>
                    <a:pt x="1231" y="725"/>
                  </a:lnTo>
                  <a:lnTo>
                    <a:pt x="1235" y="716"/>
                  </a:lnTo>
                  <a:lnTo>
                    <a:pt x="1239" y="708"/>
                  </a:lnTo>
                  <a:lnTo>
                    <a:pt x="1246" y="699"/>
                  </a:lnTo>
                  <a:lnTo>
                    <a:pt x="1265" y="673"/>
                  </a:lnTo>
                  <a:lnTo>
                    <a:pt x="1284" y="650"/>
                  </a:lnTo>
                  <a:lnTo>
                    <a:pt x="1290" y="638"/>
                  </a:lnTo>
                  <a:lnTo>
                    <a:pt x="1295" y="625"/>
                  </a:lnTo>
                  <a:lnTo>
                    <a:pt x="1298" y="619"/>
                  </a:lnTo>
                  <a:lnTo>
                    <a:pt x="1299" y="611"/>
                  </a:lnTo>
                  <a:lnTo>
                    <a:pt x="1300" y="604"/>
                  </a:lnTo>
                  <a:lnTo>
                    <a:pt x="1300" y="595"/>
                  </a:lnTo>
                  <a:lnTo>
                    <a:pt x="1300" y="566"/>
                  </a:lnTo>
                  <a:lnTo>
                    <a:pt x="1300" y="540"/>
                  </a:lnTo>
                  <a:lnTo>
                    <a:pt x="1300" y="514"/>
                  </a:lnTo>
                  <a:lnTo>
                    <a:pt x="1300" y="485"/>
                  </a:lnTo>
                  <a:lnTo>
                    <a:pt x="1301" y="474"/>
                  </a:lnTo>
                  <a:lnTo>
                    <a:pt x="1302" y="463"/>
                  </a:lnTo>
                  <a:lnTo>
                    <a:pt x="1303" y="454"/>
                  </a:lnTo>
                  <a:lnTo>
                    <a:pt x="1305" y="444"/>
                  </a:lnTo>
                  <a:lnTo>
                    <a:pt x="1311" y="427"/>
                  </a:lnTo>
                  <a:lnTo>
                    <a:pt x="1316" y="409"/>
                  </a:lnTo>
                  <a:lnTo>
                    <a:pt x="1321" y="392"/>
                  </a:lnTo>
                  <a:lnTo>
                    <a:pt x="1327" y="374"/>
                  </a:lnTo>
                  <a:lnTo>
                    <a:pt x="1329" y="364"/>
                  </a:lnTo>
                  <a:lnTo>
                    <a:pt x="1330" y="354"/>
                  </a:lnTo>
                  <a:lnTo>
                    <a:pt x="1331" y="345"/>
                  </a:lnTo>
                  <a:lnTo>
                    <a:pt x="1332" y="334"/>
                  </a:lnTo>
                  <a:lnTo>
                    <a:pt x="1332" y="310"/>
                  </a:lnTo>
                  <a:lnTo>
                    <a:pt x="1332" y="289"/>
                  </a:lnTo>
                  <a:lnTo>
                    <a:pt x="1332" y="269"/>
                  </a:lnTo>
                  <a:lnTo>
                    <a:pt x="1332" y="250"/>
                  </a:lnTo>
                  <a:lnTo>
                    <a:pt x="1332" y="230"/>
                  </a:lnTo>
                  <a:lnTo>
                    <a:pt x="1332" y="210"/>
                  </a:lnTo>
                  <a:lnTo>
                    <a:pt x="1332" y="189"/>
                  </a:lnTo>
                  <a:lnTo>
                    <a:pt x="1332" y="165"/>
                  </a:lnTo>
                  <a:lnTo>
                    <a:pt x="1331" y="156"/>
                  </a:lnTo>
                  <a:lnTo>
                    <a:pt x="1329" y="147"/>
                  </a:lnTo>
                  <a:lnTo>
                    <a:pt x="1326" y="139"/>
                  </a:lnTo>
                  <a:lnTo>
                    <a:pt x="1320" y="133"/>
                  </a:lnTo>
                  <a:lnTo>
                    <a:pt x="1315" y="128"/>
                  </a:lnTo>
                  <a:lnTo>
                    <a:pt x="1308" y="123"/>
                  </a:lnTo>
                  <a:lnTo>
                    <a:pt x="1301" y="119"/>
                  </a:lnTo>
                  <a:lnTo>
                    <a:pt x="1292" y="115"/>
                  </a:lnTo>
                  <a:lnTo>
                    <a:pt x="1275" y="108"/>
                  </a:lnTo>
                  <a:lnTo>
                    <a:pt x="1255" y="101"/>
                  </a:lnTo>
                  <a:lnTo>
                    <a:pt x="1236" y="94"/>
                  </a:lnTo>
                  <a:lnTo>
                    <a:pt x="1218" y="84"/>
                  </a:lnTo>
                  <a:lnTo>
                    <a:pt x="1218" y="23"/>
                  </a:lnTo>
                  <a:lnTo>
                    <a:pt x="1212" y="0"/>
                  </a:lnTo>
                  <a:lnTo>
                    <a:pt x="1197" y="4"/>
                  </a:lnTo>
                  <a:lnTo>
                    <a:pt x="1183" y="10"/>
                  </a:lnTo>
                  <a:lnTo>
                    <a:pt x="1170" y="14"/>
                  </a:lnTo>
                  <a:lnTo>
                    <a:pt x="1158" y="20"/>
                  </a:lnTo>
                  <a:lnTo>
                    <a:pt x="1145" y="24"/>
                  </a:lnTo>
                  <a:lnTo>
                    <a:pt x="1132" y="28"/>
                  </a:lnTo>
                  <a:lnTo>
                    <a:pt x="1118" y="30"/>
                  </a:lnTo>
                  <a:lnTo>
                    <a:pt x="1102" y="31"/>
                  </a:lnTo>
                  <a:lnTo>
                    <a:pt x="1085" y="31"/>
                  </a:lnTo>
                  <a:lnTo>
                    <a:pt x="1069" y="30"/>
                  </a:lnTo>
                  <a:lnTo>
                    <a:pt x="1060" y="30"/>
                  </a:lnTo>
                  <a:lnTo>
                    <a:pt x="1052" y="28"/>
                  </a:lnTo>
                  <a:lnTo>
                    <a:pt x="1044" y="26"/>
                  </a:lnTo>
                  <a:lnTo>
                    <a:pt x="1035" y="23"/>
                  </a:lnTo>
                  <a:lnTo>
                    <a:pt x="1025" y="17"/>
                  </a:lnTo>
                  <a:lnTo>
                    <a:pt x="1016" y="11"/>
                  </a:lnTo>
                  <a:lnTo>
                    <a:pt x="1011" y="8"/>
                  </a:lnTo>
                  <a:lnTo>
                    <a:pt x="1007" y="6"/>
                  </a:lnTo>
                  <a:lnTo>
                    <a:pt x="1002" y="4"/>
                  </a:lnTo>
                  <a:lnTo>
                    <a:pt x="996" y="3"/>
                  </a:lnTo>
                  <a:lnTo>
                    <a:pt x="987" y="4"/>
                  </a:lnTo>
                  <a:lnTo>
                    <a:pt x="978" y="7"/>
                  </a:lnTo>
                  <a:lnTo>
                    <a:pt x="970" y="10"/>
                  </a:lnTo>
                  <a:lnTo>
                    <a:pt x="964" y="13"/>
                  </a:lnTo>
                  <a:lnTo>
                    <a:pt x="950" y="24"/>
                  </a:lnTo>
                  <a:lnTo>
                    <a:pt x="935" y="35"/>
                  </a:lnTo>
                  <a:lnTo>
                    <a:pt x="918" y="44"/>
                  </a:lnTo>
                  <a:lnTo>
                    <a:pt x="902" y="53"/>
                  </a:lnTo>
                  <a:lnTo>
                    <a:pt x="886" y="63"/>
                  </a:lnTo>
                  <a:lnTo>
                    <a:pt x="870" y="74"/>
                  </a:lnTo>
                  <a:lnTo>
                    <a:pt x="870" y="74"/>
                  </a:lnTo>
                  <a:close/>
                </a:path>
              </a:pathLst>
            </a:custGeom>
            <a:solidFill>
              <a:srgbClr val="56EFF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26">
              <a:extLst>
                <a:ext uri="{FF2B5EF4-FFF2-40B4-BE49-F238E27FC236}">
                  <a16:creationId xmlns:a16="http://schemas.microsoft.com/office/drawing/2014/main" id="{D54A0B08-81B1-4C82-B603-2AD2A1E8D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0550" y="1930401"/>
              <a:ext cx="762000" cy="1401763"/>
            </a:xfrm>
            <a:custGeom>
              <a:avLst/>
              <a:gdLst>
                <a:gd name="T0" fmla="*/ 960 w 1921"/>
                <a:gd name="T1" fmla="*/ 220 h 3535"/>
                <a:gd name="T2" fmla="*/ 952 w 1921"/>
                <a:gd name="T3" fmla="*/ 307 h 3535"/>
                <a:gd name="T4" fmla="*/ 916 w 1921"/>
                <a:gd name="T5" fmla="*/ 440 h 3535"/>
                <a:gd name="T6" fmla="*/ 847 w 1921"/>
                <a:gd name="T7" fmla="*/ 630 h 3535"/>
                <a:gd name="T8" fmla="*/ 769 w 1921"/>
                <a:gd name="T9" fmla="*/ 636 h 3535"/>
                <a:gd name="T10" fmla="*/ 716 w 1921"/>
                <a:gd name="T11" fmla="*/ 760 h 3535"/>
                <a:gd name="T12" fmla="*/ 575 w 1921"/>
                <a:gd name="T13" fmla="*/ 851 h 3535"/>
                <a:gd name="T14" fmla="*/ 470 w 1921"/>
                <a:gd name="T15" fmla="*/ 1040 h 3535"/>
                <a:gd name="T16" fmla="*/ 475 w 1921"/>
                <a:gd name="T17" fmla="*/ 1149 h 3535"/>
                <a:gd name="T18" fmla="*/ 532 w 1921"/>
                <a:gd name="T19" fmla="*/ 1264 h 3535"/>
                <a:gd name="T20" fmla="*/ 475 w 1921"/>
                <a:gd name="T21" fmla="*/ 1357 h 3535"/>
                <a:gd name="T22" fmla="*/ 422 w 1921"/>
                <a:gd name="T23" fmla="*/ 1486 h 3535"/>
                <a:gd name="T24" fmla="*/ 201 w 1921"/>
                <a:gd name="T25" fmla="*/ 1715 h 3535"/>
                <a:gd name="T26" fmla="*/ 90 w 1921"/>
                <a:gd name="T27" fmla="*/ 1927 h 3535"/>
                <a:gd name="T28" fmla="*/ 146 w 1921"/>
                <a:gd name="T29" fmla="*/ 2090 h 3535"/>
                <a:gd name="T30" fmla="*/ 92 w 1921"/>
                <a:gd name="T31" fmla="*/ 2370 h 3535"/>
                <a:gd name="T32" fmla="*/ 105 w 1921"/>
                <a:gd name="T33" fmla="*/ 2564 h 3535"/>
                <a:gd name="T34" fmla="*/ 71 w 1921"/>
                <a:gd name="T35" fmla="*/ 2756 h 3535"/>
                <a:gd name="T36" fmla="*/ 0 w 1921"/>
                <a:gd name="T37" fmla="*/ 2986 h 3535"/>
                <a:gd name="T38" fmla="*/ 26 w 1921"/>
                <a:gd name="T39" fmla="*/ 3175 h 3535"/>
                <a:gd name="T40" fmla="*/ 91 w 1921"/>
                <a:gd name="T41" fmla="*/ 3276 h 3535"/>
                <a:gd name="T42" fmla="*/ 299 w 1921"/>
                <a:gd name="T43" fmla="*/ 3306 h 3535"/>
                <a:gd name="T44" fmla="*/ 391 w 1921"/>
                <a:gd name="T45" fmla="*/ 3170 h 3535"/>
                <a:gd name="T46" fmla="*/ 493 w 1921"/>
                <a:gd name="T47" fmla="*/ 3196 h 3535"/>
                <a:gd name="T48" fmla="*/ 504 w 1921"/>
                <a:gd name="T49" fmla="*/ 3347 h 3535"/>
                <a:gd name="T50" fmla="*/ 527 w 1921"/>
                <a:gd name="T51" fmla="*/ 3444 h 3535"/>
                <a:gd name="T52" fmla="*/ 604 w 1921"/>
                <a:gd name="T53" fmla="*/ 3363 h 3535"/>
                <a:gd name="T54" fmla="*/ 691 w 1921"/>
                <a:gd name="T55" fmla="*/ 3398 h 3535"/>
                <a:gd name="T56" fmla="*/ 777 w 1921"/>
                <a:gd name="T57" fmla="*/ 3401 h 3535"/>
                <a:gd name="T58" fmla="*/ 974 w 1921"/>
                <a:gd name="T59" fmla="*/ 3535 h 3535"/>
                <a:gd name="T60" fmla="*/ 1045 w 1921"/>
                <a:gd name="T61" fmla="*/ 3459 h 3535"/>
                <a:gd name="T62" fmla="*/ 1151 w 1921"/>
                <a:gd name="T63" fmla="*/ 3512 h 3535"/>
                <a:gd name="T64" fmla="*/ 1398 w 1921"/>
                <a:gd name="T65" fmla="*/ 3460 h 3535"/>
                <a:gd name="T66" fmla="*/ 1466 w 1921"/>
                <a:gd name="T67" fmla="*/ 3381 h 3535"/>
                <a:gd name="T68" fmla="*/ 1699 w 1921"/>
                <a:gd name="T69" fmla="*/ 3338 h 3535"/>
                <a:gd name="T70" fmla="*/ 1700 w 1921"/>
                <a:gd name="T71" fmla="*/ 3153 h 3535"/>
                <a:gd name="T72" fmla="*/ 1681 w 1921"/>
                <a:gd name="T73" fmla="*/ 2996 h 3535"/>
                <a:gd name="T74" fmla="*/ 1713 w 1921"/>
                <a:gd name="T75" fmla="*/ 2915 h 3535"/>
                <a:gd name="T76" fmla="*/ 1698 w 1921"/>
                <a:gd name="T77" fmla="*/ 2829 h 3535"/>
                <a:gd name="T78" fmla="*/ 1704 w 1921"/>
                <a:gd name="T79" fmla="*/ 2750 h 3535"/>
                <a:gd name="T80" fmla="*/ 1709 w 1921"/>
                <a:gd name="T81" fmla="*/ 2649 h 3535"/>
                <a:gd name="T82" fmla="*/ 1770 w 1921"/>
                <a:gd name="T83" fmla="*/ 2464 h 3535"/>
                <a:gd name="T84" fmla="*/ 1885 w 1921"/>
                <a:gd name="T85" fmla="*/ 2261 h 3535"/>
                <a:gd name="T86" fmla="*/ 1906 w 1921"/>
                <a:gd name="T87" fmla="*/ 2196 h 3535"/>
                <a:gd name="T88" fmla="*/ 1762 w 1921"/>
                <a:gd name="T89" fmla="*/ 2152 h 3535"/>
                <a:gd name="T90" fmla="*/ 1684 w 1921"/>
                <a:gd name="T91" fmla="*/ 1954 h 3535"/>
                <a:gd name="T92" fmla="*/ 1506 w 1921"/>
                <a:gd name="T93" fmla="*/ 1701 h 3535"/>
                <a:gd name="T94" fmla="*/ 1456 w 1921"/>
                <a:gd name="T95" fmla="*/ 1602 h 3535"/>
                <a:gd name="T96" fmla="*/ 1538 w 1921"/>
                <a:gd name="T97" fmla="*/ 1445 h 3535"/>
                <a:gd name="T98" fmla="*/ 1614 w 1921"/>
                <a:gd name="T99" fmla="*/ 1412 h 3535"/>
                <a:gd name="T100" fmla="*/ 1630 w 1921"/>
                <a:gd name="T101" fmla="*/ 1305 h 3535"/>
                <a:gd name="T102" fmla="*/ 1529 w 1921"/>
                <a:gd name="T103" fmla="*/ 1267 h 3535"/>
                <a:gd name="T104" fmla="*/ 1408 w 1921"/>
                <a:gd name="T105" fmla="*/ 1254 h 3535"/>
                <a:gd name="T106" fmla="*/ 1299 w 1921"/>
                <a:gd name="T107" fmla="*/ 1036 h 3535"/>
                <a:gd name="T108" fmla="*/ 1206 w 1921"/>
                <a:gd name="T109" fmla="*/ 898 h 3535"/>
                <a:gd name="T110" fmla="*/ 1170 w 1921"/>
                <a:gd name="T111" fmla="*/ 819 h 3535"/>
                <a:gd name="T112" fmla="*/ 1246 w 1921"/>
                <a:gd name="T113" fmla="*/ 699 h 3535"/>
                <a:gd name="T114" fmla="*/ 1301 w 1921"/>
                <a:gd name="T115" fmla="*/ 474 h 3535"/>
                <a:gd name="T116" fmla="*/ 1332 w 1921"/>
                <a:gd name="T117" fmla="*/ 289 h 3535"/>
                <a:gd name="T118" fmla="*/ 1301 w 1921"/>
                <a:gd name="T119" fmla="*/ 119 h 3535"/>
                <a:gd name="T120" fmla="*/ 1132 w 1921"/>
                <a:gd name="T121" fmla="*/ 28 h 3535"/>
                <a:gd name="T122" fmla="*/ 1002 w 1921"/>
                <a:gd name="T123" fmla="*/ 4 h 3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1" h="3535">
                  <a:moveTo>
                    <a:pt x="870" y="74"/>
                  </a:moveTo>
                  <a:lnTo>
                    <a:pt x="866" y="88"/>
                  </a:lnTo>
                  <a:lnTo>
                    <a:pt x="861" y="102"/>
                  </a:lnTo>
                  <a:lnTo>
                    <a:pt x="862" y="109"/>
                  </a:lnTo>
                  <a:lnTo>
                    <a:pt x="866" y="115"/>
                  </a:lnTo>
                  <a:lnTo>
                    <a:pt x="870" y="119"/>
                  </a:lnTo>
                  <a:lnTo>
                    <a:pt x="875" y="123"/>
                  </a:lnTo>
                  <a:lnTo>
                    <a:pt x="887" y="131"/>
                  </a:lnTo>
                  <a:lnTo>
                    <a:pt x="898" y="141"/>
                  </a:lnTo>
                  <a:lnTo>
                    <a:pt x="926" y="173"/>
                  </a:lnTo>
                  <a:lnTo>
                    <a:pt x="950" y="204"/>
                  </a:lnTo>
                  <a:lnTo>
                    <a:pt x="955" y="212"/>
                  </a:lnTo>
                  <a:lnTo>
                    <a:pt x="960" y="220"/>
                  </a:lnTo>
                  <a:lnTo>
                    <a:pt x="964" y="228"/>
                  </a:lnTo>
                  <a:lnTo>
                    <a:pt x="967" y="238"/>
                  </a:lnTo>
                  <a:lnTo>
                    <a:pt x="970" y="246"/>
                  </a:lnTo>
                  <a:lnTo>
                    <a:pt x="972" y="256"/>
                  </a:lnTo>
                  <a:lnTo>
                    <a:pt x="974" y="267"/>
                  </a:lnTo>
                  <a:lnTo>
                    <a:pt x="974" y="278"/>
                  </a:lnTo>
                  <a:lnTo>
                    <a:pt x="974" y="282"/>
                  </a:lnTo>
                  <a:lnTo>
                    <a:pt x="972" y="286"/>
                  </a:lnTo>
                  <a:lnTo>
                    <a:pt x="971" y="290"/>
                  </a:lnTo>
                  <a:lnTo>
                    <a:pt x="969" y="292"/>
                  </a:lnTo>
                  <a:lnTo>
                    <a:pt x="964" y="297"/>
                  </a:lnTo>
                  <a:lnTo>
                    <a:pt x="958" y="303"/>
                  </a:lnTo>
                  <a:lnTo>
                    <a:pt x="952" y="307"/>
                  </a:lnTo>
                  <a:lnTo>
                    <a:pt x="947" y="312"/>
                  </a:lnTo>
                  <a:lnTo>
                    <a:pt x="941" y="319"/>
                  </a:lnTo>
                  <a:lnTo>
                    <a:pt x="937" y="325"/>
                  </a:lnTo>
                  <a:lnTo>
                    <a:pt x="934" y="336"/>
                  </a:lnTo>
                  <a:lnTo>
                    <a:pt x="933" y="346"/>
                  </a:lnTo>
                  <a:lnTo>
                    <a:pt x="931" y="355"/>
                  </a:lnTo>
                  <a:lnTo>
                    <a:pt x="930" y="364"/>
                  </a:lnTo>
                  <a:lnTo>
                    <a:pt x="930" y="384"/>
                  </a:lnTo>
                  <a:lnTo>
                    <a:pt x="929" y="404"/>
                  </a:lnTo>
                  <a:lnTo>
                    <a:pt x="927" y="414"/>
                  </a:lnTo>
                  <a:lnTo>
                    <a:pt x="924" y="424"/>
                  </a:lnTo>
                  <a:lnTo>
                    <a:pt x="921" y="431"/>
                  </a:lnTo>
                  <a:lnTo>
                    <a:pt x="916" y="440"/>
                  </a:lnTo>
                  <a:lnTo>
                    <a:pt x="913" y="447"/>
                  </a:lnTo>
                  <a:lnTo>
                    <a:pt x="909" y="456"/>
                  </a:lnTo>
                  <a:lnTo>
                    <a:pt x="907" y="465"/>
                  </a:lnTo>
                  <a:lnTo>
                    <a:pt x="903" y="474"/>
                  </a:lnTo>
                  <a:lnTo>
                    <a:pt x="898" y="505"/>
                  </a:lnTo>
                  <a:lnTo>
                    <a:pt x="893" y="532"/>
                  </a:lnTo>
                  <a:lnTo>
                    <a:pt x="889" y="544"/>
                  </a:lnTo>
                  <a:lnTo>
                    <a:pt x="885" y="559"/>
                  </a:lnTo>
                  <a:lnTo>
                    <a:pt x="880" y="571"/>
                  </a:lnTo>
                  <a:lnTo>
                    <a:pt x="873" y="587"/>
                  </a:lnTo>
                  <a:lnTo>
                    <a:pt x="863" y="605"/>
                  </a:lnTo>
                  <a:lnTo>
                    <a:pt x="854" y="622"/>
                  </a:lnTo>
                  <a:lnTo>
                    <a:pt x="847" y="630"/>
                  </a:lnTo>
                  <a:lnTo>
                    <a:pt x="841" y="635"/>
                  </a:lnTo>
                  <a:lnTo>
                    <a:pt x="836" y="636"/>
                  </a:lnTo>
                  <a:lnTo>
                    <a:pt x="832" y="638"/>
                  </a:lnTo>
                  <a:lnTo>
                    <a:pt x="828" y="640"/>
                  </a:lnTo>
                  <a:lnTo>
                    <a:pt x="822" y="640"/>
                  </a:lnTo>
                  <a:lnTo>
                    <a:pt x="808" y="631"/>
                  </a:lnTo>
                  <a:lnTo>
                    <a:pt x="794" y="622"/>
                  </a:lnTo>
                  <a:lnTo>
                    <a:pt x="789" y="623"/>
                  </a:lnTo>
                  <a:lnTo>
                    <a:pt x="785" y="624"/>
                  </a:lnTo>
                  <a:lnTo>
                    <a:pt x="780" y="627"/>
                  </a:lnTo>
                  <a:lnTo>
                    <a:pt x="776" y="629"/>
                  </a:lnTo>
                  <a:lnTo>
                    <a:pt x="773" y="632"/>
                  </a:lnTo>
                  <a:lnTo>
                    <a:pt x="769" y="636"/>
                  </a:lnTo>
                  <a:lnTo>
                    <a:pt x="767" y="641"/>
                  </a:lnTo>
                  <a:lnTo>
                    <a:pt x="765" y="645"/>
                  </a:lnTo>
                  <a:lnTo>
                    <a:pt x="762" y="656"/>
                  </a:lnTo>
                  <a:lnTo>
                    <a:pt x="759" y="668"/>
                  </a:lnTo>
                  <a:lnTo>
                    <a:pt x="756" y="678"/>
                  </a:lnTo>
                  <a:lnTo>
                    <a:pt x="755" y="690"/>
                  </a:lnTo>
                  <a:lnTo>
                    <a:pt x="753" y="699"/>
                  </a:lnTo>
                  <a:lnTo>
                    <a:pt x="751" y="708"/>
                  </a:lnTo>
                  <a:lnTo>
                    <a:pt x="748" y="715"/>
                  </a:lnTo>
                  <a:lnTo>
                    <a:pt x="745" y="722"/>
                  </a:lnTo>
                  <a:lnTo>
                    <a:pt x="736" y="736"/>
                  </a:lnTo>
                  <a:lnTo>
                    <a:pt x="724" y="749"/>
                  </a:lnTo>
                  <a:lnTo>
                    <a:pt x="716" y="760"/>
                  </a:lnTo>
                  <a:lnTo>
                    <a:pt x="711" y="772"/>
                  </a:lnTo>
                  <a:lnTo>
                    <a:pt x="708" y="778"/>
                  </a:lnTo>
                  <a:lnTo>
                    <a:pt x="704" y="783"/>
                  </a:lnTo>
                  <a:lnTo>
                    <a:pt x="699" y="787"/>
                  </a:lnTo>
                  <a:lnTo>
                    <a:pt x="694" y="791"/>
                  </a:lnTo>
                  <a:lnTo>
                    <a:pt x="666" y="803"/>
                  </a:lnTo>
                  <a:lnTo>
                    <a:pt x="640" y="812"/>
                  </a:lnTo>
                  <a:lnTo>
                    <a:pt x="627" y="817"/>
                  </a:lnTo>
                  <a:lnTo>
                    <a:pt x="615" y="823"/>
                  </a:lnTo>
                  <a:lnTo>
                    <a:pt x="602" y="830"/>
                  </a:lnTo>
                  <a:lnTo>
                    <a:pt x="590" y="838"/>
                  </a:lnTo>
                  <a:lnTo>
                    <a:pt x="581" y="845"/>
                  </a:lnTo>
                  <a:lnTo>
                    <a:pt x="575" y="851"/>
                  </a:lnTo>
                  <a:lnTo>
                    <a:pt x="569" y="859"/>
                  </a:lnTo>
                  <a:lnTo>
                    <a:pt x="563" y="865"/>
                  </a:lnTo>
                  <a:lnTo>
                    <a:pt x="554" y="880"/>
                  </a:lnTo>
                  <a:lnTo>
                    <a:pt x="547" y="895"/>
                  </a:lnTo>
                  <a:lnTo>
                    <a:pt x="535" y="930"/>
                  </a:lnTo>
                  <a:lnTo>
                    <a:pt x="522" y="968"/>
                  </a:lnTo>
                  <a:lnTo>
                    <a:pt x="518" y="978"/>
                  </a:lnTo>
                  <a:lnTo>
                    <a:pt x="512" y="987"/>
                  </a:lnTo>
                  <a:lnTo>
                    <a:pt x="507" y="996"/>
                  </a:lnTo>
                  <a:lnTo>
                    <a:pt x="502" y="1003"/>
                  </a:lnTo>
                  <a:lnTo>
                    <a:pt x="489" y="1019"/>
                  </a:lnTo>
                  <a:lnTo>
                    <a:pt x="476" y="1033"/>
                  </a:lnTo>
                  <a:lnTo>
                    <a:pt x="470" y="1040"/>
                  </a:lnTo>
                  <a:lnTo>
                    <a:pt x="465" y="1048"/>
                  </a:lnTo>
                  <a:lnTo>
                    <a:pt x="459" y="1055"/>
                  </a:lnTo>
                  <a:lnTo>
                    <a:pt x="455" y="1063"/>
                  </a:lnTo>
                  <a:lnTo>
                    <a:pt x="452" y="1072"/>
                  </a:lnTo>
                  <a:lnTo>
                    <a:pt x="449" y="1081"/>
                  </a:lnTo>
                  <a:lnTo>
                    <a:pt x="448" y="1091"/>
                  </a:lnTo>
                  <a:lnTo>
                    <a:pt x="446" y="1102"/>
                  </a:lnTo>
                  <a:lnTo>
                    <a:pt x="448" y="1113"/>
                  </a:lnTo>
                  <a:lnTo>
                    <a:pt x="451" y="1121"/>
                  </a:lnTo>
                  <a:lnTo>
                    <a:pt x="455" y="1130"/>
                  </a:lnTo>
                  <a:lnTo>
                    <a:pt x="461" y="1136"/>
                  </a:lnTo>
                  <a:lnTo>
                    <a:pt x="467" y="1144"/>
                  </a:lnTo>
                  <a:lnTo>
                    <a:pt x="475" y="1149"/>
                  </a:lnTo>
                  <a:lnTo>
                    <a:pt x="482" y="1156"/>
                  </a:lnTo>
                  <a:lnTo>
                    <a:pt x="490" y="1161"/>
                  </a:lnTo>
                  <a:lnTo>
                    <a:pt x="498" y="1168"/>
                  </a:lnTo>
                  <a:lnTo>
                    <a:pt x="506" y="1173"/>
                  </a:lnTo>
                  <a:lnTo>
                    <a:pt x="513" y="1180"/>
                  </a:lnTo>
                  <a:lnTo>
                    <a:pt x="520" y="1186"/>
                  </a:lnTo>
                  <a:lnTo>
                    <a:pt x="525" y="1194"/>
                  </a:lnTo>
                  <a:lnTo>
                    <a:pt x="530" y="1202"/>
                  </a:lnTo>
                  <a:lnTo>
                    <a:pt x="533" y="1211"/>
                  </a:lnTo>
                  <a:lnTo>
                    <a:pt x="534" y="1221"/>
                  </a:lnTo>
                  <a:lnTo>
                    <a:pt x="534" y="1236"/>
                  </a:lnTo>
                  <a:lnTo>
                    <a:pt x="533" y="1250"/>
                  </a:lnTo>
                  <a:lnTo>
                    <a:pt x="532" y="1264"/>
                  </a:lnTo>
                  <a:lnTo>
                    <a:pt x="530" y="1277"/>
                  </a:lnTo>
                  <a:lnTo>
                    <a:pt x="526" y="1289"/>
                  </a:lnTo>
                  <a:lnTo>
                    <a:pt x="521" y="1299"/>
                  </a:lnTo>
                  <a:lnTo>
                    <a:pt x="517" y="1305"/>
                  </a:lnTo>
                  <a:lnTo>
                    <a:pt x="513" y="1310"/>
                  </a:lnTo>
                  <a:lnTo>
                    <a:pt x="508" y="1316"/>
                  </a:lnTo>
                  <a:lnTo>
                    <a:pt x="503" y="1321"/>
                  </a:lnTo>
                  <a:lnTo>
                    <a:pt x="493" y="1329"/>
                  </a:lnTo>
                  <a:lnTo>
                    <a:pt x="483" y="1336"/>
                  </a:lnTo>
                  <a:lnTo>
                    <a:pt x="480" y="1340"/>
                  </a:lnTo>
                  <a:lnTo>
                    <a:pt x="477" y="1345"/>
                  </a:lnTo>
                  <a:lnTo>
                    <a:pt x="476" y="1350"/>
                  </a:lnTo>
                  <a:lnTo>
                    <a:pt x="475" y="1357"/>
                  </a:lnTo>
                  <a:lnTo>
                    <a:pt x="475" y="1372"/>
                  </a:lnTo>
                  <a:lnTo>
                    <a:pt x="475" y="1385"/>
                  </a:lnTo>
                  <a:lnTo>
                    <a:pt x="475" y="1399"/>
                  </a:lnTo>
                  <a:lnTo>
                    <a:pt x="475" y="1414"/>
                  </a:lnTo>
                  <a:lnTo>
                    <a:pt x="475" y="1419"/>
                  </a:lnTo>
                  <a:lnTo>
                    <a:pt x="473" y="1424"/>
                  </a:lnTo>
                  <a:lnTo>
                    <a:pt x="472" y="1428"/>
                  </a:lnTo>
                  <a:lnTo>
                    <a:pt x="470" y="1431"/>
                  </a:lnTo>
                  <a:lnTo>
                    <a:pt x="466" y="1439"/>
                  </a:lnTo>
                  <a:lnTo>
                    <a:pt x="459" y="1445"/>
                  </a:lnTo>
                  <a:lnTo>
                    <a:pt x="446" y="1457"/>
                  </a:lnTo>
                  <a:lnTo>
                    <a:pt x="432" y="1472"/>
                  </a:lnTo>
                  <a:lnTo>
                    <a:pt x="422" y="1486"/>
                  </a:lnTo>
                  <a:lnTo>
                    <a:pt x="410" y="1498"/>
                  </a:lnTo>
                  <a:lnTo>
                    <a:pt x="398" y="1510"/>
                  </a:lnTo>
                  <a:lnTo>
                    <a:pt x="385" y="1520"/>
                  </a:lnTo>
                  <a:lnTo>
                    <a:pt x="360" y="1538"/>
                  </a:lnTo>
                  <a:lnTo>
                    <a:pt x="335" y="1555"/>
                  </a:lnTo>
                  <a:lnTo>
                    <a:pt x="310" y="1573"/>
                  </a:lnTo>
                  <a:lnTo>
                    <a:pt x="286" y="1592"/>
                  </a:lnTo>
                  <a:lnTo>
                    <a:pt x="274" y="1603"/>
                  </a:lnTo>
                  <a:lnTo>
                    <a:pt x="263" y="1615"/>
                  </a:lnTo>
                  <a:lnTo>
                    <a:pt x="252" y="1628"/>
                  </a:lnTo>
                  <a:lnTo>
                    <a:pt x="242" y="1643"/>
                  </a:lnTo>
                  <a:lnTo>
                    <a:pt x="220" y="1681"/>
                  </a:lnTo>
                  <a:lnTo>
                    <a:pt x="201" y="1715"/>
                  </a:lnTo>
                  <a:lnTo>
                    <a:pt x="183" y="1751"/>
                  </a:lnTo>
                  <a:lnTo>
                    <a:pt x="164" y="1792"/>
                  </a:lnTo>
                  <a:lnTo>
                    <a:pt x="153" y="1810"/>
                  </a:lnTo>
                  <a:lnTo>
                    <a:pt x="141" y="1826"/>
                  </a:lnTo>
                  <a:lnTo>
                    <a:pt x="135" y="1834"/>
                  </a:lnTo>
                  <a:lnTo>
                    <a:pt x="131" y="1843"/>
                  </a:lnTo>
                  <a:lnTo>
                    <a:pt x="126" y="1851"/>
                  </a:lnTo>
                  <a:lnTo>
                    <a:pt x="121" y="1861"/>
                  </a:lnTo>
                  <a:lnTo>
                    <a:pt x="114" y="1883"/>
                  </a:lnTo>
                  <a:lnTo>
                    <a:pt x="107" y="1901"/>
                  </a:lnTo>
                  <a:lnTo>
                    <a:pt x="102" y="1910"/>
                  </a:lnTo>
                  <a:lnTo>
                    <a:pt x="97" y="1918"/>
                  </a:lnTo>
                  <a:lnTo>
                    <a:pt x="90" y="1927"/>
                  </a:lnTo>
                  <a:lnTo>
                    <a:pt x="82" y="1934"/>
                  </a:lnTo>
                  <a:lnTo>
                    <a:pt x="82" y="1934"/>
                  </a:lnTo>
                  <a:lnTo>
                    <a:pt x="95" y="1952"/>
                  </a:lnTo>
                  <a:lnTo>
                    <a:pt x="107" y="1968"/>
                  </a:lnTo>
                  <a:lnTo>
                    <a:pt x="118" y="1984"/>
                  </a:lnTo>
                  <a:lnTo>
                    <a:pt x="128" y="2000"/>
                  </a:lnTo>
                  <a:lnTo>
                    <a:pt x="135" y="2018"/>
                  </a:lnTo>
                  <a:lnTo>
                    <a:pt x="142" y="2036"/>
                  </a:lnTo>
                  <a:lnTo>
                    <a:pt x="144" y="2045"/>
                  </a:lnTo>
                  <a:lnTo>
                    <a:pt x="145" y="2054"/>
                  </a:lnTo>
                  <a:lnTo>
                    <a:pt x="146" y="2065"/>
                  </a:lnTo>
                  <a:lnTo>
                    <a:pt x="147" y="2076"/>
                  </a:lnTo>
                  <a:lnTo>
                    <a:pt x="146" y="2090"/>
                  </a:lnTo>
                  <a:lnTo>
                    <a:pt x="144" y="2102"/>
                  </a:lnTo>
                  <a:lnTo>
                    <a:pt x="142" y="2114"/>
                  </a:lnTo>
                  <a:lnTo>
                    <a:pt x="140" y="2125"/>
                  </a:lnTo>
                  <a:lnTo>
                    <a:pt x="133" y="2147"/>
                  </a:lnTo>
                  <a:lnTo>
                    <a:pt x="127" y="2172"/>
                  </a:lnTo>
                  <a:lnTo>
                    <a:pt x="122" y="2213"/>
                  </a:lnTo>
                  <a:lnTo>
                    <a:pt x="120" y="2249"/>
                  </a:lnTo>
                  <a:lnTo>
                    <a:pt x="119" y="2266"/>
                  </a:lnTo>
                  <a:lnTo>
                    <a:pt x="117" y="2284"/>
                  </a:lnTo>
                  <a:lnTo>
                    <a:pt x="113" y="2304"/>
                  </a:lnTo>
                  <a:lnTo>
                    <a:pt x="107" y="2324"/>
                  </a:lnTo>
                  <a:lnTo>
                    <a:pt x="100" y="2348"/>
                  </a:lnTo>
                  <a:lnTo>
                    <a:pt x="92" y="2370"/>
                  </a:lnTo>
                  <a:lnTo>
                    <a:pt x="89" y="2380"/>
                  </a:lnTo>
                  <a:lnTo>
                    <a:pt x="87" y="2392"/>
                  </a:lnTo>
                  <a:lnTo>
                    <a:pt x="86" y="2404"/>
                  </a:lnTo>
                  <a:lnTo>
                    <a:pt x="85" y="2417"/>
                  </a:lnTo>
                  <a:lnTo>
                    <a:pt x="86" y="2436"/>
                  </a:lnTo>
                  <a:lnTo>
                    <a:pt x="88" y="2452"/>
                  </a:lnTo>
                  <a:lnTo>
                    <a:pt x="91" y="2467"/>
                  </a:lnTo>
                  <a:lnTo>
                    <a:pt x="95" y="2481"/>
                  </a:lnTo>
                  <a:lnTo>
                    <a:pt x="99" y="2496"/>
                  </a:lnTo>
                  <a:lnTo>
                    <a:pt x="102" y="2511"/>
                  </a:lnTo>
                  <a:lnTo>
                    <a:pt x="104" y="2526"/>
                  </a:lnTo>
                  <a:lnTo>
                    <a:pt x="105" y="2545"/>
                  </a:lnTo>
                  <a:lnTo>
                    <a:pt x="105" y="2564"/>
                  </a:lnTo>
                  <a:lnTo>
                    <a:pt x="105" y="2581"/>
                  </a:lnTo>
                  <a:lnTo>
                    <a:pt x="105" y="2599"/>
                  </a:lnTo>
                  <a:lnTo>
                    <a:pt x="105" y="2619"/>
                  </a:lnTo>
                  <a:lnTo>
                    <a:pt x="104" y="2632"/>
                  </a:lnTo>
                  <a:lnTo>
                    <a:pt x="103" y="2644"/>
                  </a:lnTo>
                  <a:lnTo>
                    <a:pt x="101" y="2655"/>
                  </a:lnTo>
                  <a:lnTo>
                    <a:pt x="99" y="2666"/>
                  </a:lnTo>
                  <a:lnTo>
                    <a:pt x="91" y="2687"/>
                  </a:lnTo>
                  <a:lnTo>
                    <a:pt x="82" y="2711"/>
                  </a:lnTo>
                  <a:lnTo>
                    <a:pt x="78" y="2723"/>
                  </a:lnTo>
                  <a:lnTo>
                    <a:pt x="75" y="2735"/>
                  </a:lnTo>
                  <a:lnTo>
                    <a:pt x="73" y="2746"/>
                  </a:lnTo>
                  <a:lnTo>
                    <a:pt x="71" y="2756"/>
                  </a:lnTo>
                  <a:lnTo>
                    <a:pt x="70" y="2768"/>
                  </a:lnTo>
                  <a:lnTo>
                    <a:pt x="67" y="2779"/>
                  </a:lnTo>
                  <a:lnTo>
                    <a:pt x="64" y="2791"/>
                  </a:lnTo>
                  <a:lnTo>
                    <a:pt x="60" y="2803"/>
                  </a:lnTo>
                  <a:lnTo>
                    <a:pt x="50" y="2829"/>
                  </a:lnTo>
                  <a:lnTo>
                    <a:pt x="41" y="2851"/>
                  </a:lnTo>
                  <a:lnTo>
                    <a:pt x="34" y="2873"/>
                  </a:lnTo>
                  <a:lnTo>
                    <a:pt x="26" y="2893"/>
                  </a:lnTo>
                  <a:lnTo>
                    <a:pt x="20" y="2914"/>
                  </a:lnTo>
                  <a:lnTo>
                    <a:pt x="13" y="2936"/>
                  </a:lnTo>
                  <a:lnTo>
                    <a:pt x="7" y="2959"/>
                  </a:lnTo>
                  <a:lnTo>
                    <a:pt x="0" y="2986"/>
                  </a:lnTo>
                  <a:lnTo>
                    <a:pt x="0" y="2986"/>
                  </a:lnTo>
                  <a:lnTo>
                    <a:pt x="107" y="3033"/>
                  </a:lnTo>
                  <a:lnTo>
                    <a:pt x="105" y="3046"/>
                  </a:lnTo>
                  <a:lnTo>
                    <a:pt x="101" y="3058"/>
                  </a:lnTo>
                  <a:lnTo>
                    <a:pt x="95" y="3070"/>
                  </a:lnTo>
                  <a:lnTo>
                    <a:pt x="90" y="3080"/>
                  </a:lnTo>
                  <a:lnTo>
                    <a:pt x="76" y="3099"/>
                  </a:lnTo>
                  <a:lnTo>
                    <a:pt x="61" y="3117"/>
                  </a:lnTo>
                  <a:lnTo>
                    <a:pt x="54" y="3126"/>
                  </a:lnTo>
                  <a:lnTo>
                    <a:pt x="47" y="3134"/>
                  </a:lnTo>
                  <a:lnTo>
                    <a:pt x="40" y="3144"/>
                  </a:lnTo>
                  <a:lnTo>
                    <a:pt x="35" y="3154"/>
                  </a:lnTo>
                  <a:lnTo>
                    <a:pt x="31" y="3165"/>
                  </a:lnTo>
                  <a:lnTo>
                    <a:pt x="26" y="3175"/>
                  </a:lnTo>
                  <a:lnTo>
                    <a:pt x="24" y="3188"/>
                  </a:lnTo>
                  <a:lnTo>
                    <a:pt x="23" y="3201"/>
                  </a:lnTo>
                  <a:lnTo>
                    <a:pt x="24" y="3209"/>
                  </a:lnTo>
                  <a:lnTo>
                    <a:pt x="25" y="3216"/>
                  </a:lnTo>
                  <a:lnTo>
                    <a:pt x="27" y="3224"/>
                  </a:lnTo>
                  <a:lnTo>
                    <a:pt x="31" y="3230"/>
                  </a:lnTo>
                  <a:lnTo>
                    <a:pt x="34" y="3237"/>
                  </a:lnTo>
                  <a:lnTo>
                    <a:pt x="39" y="3242"/>
                  </a:lnTo>
                  <a:lnTo>
                    <a:pt x="44" y="3248"/>
                  </a:lnTo>
                  <a:lnTo>
                    <a:pt x="49" y="3253"/>
                  </a:lnTo>
                  <a:lnTo>
                    <a:pt x="62" y="3262"/>
                  </a:lnTo>
                  <a:lnTo>
                    <a:pt x="76" y="3269"/>
                  </a:lnTo>
                  <a:lnTo>
                    <a:pt x="91" y="3276"/>
                  </a:lnTo>
                  <a:lnTo>
                    <a:pt x="107" y="3282"/>
                  </a:lnTo>
                  <a:lnTo>
                    <a:pt x="146" y="3297"/>
                  </a:lnTo>
                  <a:lnTo>
                    <a:pt x="181" y="3309"/>
                  </a:lnTo>
                  <a:lnTo>
                    <a:pt x="198" y="3315"/>
                  </a:lnTo>
                  <a:lnTo>
                    <a:pt x="215" y="3318"/>
                  </a:lnTo>
                  <a:lnTo>
                    <a:pt x="235" y="3321"/>
                  </a:lnTo>
                  <a:lnTo>
                    <a:pt x="256" y="3321"/>
                  </a:lnTo>
                  <a:lnTo>
                    <a:pt x="264" y="3321"/>
                  </a:lnTo>
                  <a:lnTo>
                    <a:pt x="273" y="3320"/>
                  </a:lnTo>
                  <a:lnTo>
                    <a:pt x="279" y="3318"/>
                  </a:lnTo>
                  <a:lnTo>
                    <a:pt x="286" y="3315"/>
                  </a:lnTo>
                  <a:lnTo>
                    <a:pt x="292" y="3310"/>
                  </a:lnTo>
                  <a:lnTo>
                    <a:pt x="299" y="3306"/>
                  </a:lnTo>
                  <a:lnTo>
                    <a:pt x="304" y="3302"/>
                  </a:lnTo>
                  <a:lnTo>
                    <a:pt x="308" y="3296"/>
                  </a:lnTo>
                  <a:lnTo>
                    <a:pt x="318" y="3283"/>
                  </a:lnTo>
                  <a:lnTo>
                    <a:pt x="327" y="3270"/>
                  </a:lnTo>
                  <a:lnTo>
                    <a:pt x="334" y="3255"/>
                  </a:lnTo>
                  <a:lnTo>
                    <a:pt x="342" y="3240"/>
                  </a:lnTo>
                  <a:lnTo>
                    <a:pt x="349" y="3225"/>
                  </a:lnTo>
                  <a:lnTo>
                    <a:pt x="357" y="3210"/>
                  </a:lnTo>
                  <a:lnTo>
                    <a:pt x="365" y="3197"/>
                  </a:lnTo>
                  <a:lnTo>
                    <a:pt x="374" y="3184"/>
                  </a:lnTo>
                  <a:lnTo>
                    <a:pt x="380" y="3179"/>
                  </a:lnTo>
                  <a:lnTo>
                    <a:pt x="385" y="3174"/>
                  </a:lnTo>
                  <a:lnTo>
                    <a:pt x="391" y="3170"/>
                  </a:lnTo>
                  <a:lnTo>
                    <a:pt x="397" y="3166"/>
                  </a:lnTo>
                  <a:lnTo>
                    <a:pt x="404" y="3163"/>
                  </a:lnTo>
                  <a:lnTo>
                    <a:pt x="411" y="3160"/>
                  </a:lnTo>
                  <a:lnTo>
                    <a:pt x="418" y="3159"/>
                  </a:lnTo>
                  <a:lnTo>
                    <a:pt x="427" y="3159"/>
                  </a:lnTo>
                  <a:lnTo>
                    <a:pt x="438" y="3159"/>
                  </a:lnTo>
                  <a:lnTo>
                    <a:pt x="448" y="3161"/>
                  </a:lnTo>
                  <a:lnTo>
                    <a:pt x="456" y="3165"/>
                  </a:lnTo>
                  <a:lnTo>
                    <a:pt x="465" y="3169"/>
                  </a:lnTo>
                  <a:lnTo>
                    <a:pt x="473" y="3174"/>
                  </a:lnTo>
                  <a:lnTo>
                    <a:pt x="481" y="3181"/>
                  </a:lnTo>
                  <a:lnTo>
                    <a:pt x="488" y="3187"/>
                  </a:lnTo>
                  <a:lnTo>
                    <a:pt x="493" y="3196"/>
                  </a:lnTo>
                  <a:lnTo>
                    <a:pt x="498" y="3205"/>
                  </a:lnTo>
                  <a:lnTo>
                    <a:pt x="504" y="3213"/>
                  </a:lnTo>
                  <a:lnTo>
                    <a:pt x="508" y="3223"/>
                  </a:lnTo>
                  <a:lnTo>
                    <a:pt x="511" y="3233"/>
                  </a:lnTo>
                  <a:lnTo>
                    <a:pt x="513" y="3243"/>
                  </a:lnTo>
                  <a:lnTo>
                    <a:pt x="516" y="3254"/>
                  </a:lnTo>
                  <a:lnTo>
                    <a:pt x="517" y="3265"/>
                  </a:lnTo>
                  <a:lnTo>
                    <a:pt x="517" y="3275"/>
                  </a:lnTo>
                  <a:lnTo>
                    <a:pt x="516" y="3292"/>
                  </a:lnTo>
                  <a:lnTo>
                    <a:pt x="513" y="3306"/>
                  </a:lnTo>
                  <a:lnTo>
                    <a:pt x="510" y="3320"/>
                  </a:lnTo>
                  <a:lnTo>
                    <a:pt x="507" y="3333"/>
                  </a:lnTo>
                  <a:lnTo>
                    <a:pt x="504" y="3347"/>
                  </a:lnTo>
                  <a:lnTo>
                    <a:pt x="500" y="3360"/>
                  </a:lnTo>
                  <a:lnTo>
                    <a:pt x="498" y="3375"/>
                  </a:lnTo>
                  <a:lnTo>
                    <a:pt x="497" y="3391"/>
                  </a:lnTo>
                  <a:lnTo>
                    <a:pt x="497" y="3401"/>
                  </a:lnTo>
                  <a:lnTo>
                    <a:pt x="498" y="3410"/>
                  </a:lnTo>
                  <a:lnTo>
                    <a:pt x="500" y="3418"/>
                  </a:lnTo>
                  <a:lnTo>
                    <a:pt x="504" y="3427"/>
                  </a:lnTo>
                  <a:lnTo>
                    <a:pt x="508" y="3435"/>
                  </a:lnTo>
                  <a:lnTo>
                    <a:pt x="513" y="3440"/>
                  </a:lnTo>
                  <a:lnTo>
                    <a:pt x="517" y="3442"/>
                  </a:lnTo>
                  <a:lnTo>
                    <a:pt x="520" y="3443"/>
                  </a:lnTo>
                  <a:lnTo>
                    <a:pt x="523" y="3444"/>
                  </a:lnTo>
                  <a:lnTo>
                    <a:pt x="527" y="3444"/>
                  </a:lnTo>
                  <a:lnTo>
                    <a:pt x="534" y="3444"/>
                  </a:lnTo>
                  <a:lnTo>
                    <a:pt x="538" y="3442"/>
                  </a:lnTo>
                  <a:lnTo>
                    <a:pt x="543" y="3438"/>
                  </a:lnTo>
                  <a:lnTo>
                    <a:pt x="546" y="3433"/>
                  </a:lnTo>
                  <a:lnTo>
                    <a:pt x="551" y="3423"/>
                  </a:lnTo>
                  <a:lnTo>
                    <a:pt x="556" y="3411"/>
                  </a:lnTo>
                  <a:lnTo>
                    <a:pt x="563" y="3397"/>
                  </a:lnTo>
                  <a:lnTo>
                    <a:pt x="571" y="3384"/>
                  </a:lnTo>
                  <a:lnTo>
                    <a:pt x="577" y="3370"/>
                  </a:lnTo>
                  <a:lnTo>
                    <a:pt x="584" y="3355"/>
                  </a:lnTo>
                  <a:lnTo>
                    <a:pt x="591" y="3357"/>
                  </a:lnTo>
                  <a:lnTo>
                    <a:pt x="598" y="3360"/>
                  </a:lnTo>
                  <a:lnTo>
                    <a:pt x="604" y="3363"/>
                  </a:lnTo>
                  <a:lnTo>
                    <a:pt x="610" y="3367"/>
                  </a:lnTo>
                  <a:lnTo>
                    <a:pt x="619" y="3374"/>
                  </a:lnTo>
                  <a:lnTo>
                    <a:pt x="630" y="3383"/>
                  </a:lnTo>
                  <a:lnTo>
                    <a:pt x="640" y="3390"/>
                  </a:lnTo>
                  <a:lnTo>
                    <a:pt x="651" y="3397"/>
                  </a:lnTo>
                  <a:lnTo>
                    <a:pt x="656" y="3399"/>
                  </a:lnTo>
                  <a:lnTo>
                    <a:pt x="662" y="3401"/>
                  </a:lnTo>
                  <a:lnTo>
                    <a:pt x="669" y="3402"/>
                  </a:lnTo>
                  <a:lnTo>
                    <a:pt x="677" y="3403"/>
                  </a:lnTo>
                  <a:lnTo>
                    <a:pt x="681" y="3402"/>
                  </a:lnTo>
                  <a:lnTo>
                    <a:pt x="684" y="3401"/>
                  </a:lnTo>
                  <a:lnTo>
                    <a:pt x="687" y="3400"/>
                  </a:lnTo>
                  <a:lnTo>
                    <a:pt x="691" y="3398"/>
                  </a:lnTo>
                  <a:lnTo>
                    <a:pt x="697" y="3394"/>
                  </a:lnTo>
                  <a:lnTo>
                    <a:pt x="701" y="3387"/>
                  </a:lnTo>
                  <a:lnTo>
                    <a:pt x="707" y="3382"/>
                  </a:lnTo>
                  <a:lnTo>
                    <a:pt x="712" y="3376"/>
                  </a:lnTo>
                  <a:lnTo>
                    <a:pt x="715" y="3375"/>
                  </a:lnTo>
                  <a:lnTo>
                    <a:pt x="719" y="3373"/>
                  </a:lnTo>
                  <a:lnTo>
                    <a:pt x="723" y="3372"/>
                  </a:lnTo>
                  <a:lnTo>
                    <a:pt x="727" y="3372"/>
                  </a:lnTo>
                  <a:lnTo>
                    <a:pt x="738" y="3373"/>
                  </a:lnTo>
                  <a:lnTo>
                    <a:pt x="747" y="3376"/>
                  </a:lnTo>
                  <a:lnTo>
                    <a:pt x="755" y="3381"/>
                  </a:lnTo>
                  <a:lnTo>
                    <a:pt x="763" y="3386"/>
                  </a:lnTo>
                  <a:lnTo>
                    <a:pt x="777" y="3401"/>
                  </a:lnTo>
                  <a:lnTo>
                    <a:pt x="791" y="3417"/>
                  </a:lnTo>
                  <a:lnTo>
                    <a:pt x="805" y="3430"/>
                  </a:lnTo>
                  <a:lnTo>
                    <a:pt x="818" y="3441"/>
                  </a:lnTo>
                  <a:lnTo>
                    <a:pt x="832" y="3451"/>
                  </a:lnTo>
                  <a:lnTo>
                    <a:pt x="845" y="3459"/>
                  </a:lnTo>
                  <a:lnTo>
                    <a:pt x="871" y="3477"/>
                  </a:lnTo>
                  <a:lnTo>
                    <a:pt x="901" y="3498"/>
                  </a:lnTo>
                  <a:lnTo>
                    <a:pt x="918" y="3512"/>
                  </a:lnTo>
                  <a:lnTo>
                    <a:pt x="935" y="3523"/>
                  </a:lnTo>
                  <a:lnTo>
                    <a:pt x="943" y="3529"/>
                  </a:lnTo>
                  <a:lnTo>
                    <a:pt x="952" y="3532"/>
                  </a:lnTo>
                  <a:lnTo>
                    <a:pt x="963" y="3534"/>
                  </a:lnTo>
                  <a:lnTo>
                    <a:pt x="974" y="3535"/>
                  </a:lnTo>
                  <a:lnTo>
                    <a:pt x="979" y="3534"/>
                  </a:lnTo>
                  <a:lnTo>
                    <a:pt x="982" y="3532"/>
                  </a:lnTo>
                  <a:lnTo>
                    <a:pt x="985" y="3527"/>
                  </a:lnTo>
                  <a:lnTo>
                    <a:pt x="988" y="3523"/>
                  </a:lnTo>
                  <a:lnTo>
                    <a:pt x="992" y="3513"/>
                  </a:lnTo>
                  <a:lnTo>
                    <a:pt x="996" y="3504"/>
                  </a:lnTo>
                  <a:lnTo>
                    <a:pt x="1002" y="3495"/>
                  </a:lnTo>
                  <a:lnTo>
                    <a:pt x="1007" y="3486"/>
                  </a:lnTo>
                  <a:lnTo>
                    <a:pt x="1014" y="3479"/>
                  </a:lnTo>
                  <a:lnTo>
                    <a:pt x="1020" y="3472"/>
                  </a:lnTo>
                  <a:lnTo>
                    <a:pt x="1028" y="3467"/>
                  </a:lnTo>
                  <a:lnTo>
                    <a:pt x="1035" y="3463"/>
                  </a:lnTo>
                  <a:lnTo>
                    <a:pt x="1045" y="3459"/>
                  </a:lnTo>
                  <a:lnTo>
                    <a:pt x="1055" y="3458"/>
                  </a:lnTo>
                  <a:lnTo>
                    <a:pt x="1062" y="3459"/>
                  </a:lnTo>
                  <a:lnTo>
                    <a:pt x="1070" y="3462"/>
                  </a:lnTo>
                  <a:lnTo>
                    <a:pt x="1076" y="3464"/>
                  </a:lnTo>
                  <a:lnTo>
                    <a:pt x="1082" y="3467"/>
                  </a:lnTo>
                  <a:lnTo>
                    <a:pt x="1092" y="3476"/>
                  </a:lnTo>
                  <a:lnTo>
                    <a:pt x="1103" y="3485"/>
                  </a:lnTo>
                  <a:lnTo>
                    <a:pt x="1113" y="3495"/>
                  </a:lnTo>
                  <a:lnTo>
                    <a:pt x="1124" y="3504"/>
                  </a:lnTo>
                  <a:lnTo>
                    <a:pt x="1130" y="3507"/>
                  </a:lnTo>
                  <a:lnTo>
                    <a:pt x="1137" y="3510"/>
                  </a:lnTo>
                  <a:lnTo>
                    <a:pt x="1143" y="3511"/>
                  </a:lnTo>
                  <a:lnTo>
                    <a:pt x="1151" y="3512"/>
                  </a:lnTo>
                  <a:lnTo>
                    <a:pt x="1165" y="3512"/>
                  </a:lnTo>
                  <a:lnTo>
                    <a:pt x="1177" y="3512"/>
                  </a:lnTo>
                  <a:lnTo>
                    <a:pt x="1188" y="3512"/>
                  </a:lnTo>
                  <a:lnTo>
                    <a:pt x="1203" y="3512"/>
                  </a:lnTo>
                  <a:lnTo>
                    <a:pt x="1219" y="3511"/>
                  </a:lnTo>
                  <a:lnTo>
                    <a:pt x="1234" y="3509"/>
                  </a:lnTo>
                  <a:lnTo>
                    <a:pt x="1248" y="3506"/>
                  </a:lnTo>
                  <a:lnTo>
                    <a:pt x="1262" y="3503"/>
                  </a:lnTo>
                  <a:lnTo>
                    <a:pt x="1289" y="3492"/>
                  </a:lnTo>
                  <a:lnTo>
                    <a:pt x="1318" y="3481"/>
                  </a:lnTo>
                  <a:lnTo>
                    <a:pt x="1353" y="3471"/>
                  </a:lnTo>
                  <a:lnTo>
                    <a:pt x="1383" y="3465"/>
                  </a:lnTo>
                  <a:lnTo>
                    <a:pt x="1398" y="3460"/>
                  </a:lnTo>
                  <a:lnTo>
                    <a:pt x="1412" y="3454"/>
                  </a:lnTo>
                  <a:lnTo>
                    <a:pt x="1420" y="3451"/>
                  </a:lnTo>
                  <a:lnTo>
                    <a:pt x="1427" y="3446"/>
                  </a:lnTo>
                  <a:lnTo>
                    <a:pt x="1435" y="3442"/>
                  </a:lnTo>
                  <a:lnTo>
                    <a:pt x="1441" y="3437"/>
                  </a:lnTo>
                  <a:lnTo>
                    <a:pt x="1446" y="3432"/>
                  </a:lnTo>
                  <a:lnTo>
                    <a:pt x="1450" y="3428"/>
                  </a:lnTo>
                  <a:lnTo>
                    <a:pt x="1452" y="3424"/>
                  </a:lnTo>
                  <a:lnTo>
                    <a:pt x="1454" y="3419"/>
                  </a:lnTo>
                  <a:lnTo>
                    <a:pt x="1457" y="3410"/>
                  </a:lnTo>
                  <a:lnTo>
                    <a:pt x="1461" y="3400"/>
                  </a:lnTo>
                  <a:lnTo>
                    <a:pt x="1463" y="3390"/>
                  </a:lnTo>
                  <a:lnTo>
                    <a:pt x="1466" y="3381"/>
                  </a:lnTo>
                  <a:lnTo>
                    <a:pt x="1468" y="3376"/>
                  </a:lnTo>
                  <a:lnTo>
                    <a:pt x="1470" y="3372"/>
                  </a:lnTo>
                  <a:lnTo>
                    <a:pt x="1474" y="3368"/>
                  </a:lnTo>
                  <a:lnTo>
                    <a:pt x="1478" y="3363"/>
                  </a:lnTo>
                  <a:lnTo>
                    <a:pt x="1483" y="3359"/>
                  </a:lnTo>
                  <a:lnTo>
                    <a:pt x="1489" y="3356"/>
                  </a:lnTo>
                  <a:lnTo>
                    <a:pt x="1494" y="3354"/>
                  </a:lnTo>
                  <a:lnTo>
                    <a:pt x="1500" y="3351"/>
                  </a:lnTo>
                  <a:lnTo>
                    <a:pt x="1510" y="3349"/>
                  </a:lnTo>
                  <a:lnTo>
                    <a:pt x="1521" y="3348"/>
                  </a:lnTo>
                  <a:lnTo>
                    <a:pt x="1545" y="3347"/>
                  </a:lnTo>
                  <a:lnTo>
                    <a:pt x="1571" y="3344"/>
                  </a:lnTo>
                  <a:lnTo>
                    <a:pt x="1699" y="3338"/>
                  </a:lnTo>
                  <a:lnTo>
                    <a:pt x="1699" y="3338"/>
                  </a:lnTo>
                  <a:lnTo>
                    <a:pt x="1696" y="3328"/>
                  </a:lnTo>
                  <a:lnTo>
                    <a:pt x="1693" y="3318"/>
                  </a:lnTo>
                  <a:lnTo>
                    <a:pt x="1691" y="3308"/>
                  </a:lnTo>
                  <a:lnTo>
                    <a:pt x="1690" y="3298"/>
                  </a:lnTo>
                  <a:lnTo>
                    <a:pt x="1689" y="3279"/>
                  </a:lnTo>
                  <a:lnTo>
                    <a:pt x="1689" y="3257"/>
                  </a:lnTo>
                  <a:lnTo>
                    <a:pt x="1689" y="3237"/>
                  </a:lnTo>
                  <a:lnTo>
                    <a:pt x="1691" y="3220"/>
                  </a:lnTo>
                  <a:lnTo>
                    <a:pt x="1693" y="3202"/>
                  </a:lnTo>
                  <a:lnTo>
                    <a:pt x="1695" y="3186"/>
                  </a:lnTo>
                  <a:lnTo>
                    <a:pt x="1698" y="3170"/>
                  </a:lnTo>
                  <a:lnTo>
                    <a:pt x="1700" y="3153"/>
                  </a:lnTo>
                  <a:lnTo>
                    <a:pt x="1702" y="3135"/>
                  </a:lnTo>
                  <a:lnTo>
                    <a:pt x="1703" y="3116"/>
                  </a:lnTo>
                  <a:lnTo>
                    <a:pt x="1702" y="3101"/>
                  </a:lnTo>
                  <a:lnTo>
                    <a:pt x="1698" y="3088"/>
                  </a:lnTo>
                  <a:lnTo>
                    <a:pt x="1694" y="3076"/>
                  </a:lnTo>
                  <a:lnTo>
                    <a:pt x="1690" y="3064"/>
                  </a:lnTo>
                  <a:lnTo>
                    <a:pt x="1685" y="3053"/>
                  </a:lnTo>
                  <a:lnTo>
                    <a:pt x="1681" y="3040"/>
                  </a:lnTo>
                  <a:lnTo>
                    <a:pt x="1678" y="3027"/>
                  </a:lnTo>
                  <a:lnTo>
                    <a:pt x="1677" y="3013"/>
                  </a:lnTo>
                  <a:lnTo>
                    <a:pt x="1678" y="3007"/>
                  </a:lnTo>
                  <a:lnTo>
                    <a:pt x="1679" y="3001"/>
                  </a:lnTo>
                  <a:lnTo>
                    <a:pt x="1681" y="2996"/>
                  </a:lnTo>
                  <a:lnTo>
                    <a:pt x="1683" y="2991"/>
                  </a:lnTo>
                  <a:lnTo>
                    <a:pt x="1691" y="2982"/>
                  </a:lnTo>
                  <a:lnTo>
                    <a:pt x="1698" y="2974"/>
                  </a:lnTo>
                  <a:lnTo>
                    <a:pt x="1706" y="2966"/>
                  </a:lnTo>
                  <a:lnTo>
                    <a:pt x="1712" y="2957"/>
                  </a:lnTo>
                  <a:lnTo>
                    <a:pt x="1716" y="2952"/>
                  </a:lnTo>
                  <a:lnTo>
                    <a:pt x="1718" y="2946"/>
                  </a:lnTo>
                  <a:lnTo>
                    <a:pt x="1719" y="2941"/>
                  </a:lnTo>
                  <a:lnTo>
                    <a:pt x="1719" y="2935"/>
                  </a:lnTo>
                  <a:lnTo>
                    <a:pt x="1719" y="2929"/>
                  </a:lnTo>
                  <a:lnTo>
                    <a:pt x="1718" y="2924"/>
                  </a:lnTo>
                  <a:lnTo>
                    <a:pt x="1716" y="2919"/>
                  </a:lnTo>
                  <a:lnTo>
                    <a:pt x="1713" y="2915"/>
                  </a:lnTo>
                  <a:lnTo>
                    <a:pt x="1708" y="2906"/>
                  </a:lnTo>
                  <a:lnTo>
                    <a:pt x="1703" y="2899"/>
                  </a:lnTo>
                  <a:lnTo>
                    <a:pt x="1696" y="2891"/>
                  </a:lnTo>
                  <a:lnTo>
                    <a:pt x="1691" y="2883"/>
                  </a:lnTo>
                  <a:lnTo>
                    <a:pt x="1689" y="2878"/>
                  </a:lnTo>
                  <a:lnTo>
                    <a:pt x="1687" y="2874"/>
                  </a:lnTo>
                  <a:lnTo>
                    <a:pt x="1686" y="2869"/>
                  </a:lnTo>
                  <a:lnTo>
                    <a:pt x="1685" y="2863"/>
                  </a:lnTo>
                  <a:lnTo>
                    <a:pt x="1686" y="2857"/>
                  </a:lnTo>
                  <a:lnTo>
                    <a:pt x="1687" y="2850"/>
                  </a:lnTo>
                  <a:lnTo>
                    <a:pt x="1690" y="2844"/>
                  </a:lnTo>
                  <a:lnTo>
                    <a:pt x="1692" y="2838"/>
                  </a:lnTo>
                  <a:lnTo>
                    <a:pt x="1698" y="2829"/>
                  </a:lnTo>
                  <a:lnTo>
                    <a:pt x="1707" y="2819"/>
                  </a:lnTo>
                  <a:lnTo>
                    <a:pt x="1714" y="2809"/>
                  </a:lnTo>
                  <a:lnTo>
                    <a:pt x="1721" y="2800"/>
                  </a:lnTo>
                  <a:lnTo>
                    <a:pt x="1724" y="2794"/>
                  </a:lnTo>
                  <a:lnTo>
                    <a:pt x="1725" y="2788"/>
                  </a:lnTo>
                  <a:lnTo>
                    <a:pt x="1727" y="2782"/>
                  </a:lnTo>
                  <a:lnTo>
                    <a:pt x="1727" y="2775"/>
                  </a:lnTo>
                  <a:lnTo>
                    <a:pt x="1727" y="2770"/>
                  </a:lnTo>
                  <a:lnTo>
                    <a:pt x="1725" y="2766"/>
                  </a:lnTo>
                  <a:lnTo>
                    <a:pt x="1723" y="2763"/>
                  </a:lnTo>
                  <a:lnTo>
                    <a:pt x="1720" y="2760"/>
                  </a:lnTo>
                  <a:lnTo>
                    <a:pt x="1712" y="2754"/>
                  </a:lnTo>
                  <a:lnTo>
                    <a:pt x="1704" y="2750"/>
                  </a:lnTo>
                  <a:lnTo>
                    <a:pt x="1695" y="2746"/>
                  </a:lnTo>
                  <a:lnTo>
                    <a:pt x="1687" y="2740"/>
                  </a:lnTo>
                  <a:lnTo>
                    <a:pt x="1684" y="2737"/>
                  </a:lnTo>
                  <a:lnTo>
                    <a:pt x="1682" y="2734"/>
                  </a:lnTo>
                  <a:lnTo>
                    <a:pt x="1680" y="2729"/>
                  </a:lnTo>
                  <a:lnTo>
                    <a:pt x="1680" y="2725"/>
                  </a:lnTo>
                  <a:lnTo>
                    <a:pt x="1681" y="2712"/>
                  </a:lnTo>
                  <a:lnTo>
                    <a:pt x="1683" y="2700"/>
                  </a:lnTo>
                  <a:lnTo>
                    <a:pt x="1687" y="2690"/>
                  </a:lnTo>
                  <a:lnTo>
                    <a:pt x="1693" y="2681"/>
                  </a:lnTo>
                  <a:lnTo>
                    <a:pt x="1698" y="2671"/>
                  </a:lnTo>
                  <a:lnTo>
                    <a:pt x="1704" y="2660"/>
                  </a:lnTo>
                  <a:lnTo>
                    <a:pt x="1709" y="2649"/>
                  </a:lnTo>
                  <a:lnTo>
                    <a:pt x="1713" y="2638"/>
                  </a:lnTo>
                  <a:lnTo>
                    <a:pt x="1718" y="2625"/>
                  </a:lnTo>
                  <a:lnTo>
                    <a:pt x="1720" y="2613"/>
                  </a:lnTo>
                  <a:lnTo>
                    <a:pt x="1722" y="2601"/>
                  </a:lnTo>
                  <a:lnTo>
                    <a:pt x="1723" y="2590"/>
                  </a:lnTo>
                  <a:lnTo>
                    <a:pt x="1724" y="2578"/>
                  </a:lnTo>
                  <a:lnTo>
                    <a:pt x="1726" y="2567"/>
                  </a:lnTo>
                  <a:lnTo>
                    <a:pt x="1730" y="2555"/>
                  </a:lnTo>
                  <a:lnTo>
                    <a:pt x="1733" y="2542"/>
                  </a:lnTo>
                  <a:lnTo>
                    <a:pt x="1741" y="2521"/>
                  </a:lnTo>
                  <a:lnTo>
                    <a:pt x="1751" y="2504"/>
                  </a:lnTo>
                  <a:lnTo>
                    <a:pt x="1761" y="2485"/>
                  </a:lnTo>
                  <a:lnTo>
                    <a:pt x="1770" y="2464"/>
                  </a:lnTo>
                  <a:lnTo>
                    <a:pt x="1780" y="2431"/>
                  </a:lnTo>
                  <a:lnTo>
                    <a:pt x="1789" y="2402"/>
                  </a:lnTo>
                  <a:lnTo>
                    <a:pt x="1798" y="2373"/>
                  </a:lnTo>
                  <a:lnTo>
                    <a:pt x="1808" y="2341"/>
                  </a:lnTo>
                  <a:lnTo>
                    <a:pt x="1814" y="2329"/>
                  </a:lnTo>
                  <a:lnTo>
                    <a:pt x="1819" y="2318"/>
                  </a:lnTo>
                  <a:lnTo>
                    <a:pt x="1826" y="2308"/>
                  </a:lnTo>
                  <a:lnTo>
                    <a:pt x="1832" y="2298"/>
                  </a:lnTo>
                  <a:lnTo>
                    <a:pt x="1839" y="2290"/>
                  </a:lnTo>
                  <a:lnTo>
                    <a:pt x="1847" y="2282"/>
                  </a:lnTo>
                  <a:lnTo>
                    <a:pt x="1857" y="2275"/>
                  </a:lnTo>
                  <a:lnTo>
                    <a:pt x="1868" y="2268"/>
                  </a:lnTo>
                  <a:lnTo>
                    <a:pt x="1885" y="2261"/>
                  </a:lnTo>
                  <a:lnTo>
                    <a:pt x="1902" y="2254"/>
                  </a:lnTo>
                  <a:lnTo>
                    <a:pt x="1910" y="2251"/>
                  </a:lnTo>
                  <a:lnTo>
                    <a:pt x="1915" y="2245"/>
                  </a:lnTo>
                  <a:lnTo>
                    <a:pt x="1918" y="2243"/>
                  </a:lnTo>
                  <a:lnTo>
                    <a:pt x="1920" y="2240"/>
                  </a:lnTo>
                  <a:lnTo>
                    <a:pt x="1921" y="2236"/>
                  </a:lnTo>
                  <a:lnTo>
                    <a:pt x="1921" y="2231"/>
                  </a:lnTo>
                  <a:lnTo>
                    <a:pt x="1920" y="2224"/>
                  </a:lnTo>
                  <a:lnTo>
                    <a:pt x="1919" y="2218"/>
                  </a:lnTo>
                  <a:lnTo>
                    <a:pt x="1915" y="2212"/>
                  </a:lnTo>
                  <a:lnTo>
                    <a:pt x="1912" y="2207"/>
                  </a:lnTo>
                  <a:lnTo>
                    <a:pt x="1909" y="2201"/>
                  </a:lnTo>
                  <a:lnTo>
                    <a:pt x="1906" y="2196"/>
                  </a:lnTo>
                  <a:lnTo>
                    <a:pt x="1904" y="2189"/>
                  </a:lnTo>
                  <a:lnTo>
                    <a:pt x="1902" y="2183"/>
                  </a:lnTo>
                  <a:lnTo>
                    <a:pt x="1902" y="2183"/>
                  </a:lnTo>
                  <a:lnTo>
                    <a:pt x="1883" y="2181"/>
                  </a:lnTo>
                  <a:lnTo>
                    <a:pt x="1867" y="2179"/>
                  </a:lnTo>
                  <a:lnTo>
                    <a:pt x="1852" y="2176"/>
                  </a:lnTo>
                  <a:lnTo>
                    <a:pt x="1832" y="2175"/>
                  </a:lnTo>
                  <a:lnTo>
                    <a:pt x="1818" y="2174"/>
                  </a:lnTo>
                  <a:lnTo>
                    <a:pt x="1806" y="2172"/>
                  </a:lnTo>
                  <a:lnTo>
                    <a:pt x="1793" y="2169"/>
                  </a:lnTo>
                  <a:lnTo>
                    <a:pt x="1783" y="2164"/>
                  </a:lnTo>
                  <a:lnTo>
                    <a:pt x="1772" y="2158"/>
                  </a:lnTo>
                  <a:lnTo>
                    <a:pt x="1762" y="2152"/>
                  </a:lnTo>
                  <a:lnTo>
                    <a:pt x="1753" y="2143"/>
                  </a:lnTo>
                  <a:lnTo>
                    <a:pt x="1745" y="2134"/>
                  </a:lnTo>
                  <a:lnTo>
                    <a:pt x="1737" y="2125"/>
                  </a:lnTo>
                  <a:lnTo>
                    <a:pt x="1730" y="2114"/>
                  </a:lnTo>
                  <a:lnTo>
                    <a:pt x="1724" y="2102"/>
                  </a:lnTo>
                  <a:lnTo>
                    <a:pt x="1718" y="2090"/>
                  </a:lnTo>
                  <a:lnTo>
                    <a:pt x="1713" y="2078"/>
                  </a:lnTo>
                  <a:lnTo>
                    <a:pt x="1709" y="2065"/>
                  </a:lnTo>
                  <a:lnTo>
                    <a:pt x="1705" y="2051"/>
                  </a:lnTo>
                  <a:lnTo>
                    <a:pt x="1703" y="2038"/>
                  </a:lnTo>
                  <a:lnTo>
                    <a:pt x="1696" y="2001"/>
                  </a:lnTo>
                  <a:lnTo>
                    <a:pt x="1689" y="1970"/>
                  </a:lnTo>
                  <a:lnTo>
                    <a:pt x="1684" y="1954"/>
                  </a:lnTo>
                  <a:lnTo>
                    <a:pt x="1679" y="1939"/>
                  </a:lnTo>
                  <a:lnTo>
                    <a:pt x="1672" y="1923"/>
                  </a:lnTo>
                  <a:lnTo>
                    <a:pt x="1663" y="1906"/>
                  </a:lnTo>
                  <a:lnTo>
                    <a:pt x="1652" y="1885"/>
                  </a:lnTo>
                  <a:lnTo>
                    <a:pt x="1641" y="1866"/>
                  </a:lnTo>
                  <a:lnTo>
                    <a:pt x="1630" y="1849"/>
                  </a:lnTo>
                  <a:lnTo>
                    <a:pt x="1619" y="1833"/>
                  </a:lnTo>
                  <a:lnTo>
                    <a:pt x="1595" y="1802"/>
                  </a:lnTo>
                  <a:lnTo>
                    <a:pt x="1565" y="1766"/>
                  </a:lnTo>
                  <a:lnTo>
                    <a:pt x="1550" y="1749"/>
                  </a:lnTo>
                  <a:lnTo>
                    <a:pt x="1537" y="1732"/>
                  </a:lnTo>
                  <a:lnTo>
                    <a:pt x="1523" y="1717"/>
                  </a:lnTo>
                  <a:lnTo>
                    <a:pt x="1506" y="1701"/>
                  </a:lnTo>
                  <a:lnTo>
                    <a:pt x="1486" y="1687"/>
                  </a:lnTo>
                  <a:lnTo>
                    <a:pt x="1466" y="1675"/>
                  </a:lnTo>
                  <a:lnTo>
                    <a:pt x="1457" y="1669"/>
                  </a:lnTo>
                  <a:lnTo>
                    <a:pt x="1451" y="1661"/>
                  </a:lnTo>
                  <a:lnTo>
                    <a:pt x="1448" y="1656"/>
                  </a:lnTo>
                  <a:lnTo>
                    <a:pt x="1447" y="1651"/>
                  </a:lnTo>
                  <a:lnTo>
                    <a:pt x="1444" y="1646"/>
                  </a:lnTo>
                  <a:lnTo>
                    <a:pt x="1444" y="1640"/>
                  </a:lnTo>
                  <a:lnTo>
                    <a:pt x="1444" y="1632"/>
                  </a:lnTo>
                  <a:lnTo>
                    <a:pt x="1446" y="1626"/>
                  </a:lnTo>
                  <a:lnTo>
                    <a:pt x="1448" y="1619"/>
                  </a:lnTo>
                  <a:lnTo>
                    <a:pt x="1450" y="1614"/>
                  </a:lnTo>
                  <a:lnTo>
                    <a:pt x="1456" y="1602"/>
                  </a:lnTo>
                  <a:lnTo>
                    <a:pt x="1465" y="1592"/>
                  </a:lnTo>
                  <a:lnTo>
                    <a:pt x="1484" y="1574"/>
                  </a:lnTo>
                  <a:lnTo>
                    <a:pt x="1506" y="1553"/>
                  </a:lnTo>
                  <a:lnTo>
                    <a:pt x="1513" y="1545"/>
                  </a:lnTo>
                  <a:lnTo>
                    <a:pt x="1518" y="1537"/>
                  </a:lnTo>
                  <a:lnTo>
                    <a:pt x="1521" y="1528"/>
                  </a:lnTo>
                  <a:lnTo>
                    <a:pt x="1524" y="1520"/>
                  </a:lnTo>
                  <a:lnTo>
                    <a:pt x="1528" y="1501"/>
                  </a:lnTo>
                  <a:lnTo>
                    <a:pt x="1531" y="1480"/>
                  </a:lnTo>
                  <a:lnTo>
                    <a:pt x="1533" y="1468"/>
                  </a:lnTo>
                  <a:lnTo>
                    <a:pt x="1535" y="1456"/>
                  </a:lnTo>
                  <a:lnTo>
                    <a:pt x="1536" y="1451"/>
                  </a:lnTo>
                  <a:lnTo>
                    <a:pt x="1538" y="1445"/>
                  </a:lnTo>
                  <a:lnTo>
                    <a:pt x="1542" y="1441"/>
                  </a:lnTo>
                  <a:lnTo>
                    <a:pt x="1545" y="1435"/>
                  </a:lnTo>
                  <a:lnTo>
                    <a:pt x="1549" y="1432"/>
                  </a:lnTo>
                  <a:lnTo>
                    <a:pt x="1554" y="1429"/>
                  </a:lnTo>
                  <a:lnTo>
                    <a:pt x="1558" y="1427"/>
                  </a:lnTo>
                  <a:lnTo>
                    <a:pt x="1562" y="1425"/>
                  </a:lnTo>
                  <a:lnTo>
                    <a:pt x="1572" y="1423"/>
                  </a:lnTo>
                  <a:lnTo>
                    <a:pt x="1583" y="1421"/>
                  </a:lnTo>
                  <a:lnTo>
                    <a:pt x="1592" y="1420"/>
                  </a:lnTo>
                  <a:lnTo>
                    <a:pt x="1602" y="1418"/>
                  </a:lnTo>
                  <a:lnTo>
                    <a:pt x="1606" y="1416"/>
                  </a:lnTo>
                  <a:lnTo>
                    <a:pt x="1611" y="1414"/>
                  </a:lnTo>
                  <a:lnTo>
                    <a:pt x="1614" y="1412"/>
                  </a:lnTo>
                  <a:lnTo>
                    <a:pt x="1618" y="1407"/>
                  </a:lnTo>
                  <a:lnTo>
                    <a:pt x="1624" y="1401"/>
                  </a:lnTo>
                  <a:lnTo>
                    <a:pt x="1627" y="1394"/>
                  </a:lnTo>
                  <a:lnTo>
                    <a:pt x="1631" y="1388"/>
                  </a:lnTo>
                  <a:lnTo>
                    <a:pt x="1633" y="1381"/>
                  </a:lnTo>
                  <a:lnTo>
                    <a:pt x="1636" y="1375"/>
                  </a:lnTo>
                  <a:lnTo>
                    <a:pt x="1637" y="1367"/>
                  </a:lnTo>
                  <a:lnTo>
                    <a:pt x="1638" y="1360"/>
                  </a:lnTo>
                  <a:lnTo>
                    <a:pt x="1638" y="1351"/>
                  </a:lnTo>
                  <a:lnTo>
                    <a:pt x="1637" y="1335"/>
                  </a:lnTo>
                  <a:lnTo>
                    <a:pt x="1635" y="1320"/>
                  </a:lnTo>
                  <a:lnTo>
                    <a:pt x="1632" y="1312"/>
                  </a:lnTo>
                  <a:lnTo>
                    <a:pt x="1630" y="1305"/>
                  </a:lnTo>
                  <a:lnTo>
                    <a:pt x="1627" y="1297"/>
                  </a:lnTo>
                  <a:lnTo>
                    <a:pt x="1624" y="1291"/>
                  </a:lnTo>
                  <a:lnTo>
                    <a:pt x="1621" y="1284"/>
                  </a:lnTo>
                  <a:lnTo>
                    <a:pt x="1616" y="1279"/>
                  </a:lnTo>
                  <a:lnTo>
                    <a:pt x="1611" y="1275"/>
                  </a:lnTo>
                  <a:lnTo>
                    <a:pt x="1606" y="1270"/>
                  </a:lnTo>
                  <a:lnTo>
                    <a:pt x="1600" y="1266"/>
                  </a:lnTo>
                  <a:lnTo>
                    <a:pt x="1594" y="1264"/>
                  </a:lnTo>
                  <a:lnTo>
                    <a:pt x="1587" y="1263"/>
                  </a:lnTo>
                  <a:lnTo>
                    <a:pt x="1579" y="1262"/>
                  </a:lnTo>
                  <a:lnTo>
                    <a:pt x="1561" y="1263"/>
                  </a:lnTo>
                  <a:lnTo>
                    <a:pt x="1544" y="1265"/>
                  </a:lnTo>
                  <a:lnTo>
                    <a:pt x="1529" y="1267"/>
                  </a:lnTo>
                  <a:lnTo>
                    <a:pt x="1514" y="1270"/>
                  </a:lnTo>
                  <a:lnTo>
                    <a:pt x="1498" y="1273"/>
                  </a:lnTo>
                  <a:lnTo>
                    <a:pt x="1482" y="1276"/>
                  </a:lnTo>
                  <a:lnTo>
                    <a:pt x="1466" y="1278"/>
                  </a:lnTo>
                  <a:lnTo>
                    <a:pt x="1448" y="1279"/>
                  </a:lnTo>
                  <a:lnTo>
                    <a:pt x="1440" y="1278"/>
                  </a:lnTo>
                  <a:lnTo>
                    <a:pt x="1435" y="1277"/>
                  </a:lnTo>
                  <a:lnTo>
                    <a:pt x="1429" y="1275"/>
                  </a:lnTo>
                  <a:lnTo>
                    <a:pt x="1424" y="1271"/>
                  </a:lnTo>
                  <a:lnTo>
                    <a:pt x="1420" y="1268"/>
                  </a:lnTo>
                  <a:lnTo>
                    <a:pt x="1415" y="1264"/>
                  </a:lnTo>
                  <a:lnTo>
                    <a:pt x="1412" y="1259"/>
                  </a:lnTo>
                  <a:lnTo>
                    <a:pt x="1408" y="1254"/>
                  </a:lnTo>
                  <a:lnTo>
                    <a:pt x="1402" y="1242"/>
                  </a:lnTo>
                  <a:lnTo>
                    <a:pt x="1397" y="1229"/>
                  </a:lnTo>
                  <a:lnTo>
                    <a:pt x="1393" y="1216"/>
                  </a:lnTo>
                  <a:lnTo>
                    <a:pt x="1388" y="1203"/>
                  </a:lnTo>
                  <a:lnTo>
                    <a:pt x="1382" y="1183"/>
                  </a:lnTo>
                  <a:lnTo>
                    <a:pt x="1376" y="1163"/>
                  </a:lnTo>
                  <a:lnTo>
                    <a:pt x="1370" y="1146"/>
                  </a:lnTo>
                  <a:lnTo>
                    <a:pt x="1363" y="1130"/>
                  </a:lnTo>
                  <a:lnTo>
                    <a:pt x="1355" y="1114"/>
                  </a:lnTo>
                  <a:lnTo>
                    <a:pt x="1346" y="1097"/>
                  </a:lnTo>
                  <a:lnTo>
                    <a:pt x="1334" y="1082"/>
                  </a:lnTo>
                  <a:lnTo>
                    <a:pt x="1321" y="1065"/>
                  </a:lnTo>
                  <a:lnTo>
                    <a:pt x="1299" y="1036"/>
                  </a:lnTo>
                  <a:lnTo>
                    <a:pt x="1278" y="1009"/>
                  </a:lnTo>
                  <a:lnTo>
                    <a:pt x="1268" y="997"/>
                  </a:lnTo>
                  <a:lnTo>
                    <a:pt x="1258" y="984"/>
                  </a:lnTo>
                  <a:lnTo>
                    <a:pt x="1244" y="973"/>
                  </a:lnTo>
                  <a:lnTo>
                    <a:pt x="1228" y="961"/>
                  </a:lnTo>
                  <a:lnTo>
                    <a:pt x="1224" y="958"/>
                  </a:lnTo>
                  <a:lnTo>
                    <a:pt x="1221" y="953"/>
                  </a:lnTo>
                  <a:lnTo>
                    <a:pt x="1220" y="947"/>
                  </a:lnTo>
                  <a:lnTo>
                    <a:pt x="1219" y="941"/>
                  </a:lnTo>
                  <a:lnTo>
                    <a:pt x="1218" y="928"/>
                  </a:lnTo>
                  <a:lnTo>
                    <a:pt x="1214" y="914"/>
                  </a:lnTo>
                  <a:lnTo>
                    <a:pt x="1210" y="905"/>
                  </a:lnTo>
                  <a:lnTo>
                    <a:pt x="1206" y="898"/>
                  </a:lnTo>
                  <a:lnTo>
                    <a:pt x="1200" y="891"/>
                  </a:lnTo>
                  <a:lnTo>
                    <a:pt x="1194" y="886"/>
                  </a:lnTo>
                  <a:lnTo>
                    <a:pt x="1187" y="881"/>
                  </a:lnTo>
                  <a:lnTo>
                    <a:pt x="1179" y="878"/>
                  </a:lnTo>
                  <a:lnTo>
                    <a:pt x="1171" y="876"/>
                  </a:lnTo>
                  <a:lnTo>
                    <a:pt x="1161" y="875"/>
                  </a:lnTo>
                  <a:lnTo>
                    <a:pt x="1159" y="863"/>
                  </a:lnTo>
                  <a:lnTo>
                    <a:pt x="1158" y="852"/>
                  </a:lnTo>
                  <a:lnTo>
                    <a:pt x="1159" y="845"/>
                  </a:lnTo>
                  <a:lnTo>
                    <a:pt x="1160" y="839"/>
                  </a:lnTo>
                  <a:lnTo>
                    <a:pt x="1161" y="833"/>
                  </a:lnTo>
                  <a:lnTo>
                    <a:pt x="1164" y="829"/>
                  </a:lnTo>
                  <a:lnTo>
                    <a:pt x="1170" y="819"/>
                  </a:lnTo>
                  <a:lnTo>
                    <a:pt x="1178" y="809"/>
                  </a:lnTo>
                  <a:lnTo>
                    <a:pt x="1186" y="800"/>
                  </a:lnTo>
                  <a:lnTo>
                    <a:pt x="1195" y="792"/>
                  </a:lnTo>
                  <a:lnTo>
                    <a:pt x="1204" y="782"/>
                  </a:lnTo>
                  <a:lnTo>
                    <a:pt x="1212" y="771"/>
                  </a:lnTo>
                  <a:lnTo>
                    <a:pt x="1218" y="762"/>
                  </a:lnTo>
                  <a:lnTo>
                    <a:pt x="1221" y="752"/>
                  </a:lnTo>
                  <a:lnTo>
                    <a:pt x="1225" y="743"/>
                  </a:lnTo>
                  <a:lnTo>
                    <a:pt x="1227" y="735"/>
                  </a:lnTo>
                  <a:lnTo>
                    <a:pt x="1231" y="725"/>
                  </a:lnTo>
                  <a:lnTo>
                    <a:pt x="1235" y="716"/>
                  </a:lnTo>
                  <a:lnTo>
                    <a:pt x="1239" y="708"/>
                  </a:lnTo>
                  <a:lnTo>
                    <a:pt x="1246" y="699"/>
                  </a:lnTo>
                  <a:lnTo>
                    <a:pt x="1265" y="673"/>
                  </a:lnTo>
                  <a:lnTo>
                    <a:pt x="1284" y="650"/>
                  </a:lnTo>
                  <a:lnTo>
                    <a:pt x="1290" y="638"/>
                  </a:lnTo>
                  <a:lnTo>
                    <a:pt x="1295" y="625"/>
                  </a:lnTo>
                  <a:lnTo>
                    <a:pt x="1298" y="619"/>
                  </a:lnTo>
                  <a:lnTo>
                    <a:pt x="1299" y="611"/>
                  </a:lnTo>
                  <a:lnTo>
                    <a:pt x="1300" y="604"/>
                  </a:lnTo>
                  <a:lnTo>
                    <a:pt x="1300" y="595"/>
                  </a:lnTo>
                  <a:lnTo>
                    <a:pt x="1300" y="566"/>
                  </a:lnTo>
                  <a:lnTo>
                    <a:pt x="1300" y="540"/>
                  </a:lnTo>
                  <a:lnTo>
                    <a:pt x="1300" y="514"/>
                  </a:lnTo>
                  <a:lnTo>
                    <a:pt x="1300" y="485"/>
                  </a:lnTo>
                  <a:lnTo>
                    <a:pt x="1301" y="474"/>
                  </a:lnTo>
                  <a:lnTo>
                    <a:pt x="1302" y="463"/>
                  </a:lnTo>
                  <a:lnTo>
                    <a:pt x="1303" y="454"/>
                  </a:lnTo>
                  <a:lnTo>
                    <a:pt x="1305" y="444"/>
                  </a:lnTo>
                  <a:lnTo>
                    <a:pt x="1311" y="427"/>
                  </a:lnTo>
                  <a:lnTo>
                    <a:pt x="1316" y="409"/>
                  </a:lnTo>
                  <a:lnTo>
                    <a:pt x="1321" y="392"/>
                  </a:lnTo>
                  <a:lnTo>
                    <a:pt x="1327" y="374"/>
                  </a:lnTo>
                  <a:lnTo>
                    <a:pt x="1329" y="364"/>
                  </a:lnTo>
                  <a:lnTo>
                    <a:pt x="1330" y="354"/>
                  </a:lnTo>
                  <a:lnTo>
                    <a:pt x="1331" y="345"/>
                  </a:lnTo>
                  <a:lnTo>
                    <a:pt x="1332" y="334"/>
                  </a:lnTo>
                  <a:lnTo>
                    <a:pt x="1332" y="310"/>
                  </a:lnTo>
                  <a:lnTo>
                    <a:pt x="1332" y="289"/>
                  </a:lnTo>
                  <a:lnTo>
                    <a:pt x="1332" y="269"/>
                  </a:lnTo>
                  <a:lnTo>
                    <a:pt x="1332" y="250"/>
                  </a:lnTo>
                  <a:lnTo>
                    <a:pt x="1332" y="230"/>
                  </a:lnTo>
                  <a:lnTo>
                    <a:pt x="1332" y="210"/>
                  </a:lnTo>
                  <a:lnTo>
                    <a:pt x="1332" y="189"/>
                  </a:lnTo>
                  <a:lnTo>
                    <a:pt x="1332" y="165"/>
                  </a:lnTo>
                  <a:lnTo>
                    <a:pt x="1331" y="156"/>
                  </a:lnTo>
                  <a:lnTo>
                    <a:pt x="1329" y="147"/>
                  </a:lnTo>
                  <a:lnTo>
                    <a:pt x="1326" y="139"/>
                  </a:lnTo>
                  <a:lnTo>
                    <a:pt x="1320" y="133"/>
                  </a:lnTo>
                  <a:lnTo>
                    <a:pt x="1315" y="128"/>
                  </a:lnTo>
                  <a:lnTo>
                    <a:pt x="1308" y="123"/>
                  </a:lnTo>
                  <a:lnTo>
                    <a:pt x="1301" y="119"/>
                  </a:lnTo>
                  <a:lnTo>
                    <a:pt x="1292" y="115"/>
                  </a:lnTo>
                  <a:lnTo>
                    <a:pt x="1275" y="108"/>
                  </a:lnTo>
                  <a:lnTo>
                    <a:pt x="1255" y="101"/>
                  </a:lnTo>
                  <a:lnTo>
                    <a:pt x="1236" y="94"/>
                  </a:lnTo>
                  <a:lnTo>
                    <a:pt x="1218" y="84"/>
                  </a:lnTo>
                  <a:lnTo>
                    <a:pt x="1218" y="23"/>
                  </a:lnTo>
                  <a:lnTo>
                    <a:pt x="1212" y="0"/>
                  </a:lnTo>
                  <a:lnTo>
                    <a:pt x="1197" y="4"/>
                  </a:lnTo>
                  <a:lnTo>
                    <a:pt x="1183" y="10"/>
                  </a:lnTo>
                  <a:lnTo>
                    <a:pt x="1170" y="14"/>
                  </a:lnTo>
                  <a:lnTo>
                    <a:pt x="1158" y="20"/>
                  </a:lnTo>
                  <a:lnTo>
                    <a:pt x="1145" y="24"/>
                  </a:lnTo>
                  <a:lnTo>
                    <a:pt x="1132" y="28"/>
                  </a:lnTo>
                  <a:lnTo>
                    <a:pt x="1118" y="30"/>
                  </a:lnTo>
                  <a:lnTo>
                    <a:pt x="1102" y="31"/>
                  </a:lnTo>
                  <a:lnTo>
                    <a:pt x="1085" y="31"/>
                  </a:lnTo>
                  <a:lnTo>
                    <a:pt x="1069" y="30"/>
                  </a:lnTo>
                  <a:lnTo>
                    <a:pt x="1060" y="30"/>
                  </a:lnTo>
                  <a:lnTo>
                    <a:pt x="1052" y="28"/>
                  </a:lnTo>
                  <a:lnTo>
                    <a:pt x="1044" y="26"/>
                  </a:lnTo>
                  <a:lnTo>
                    <a:pt x="1035" y="23"/>
                  </a:lnTo>
                  <a:lnTo>
                    <a:pt x="1025" y="17"/>
                  </a:lnTo>
                  <a:lnTo>
                    <a:pt x="1016" y="11"/>
                  </a:lnTo>
                  <a:lnTo>
                    <a:pt x="1011" y="8"/>
                  </a:lnTo>
                  <a:lnTo>
                    <a:pt x="1007" y="6"/>
                  </a:lnTo>
                  <a:lnTo>
                    <a:pt x="1002" y="4"/>
                  </a:lnTo>
                  <a:lnTo>
                    <a:pt x="996" y="3"/>
                  </a:lnTo>
                  <a:lnTo>
                    <a:pt x="987" y="4"/>
                  </a:lnTo>
                  <a:lnTo>
                    <a:pt x="978" y="7"/>
                  </a:lnTo>
                  <a:lnTo>
                    <a:pt x="970" y="10"/>
                  </a:lnTo>
                  <a:lnTo>
                    <a:pt x="964" y="13"/>
                  </a:lnTo>
                  <a:lnTo>
                    <a:pt x="950" y="24"/>
                  </a:lnTo>
                  <a:lnTo>
                    <a:pt x="935" y="35"/>
                  </a:lnTo>
                  <a:lnTo>
                    <a:pt x="918" y="44"/>
                  </a:lnTo>
                  <a:lnTo>
                    <a:pt x="902" y="53"/>
                  </a:lnTo>
                  <a:lnTo>
                    <a:pt x="886" y="63"/>
                  </a:lnTo>
                  <a:lnTo>
                    <a:pt x="870" y="74"/>
                  </a:lnTo>
                  <a:lnTo>
                    <a:pt x="870" y="7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27">
              <a:extLst>
                <a:ext uri="{FF2B5EF4-FFF2-40B4-BE49-F238E27FC236}">
                  <a16:creationId xmlns:a16="http://schemas.microsoft.com/office/drawing/2014/main" id="{321BFDB0-E189-46B3-8B38-F403D73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700" y="150813"/>
              <a:ext cx="931863" cy="1076325"/>
            </a:xfrm>
            <a:custGeom>
              <a:avLst/>
              <a:gdLst>
                <a:gd name="T0" fmla="*/ 599 w 2349"/>
                <a:gd name="T1" fmla="*/ 1280 h 2711"/>
                <a:gd name="T2" fmla="*/ 674 w 2349"/>
                <a:gd name="T3" fmla="*/ 1425 h 2711"/>
                <a:gd name="T4" fmla="*/ 764 w 2349"/>
                <a:gd name="T5" fmla="*/ 1577 h 2711"/>
                <a:gd name="T6" fmla="*/ 899 w 2349"/>
                <a:gd name="T7" fmla="*/ 1690 h 2711"/>
                <a:gd name="T8" fmla="*/ 936 w 2349"/>
                <a:gd name="T9" fmla="*/ 1793 h 2711"/>
                <a:gd name="T10" fmla="*/ 945 w 2349"/>
                <a:gd name="T11" fmla="*/ 2018 h 2711"/>
                <a:gd name="T12" fmla="*/ 1040 w 2349"/>
                <a:gd name="T13" fmla="*/ 2181 h 2711"/>
                <a:gd name="T14" fmla="*/ 1056 w 2349"/>
                <a:gd name="T15" fmla="*/ 2300 h 2711"/>
                <a:gd name="T16" fmla="*/ 1115 w 2349"/>
                <a:gd name="T17" fmla="*/ 2500 h 2711"/>
                <a:gd name="T18" fmla="*/ 1130 w 2349"/>
                <a:gd name="T19" fmla="*/ 2621 h 2711"/>
                <a:gd name="T20" fmla="*/ 1192 w 2349"/>
                <a:gd name="T21" fmla="*/ 2681 h 2711"/>
                <a:gd name="T22" fmla="*/ 1334 w 2349"/>
                <a:gd name="T23" fmla="*/ 2710 h 2711"/>
                <a:gd name="T24" fmla="*/ 1364 w 2349"/>
                <a:gd name="T25" fmla="*/ 2613 h 2711"/>
                <a:gd name="T26" fmla="*/ 1439 w 2349"/>
                <a:gd name="T27" fmla="*/ 2446 h 2711"/>
                <a:gd name="T28" fmla="*/ 1516 w 2349"/>
                <a:gd name="T29" fmla="*/ 2383 h 2711"/>
                <a:gd name="T30" fmla="*/ 1617 w 2349"/>
                <a:gd name="T31" fmla="*/ 2397 h 2711"/>
                <a:gd name="T32" fmla="*/ 1708 w 2349"/>
                <a:gd name="T33" fmla="*/ 2465 h 2711"/>
                <a:gd name="T34" fmla="*/ 1810 w 2349"/>
                <a:gd name="T35" fmla="*/ 2437 h 2711"/>
                <a:gd name="T36" fmla="*/ 1820 w 2349"/>
                <a:gd name="T37" fmla="*/ 2334 h 2711"/>
                <a:gd name="T38" fmla="*/ 1895 w 2349"/>
                <a:gd name="T39" fmla="*/ 2284 h 2711"/>
                <a:gd name="T40" fmla="*/ 2072 w 2349"/>
                <a:gd name="T41" fmla="*/ 2167 h 2711"/>
                <a:gd name="T42" fmla="*/ 2211 w 2349"/>
                <a:gd name="T43" fmla="*/ 2091 h 2711"/>
                <a:gd name="T44" fmla="*/ 2313 w 2349"/>
                <a:gd name="T45" fmla="*/ 1590 h 2711"/>
                <a:gd name="T46" fmla="*/ 2251 w 2349"/>
                <a:gd name="T47" fmla="*/ 1536 h 2711"/>
                <a:gd name="T48" fmla="*/ 2159 w 2349"/>
                <a:gd name="T49" fmla="*/ 1369 h 2711"/>
                <a:gd name="T50" fmla="*/ 2130 w 2349"/>
                <a:gd name="T51" fmla="*/ 1236 h 2711"/>
                <a:gd name="T52" fmla="*/ 2073 w 2349"/>
                <a:gd name="T53" fmla="*/ 1122 h 2711"/>
                <a:gd name="T54" fmla="*/ 2024 w 2349"/>
                <a:gd name="T55" fmla="*/ 1041 h 2711"/>
                <a:gd name="T56" fmla="*/ 2039 w 2349"/>
                <a:gd name="T57" fmla="*/ 834 h 2711"/>
                <a:gd name="T58" fmla="*/ 2054 w 2349"/>
                <a:gd name="T59" fmla="*/ 755 h 2711"/>
                <a:gd name="T60" fmla="*/ 2084 w 2349"/>
                <a:gd name="T61" fmla="*/ 624 h 2711"/>
                <a:gd name="T62" fmla="*/ 2160 w 2349"/>
                <a:gd name="T63" fmla="*/ 531 h 2711"/>
                <a:gd name="T64" fmla="*/ 2158 w 2349"/>
                <a:gd name="T65" fmla="*/ 384 h 2711"/>
                <a:gd name="T66" fmla="*/ 2054 w 2349"/>
                <a:gd name="T67" fmla="*/ 310 h 2711"/>
                <a:gd name="T68" fmla="*/ 1944 w 2349"/>
                <a:gd name="T69" fmla="*/ 205 h 2711"/>
                <a:gd name="T70" fmla="*/ 2006 w 2349"/>
                <a:gd name="T71" fmla="*/ 66 h 2711"/>
                <a:gd name="T72" fmla="*/ 1995 w 2349"/>
                <a:gd name="T73" fmla="*/ 16 h 2711"/>
                <a:gd name="T74" fmla="*/ 1815 w 2349"/>
                <a:gd name="T75" fmla="*/ 8 h 2711"/>
                <a:gd name="T76" fmla="*/ 1755 w 2349"/>
                <a:gd name="T77" fmla="*/ 57 h 2711"/>
                <a:gd name="T78" fmla="*/ 1709 w 2349"/>
                <a:gd name="T79" fmla="*/ 144 h 2711"/>
                <a:gd name="T80" fmla="*/ 1613 w 2349"/>
                <a:gd name="T81" fmla="*/ 239 h 2711"/>
                <a:gd name="T82" fmla="*/ 1429 w 2349"/>
                <a:gd name="T83" fmla="*/ 323 h 2711"/>
                <a:gd name="T84" fmla="*/ 1341 w 2349"/>
                <a:gd name="T85" fmla="*/ 404 h 2711"/>
                <a:gd name="T86" fmla="*/ 1084 w 2349"/>
                <a:gd name="T87" fmla="*/ 397 h 2711"/>
                <a:gd name="T88" fmla="*/ 790 w 2349"/>
                <a:gd name="T89" fmla="*/ 438 h 2711"/>
                <a:gd name="T90" fmla="*/ 692 w 2349"/>
                <a:gd name="T91" fmla="*/ 495 h 2711"/>
                <a:gd name="T92" fmla="*/ 590 w 2349"/>
                <a:gd name="T93" fmla="*/ 457 h 2711"/>
                <a:gd name="T94" fmla="*/ 384 w 2349"/>
                <a:gd name="T95" fmla="*/ 456 h 2711"/>
                <a:gd name="T96" fmla="*/ 199 w 2349"/>
                <a:gd name="T97" fmla="*/ 387 h 2711"/>
                <a:gd name="T98" fmla="*/ 44 w 2349"/>
                <a:gd name="T99" fmla="*/ 379 h 2711"/>
                <a:gd name="T100" fmla="*/ 4 w 2349"/>
                <a:gd name="T101" fmla="*/ 461 h 2711"/>
                <a:gd name="T102" fmla="*/ 62 w 2349"/>
                <a:gd name="T103" fmla="*/ 514 h 2711"/>
                <a:gd name="T104" fmla="*/ 215 w 2349"/>
                <a:gd name="T105" fmla="*/ 564 h 2711"/>
                <a:gd name="T106" fmla="*/ 259 w 2349"/>
                <a:gd name="T107" fmla="*/ 588 h 2711"/>
                <a:gd name="T108" fmla="*/ 210 w 2349"/>
                <a:gd name="T109" fmla="*/ 777 h 2711"/>
                <a:gd name="T110" fmla="*/ 212 w 2349"/>
                <a:gd name="T111" fmla="*/ 990 h 2711"/>
                <a:gd name="T112" fmla="*/ 291 w 2349"/>
                <a:gd name="T113" fmla="*/ 1107 h 2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49" h="2711">
                  <a:moveTo>
                    <a:pt x="473" y="1242"/>
                  </a:moveTo>
                  <a:lnTo>
                    <a:pt x="489" y="1242"/>
                  </a:lnTo>
                  <a:lnTo>
                    <a:pt x="503" y="1243"/>
                  </a:lnTo>
                  <a:lnTo>
                    <a:pt x="517" y="1245"/>
                  </a:lnTo>
                  <a:lnTo>
                    <a:pt x="531" y="1248"/>
                  </a:lnTo>
                  <a:lnTo>
                    <a:pt x="544" y="1252"/>
                  </a:lnTo>
                  <a:lnTo>
                    <a:pt x="557" y="1256"/>
                  </a:lnTo>
                  <a:lnTo>
                    <a:pt x="570" y="1263"/>
                  </a:lnTo>
                  <a:lnTo>
                    <a:pt x="583" y="1270"/>
                  </a:lnTo>
                  <a:lnTo>
                    <a:pt x="599" y="1280"/>
                  </a:lnTo>
                  <a:lnTo>
                    <a:pt x="615" y="1290"/>
                  </a:lnTo>
                  <a:lnTo>
                    <a:pt x="622" y="1295"/>
                  </a:lnTo>
                  <a:lnTo>
                    <a:pt x="628" y="1302"/>
                  </a:lnTo>
                  <a:lnTo>
                    <a:pt x="633" y="1309"/>
                  </a:lnTo>
                  <a:lnTo>
                    <a:pt x="636" y="1318"/>
                  </a:lnTo>
                  <a:lnTo>
                    <a:pt x="643" y="1343"/>
                  </a:lnTo>
                  <a:lnTo>
                    <a:pt x="651" y="1364"/>
                  </a:lnTo>
                  <a:lnTo>
                    <a:pt x="658" y="1386"/>
                  </a:lnTo>
                  <a:lnTo>
                    <a:pt x="666" y="1405"/>
                  </a:lnTo>
                  <a:lnTo>
                    <a:pt x="674" y="1425"/>
                  </a:lnTo>
                  <a:lnTo>
                    <a:pt x="681" y="1445"/>
                  </a:lnTo>
                  <a:lnTo>
                    <a:pt x="689" y="1467"/>
                  </a:lnTo>
                  <a:lnTo>
                    <a:pt x="697" y="1492"/>
                  </a:lnTo>
                  <a:lnTo>
                    <a:pt x="704" y="1508"/>
                  </a:lnTo>
                  <a:lnTo>
                    <a:pt x="710" y="1522"/>
                  </a:lnTo>
                  <a:lnTo>
                    <a:pt x="719" y="1534"/>
                  </a:lnTo>
                  <a:lnTo>
                    <a:pt x="729" y="1546"/>
                  </a:lnTo>
                  <a:lnTo>
                    <a:pt x="739" y="1557"/>
                  </a:lnTo>
                  <a:lnTo>
                    <a:pt x="751" y="1566"/>
                  </a:lnTo>
                  <a:lnTo>
                    <a:pt x="764" y="1577"/>
                  </a:lnTo>
                  <a:lnTo>
                    <a:pt x="778" y="1587"/>
                  </a:lnTo>
                  <a:lnTo>
                    <a:pt x="789" y="1594"/>
                  </a:lnTo>
                  <a:lnTo>
                    <a:pt x="799" y="1603"/>
                  </a:lnTo>
                  <a:lnTo>
                    <a:pt x="808" y="1611"/>
                  </a:lnTo>
                  <a:lnTo>
                    <a:pt x="815" y="1618"/>
                  </a:lnTo>
                  <a:lnTo>
                    <a:pt x="831" y="1634"/>
                  </a:lnTo>
                  <a:lnTo>
                    <a:pt x="852" y="1652"/>
                  </a:lnTo>
                  <a:lnTo>
                    <a:pt x="869" y="1665"/>
                  </a:lnTo>
                  <a:lnTo>
                    <a:pt x="884" y="1677"/>
                  </a:lnTo>
                  <a:lnTo>
                    <a:pt x="899" y="1690"/>
                  </a:lnTo>
                  <a:lnTo>
                    <a:pt x="911" y="1704"/>
                  </a:lnTo>
                  <a:lnTo>
                    <a:pt x="917" y="1712"/>
                  </a:lnTo>
                  <a:lnTo>
                    <a:pt x="921" y="1721"/>
                  </a:lnTo>
                  <a:lnTo>
                    <a:pt x="925" y="1728"/>
                  </a:lnTo>
                  <a:lnTo>
                    <a:pt x="930" y="1737"/>
                  </a:lnTo>
                  <a:lnTo>
                    <a:pt x="932" y="1747"/>
                  </a:lnTo>
                  <a:lnTo>
                    <a:pt x="934" y="1755"/>
                  </a:lnTo>
                  <a:lnTo>
                    <a:pt x="935" y="1766"/>
                  </a:lnTo>
                  <a:lnTo>
                    <a:pt x="936" y="1777"/>
                  </a:lnTo>
                  <a:lnTo>
                    <a:pt x="936" y="1793"/>
                  </a:lnTo>
                  <a:lnTo>
                    <a:pt x="936" y="1808"/>
                  </a:lnTo>
                  <a:lnTo>
                    <a:pt x="936" y="1822"/>
                  </a:lnTo>
                  <a:lnTo>
                    <a:pt x="936" y="1838"/>
                  </a:lnTo>
                  <a:lnTo>
                    <a:pt x="944" y="1906"/>
                  </a:lnTo>
                  <a:lnTo>
                    <a:pt x="944" y="1927"/>
                  </a:lnTo>
                  <a:lnTo>
                    <a:pt x="944" y="1945"/>
                  </a:lnTo>
                  <a:lnTo>
                    <a:pt x="944" y="1965"/>
                  </a:lnTo>
                  <a:lnTo>
                    <a:pt x="944" y="1985"/>
                  </a:lnTo>
                  <a:lnTo>
                    <a:pt x="945" y="2001"/>
                  </a:lnTo>
                  <a:lnTo>
                    <a:pt x="945" y="2018"/>
                  </a:lnTo>
                  <a:lnTo>
                    <a:pt x="947" y="2032"/>
                  </a:lnTo>
                  <a:lnTo>
                    <a:pt x="949" y="2046"/>
                  </a:lnTo>
                  <a:lnTo>
                    <a:pt x="953" y="2060"/>
                  </a:lnTo>
                  <a:lnTo>
                    <a:pt x="959" y="2073"/>
                  </a:lnTo>
                  <a:lnTo>
                    <a:pt x="966" y="2086"/>
                  </a:lnTo>
                  <a:lnTo>
                    <a:pt x="975" y="2100"/>
                  </a:lnTo>
                  <a:lnTo>
                    <a:pt x="1003" y="2134"/>
                  </a:lnTo>
                  <a:lnTo>
                    <a:pt x="1029" y="2165"/>
                  </a:lnTo>
                  <a:lnTo>
                    <a:pt x="1035" y="2172"/>
                  </a:lnTo>
                  <a:lnTo>
                    <a:pt x="1040" y="2181"/>
                  </a:lnTo>
                  <a:lnTo>
                    <a:pt x="1045" y="2189"/>
                  </a:lnTo>
                  <a:lnTo>
                    <a:pt x="1048" y="2198"/>
                  </a:lnTo>
                  <a:lnTo>
                    <a:pt x="1052" y="2207"/>
                  </a:lnTo>
                  <a:lnTo>
                    <a:pt x="1054" y="2217"/>
                  </a:lnTo>
                  <a:lnTo>
                    <a:pt x="1056" y="2227"/>
                  </a:lnTo>
                  <a:lnTo>
                    <a:pt x="1056" y="2239"/>
                  </a:lnTo>
                  <a:lnTo>
                    <a:pt x="1056" y="2255"/>
                  </a:lnTo>
                  <a:lnTo>
                    <a:pt x="1056" y="2269"/>
                  </a:lnTo>
                  <a:lnTo>
                    <a:pt x="1056" y="2283"/>
                  </a:lnTo>
                  <a:lnTo>
                    <a:pt x="1056" y="2300"/>
                  </a:lnTo>
                  <a:lnTo>
                    <a:pt x="1057" y="2314"/>
                  </a:lnTo>
                  <a:lnTo>
                    <a:pt x="1058" y="2328"/>
                  </a:lnTo>
                  <a:lnTo>
                    <a:pt x="1060" y="2342"/>
                  </a:lnTo>
                  <a:lnTo>
                    <a:pt x="1062" y="2354"/>
                  </a:lnTo>
                  <a:lnTo>
                    <a:pt x="1070" y="2377"/>
                  </a:lnTo>
                  <a:lnTo>
                    <a:pt x="1079" y="2400"/>
                  </a:lnTo>
                  <a:lnTo>
                    <a:pt x="1088" y="2423"/>
                  </a:lnTo>
                  <a:lnTo>
                    <a:pt x="1098" y="2446"/>
                  </a:lnTo>
                  <a:lnTo>
                    <a:pt x="1107" y="2472"/>
                  </a:lnTo>
                  <a:lnTo>
                    <a:pt x="1115" y="2500"/>
                  </a:lnTo>
                  <a:lnTo>
                    <a:pt x="1118" y="2512"/>
                  </a:lnTo>
                  <a:lnTo>
                    <a:pt x="1119" y="2522"/>
                  </a:lnTo>
                  <a:lnTo>
                    <a:pt x="1119" y="2533"/>
                  </a:lnTo>
                  <a:lnTo>
                    <a:pt x="1120" y="2543"/>
                  </a:lnTo>
                  <a:lnTo>
                    <a:pt x="1119" y="2562"/>
                  </a:lnTo>
                  <a:lnTo>
                    <a:pt x="1121" y="2585"/>
                  </a:lnTo>
                  <a:lnTo>
                    <a:pt x="1122" y="2594"/>
                  </a:lnTo>
                  <a:lnTo>
                    <a:pt x="1124" y="2603"/>
                  </a:lnTo>
                  <a:lnTo>
                    <a:pt x="1127" y="2613"/>
                  </a:lnTo>
                  <a:lnTo>
                    <a:pt x="1130" y="2621"/>
                  </a:lnTo>
                  <a:lnTo>
                    <a:pt x="1134" y="2629"/>
                  </a:lnTo>
                  <a:lnTo>
                    <a:pt x="1138" y="2637"/>
                  </a:lnTo>
                  <a:lnTo>
                    <a:pt x="1143" y="2644"/>
                  </a:lnTo>
                  <a:lnTo>
                    <a:pt x="1149" y="2652"/>
                  </a:lnTo>
                  <a:lnTo>
                    <a:pt x="1154" y="2658"/>
                  </a:lnTo>
                  <a:lnTo>
                    <a:pt x="1161" y="2664"/>
                  </a:lnTo>
                  <a:lnTo>
                    <a:pt x="1168" y="2669"/>
                  </a:lnTo>
                  <a:lnTo>
                    <a:pt x="1176" y="2673"/>
                  </a:lnTo>
                  <a:lnTo>
                    <a:pt x="1183" y="2678"/>
                  </a:lnTo>
                  <a:lnTo>
                    <a:pt x="1192" y="2681"/>
                  </a:lnTo>
                  <a:lnTo>
                    <a:pt x="1201" y="2683"/>
                  </a:lnTo>
                  <a:lnTo>
                    <a:pt x="1210" y="2685"/>
                  </a:lnTo>
                  <a:lnTo>
                    <a:pt x="1232" y="2688"/>
                  </a:lnTo>
                  <a:lnTo>
                    <a:pt x="1251" y="2692"/>
                  </a:lnTo>
                  <a:lnTo>
                    <a:pt x="1271" y="2697"/>
                  </a:lnTo>
                  <a:lnTo>
                    <a:pt x="1291" y="2702"/>
                  </a:lnTo>
                  <a:lnTo>
                    <a:pt x="1307" y="2707"/>
                  </a:lnTo>
                  <a:lnTo>
                    <a:pt x="1321" y="2711"/>
                  </a:lnTo>
                  <a:lnTo>
                    <a:pt x="1328" y="2711"/>
                  </a:lnTo>
                  <a:lnTo>
                    <a:pt x="1334" y="2710"/>
                  </a:lnTo>
                  <a:lnTo>
                    <a:pt x="1337" y="2709"/>
                  </a:lnTo>
                  <a:lnTo>
                    <a:pt x="1339" y="2708"/>
                  </a:lnTo>
                  <a:lnTo>
                    <a:pt x="1341" y="2706"/>
                  </a:lnTo>
                  <a:lnTo>
                    <a:pt x="1342" y="2702"/>
                  </a:lnTo>
                  <a:lnTo>
                    <a:pt x="1348" y="2686"/>
                  </a:lnTo>
                  <a:lnTo>
                    <a:pt x="1352" y="2671"/>
                  </a:lnTo>
                  <a:lnTo>
                    <a:pt x="1355" y="2656"/>
                  </a:lnTo>
                  <a:lnTo>
                    <a:pt x="1358" y="2642"/>
                  </a:lnTo>
                  <a:lnTo>
                    <a:pt x="1361" y="2628"/>
                  </a:lnTo>
                  <a:lnTo>
                    <a:pt x="1364" y="2613"/>
                  </a:lnTo>
                  <a:lnTo>
                    <a:pt x="1367" y="2598"/>
                  </a:lnTo>
                  <a:lnTo>
                    <a:pt x="1372" y="2581"/>
                  </a:lnTo>
                  <a:lnTo>
                    <a:pt x="1379" y="2567"/>
                  </a:lnTo>
                  <a:lnTo>
                    <a:pt x="1384" y="2554"/>
                  </a:lnTo>
                  <a:lnTo>
                    <a:pt x="1391" y="2544"/>
                  </a:lnTo>
                  <a:lnTo>
                    <a:pt x="1397" y="2532"/>
                  </a:lnTo>
                  <a:lnTo>
                    <a:pt x="1410" y="2510"/>
                  </a:lnTo>
                  <a:lnTo>
                    <a:pt x="1423" y="2483"/>
                  </a:lnTo>
                  <a:lnTo>
                    <a:pt x="1432" y="2464"/>
                  </a:lnTo>
                  <a:lnTo>
                    <a:pt x="1439" y="2446"/>
                  </a:lnTo>
                  <a:lnTo>
                    <a:pt x="1444" y="2438"/>
                  </a:lnTo>
                  <a:lnTo>
                    <a:pt x="1449" y="2429"/>
                  </a:lnTo>
                  <a:lnTo>
                    <a:pt x="1456" y="2422"/>
                  </a:lnTo>
                  <a:lnTo>
                    <a:pt x="1463" y="2413"/>
                  </a:lnTo>
                  <a:lnTo>
                    <a:pt x="1471" y="2405"/>
                  </a:lnTo>
                  <a:lnTo>
                    <a:pt x="1479" y="2399"/>
                  </a:lnTo>
                  <a:lnTo>
                    <a:pt x="1488" y="2394"/>
                  </a:lnTo>
                  <a:lnTo>
                    <a:pt x="1497" y="2389"/>
                  </a:lnTo>
                  <a:lnTo>
                    <a:pt x="1506" y="2386"/>
                  </a:lnTo>
                  <a:lnTo>
                    <a:pt x="1516" y="2383"/>
                  </a:lnTo>
                  <a:lnTo>
                    <a:pt x="1525" y="2382"/>
                  </a:lnTo>
                  <a:lnTo>
                    <a:pt x="1534" y="2381"/>
                  </a:lnTo>
                  <a:lnTo>
                    <a:pt x="1545" y="2379"/>
                  </a:lnTo>
                  <a:lnTo>
                    <a:pt x="1555" y="2381"/>
                  </a:lnTo>
                  <a:lnTo>
                    <a:pt x="1565" y="2382"/>
                  </a:lnTo>
                  <a:lnTo>
                    <a:pt x="1575" y="2383"/>
                  </a:lnTo>
                  <a:lnTo>
                    <a:pt x="1585" y="2386"/>
                  </a:lnTo>
                  <a:lnTo>
                    <a:pt x="1596" y="2389"/>
                  </a:lnTo>
                  <a:lnTo>
                    <a:pt x="1607" y="2392"/>
                  </a:lnTo>
                  <a:lnTo>
                    <a:pt x="1617" y="2397"/>
                  </a:lnTo>
                  <a:lnTo>
                    <a:pt x="1625" y="2401"/>
                  </a:lnTo>
                  <a:lnTo>
                    <a:pt x="1633" y="2405"/>
                  </a:lnTo>
                  <a:lnTo>
                    <a:pt x="1639" y="2411"/>
                  </a:lnTo>
                  <a:lnTo>
                    <a:pt x="1647" y="2416"/>
                  </a:lnTo>
                  <a:lnTo>
                    <a:pt x="1659" y="2427"/>
                  </a:lnTo>
                  <a:lnTo>
                    <a:pt x="1669" y="2439"/>
                  </a:lnTo>
                  <a:lnTo>
                    <a:pt x="1681" y="2450"/>
                  </a:lnTo>
                  <a:lnTo>
                    <a:pt x="1694" y="2458"/>
                  </a:lnTo>
                  <a:lnTo>
                    <a:pt x="1701" y="2462"/>
                  </a:lnTo>
                  <a:lnTo>
                    <a:pt x="1708" y="2465"/>
                  </a:lnTo>
                  <a:lnTo>
                    <a:pt x="1717" y="2466"/>
                  </a:lnTo>
                  <a:lnTo>
                    <a:pt x="1726" y="2467"/>
                  </a:lnTo>
                  <a:lnTo>
                    <a:pt x="1742" y="2466"/>
                  </a:lnTo>
                  <a:lnTo>
                    <a:pt x="1758" y="2464"/>
                  </a:lnTo>
                  <a:lnTo>
                    <a:pt x="1774" y="2459"/>
                  </a:lnTo>
                  <a:lnTo>
                    <a:pt x="1788" y="2454"/>
                  </a:lnTo>
                  <a:lnTo>
                    <a:pt x="1795" y="2451"/>
                  </a:lnTo>
                  <a:lnTo>
                    <a:pt x="1800" y="2446"/>
                  </a:lnTo>
                  <a:lnTo>
                    <a:pt x="1806" y="2442"/>
                  </a:lnTo>
                  <a:lnTo>
                    <a:pt x="1810" y="2437"/>
                  </a:lnTo>
                  <a:lnTo>
                    <a:pt x="1813" y="2430"/>
                  </a:lnTo>
                  <a:lnTo>
                    <a:pt x="1816" y="2425"/>
                  </a:lnTo>
                  <a:lnTo>
                    <a:pt x="1818" y="2417"/>
                  </a:lnTo>
                  <a:lnTo>
                    <a:pt x="1818" y="2410"/>
                  </a:lnTo>
                  <a:lnTo>
                    <a:pt x="1818" y="2392"/>
                  </a:lnTo>
                  <a:lnTo>
                    <a:pt x="1818" y="2377"/>
                  </a:lnTo>
                  <a:lnTo>
                    <a:pt x="1818" y="2361"/>
                  </a:lnTo>
                  <a:lnTo>
                    <a:pt x="1818" y="2344"/>
                  </a:lnTo>
                  <a:lnTo>
                    <a:pt x="1818" y="2340"/>
                  </a:lnTo>
                  <a:lnTo>
                    <a:pt x="1820" y="2334"/>
                  </a:lnTo>
                  <a:lnTo>
                    <a:pt x="1821" y="2330"/>
                  </a:lnTo>
                  <a:lnTo>
                    <a:pt x="1823" y="2327"/>
                  </a:lnTo>
                  <a:lnTo>
                    <a:pt x="1828" y="2319"/>
                  </a:lnTo>
                  <a:lnTo>
                    <a:pt x="1835" y="2313"/>
                  </a:lnTo>
                  <a:lnTo>
                    <a:pt x="1842" y="2308"/>
                  </a:lnTo>
                  <a:lnTo>
                    <a:pt x="1851" y="2303"/>
                  </a:lnTo>
                  <a:lnTo>
                    <a:pt x="1860" y="2300"/>
                  </a:lnTo>
                  <a:lnTo>
                    <a:pt x="1869" y="2295"/>
                  </a:lnTo>
                  <a:lnTo>
                    <a:pt x="1883" y="2290"/>
                  </a:lnTo>
                  <a:lnTo>
                    <a:pt x="1895" y="2284"/>
                  </a:lnTo>
                  <a:lnTo>
                    <a:pt x="1906" y="2278"/>
                  </a:lnTo>
                  <a:lnTo>
                    <a:pt x="1917" y="2271"/>
                  </a:lnTo>
                  <a:lnTo>
                    <a:pt x="1939" y="2259"/>
                  </a:lnTo>
                  <a:lnTo>
                    <a:pt x="1964" y="2246"/>
                  </a:lnTo>
                  <a:lnTo>
                    <a:pt x="1988" y="2234"/>
                  </a:lnTo>
                  <a:lnTo>
                    <a:pt x="2008" y="2221"/>
                  </a:lnTo>
                  <a:lnTo>
                    <a:pt x="2025" y="2208"/>
                  </a:lnTo>
                  <a:lnTo>
                    <a:pt x="2040" y="2195"/>
                  </a:lnTo>
                  <a:lnTo>
                    <a:pt x="2056" y="2181"/>
                  </a:lnTo>
                  <a:lnTo>
                    <a:pt x="2072" y="2167"/>
                  </a:lnTo>
                  <a:lnTo>
                    <a:pt x="2091" y="2152"/>
                  </a:lnTo>
                  <a:lnTo>
                    <a:pt x="2113" y="2136"/>
                  </a:lnTo>
                  <a:lnTo>
                    <a:pt x="2126" y="2119"/>
                  </a:lnTo>
                  <a:lnTo>
                    <a:pt x="2139" y="2105"/>
                  </a:lnTo>
                  <a:lnTo>
                    <a:pt x="2147" y="2099"/>
                  </a:lnTo>
                  <a:lnTo>
                    <a:pt x="2155" y="2094"/>
                  </a:lnTo>
                  <a:lnTo>
                    <a:pt x="2164" y="2092"/>
                  </a:lnTo>
                  <a:lnTo>
                    <a:pt x="2175" y="2091"/>
                  </a:lnTo>
                  <a:lnTo>
                    <a:pt x="2194" y="2091"/>
                  </a:lnTo>
                  <a:lnTo>
                    <a:pt x="2211" y="2091"/>
                  </a:lnTo>
                  <a:lnTo>
                    <a:pt x="2228" y="2091"/>
                  </a:lnTo>
                  <a:lnTo>
                    <a:pt x="2246" y="2091"/>
                  </a:lnTo>
                  <a:lnTo>
                    <a:pt x="2274" y="2091"/>
                  </a:lnTo>
                  <a:lnTo>
                    <a:pt x="2298" y="2093"/>
                  </a:lnTo>
                  <a:lnTo>
                    <a:pt x="2322" y="2097"/>
                  </a:lnTo>
                  <a:lnTo>
                    <a:pt x="2349" y="2102"/>
                  </a:lnTo>
                  <a:lnTo>
                    <a:pt x="2324" y="1607"/>
                  </a:lnTo>
                  <a:lnTo>
                    <a:pt x="2320" y="1602"/>
                  </a:lnTo>
                  <a:lnTo>
                    <a:pt x="2316" y="1596"/>
                  </a:lnTo>
                  <a:lnTo>
                    <a:pt x="2313" y="1590"/>
                  </a:lnTo>
                  <a:lnTo>
                    <a:pt x="2311" y="1584"/>
                  </a:lnTo>
                  <a:lnTo>
                    <a:pt x="2308" y="1577"/>
                  </a:lnTo>
                  <a:lnTo>
                    <a:pt x="2305" y="1571"/>
                  </a:lnTo>
                  <a:lnTo>
                    <a:pt x="2300" y="1564"/>
                  </a:lnTo>
                  <a:lnTo>
                    <a:pt x="2295" y="1559"/>
                  </a:lnTo>
                  <a:lnTo>
                    <a:pt x="2286" y="1552"/>
                  </a:lnTo>
                  <a:lnTo>
                    <a:pt x="2278" y="1547"/>
                  </a:lnTo>
                  <a:lnTo>
                    <a:pt x="2268" y="1544"/>
                  </a:lnTo>
                  <a:lnTo>
                    <a:pt x="2259" y="1539"/>
                  </a:lnTo>
                  <a:lnTo>
                    <a:pt x="2251" y="1536"/>
                  </a:lnTo>
                  <a:lnTo>
                    <a:pt x="2242" y="1531"/>
                  </a:lnTo>
                  <a:lnTo>
                    <a:pt x="2234" y="1525"/>
                  </a:lnTo>
                  <a:lnTo>
                    <a:pt x="2228" y="1517"/>
                  </a:lnTo>
                  <a:lnTo>
                    <a:pt x="2218" y="1501"/>
                  </a:lnTo>
                  <a:lnTo>
                    <a:pt x="2211" y="1486"/>
                  </a:lnTo>
                  <a:lnTo>
                    <a:pt x="2204" y="1472"/>
                  </a:lnTo>
                  <a:lnTo>
                    <a:pt x="2199" y="1457"/>
                  </a:lnTo>
                  <a:lnTo>
                    <a:pt x="2188" y="1428"/>
                  </a:lnTo>
                  <a:lnTo>
                    <a:pt x="2175" y="1396"/>
                  </a:lnTo>
                  <a:lnTo>
                    <a:pt x="2159" y="1369"/>
                  </a:lnTo>
                  <a:lnTo>
                    <a:pt x="2145" y="1345"/>
                  </a:lnTo>
                  <a:lnTo>
                    <a:pt x="2138" y="1333"/>
                  </a:lnTo>
                  <a:lnTo>
                    <a:pt x="2134" y="1320"/>
                  </a:lnTo>
                  <a:lnTo>
                    <a:pt x="2132" y="1314"/>
                  </a:lnTo>
                  <a:lnTo>
                    <a:pt x="2131" y="1306"/>
                  </a:lnTo>
                  <a:lnTo>
                    <a:pt x="2130" y="1298"/>
                  </a:lnTo>
                  <a:lnTo>
                    <a:pt x="2130" y="1291"/>
                  </a:lnTo>
                  <a:lnTo>
                    <a:pt x="2130" y="1270"/>
                  </a:lnTo>
                  <a:lnTo>
                    <a:pt x="2130" y="1253"/>
                  </a:lnTo>
                  <a:lnTo>
                    <a:pt x="2130" y="1236"/>
                  </a:lnTo>
                  <a:lnTo>
                    <a:pt x="2130" y="1216"/>
                  </a:lnTo>
                  <a:lnTo>
                    <a:pt x="2130" y="1202"/>
                  </a:lnTo>
                  <a:lnTo>
                    <a:pt x="2127" y="1189"/>
                  </a:lnTo>
                  <a:lnTo>
                    <a:pt x="2124" y="1177"/>
                  </a:lnTo>
                  <a:lnTo>
                    <a:pt x="2120" y="1167"/>
                  </a:lnTo>
                  <a:lnTo>
                    <a:pt x="2113" y="1156"/>
                  </a:lnTo>
                  <a:lnTo>
                    <a:pt x="2106" y="1146"/>
                  </a:lnTo>
                  <a:lnTo>
                    <a:pt x="2096" y="1137"/>
                  </a:lnTo>
                  <a:lnTo>
                    <a:pt x="2085" y="1130"/>
                  </a:lnTo>
                  <a:lnTo>
                    <a:pt x="2073" y="1122"/>
                  </a:lnTo>
                  <a:lnTo>
                    <a:pt x="2062" y="1116"/>
                  </a:lnTo>
                  <a:lnTo>
                    <a:pt x="2052" y="1108"/>
                  </a:lnTo>
                  <a:lnTo>
                    <a:pt x="2042" y="1101"/>
                  </a:lnTo>
                  <a:lnTo>
                    <a:pt x="2035" y="1092"/>
                  </a:lnTo>
                  <a:lnTo>
                    <a:pt x="2028" y="1082"/>
                  </a:lnTo>
                  <a:lnTo>
                    <a:pt x="2026" y="1077"/>
                  </a:lnTo>
                  <a:lnTo>
                    <a:pt x="2025" y="1071"/>
                  </a:lnTo>
                  <a:lnTo>
                    <a:pt x="2024" y="1064"/>
                  </a:lnTo>
                  <a:lnTo>
                    <a:pt x="2024" y="1058"/>
                  </a:lnTo>
                  <a:lnTo>
                    <a:pt x="2024" y="1041"/>
                  </a:lnTo>
                  <a:lnTo>
                    <a:pt x="2024" y="1027"/>
                  </a:lnTo>
                  <a:lnTo>
                    <a:pt x="2024" y="1013"/>
                  </a:lnTo>
                  <a:lnTo>
                    <a:pt x="2024" y="997"/>
                  </a:lnTo>
                  <a:lnTo>
                    <a:pt x="2024" y="955"/>
                  </a:lnTo>
                  <a:lnTo>
                    <a:pt x="2026" y="917"/>
                  </a:lnTo>
                  <a:lnTo>
                    <a:pt x="2027" y="899"/>
                  </a:lnTo>
                  <a:lnTo>
                    <a:pt x="2030" y="880"/>
                  </a:lnTo>
                  <a:lnTo>
                    <a:pt x="2033" y="860"/>
                  </a:lnTo>
                  <a:lnTo>
                    <a:pt x="2037" y="838"/>
                  </a:lnTo>
                  <a:lnTo>
                    <a:pt x="2039" y="834"/>
                  </a:lnTo>
                  <a:lnTo>
                    <a:pt x="2041" y="830"/>
                  </a:lnTo>
                  <a:lnTo>
                    <a:pt x="2043" y="825"/>
                  </a:lnTo>
                  <a:lnTo>
                    <a:pt x="2046" y="822"/>
                  </a:lnTo>
                  <a:lnTo>
                    <a:pt x="2050" y="819"/>
                  </a:lnTo>
                  <a:lnTo>
                    <a:pt x="2052" y="815"/>
                  </a:lnTo>
                  <a:lnTo>
                    <a:pt x="2053" y="810"/>
                  </a:lnTo>
                  <a:lnTo>
                    <a:pt x="2054" y="806"/>
                  </a:lnTo>
                  <a:lnTo>
                    <a:pt x="2054" y="788"/>
                  </a:lnTo>
                  <a:lnTo>
                    <a:pt x="2054" y="771"/>
                  </a:lnTo>
                  <a:lnTo>
                    <a:pt x="2054" y="755"/>
                  </a:lnTo>
                  <a:lnTo>
                    <a:pt x="2054" y="737"/>
                  </a:lnTo>
                  <a:lnTo>
                    <a:pt x="2054" y="726"/>
                  </a:lnTo>
                  <a:lnTo>
                    <a:pt x="2055" y="716"/>
                  </a:lnTo>
                  <a:lnTo>
                    <a:pt x="2057" y="708"/>
                  </a:lnTo>
                  <a:lnTo>
                    <a:pt x="2059" y="699"/>
                  </a:lnTo>
                  <a:lnTo>
                    <a:pt x="2065" y="682"/>
                  </a:lnTo>
                  <a:lnTo>
                    <a:pt x="2071" y="666"/>
                  </a:lnTo>
                  <a:lnTo>
                    <a:pt x="2077" y="649"/>
                  </a:lnTo>
                  <a:lnTo>
                    <a:pt x="2082" y="633"/>
                  </a:lnTo>
                  <a:lnTo>
                    <a:pt x="2084" y="624"/>
                  </a:lnTo>
                  <a:lnTo>
                    <a:pt x="2086" y="615"/>
                  </a:lnTo>
                  <a:lnTo>
                    <a:pt x="2087" y="605"/>
                  </a:lnTo>
                  <a:lnTo>
                    <a:pt x="2087" y="594"/>
                  </a:lnTo>
                  <a:lnTo>
                    <a:pt x="2096" y="581"/>
                  </a:lnTo>
                  <a:lnTo>
                    <a:pt x="2105" y="569"/>
                  </a:lnTo>
                  <a:lnTo>
                    <a:pt x="2113" y="559"/>
                  </a:lnTo>
                  <a:lnTo>
                    <a:pt x="2123" y="550"/>
                  </a:lnTo>
                  <a:lnTo>
                    <a:pt x="2134" y="541"/>
                  </a:lnTo>
                  <a:lnTo>
                    <a:pt x="2147" y="535"/>
                  </a:lnTo>
                  <a:lnTo>
                    <a:pt x="2160" y="531"/>
                  </a:lnTo>
                  <a:lnTo>
                    <a:pt x="2175" y="527"/>
                  </a:lnTo>
                  <a:lnTo>
                    <a:pt x="2175" y="499"/>
                  </a:lnTo>
                  <a:lnTo>
                    <a:pt x="2175" y="475"/>
                  </a:lnTo>
                  <a:lnTo>
                    <a:pt x="2175" y="451"/>
                  </a:lnTo>
                  <a:lnTo>
                    <a:pt x="2175" y="423"/>
                  </a:lnTo>
                  <a:lnTo>
                    <a:pt x="2174" y="413"/>
                  </a:lnTo>
                  <a:lnTo>
                    <a:pt x="2172" y="404"/>
                  </a:lnTo>
                  <a:lnTo>
                    <a:pt x="2168" y="397"/>
                  </a:lnTo>
                  <a:lnTo>
                    <a:pt x="2163" y="390"/>
                  </a:lnTo>
                  <a:lnTo>
                    <a:pt x="2158" y="384"/>
                  </a:lnTo>
                  <a:lnTo>
                    <a:pt x="2151" y="378"/>
                  </a:lnTo>
                  <a:lnTo>
                    <a:pt x="2144" y="374"/>
                  </a:lnTo>
                  <a:lnTo>
                    <a:pt x="2135" y="369"/>
                  </a:lnTo>
                  <a:lnTo>
                    <a:pt x="2119" y="360"/>
                  </a:lnTo>
                  <a:lnTo>
                    <a:pt x="2100" y="350"/>
                  </a:lnTo>
                  <a:lnTo>
                    <a:pt x="2092" y="345"/>
                  </a:lnTo>
                  <a:lnTo>
                    <a:pt x="2083" y="339"/>
                  </a:lnTo>
                  <a:lnTo>
                    <a:pt x="2076" y="333"/>
                  </a:lnTo>
                  <a:lnTo>
                    <a:pt x="2068" y="325"/>
                  </a:lnTo>
                  <a:lnTo>
                    <a:pt x="2054" y="310"/>
                  </a:lnTo>
                  <a:lnTo>
                    <a:pt x="2039" y="297"/>
                  </a:lnTo>
                  <a:lnTo>
                    <a:pt x="2025" y="286"/>
                  </a:lnTo>
                  <a:lnTo>
                    <a:pt x="2010" y="277"/>
                  </a:lnTo>
                  <a:lnTo>
                    <a:pt x="1993" y="268"/>
                  </a:lnTo>
                  <a:lnTo>
                    <a:pt x="1976" y="262"/>
                  </a:lnTo>
                  <a:lnTo>
                    <a:pt x="1957" y="256"/>
                  </a:lnTo>
                  <a:lnTo>
                    <a:pt x="1936" y="253"/>
                  </a:lnTo>
                  <a:lnTo>
                    <a:pt x="1938" y="236"/>
                  </a:lnTo>
                  <a:lnTo>
                    <a:pt x="1941" y="219"/>
                  </a:lnTo>
                  <a:lnTo>
                    <a:pt x="1944" y="205"/>
                  </a:lnTo>
                  <a:lnTo>
                    <a:pt x="1948" y="191"/>
                  </a:lnTo>
                  <a:lnTo>
                    <a:pt x="1958" y="163"/>
                  </a:lnTo>
                  <a:lnTo>
                    <a:pt x="1970" y="132"/>
                  </a:lnTo>
                  <a:lnTo>
                    <a:pt x="1975" y="120"/>
                  </a:lnTo>
                  <a:lnTo>
                    <a:pt x="1982" y="110"/>
                  </a:lnTo>
                  <a:lnTo>
                    <a:pt x="1988" y="101"/>
                  </a:lnTo>
                  <a:lnTo>
                    <a:pt x="1995" y="91"/>
                  </a:lnTo>
                  <a:lnTo>
                    <a:pt x="2000" y="81"/>
                  </a:lnTo>
                  <a:lnTo>
                    <a:pt x="2005" y="72"/>
                  </a:lnTo>
                  <a:lnTo>
                    <a:pt x="2006" y="66"/>
                  </a:lnTo>
                  <a:lnTo>
                    <a:pt x="2008" y="61"/>
                  </a:lnTo>
                  <a:lnTo>
                    <a:pt x="2009" y="54"/>
                  </a:lnTo>
                  <a:lnTo>
                    <a:pt x="2010" y="48"/>
                  </a:lnTo>
                  <a:lnTo>
                    <a:pt x="2009" y="42"/>
                  </a:lnTo>
                  <a:lnTo>
                    <a:pt x="2008" y="38"/>
                  </a:lnTo>
                  <a:lnTo>
                    <a:pt x="2006" y="33"/>
                  </a:lnTo>
                  <a:lnTo>
                    <a:pt x="2004" y="28"/>
                  </a:lnTo>
                  <a:lnTo>
                    <a:pt x="2001" y="24"/>
                  </a:lnTo>
                  <a:lnTo>
                    <a:pt x="1998" y="20"/>
                  </a:lnTo>
                  <a:lnTo>
                    <a:pt x="1995" y="16"/>
                  </a:lnTo>
                  <a:lnTo>
                    <a:pt x="1990" y="13"/>
                  </a:lnTo>
                  <a:lnTo>
                    <a:pt x="1982" y="8"/>
                  </a:lnTo>
                  <a:lnTo>
                    <a:pt x="1971" y="3"/>
                  </a:lnTo>
                  <a:lnTo>
                    <a:pt x="1961" y="1"/>
                  </a:lnTo>
                  <a:lnTo>
                    <a:pt x="1949" y="0"/>
                  </a:lnTo>
                  <a:lnTo>
                    <a:pt x="1920" y="1"/>
                  </a:lnTo>
                  <a:lnTo>
                    <a:pt x="1892" y="2"/>
                  </a:lnTo>
                  <a:lnTo>
                    <a:pt x="1866" y="5"/>
                  </a:lnTo>
                  <a:lnTo>
                    <a:pt x="1841" y="6"/>
                  </a:lnTo>
                  <a:lnTo>
                    <a:pt x="1815" y="8"/>
                  </a:lnTo>
                  <a:lnTo>
                    <a:pt x="1789" y="10"/>
                  </a:lnTo>
                  <a:lnTo>
                    <a:pt x="1761" y="11"/>
                  </a:lnTo>
                  <a:lnTo>
                    <a:pt x="1732" y="12"/>
                  </a:lnTo>
                  <a:lnTo>
                    <a:pt x="1732" y="12"/>
                  </a:lnTo>
                  <a:lnTo>
                    <a:pt x="1735" y="22"/>
                  </a:lnTo>
                  <a:lnTo>
                    <a:pt x="1740" y="29"/>
                  </a:lnTo>
                  <a:lnTo>
                    <a:pt x="1744" y="37"/>
                  </a:lnTo>
                  <a:lnTo>
                    <a:pt x="1748" y="43"/>
                  </a:lnTo>
                  <a:lnTo>
                    <a:pt x="1752" y="50"/>
                  </a:lnTo>
                  <a:lnTo>
                    <a:pt x="1755" y="57"/>
                  </a:lnTo>
                  <a:lnTo>
                    <a:pt x="1756" y="66"/>
                  </a:lnTo>
                  <a:lnTo>
                    <a:pt x="1757" y="76"/>
                  </a:lnTo>
                  <a:lnTo>
                    <a:pt x="1756" y="88"/>
                  </a:lnTo>
                  <a:lnTo>
                    <a:pt x="1753" y="97"/>
                  </a:lnTo>
                  <a:lnTo>
                    <a:pt x="1748" y="107"/>
                  </a:lnTo>
                  <a:lnTo>
                    <a:pt x="1743" y="115"/>
                  </a:lnTo>
                  <a:lnTo>
                    <a:pt x="1735" y="122"/>
                  </a:lnTo>
                  <a:lnTo>
                    <a:pt x="1728" y="130"/>
                  </a:lnTo>
                  <a:lnTo>
                    <a:pt x="1719" y="136"/>
                  </a:lnTo>
                  <a:lnTo>
                    <a:pt x="1709" y="144"/>
                  </a:lnTo>
                  <a:lnTo>
                    <a:pt x="1692" y="165"/>
                  </a:lnTo>
                  <a:lnTo>
                    <a:pt x="1677" y="185"/>
                  </a:lnTo>
                  <a:lnTo>
                    <a:pt x="1669" y="194"/>
                  </a:lnTo>
                  <a:lnTo>
                    <a:pt x="1661" y="201"/>
                  </a:lnTo>
                  <a:lnTo>
                    <a:pt x="1651" y="210"/>
                  </a:lnTo>
                  <a:lnTo>
                    <a:pt x="1639" y="219"/>
                  </a:lnTo>
                  <a:lnTo>
                    <a:pt x="1631" y="227"/>
                  </a:lnTo>
                  <a:lnTo>
                    <a:pt x="1622" y="234"/>
                  </a:lnTo>
                  <a:lnTo>
                    <a:pt x="1618" y="237"/>
                  </a:lnTo>
                  <a:lnTo>
                    <a:pt x="1613" y="239"/>
                  </a:lnTo>
                  <a:lnTo>
                    <a:pt x="1608" y="241"/>
                  </a:lnTo>
                  <a:lnTo>
                    <a:pt x="1602" y="241"/>
                  </a:lnTo>
                  <a:lnTo>
                    <a:pt x="1571" y="241"/>
                  </a:lnTo>
                  <a:lnTo>
                    <a:pt x="1543" y="241"/>
                  </a:lnTo>
                  <a:lnTo>
                    <a:pt x="1516" y="241"/>
                  </a:lnTo>
                  <a:lnTo>
                    <a:pt x="1485" y="241"/>
                  </a:lnTo>
                  <a:lnTo>
                    <a:pt x="1470" y="263"/>
                  </a:lnTo>
                  <a:lnTo>
                    <a:pt x="1457" y="282"/>
                  </a:lnTo>
                  <a:lnTo>
                    <a:pt x="1443" y="300"/>
                  </a:lnTo>
                  <a:lnTo>
                    <a:pt x="1429" y="323"/>
                  </a:lnTo>
                  <a:lnTo>
                    <a:pt x="1416" y="347"/>
                  </a:lnTo>
                  <a:lnTo>
                    <a:pt x="1403" y="367"/>
                  </a:lnTo>
                  <a:lnTo>
                    <a:pt x="1395" y="377"/>
                  </a:lnTo>
                  <a:lnTo>
                    <a:pt x="1386" y="386"/>
                  </a:lnTo>
                  <a:lnTo>
                    <a:pt x="1382" y="389"/>
                  </a:lnTo>
                  <a:lnTo>
                    <a:pt x="1377" y="392"/>
                  </a:lnTo>
                  <a:lnTo>
                    <a:pt x="1371" y="396"/>
                  </a:lnTo>
                  <a:lnTo>
                    <a:pt x="1365" y="399"/>
                  </a:lnTo>
                  <a:lnTo>
                    <a:pt x="1352" y="402"/>
                  </a:lnTo>
                  <a:lnTo>
                    <a:pt x="1341" y="404"/>
                  </a:lnTo>
                  <a:lnTo>
                    <a:pt x="1330" y="405"/>
                  </a:lnTo>
                  <a:lnTo>
                    <a:pt x="1319" y="404"/>
                  </a:lnTo>
                  <a:lnTo>
                    <a:pt x="1298" y="403"/>
                  </a:lnTo>
                  <a:lnTo>
                    <a:pt x="1273" y="401"/>
                  </a:lnTo>
                  <a:lnTo>
                    <a:pt x="1243" y="400"/>
                  </a:lnTo>
                  <a:lnTo>
                    <a:pt x="1216" y="399"/>
                  </a:lnTo>
                  <a:lnTo>
                    <a:pt x="1190" y="397"/>
                  </a:lnTo>
                  <a:lnTo>
                    <a:pt x="1160" y="396"/>
                  </a:lnTo>
                  <a:lnTo>
                    <a:pt x="1120" y="397"/>
                  </a:lnTo>
                  <a:lnTo>
                    <a:pt x="1084" y="397"/>
                  </a:lnTo>
                  <a:lnTo>
                    <a:pt x="1049" y="398"/>
                  </a:lnTo>
                  <a:lnTo>
                    <a:pt x="1010" y="399"/>
                  </a:lnTo>
                  <a:lnTo>
                    <a:pt x="978" y="399"/>
                  </a:lnTo>
                  <a:lnTo>
                    <a:pt x="949" y="400"/>
                  </a:lnTo>
                  <a:lnTo>
                    <a:pt x="923" y="402"/>
                  </a:lnTo>
                  <a:lnTo>
                    <a:pt x="897" y="405"/>
                  </a:lnTo>
                  <a:lnTo>
                    <a:pt x="871" y="411"/>
                  </a:lnTo>
                  <a:lnTo>
                    <a:pt x="845" y="418"/>
                  </a:lnTo>
                  <a:lnTo>
                    <a:pt x="818" y="427"/>
                  </a:lnTo>
                  <a:lnTo>
                    <a:pt x="790" y="438"/>
                  </a:lnTo>
                  <a:lnTo>
                    <a:pt x="771" y="458"/>
                  </a:lnTo>
                  <a:lnTo>
                    <a:pt x="754" y="477"/>
                  </a:lnTo>
                  <a:lnTo>
                    <a:pt x="744" y="485"/>
                  </a:lnTo>
                  <a:lnTo>
                    <a:pt x="734" y="491"/>
                  </a:lnTo>
                  <a:lnTo>
                    <a:pt x="729" y="494"/>
                  </a:lnTo>
                  <a:lnTo>
                    <a:pt x="722" y="495"/>
                  </a:lnTo>
                  <a:lnTo>
                    <a:pt x="716" y="496"/>
                  </a:lnTo>
                  <a:lnTo>
                    <a:pt x="708" y="497"/>
                  </a:lnTo>
                  <a:lnTo>
                    <a:pt x="700" y="496"/>
                  </a:lnTo>
                  <a:lnTo>
                    <a:pt x="692" y="495"/>
                  </a:lnTo>
                  <a:lnTo>
                    <a:pt x="684" y="493"/>
                  </a:lnTo>
                  <a:lnTo>
                    <a:pt x="677" y="491"/>
                  </a:lnTo>
                  <a:lnTo>
                    <a:pt x="663" y="484"/>
                  </a:lnTo>
                  <a:lnTo>
                    <a:pt x="650" y="477"/>
                  </a:lnTo>
                  <a:lnTo>
                    <a:pt x="636" y="470"/>
                  </a:lnTo>
                  <a:lnTo>
                    <a:pt x="623" y="464"/>
                  </a:lnTo>
                  <a:lnTo>
                    <a:pt x="615" y="461"/>
                  </a:lnTo>
                  <a:lnTo>
                    <a:pt x="608" y="459"/>
                  </a:lnTo>
                  <a:lnTo>
                    <a:pt x="599" y="458"/>
                  </a:lnTo>
                  <a:lnTo>
                    <a:pt x="590" y="457"/>
                  </a:lnTo>
                  <a:lnTo>
                    <a:pt x="565" y="457"/>
                  </a:lnTo>
                  <a:lnTo>
                    <a:pt x="542" y="457"/>
                  </a:lnTo>
                  <a:lnTo>
                    <a:pt x="520" y="457"/>
                  </a:lnTo>
                  <a:lnTo>
                    <a:pt x="500" y="457"/>
                  </a:lnTo>
                  <a:lnTo>
                    <a:pt x="479" y="457"/>
                  </a:lnTo>
                  <a:lnTo>
                    <a:pt x="458" y="457"/>
                  </a:lnTo>
                  <a:lnTo>
                    <a:pt x="435" y="457"/>
                  </a:lnTo>
                  <a:lnTo>
                    <a:pt x="409" y="457"/>
                  </a:lnTo>
                  <a:lnTo>
                    <a:pt x="396" y="457"/>
                  </a:lnTo>
                  <a:lnTo>
                    <a:pt x="384" y="456"/>
                  </a:lnTo>
                  <a:lnTo>
                    <a:pt x="372" y="455"/>
                  </a:lnTo>
                  <a:lnTo>
                    <a:pt x="360" y="453"/>
                  </a:lnTo>
                  <a:lnTo>
                    <a:pt x="339" y="448"/>
                  </a:lnTo>
                  <a:lnTo>
                    <a:pt x="318" y="442"/>
                  </a:lnTo>
                  <a:lnTo>
                    <a:pt x="299" y="433"/>
                  </a:lnTo>
                  <a:lnTo>
                    <a:pt x="278" y="425"/>
                  </a:lnTo>
                  <a:lnTo>
                    <a:pt x="256" y="415"/>
                  </a:lnTo>
                  <a:lnTo>
                    <a:pt x="232" y="404"/>
                  </a:lnTo>
                  <a:lnTo>
                    <a:pt x="215" y="396"/>
                  </a:lnTo>
                  <a:lnTo>
                    <a:pt x="199" y="387"/>
                  </a:lnTo>
                  <a:lnTo>
                    <a:pt x="191" y="384"/>
                  </a:lnTo>
                  <a:lnTo>
                    <a:pt x="183" y="381"/>
                  </a:lnTo>
                  <a:lnTo>
                    <a:pt x="175" y="379"/>
                  </a:lnTo>
                  <a:lnTo>
                    <a:pt x="164" y="379"/>
                  </a:lnTo>
                  <a:lnTo>
                    <a:pt x="141" y="379"/>
                  </a:lnTo>
                  <a:lnTo>
                    <a:pt x="121" y="379"/>
                  </a:lnTo>
                  <a:lnTo>
                    <a:pt x="101" y="379"/>
                  </a:lnTo>
                  <a:lnTo>
                    <a:pt x="82" y="379"/>
                  </a:lnTo>
                  <a:lnTo>
                    <a:pt x="63" y="379"/>
                  </a:lnTo>
                  <a:lnTo>
                    <a:pt x="44" y="379"/>
                  </a:lnTo>
                  <a:lnTo>
                    <a:pt x="22" y="379"/>
                  </a:lnTo>
                  <a:lnTo>
                    <a:pt x="0" y="379"/>
                  </a:lnTo>
                  <a:lnTo>
                    <a:pt x="0" y="392"/>
                  </a:lnTo>
                  <a:lnTo>
                    <a:pt x="0" y="404"/>
                  </a:lnTo>
                  <a:lnTo>
                    <a:pt x="0" y="415"/>
                  </a:lnTo>
                  <a:lnTo>
                    <a:pt x="0" y="429"/>
                  </a:lnTo>
                  <a:lnTo>
                    <a:pt x="0" y="438"/>
                  </a:lnTo>
                  <a:lnTo>
                    <a:pt x="1" y="446"/>
                  </a:lnTo>
                  <a:lnTo>
                    <a:pt x="2" y="454"/>
                  </a:lnTo>
                  <a:lnTo>
                    <a:pt x="4" y="461"/>
                  </a:lnTo>
                  <a:lnTo>
                    <a:pt x="6" y="469"/>
                  </a:lnTo>
                  <a:lnTo>
                    <a:pt x="9" y="477"/>
                  </a:lnTo>
                  <a:lnTo>
                    <a:pt x="14" y="484"/>
                  </a:lnTo>
                  <a:lnTo>
                    <a:pt x="19" y="491"/>
                  </a:lnTo>
                  <a:lnTo>
                    <a:pt x="23" y="496"/>
                  </a:lnTo>
                  <a:lnTo>
                    <a:pt x="29" y="500"/>
                  </a:lnTo>
                  <a:lnTo>
                    <a:pt x="33" y="505"/>
                  </a:lnTo>
                  <a:lnTo>
                    <a:pt x="39" y="508"/>
                  </a:lnTo>
                  <a:lnTo>
                    <a:pt x="49" y="511"/>
                  </a:lnTo>
                  <a:lnTo>
                    <a:pt x="62" y="514"/>
                  </a:lnTo>
                  <a:lnTo>
                    <a:pt x="74" y="516"/>
                  </a:lnTo>
                  <a:lnTo>
                    <a:pt x="87" y="518"/>
                  </a:lnTo>
                  <a:lnTo>
                    <a:pt x="101" y="521"/>
                  </a:lnTo>
                  <a:lnTo>
                    <a:pt x="114" y="524"/>
                  </a:lnTo>
                  <a:lnTo>
                    <a:pt x="137" y="534"/>
                  </a:lnTo>
                  <a:lnTo>
                    <a:pt x="156" y="542"/>
                  </a:lnTo>
                  <a:lnTo>
                    <a:pt x="176" y="552"/>
                  </a:lnTo>
                  <a:lnTo>
                    <a:pt x="198" y="561"/>
                  </a:lnTo>
                  <a:lnTo>
                    <a:pt x="206" y="563"/>
                  </a:lnTo>
                  <a:lnTo>
                    <a:pt x="215" y="564"/>
                  </a:lnTo>
                  <a:lnTo>
                    <a:pt x="222" y="564"/>
                  </a:lnTo>
                  <a:lnTo>
                    <a:pt x="229" y="563"/>
                  </a:lnTo>
                  <a:lnTo>
                    <a:pt x="236" y="563"/>
                  </a:lnTo>
                  <a:lnTo>
                    <a:pt x="243" y="564"/>
                  </a:lnTo>
                  <a:lnTo>
                    <a:pt x="249" y="567"/>
                  </a:lnTo>
                  <a:lnTo>
                    <a:pt x="255" y="573"/>
                  </a:lnTo>
                  <a:lnTo>
                    <a:pt x="257" y="576"/>
                  </a:lnTo>
                  <a:lnTo>
                    <a:pt x="259" y="580"/>
                  </a:lnTo>
                  <a:lnTo>
                    <a:pt x="259" y="583"/>
                  </a:lnTo>
                  <a:lnTo>
                    <a:pt x="259" y="588"/>
                  </a:lnTo>
                  <a:lnTo>
                    <a:pt x="258" y="596"/>
                  </a:lnTo>
                  <a:lnTo>
                    <a:pt x="258" y="606"/>
                  </a:lnTo>
                  <a:lnTo>
                    <a:pt x="257" y="623"/>
                  </a:lnTo>
                  <a:lnTo>
                    <a:pt x="255" y="639"/>
                  </a:lnTo>
                  <a:lnTo>
                    <a:pt x="252" y="655"/>
                  </a:lnTo>
                  <a:lnTo>
                    <a:pt x="249" y="669"/>
                  </a:lnTo>
                  <a:lnTo>
                    <a:pt x="239" y="697"/>
                  </a:lnTo>
                  <a:lnTo>
                    <a:pt x="230" y="723"/>
                  </a:lnTo>
                  <a:lnTo>
                    <a:pt x="219" y="750"/>
                  </a:lnTo>
                  <a:lnTo>
                    <a:pt x="210" y="777"/>
                  </a:lnTo>
                  <a:lnTo>
                    <a:pt x="207" y="792"/>
                  </a:lnTo>
                  <a:lnTo>
                    <a:pt x="204" y="807"/>
                  </a:lnTo>
                  <a:lnTo>
                    <a:pt x="202" y="823"/>
                  </a:lnTo>
                  <a:lnTo>
                    <a:pt x="202" y="839"/>
                  </a:lnTo>
                  <a:lnTo>
                    <a:pt x="202" y="873"/>
                  </a:lnTo>
                  <a:lnTo>
                    <a:pt x="202" y="904"/>
                  </a:lnTo>
                  <a:lnTo>
                    <a:pt x="203" y="933"/>
                  </a:lnTo>
                  <a:lnTo>
                    <a:pt x="206" y="963"/>
                  </a:lnTo>
                  <a:lnTo>
                    <a:pt x="209" y="975"/>
                  </a:lnTo>
                  <a:lnTo>
                    <a:pt x="212" y="990"/>
                  </a:lnTo>
                  <a:lnTo>
                    <a:pt x="216" y="1002"/>
                  </a:lnTo>
                  <a:lnTo>
                    <a:pt x="221" y="1017"/>
                  </a:lnTo>
                  <a:lnTo>
                    <a:pt x="228" y="1029"/>
                  </a:lnTo>
                  <a:lnTo>
                    <a:pt x="234" y="1044"/>
                  </a:lnTo>
                  <a:lnTo>
                    <a:pt x="243" y="1058"/>
                  </a:lnTo>
                  <a:lnTo>
                    <a:pt x="251" y="1071"/>
                  </a:lnTo>
                  <a:lnTo>
                    <a:pt x="261" y="1081"/>
                  </a:lnTo>
                  <a:lnTo>
                    <a:pt x="271" y="1090"/>
                  </a:lnTo>
                  <a:lnTo>
                    <a:pt x="280" y="1098"/>
                  </a:lnTo>
                  <a:lnTo>
                    <a:pt x="291" y="1107"/>
                  </a:lnTo>
                  <a:lnTo>
                    <a:pt x="314" y="1130"/>
                  </a:lnTo>
                  <a:lnTo>
                    <a:pt x="334" y="1149"/>
                  </a:lnTo>
                  <a:lnTo>
                    <a:pt x="355" y="1168"/>
                  </a:lnTo>
                  <a:lnTo>
                    <a:pt x="376" y="1184"/>
                  </a:lnTo>
                  <a:lnTo>
                    <a:pt x="397" y="1198"/>
                  </a:lnTo>
                  <a:lnTo>
                    <a:pt x="420" y="1213"/>
                  </a:lnTo>
                  <a:lnTo>
                    <a:pt x="445" y="1227"/>
                  </a:lnTo>
                  <a:lnTo>
                    <a:pt x="473" y="1242"/>
                  </a:lnTo>
                  <a:lnTo>
                    <a:pt x="473" y="1242"/>
                  </a:lnTo>
                  <a:close/>
                </a:path>
              </a:pathLst>
            </a:custGeom>
            <a:solidFill>
              <a:srgbClr val="3B61AC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8">
              <a:extLst>
                <a:ext uri="{FF2B5EF4-FFF2-40B4-BE49-F238E27FC236}">
                  <a16:creationId xmlns:a16="http://schemas.microsoft.com/office/drawing/2014/main" id="{976F9095-8BFC-4953-A547-730D4D9CD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73700" y="150813"/>
              <a:ext cx="931863" cy="1076325"/>
            </a:xfrm>
            <a:custGeom>
              <a:avLst/>
              <a:gdLst>
                <a:gd name="T0" fmla="*/ 599 w 2349"/>
                <a:gd name="T1" fmla="*/ 1280 h 2711"/>
                <a:gd name="T2" fmla="*/ 674 w 2349"/>
                <a:gd name="T3" fmla="*/ 1425 h 2711"/>
                <a:gd name="T4" fmla="*/ 764 w 2349"/>
                <a:gd name="T5" fmla="*/ 1577 h 2711"/>
                <a:gd name="T6" fmla="*/ 899 w 2349"/>
                <a:gd name="T7" fmla="*/ 1690 h 2711"/>
                <a:gd name="T8" fmla="*/ 936 w 2349"/>
                <a:gd name="T9" fmla="*/ 1793 h 2711"/>
                <a:gd name="T10" fmla="*/ 945 w 2349"/>
                <a:gd name="T11" fmla="*/ 2018 h 2711"/>
                <a:gd name="T12" fmla="*/ 1040 w 2349"/>
                <a:gd name="T13" fmla="*/ 2181 h 2711"/>
                <a:gd name="T14" fmla="*/ 1056 w 2349"/>
                <a:gd name="T15" fmla="*/ 2300 h 2711"/>
                <a:gd name="T16" fmla="*/ 1115 w 2349"/>
                <a:gd name="T17" fmla="*/ 2500 h 2711"/>
                <a:gd name="T18" fmla="*/ 1130 w 2349"/>
                <a:gd name="T19" fmla="*/ 2621 h 2711"/>
                <a:gd name="T20" fmla="*/ 1192 w 2349"/>
                <a:gd name="T21" fmla="*/ 2681 h 2711"/>
                <a:gd name="T22" fmla="*/ 1334 w 2349"/>
                <a:gd name="T23" fmla="*/ 2710 h 2711"/>
                <a:gd name="T24" fmla="*/ 1364 w 2349"/>
                <a:gd name="T25" fmla="*/ 2613 h 2711"/>
                <a:gd name="T26" fmla="*/ 1439 w 2349"/>
                <a:gd name="T27" fmla="*/ 2446 h 2711"/>
                <a:gd name="T28" fmla="*/ 1516 w 2349"/>
                <a:gd name="T29" fmla="*/ 2383 h 2711"/>
                <a:gd name="T30" fmla="*/ 1617 w 2349"/>
                <a:gd name="T31" fmla="*/ 2397 h 2711"/>
                <a:gd name="T32" fmla="*/ 1708 w 2349"/>
                <a:gd name="T33" fmla="*/ 2465 h 2711"/>
                <a:gd name="T34" fmla="*/ 1810 w 2349"/>
                <a:gd name="T35" fmla="*/ 2437 h 2711"/>
                <a:gd name="T36" fmla="*/ 1820 w 2349"/>
                <a:gd name="T37" fmla="*/ 2334 h 2711"/>
                <a:gd name="T38" fmla="*/ 1895 w 2349"/>
                <a:gd name="T39" fmla="*/ 2284 h 2711"/>
                <a:gd name="T40" fmla="*/ 2072 w 2349"/>
                <a:gd name="T41" fmla="*/ 2167 h 2711"/>
                <a:gd name="T42" fmla="*/ 2211 w 2349"/>
                <a:gd name="T43" fmla="*/ 2091 h 2711"/>
                <a:gd name="T44" fmla="*/ 2313 w 2349"/>
                <a:gd name="T45" fmla="*/ 1590 h 2711"/>
                <a:gd name="T46" fmla="*/ 2251 w 2349"/>
                <a:gd name="T47" fmla="*/ 1536 h 2711"/>
                <a:gd name="T48" fmla="*/ 2159 w 2349"/>
                <a:gd name="T49" fmla="*/ 1369 h 2711"/>
                <a:gd name="T50" fmla="*/ 2130 w 2349"/>
                <a:gd name="T51" fmla="*/ 1236 h 2711"/>
                <a:gd name="T52" fmla="*/ 2073 w 2349"/>
                <a:gd name="T53" fmla="*/ 1122 h 2711"/>
                <a:gd name="T54" fmla="*/ 2024 w 2349"/>
                <a:gd name="T55" fmla="*/ 1041 h 2711"/>
                <a:gd name="T56" fmla="*/ 2039 w 2349"/>
                <a:gd name="T57" fmla="*/ 834 h 2711"/>
                <a:gd name="T58" fmla="*/ 2054 w 2349"/>
                <a:gd name="T59" fmla="*/ 755 h 2711"/>
                <a:gd name="T60" fmla="*/ 2084 w 2349"/>
                <a:gd name="T61" fmla="*/ 624 h 2711"/>
                <a:gd name="T62" fmla="*/ 2160 w 2349"/>
                <a:gd name="T63" fmla="*/ 531 h 2711"/>
                <a:gd name="T64" fmla="*/ 2158 w 2349"/>
                <a:gd name="T65" fmla="*/ 384 h 2711"/>
                <a:gd name="T66" fmla="*/ 2054 w 2349"/>
                <a:gd name="T67" fmla="*/ 310 h 2711"/>
                <a:gd name="T68" fmla="*/ 1944 w 2349"/>
                <a:gd name="T69" fmla="*/ 205 h 2711"/>
                <a:gd name="T70" fmla="*/ 2006 w 2349"/>
                <a:gd name="T71" fmla="*/ 66 h 2711"/>
                <a:gd name="T72" fmla="*/ 1995 w 2349"/>
                <a:gd name="T73" fmla="*/ 16 h 2711"/>
                <a:gd name="T74" fmla="*/ 1815 w 2349"/>
                <a:gd name="T75" fmla="*/ 8 h 2711"/>
                <a:gd name="T76" fmla="*/ 1755 w 2349"/>
                <a:gd name="T77" fmla="*/ 57 h 2711"/>
                <a:gd name="T78" fmla="*/ 1709 w 2349"/>
                <a:gd name="T79" fmla="*/ 144 h 2711"/>
                <a:gd name="T80" fmla="*/ 1613 w 2349"/>
                <a:gd name="T81" fmla="*/ 239 h 2711"/>
                <a:gd name="T82" fmla="*/ 1429 w 2349"/>
                <a:gd name="T83" fmla="*/ 323 h 2711"/>
                <a:gd name="T84" fmla="*/ 1341 w 2349"/>
                <a:gd name="T85" fmla="*/ 404 h 2711"/>
                <a:gd name="T86" fmla="*/ 1084 w 2349"/>
                <a:gd name="T87" fmla="*/ 397 h 2711"/>
                <a:gd name="T88" fmla="*/ 790 w 2349"/>
                <a:gd name="T89" fmla="*/ 438 h 2711"/>
                <a:gd name="T90" fmla="*/ 692 w 2349"/>
                <a:gd name="T91" fmla="*/ 495 h 2711"/>
                <a:gd name="T92" fmla="*/ 590 w 2349"/>
                <a:gd name="T93" fmla="*/ 457 h 2711"/>
                <a:gd name="T94" fmla="*/ 384 w 2349"/>
                <a:gd name="T95" fmla="*/ 456 h 2711"/>
                <a:gd name="T96" fmla="*/ 199 w 2349"/>
                <a:gd name="T97" fmla="*/ 387 h 2711"/>
                <a:gd name="T98" fmla="*/ 44 w 2349"/>
                <a:gd name="T99" fmla="*/ 379 h 2711"/>
                <a:gd name="T100" fmla="*/ 4 w 2349"/>
                <a:gd name="T101" fmla="*/ 461 h 2711"/>
                <a:gd name="T102" fmla="*/ 62 w 2349"/>
                <a:gd name="T103" fmla="*/ 514 h 2711"/>
                <a:gd name="T104" fmla="*/ 215 w 2349"/>
                <a:gd name="T105" fmla="*/ 564 h 2711"/>
                <a:gd name="T106" fmla="*/ 259 w 2349"/>
                <a:gd name="T107" fmla="*/ 588 h 2711"/>
                <a:gd name="T108" fmla="*/ 210 w 2349"/>
                <a:gd name="T109" fmla="*/ 777 h 2711"/>
                <a:gd name="T110" fmla="*/ 212 w 2349"/>
                <a:gd name="T111" fmla="*/ 990 h 2711"/>
                <a:gd name="T112" fmla="*/ 291 w 2349"/>
                <a:gd name="T113" fmla="*/ 1107 h 2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49" h="2711">
                  <a:moveTo>
                    <a:pt x="473" y="1242"/>
                  </a:moveTo>
                  <a:lnTo>
                    <a:pt x="489" y="1242"/>
                  </a:lnTo>
                  <a:lnTo>
                    <a:pt x="503" y="1243"/>
                  </a:lnTo>
                  <a:lnTo>
                    <a:pt x="517" y="1245"/>
                  </a:lnTo>
                  <a:lnTo>
                    <a:pt x="531" y="1248"/>
                  </a:lnTo>
                  <a:lnTo>
                    <a:pt x="544" y="1252"/>
                  </a:lnTo>
                  <a:lnTo>
                    <a:pt x="557" y="1256"/>
                  </a:lnTo>
                  <a:lnTo>
                    <a:pt x="570" y="1263"/>
                  </a:lnTo>
                  <a:lnTo>
                    <a:pt x="583" y="1270"/>
                  </a:lnTo>
                  <a:lnTo>
                    <a:pt x="599" y="1280"/>
                  </a:lnTo>
                  <a:lnTo>
                    <a:pt x="615" y="1290"/>
                  </a:lnTo>
                  <a:lnTo>
                    <a:pt x="622" y="1295"/>
                  </a:lnTo>
                  <a:lnTo>
                    <a:pt x="628" y="1302"/>
                  </a:lnTo>
                  <a:lnTo>
                    <a:pt x="633" y="1309"/>
                  </a:lnTo>
                  <a:lnTo>
                    <a:pt x="636" y="1318"/>
                  </a:lnTo>
                  <a:lnTo>
                    <a:pt x="643" y="1343"/>
                  </a:lnTo>
                  <a:lnTo>
                    <a:pt x="651" y="1364"/>
                  </a:lnTo>
                  <a:lnTo>
                    <a:pt x="658" y="1386"/>
                  </a:lnTo>
                  <a:lnTo>
                    <a:pt x="666" y="1405"/>
                  </a:lnTo>
                  <a:lnTo>
                    <a:pt x="674" y="1425"/>
                  </a:lnTo>
                  <a:lnTo>
                    <a:pt x="681" y="1445"/>
                  </a:lnTo>
                  <a:lnTo>
                    <a:pt x="689" y="1467"/>
                  </a:lnTo>
                  <a:lnTo>
                    <a:pt x="697" y="1492"/>
                  </a:lnTo>
                  <a:lnTo>
                    <a:pt x="704" y="1508"/>
                  </a:lnTo>
                  <a:lnTo>
                    <a:pt x="710" y="1522"/>
                  </a:lnTo>
                  <a:lnTo>
                    <a:pt x="719" y="1534"/>
                  </a:lnTo>
                  <a:lnTo>
                    <a:pt x="729" y="1546"/>
                  </a:lnTo>
                  <a:lnTo>
                    <a:pt x="739" y="1557"/>
                  </a:lnTo>
                  <a:lnTo>
                    <a:pt x="751" y="1566"/>
                  </a:lnTo>
                  <a:lnTo>
                    <a:pt x="764" y="1577"/>
                  </a:lnTo>
                  <a:lnTo>
                    <a:pt x="778" y="1587"/>
                  </a:lnTo>
                  <a:lnTo>
                    <a:pt x="789" y="1594"/>
                  </a:lnTo>
                  <a:lnTo>
                    <a:pt x="799" y="1603"/>
                  </a:lnTo>
                  <a:lnTo>
                    <a:pt x="808" y="1611"/>
                  </a:lnTo>
                  <a:lnTo>
                    <a:pt x="815" y="1618"/>
                  </a:lnTo>
                  <a:lnTo>
                    <a:pt x="831" y="1634"/>
                  </a:lnTo>
                  <a:lnTo>
                    <a:pt x="852" y="1652"/>
                  </a:lnTo>
                  <a:lnTo>
                    <a:pt x="869" y="1665"/>
                  </a:lnTo>
                  <a:lnTo>
                    <a:pt x="884" y="1677"/>
                  </a:lnTo>
                  <a:lnTo>
                    <a:pt x="899" y="1690"/>
                  </a:lnTo>
                  <a:lnTo>
                    <a:pt x="911" y="1704"/>
                  </a:lnTo>
                  <a:lnTo>
                    <a:pt x="917" y="1712"/>
                  </a:lnTo>
                  <a:lnTo>
                    <a:pt x="921" y="1721"/>
                  </a:lnTo>
                  <a:lnTo>
                    <a:pt x="925" y="1728"/>
                  </a:lnTo>
                  <a:lnTo>
                    <a:pt x="930" y="1737"/>
                  </a:lnTo>
                  <a:lnTo>
                    <a:pt x="932" y="1747"/>
                  </a:lnTo>
                  <a:lnTo>
                    <a:pt x="934" y="1755"/>
                  </a:lnTo>
                  <a:lnTo>
                    <a:pt x="935" y="1766"/>
                  </a:lnTo>
                  <a:lnTo>
                    <a:pt x="936" y="1777"/>
                  </a:lnTo>
                  <a:lnTo>
                    <a:pt x="936" y="1793"/>
                  </a:lnTo>
                  <a:lnTo>
                    <a:pt x="936" y="1808"/>
                  </a:lnTo>
                  <a:lnTo>
                    <a:pt x="936" y="1822"/>
                  </a:lnTo>
                  <a:lnTo>
                    <a:pt x="936" y="1838"/>
                  </a:lnTo>
                  <a:lnTo>
                    <a:pt x="944" y="1906"/>
                  </a:lnTo>
                  <a:lnTo>
                    <a:pt x="944" y="1927"/>
                  </a:lnTo>
                  <a:lnTo>
                    <a:pt x="944" y="1945"/>
                  </a:lnTo>
                  <a:lnTo>
                    <a:pt x="944" y="1965"/>
                  </a:lnTo>
                  <a:lnTo>
                    <a:pt x="944" y="1985"/>
                  </a:lnTo>
                  <a:lnTo>
                    <a:pt x="945" y="2001"/>
                  </a:lnTo>
                  <a:lnTo>
                    <a:pt x="945" y="2018"/>
                  </a:lnTo>
                  <a:lnTo>
                    <a:pt x="947" y="2032"/>
                  </a:lnTo>
                  <a:lnTo>
                    <a:pt x="949" y="2046"/>
                  </a:lnTo>
                  <a:lnTo>
                    <a:pt x="953" y="2060"/>
                  </a:lnTo>
                  <a:lnTo>
                    <a:pt x="959" y="2073"/>
                  </a:lnTo>
                  <a:lnTo>
                    <a:pt x="966" y="2086"/>
                  </a:lnTo>
                  <a:lnTo>
                    <a:pt x="975" y="2100"/>
                  </a:lnTo>
                  <a:lnTo>
                    <a:pt x="1003" y="2134"/>
                  </a:lnTo>
                  <a:lnTo>
                    <a:pt x="1029" y="2165"/>
                  </a:lnTo>
                  <a:lnTo>
                    <a:pt x="1035" y="2172"/>
                  </a:lnTo>
                  <a:lnTo>
                    <a:pt x="1040" y="2181"/>
                  </a:lnTo>
                  <a:lnTo>
                    <a:pt x="1045" y="2189"/>
                  </a:lnTo>
                  <a:lnTo>
                    <a:pt x="1048" y="2198"/>
                  </a:lnTo>
                  <a:lnTo>
                    <a:pt x="1052" y="2207"/>
                  </a:lnTo>
                  <a:lnTo>
                    <a:pt x="1054" y="2217"/>
                  </a:lnTo>
                  <a:lnTo>
                    <a:pt x="1056" y="2227"/>
                  </a:lnTo>
                  <a:lnTo>
                    <a:pt x="1056" y="2239"/>
                  </a:lnTo>
                  <a:lnTo>
                    <a:pt x="1056" y="2255"/>
                  </a:lnTo>
                  <a:lnTo>
                    <a:pt x="1056" y="2269"/>
                  </a:lnTo>
                  <a:lnTo>
                    <a:pt x="1056" y="2283"/>
                  </a:lnTo>
                  <a:lnTo>
                    <a:pt x="1056" y="2300"/>
                  </a:lnTo>
                  <a:lnTo>
                    <a:pt x="1057" y="2314"/>
                  </a:lnTo>
                  <a:lnTo>
                    <a:pt x="1058" y="2328"/>
                  </a:lnTo>
                  <a:lnTo>
                    <a:pt x="1060" y="2342"/>
                  </a:lnTo>
                  <a:lnTo>
                    <a:pt x="1062" y="2354"/>
                  </a:lnTo>
                  <a:lnTo>
                    <a:pt x="1070" y="2377"/>
                  </a:lnTo>
                  <a:lnTo>
                    <a:pt x="1079" y="2400"/>
                  </a:lnTo>
                  <a:lnTo>
                    <a:pt x="1088" y="2423"/>
                  </a:lnTo>
                  <a:lnTo>
                    <a:pt x="1098" y="2446"/>
                  </a:lnTo>
                  <a:lnTo>
                    <a:pt x="1107" y="2472"/>
                  </a:lnTo>
                  <a:lnTo>
                    <a:pt x="1115" y="2500"/>
                  </a:lnTo>
                  <a:lnTo>
                    <a:pt x="1118" y="2512"/>
                  </a:lnTo>
                  <a:lnTo>
                    <a:pt x="1119" y="2522"/>
                  </a:lnTo>
                  <a:lnTo>
                    <a:pt x="1119" y="2533"/>
                  </a:lnTo>
                  <a:lnTo>
                    <a:pt x="1120" y="2543"/>
                  </a:lnTo>
                  <a:lnTo>
                    <a:pt x="1119" y="2562"/>
                  </a:lnTo>
                  <a:lnTo>
                    <a:pt x="1121" y="2585"/>
                  </a:lnTo>
                  <a:lnTo>
                    <a:pt x="1122" y="2594"/>
                  </a:lnTo>
                  <a:lnTo>
                    <a:pt x="1124" y="2603"/>
                  </a:lnTo>
                  <a:lnTo>
                    <a:pt x="1127" y="2613"/>
                  </a:lnTo>
                  <a:lnTo>
                    <a:pt x="1130" y="2621"/>
                  </a:lnTo>
                  <a:lnTo>
                    <a:pt x="1134" y="2629"/>
                  </a:lnTo>
                  <a:lnTo>
                    <a:pt x="1138" y="2637"/>
                  </a:lnTo>
                  <a:lnTo>
                    <a:pt x="1143" y="2644"/>
                  </a:lnTo>
                  <a:lnTo>
                    <a:pt x="1149" y="2652"/>
                  </a:lnTo>
                  <a:lnTo>
                    <a:pt x="1154" y="2658"/>
                  </a:lnTo>
                  <a:lnTo>
                    <a:pt x="1161" y="2664"/>
                  </a:lnTo>
                  <a:lnTo>
                    <a:pt x="1168" y="2669"/>
                  </a:lnTo>
                  <a:lnTo>
                    <a:pt x="1176" y="2673"/>
                  </a:lnTo>
                  <a:lnTo>
                    <a:pt x="1183" y="2678"/>
                  </a:lnTo>
                  <a:lnTo>
                    <a:pt x="1192" y="2681"/>
                  </a:lnTo>
                  <a:lnTo>
                    <a:pt x="1201" y="2683"/>
                  </a:lnTo>
                  <a:lnTo>
                    <a:pt x="1210" y="2685"/>
                  </a:lnTo>
                  <a:lnTo>
                    <a:pt x="1232" y="2688"/>
                  </a:lnTo>
                  <a:lnTo>
                    <a:pt x="1251" y="2692"/>
                  </a:lnTo>
                  <a:lnTo>
                    <a:pt x="1271" y="2697"/>
                  </a:lnTo>
                  <a:lnTo>
                    <a:pt x="1291" y="2702"/>
                  </a:lnTo>
                  <a:lnTo>
                    <a:pt x="1307" y="2707"/>
                  </a:lnTo>
                  <a:lnTo>
                    <a:pt x="1321" y="2711"/>
                  </a:lnTo>
                  <a:lnTo>
                    <a:pt x="1328" y="2711"/>
                  </a:lnTo>
                  <a:lnTo>
                    <a:pt x="1334" y="2710"/>
                  </a:lnTo>
                  <a:lnTo>
                    <a:pt x="1337" y="2709"/>
                  </a:lnTo>
                  <a:lnTo>
                    <a:pt x="1339" y="2708"/>
                  </a:lnTo>
                  <a:lnTo>
                    <a:pt x="1341" y="2706"/>
                  </a:lnTo>
                  <a:lnTo>
                    <a:pt x="1342" y="2702"/>
                  </a:lnTo>
                  <a:lnTo>
                    <a:pt x="1348" y="2686"/>
                  </a:lnTo>
                  <a:lnTo>
                    <a:pt x="1352" y="2671"/>
                  </a:lnTo>
                  <a:lnTo>
                    <a:pt x="1355" y="2656"/>
                  </a:lnTo>
                  <a:lnTo>
                    <a:pt x="1358" y="2642"/>
                  </a:lnTo>
                  <a:lnTo>
                    <a:pt x="1361" y="2628"/>
                  </a:lnTo>
                  <a:lnTo>
                    <a:pt x="1364" y="2613"/>
                  </a:lnTo>
                  <a:lnTo>
                    <a:pt x="1367" y="2598"/>
                  </a:lnTo>
                  <a:lnTo>
                    <a:pt x="1372" y="2581"/>
                  </a:lnTo>
                  <a:lnTo>
                    <a:pt x="1379" y="2567"/>
                  </a:lnTo>
                  <a:lnTo>
                    <a:pt x="1384" y="2554"/>
                  </a:lnTo>
                  <a:lnTo>
                    <a:pt x="1391" y="2544"/>
                  </a:lnTo>
                  <a:lnTo>
                    <a:pt x="1397" y="2532"/>
                  </a:lnTo>
                  <a:lnTo>
                    <a:pt x="1410" y="2510"/>
                  </a:lnTo>
                  <a:lnTo>
                    <a:pt x="1423" y="2483"/>
                  </a:lnTo>
                  <a:lnTo>
                    <a:pt x="1432" y="2464"/>
                  </a:lnTo>
                  <a:lnTo>
                    <a:pt x="1439" y="2446"/>
                  </a:lnTo>
                  <a:lnTo>
                    <a:pt x="1444" y="2438"/>
                  </a:lnTo>
                  <a:lnTo>
                    <a:pt x="1449" y="2429"/>
                  </a:lnTo>
                  <a:lnTo>
                    <a:pt x="1456" y="2422"/>
                  </a:lnTo>
                  <a:lnTo>
                    <a:pt x="1463" y="2413"/>
                  </a:lnTo>
                  <a:lnTo>
                    <a:pt x="1471" y="2405"/>
                  </a:lnTo>
                  <a:lnTo>
                    <a:pt x="1479" y="2399"/>
                  </a:lnTo>
                  <a:lnTo>
                    <a:pt x="1488" y="2394"/>
                  </a:lnTo>
                  <a:lnTo>
                    <a:pt x="1497" y="2389"/>
                  </a:lnTo>
                  <a:lnTo>
                    <a:pt x="1506" y="2386"/>
                  </a:lnTo>
                  <a:lnTo>
                    <a:pt x="1516" y="2383"/>
                  </a:lnTo>
                  <a:lnTo>
                    <a:pt x="1525" y="2382"/>
                  </a:lnTo>
                  <a:lnTo>
                    <a:pt x="1534" y="2381"/>
                  </a:lnTo>
                  <a:lnTo>
                    <a:pt x="1545" y="2379"/>
                  </a:lnTo>
                  <a:lnTo>
                    <a:pt x="1555" y="2381"/>
                  </a:lnTo>
                  <a:lnTo>
                    <a:pt x="1565" y="2382"/>
                  </a:lnTo>
                  <a:lnTo>
                    <a:pt x="1575" y="2383"/>
                  </a:lnTo>
                  <a:lnTo>
                    <a:pt x="1585" y="2386"/>
                  </a:lnTo>
                  <a:lnTo>
                    <a:pt x="1596" y="2389"/>
                  </a:lnTo>
                  <a:lnTo>
                    <a:pt x="1607" y="2392"/>
                  </a:lnTo>
                  <a:lnTo>
                    <a:pt x="1617" y="2397"/>
                  </a:lnTo>
                  <a:lnTo>
                    <a:pt x="1625" y="2401"/>
                  </a:lnTo>
                  <a:lnTo>
                    <a:pt x="1633" y="2405"/>
                  </a:lnTo>
                  <a:lnTo>
                    <a:pt x="1639" y="2411"/>
                  </a:lnTo>
                  <a:lnTo>
                    <a:pt x="1647" y="2416"/>
                  </a:lnTo>
                  <a:lnTo>
                    <a:pt x="1659" y="2427"/>
                  </a:lnTo>
                  <a:lnTo>
                    <a:pt x="1669" y="2439"/>
                  </a:lnTo>
                  <a:lnTo>
                    <a:pt x="1681" y="2450"/>
                  </a:lnTo>
                  <a:lnTo>
                    <a:pt x="1694" y="2458"/>
                  </a:lnTo>
                  <a:lnTo>
                    <a:pt x="1701" y="2462"/>
                  </a:lnTo>
                  <a:lnTo>
                    <a:pt x="1708" y="2465"/>
                  </a:lnTo>
                  <a:lnTo>
                    <a:pt x="1717" y="2466"/>
                  </a:lnTo>
                  <a:lnTo>
                    <a:pt x="1726" y="2467"/>
                  </a:lnTo>
                  <a:lnTo>
                    <a:pt x="1742" y="2466"/>
                  </a:lnTo>
                  <a:lnTo>
                    <a:pt x="1758" y="2464"/>
                  </a:lnTo>
                  <a:lnTo>
                    <a:pt x="1774" y="2459"/>
                  </a:lnTo>
                  <a:lnTo>
                    <a:pt x="1788" y="2454"/>
                  </a:lnTo>
                  <a:lnTo>
                    <a:pt x="1795" y="2451"/>
                  </a:lnTo>
                  <a:lnTo>
                    <a:pt x="1800" y="2446"/>
                  </a:lnTo>
                  <a:lnTo>
                    <a:pt x="1806" y="2442"/>
                  </a:lnTo>
                  <a:lnTo>
                    <a:pt x="1810" y="2437"/>
                  </a:lnTo>
                  <a:lnTo>
                    <a:pt x="1813" y="2430"/>
                  </a:lnTo>
                  <a:lnTo>
                    <a:pt x="1816" y="2425"/>
                  </a:lnTo>
                  <a:lnTo>
                    <a:pt x="1818" y="2417"/>
                  </a:lnTo>
                  <a:lnTo>
                    <a:pt x="1818" y="2410"/>
                  </a:lnTo>
                  <a:lnTo>
                    <a:pt x="1818" y="2392"/>
                  </a:lnTo>
                  <a:lnTo>
                    <a:pt x="1818" y="2377"/>
                  </a:lnTo>
                  <a:lnTo>
                    <a:pt x="1818" y="2361"/>
                  </a:lnTo>
                  <a:lnTo>
                    <a:pt x="1818" y="2344"/>
                  </a:lnTo>
                  <a:lnTo>
                    <a:pt x="1818" y="2340"/>
                  </a:lnTo>
                  <a:lnTo>
                    <a:pt x="1820" y="2334"/>
                  </a:lnTo>
                  <a:lnTo>
                    <a:pt x="1821" y="2330"/>
                  </a:lnTo>
                  <a:lnTo>
                    <a:pt x="1823" y="2327"/>
                  </a:lnTo>
                  <a:lnTo>
                    <a:pt x="1828" y="2319"/>
                  </a:lnTo>
                  <a:lnTo>
                    <a:pt x="1835" y="2313"/>
                  </a:lnTo>
                  <a:lnTo>
                    <a:pt x="1842" y="2308"/>
                  </a:lnTo>
                  <a:lnTo>
                    <a:pt x="1851" y="2303"/>
                  </a:lnTo>
                  <a:lnTo>
                    <a:pt x="1860" y="2300"/>
                  </a:lnTo>
                  <a:lnTo>
                    <a:pt x="1869" y="2295"/>
                  </a:lnTo>
                  <a:lnTo>
                    <a:pt x="1883" y="2290"/>
                  </a:lnTo>
                  <a:lnTo>
                    <a:pt x="1895" y="2284"/>
                  </a:lnTo>
                  <a:lnTo>
                    <a:pt x="1906" y="2278"/>
                  </a:lnTo>
                  <a:lnTo>
                    <a:pt x="1917" y="2271"/>
                  </a:lnTo>
                  <a:lnTo>
                    <a:pt x="1939" y="2259"/>
                  </a:lnTo>
                  <a:lnTo>
                    <a:pt x="1964" y="2246"/>
                  </a:lnTo>
                  <a:lnTo>
                    <a:pt x="1988" y="2234"/>
                  </a:lnTo>
                  <a:lnTo>
                    <a:pt x="2008" y="2221"/>
                  </a:lnTo>
                  <a:lnTo>
                    <a:pt x="2025" y="2208"/>
                  </a:lnTo>
                  <a:lnTo>
                    <a:pt x="2040" y="2195"/>
                  </a:lnTo>
                  <a:lnTo>
                    <a:pt x="2056" y="2181"/>
                  </a:lnTo>
                  <a:lnTo>
                    <a:pt x="2072" y="2167"/>
                  </a:lnTo>
                  <a:lnTo>
                    <a:pt x="2091" y="2152"/>
                  </a:lnTo>
                  <a:lnTo>
                    <a:pt x="2113" y="2136"/>
                  </a:lnTo>
                  <a:lnTo>
                    <a:pt x="2126" y="2119"/>
                  </a:lnTo>
                  <a:lnTo>
                    <a:pt x="2139" y="2105"/>
                  </a:lnTo>
                  <a:lnTo>
                    <a:pt x="2147" y="2099"/>
                  </a:lnTo>
                  <a:lnTo>
                    <a:pt x="2155" y="2094"/>
                  </a:lnTo>
                  <a:lnTo>
                    <a:pt x="2164" y="2092"/>
                  </a:lnTo>
                  <a:lnTo>
                    <a:pt x="2175" y="2091"/>
                  </a:lnTo>
                  <a:lnTo>
                    <a:pt x="2194" y="2091"/>
                  </a:lnTo>
                  <a:lnTo>
                    <a:pt x="2211" y="2091"/>
                  </a:lnTo>
                  <a:lnTo>
                    <a:pt x="2228" y="2091"/>
                  </a:lnTo>
                  <a:lnTo>
                    <a:pt x="2246" y="2091"/>
                  </a:lnTo>
                  <a:lnTo>
                    <a:pt x="2274" y="2091"/>
                  </a:lnTo>
                  <a:lnTo>
                    <a:pt x="2298" y="2093"/>
                  </a:lnTo>
                  <a:lnTo>
                    <a:pt x="2322" y="2097"/>
                  </a:lnTo>
                  <a:lnTo>
                    <a:pt x="2349" y="2102"/>
                  </a:lnTo>
                  <a:lnTo>
                    <a:pt x="2324" y="1607"/>
                  </a:lnTo>
                  <a:lnTo>
                    <a:pt x="2320" y="1602"/>
                  </a:lnTo>
                  <a:lnTo>
                    <a:pt x="2316" y="1596"/>
                  </a:lnTo>
                  <a:lnTo>
                    <a:pt x="2313" y="1590"/>
                  </a:lnTo>
                  <a:lnTo>
                    <a:pt x="2311" y="1584"/>
                  </a:lnTo>
                  <a:lnTo>
                    <a:pt x="2308" y="1577"/>
                  </a:lnTo>
                  <a:lnTo>
                    <a:pt x="2305" y="1571"/>
                  </a:lnTo>
                  <a:lnTo>
                    <a:pt x="2300" y="1564"/>
                  </a:lnTo>
                  <a:lnTo>
                    <a:pt x="2295" y="1559"/>
                  </a:lnTo>
                  <a:lnTo>
                    <a:pt x="2286" y="1552"/>
                  </a:lnTo>
                  <a:lnTo>
                    <a:pt x="2278" y="1547"/>
                  </a:lnTo>
                  <a:lnTo>
                    <a:pt x="2268" y="1544"/>
                  </a:lnTo>
                  <a:lnTo>
                    <a:pt x="2259" y="1539"/>
                  </a:lnTo>
                  <a:lnTo>
                    <a:pt x="2251" y="1536"/>
                  </a:lnTo>
                  <a:lnTo>
                    <a:pt x="2242" y="1531"/>
                  </a:lnTo>
                  <a:lnTo>
                    <a:pt x="2234" y="1525"/>
                  </a:lnTo>
                  <a:lnTo>
                    <a:pt x="2228" y="1517"/>
                  </a:lnTo>
                  <a:lnTo>
                    <a:pt x="2218" y="1501"/>
                  </a:lnTo>
                  <a:lnTo>
                    <a:pt x="2211" y="1486"/>
                  </a:lnTo>
                  <a:lnTo>
                    <a:pt x="2204" y="1472"/>
                  </a:lnTo>
                  <a:lnTo>
                    <a:pt x="2199" y="1457"/>
                  </a:lnTo>
                  <a:lnTo>
                    <a:pt x="2188" y="1428"/>
                  </a:lnTo>
                  <a:lnTo>
                    <a:pt x="2175" y="1396"/>
                  </a:lnTo>
                  <a:lnTo>
                    <a:pt x="2159" y="1369"/>
                  </a:lnTo>
                  <a:lnTo>
                    <a:pt x="2145" y="1345"/>
                  </a:lnTo>
                  <a:lnTo>
                    <a:pt x="2138" y="1333"/>
                  </a:lnTo>
                  <a:lnTo>
                    <a:pt x="2134" y="1320"/>
                  </a:lnTo>
                  <a:lnTo>
                    <a:pt x="2132" y="1314"/>
                  </a:lnTo>
                  <a:lnTo>
                    <a:pt x="2131" y="1306"/>
                  </a:lnTo>
                  <a:lnTo>
                    <a:pt x="2130" y="1298"/>
                  </a:lnTo>
                  <a:lnTo>
                    <a:pt x="2130" y="1291"/>
                  </a:lnTo>
                  <a:lnTo>
                    <a:pt x="2130" y="1270"/>
                  </a:lnTo>
                  <a:lnTo>
                    <a:pt x="2130" y="1253"/>
                  </a:lnTo>
                  <a:lnTo>
                    <a:pt x="2130" y="1236"/>
                  </a:lnTo>
                  <a:lnTo>
                    <a:pt x="2130" y="1216"/>
                  </a:lnTo>
                  <a:lnTo>
                    <a:pt x="2130" y="1202"/>
                  </a:lnTo>
                  <a:lnTo>
                    <a:pt x="2127" y="1189"/>
                  </a:lnTo>
                  <a:lnTo>
                    <a:pt x="2124" y="1177"/>
                  </a:lnTo>
                  <a:lnTo>
                    <a:pt x="2120" y="1167"/>
                  </a:lnTo>
                  <a:lnTo>
                    <a:pt x="2113" y="1156"/>
                  </a:lnTo>
                  <a:lnTo>
                    <a:pt x="2106" y="1146"/>
                  </a:lnTo>
                  <a:lnTo>
                    <a:pt x="2096" y="1137"/>
                  </a:lnTo>
                  <a:lnTo>
                    <a:pt x="2085" y="1130"/>
                  </a:lnTo>
                  <a:lnTo>
                    <a:pt x="2073" y="1122"/>
                  </a:lnTo>
                  <a:lnTo>
                    <a:pt x="2062" y="1116"/>
                  </a:lnTo>
                  <a:lnTo>
                    <a:pt x="2052" y="1108"/>
                  </a:lnTo>
                  <a:lnTo>
                    <a:pt x="2042" y="1101"/>
                  </a:lnTo>
                  <a:lnTo>
                    <a:pt x="2035" y="1092"/>
                  </a:lnTo>
                  <a:lnTo>
                    <a:pt x="2028" y="1082"/>
                  </a:lnTo>
                  <a:lnTo>
                    <a:pt x="2026" y="1077"/>
                  </a:lnTo>
                  <a:lnTo>
                    <a:pt x="2025" y="1071"/>
                  </a:lnTo>
                  <a:lnTo>
                    <a:pt x="2024" y="1064"/>
                  </a:lnTo>
                  <a:lnTo>
                    <a:pt x="2024" y="1058"/>
                  </a:lnTo>
                  <a:lnTo>
                    <a:pt x="2024" y="1041"/>
                  </a:lnTo>
                  <a:lnTo>
                    <a:pt x="2024" y="1027"/>
                  </a:lnTo>
                  <a:lnTo>
                    <a:pt x="2024" y="1013"/>
                  </a:lnTo>
                  <a:lnTo>
                    <a:pt x="2024" y="997"/>
                  </a:lnTo>
                  <a:lnTo>
                    <a:pt x="2024" y="955"/>
                  </a:lnTo>
                  <a:lnTo>
                    <a:pt x="2026" y="917"/>
                  </a:lnTo>
                  <a:lnTo>
                    <a:pt x="2027" y="899"/>
                  </a:lnTo>
                  <a:lnTo>
                    <a:pt x="2030" y="880"/>
                  </a:lnTo>
                  <a:lnTo>
                    <a:pt x="2033" y="860"/>
                  </a:lnTo>
                  <a:lnTo>
                    <a:pt x="2037" y="838"/>
                  </a:lnTo>
                  <a:lnTo>
                    <a:pt x="2039" y="834"/>
                  </a:lnTo>
                  <a:lnTo>
                    <a:pt x="2041" y="830"/>
                  </a:lnTo>
                  <a:lnTo>
                    <a:pt x="2043" y="825"/>
                  </a:lnTo>
                  <a:lnTo>
                    <a:pt x="2046" y="822"/>
                  </a:lnTo>
                  <a:lnTo>
                    <a:pt x="2050" y="819"/>
                  </a:lnTo>
                  <a:lnTo>
                    <a:pt x="2052" y="815"/>
                  </a:lnTo>
                  <a:lnTo>
                    <a:pt x="2053" y="810"/>
                  </a:lnTo>
                  <a:lnTo>
                    <a:pt x="2054" y="806"/>
                  </a:lnTo>
                  <a:lnTo>
                    <a:pt x="2054" y="788"/>
                  </a:lnTo>
                  <a:lnTo>
                    <a:pt x="2054" y="771"/>
                  </a:lnTo>
                  <a:lnTo>
                    <a:pt x="2054" y="755"/>
                  </a:lnTo>
                  <a:lnTo>
                    <a:pt x="2054" y="737"/>
                  </a:lnTo>
                  <a:lnTo>
                    <a:pt x="2054" y="726"/>
                  </a:lnTo>
                  <a:lnTo>
                    <a:pt x="2055" y="716"/>
                  </a:lnTo>
                  <a:lnTo>
                    <a:pt x="2057" y="708"/>
                  </a:lnTo>
                  <a:lnTo>
                    <a:pt x="2059" y="699"/>
                  </a:lnTo>
                  <a:lnTo>
                    <a:pt x="2065" y="682"/>
                  </a:lnTo>
                  <a:lnTo>
                    <a:pt x="2071" y="666"/>
                  </a:lnTo>
                  <a:lnTo>
                    <a:pt x="2077" y="649"/>
                  </a:lnTo>
                  <a:lnTo>
                    <a:pt x="2082" y="633"/>
                  </a:lnTo>
                  <a:lnTo>
                    <a:pt x="2084" y="624"/>
                  </a:lnTo>
                  <a:lnTo>
                    <a:pt x="2086" y="615"/>
                  </a:lnTo>
                  <a:lnTo>
                    <a:pt x="2087" y="605"/>
                  </a:lnTo>
                  <a:lnTo>
                    <a:pt x="2087" y="594"/>
                  </a:lnTo>
                  <a:lnTo>
                    <a:pt x="2096" y="581"/>
                  </a:lnTo>
                  <a:lnTo>
                    <a:pt x="2105" y="569"/>
                  </a:lnTo>
                  <a:lnTo>
                    <a:pt x="2113" y="559"/>
                  </a:lnTo>
                  <a:lnTo>
                    <a:pt x="2123" y="550"/>
                  </a:lnTo>
                  <a:lnTo>
                    <a:pt x="2134" y="541"/>
                  </a:lnTo>
                  <a:lnTo>
                    <a:pt x="2147" y="535"/>
                  </a:lnTo>
                  <a:lnTo>
                    <a:pt x="2160" y="531"/>
                  </a:lnTo>
                  <a:lnTo>
                    <a:pt x="2175" y="527"/>
                  </a:lnTo>
                  <a:lnTo>
                    <a:pt x="2175" y="499"/>
                  </a:lnTo>
                  <a:lnTo>
                    <a:pt x="2175" y="475"/>
                  </a:lnTo>
                  <a:lnTo>
                    <a:pt x="2175" y="451"/>
                  </a:lnTo>
                  <a:lnTo>
                    <a:pt x="2175" y="423"/>
                  </a:lnTo>
                  <a:lnTo>
                    <a:pt x="2174" y="413"/>
                  </a:lnTo>
                  <a:lnTo>
                    <a:pt x="2172" y="404"/>
                  </a:lnTo>
                  <a:lnTo>
                    <a:pt x="2168" y="397"/>
                  </a:lnTo>
                  <a:lnTo>
                    <a:pt x="2163" y="390"/>
                  </a:lnTo>
                  <a:lnTo>
                    <a:pt x="2158" y="384"/>
                  </a:lnTo>
                  <a:lnTo>
                    <a:pt x="2151" y="378"/>
                  </a:lnTo>
                  <a:lnTo>
                    <a:pt x="2144" y="374"/>
                  </a:lnTo>
                  <a:lnTo>
                    <a:pt x="2135" y="369"/>
                  </a:lnTo>
                  <a:lnTo>
                    <a:pt x="2119" y="360"/>
                  </a:lnTo>
                  <a:lnTo>
                    <a:pt x="2100" y="350"/>
                  </a:lnTo>
                  <a:lnTo>
                    <a:pt x="2092" y="345"/>
                  </a:lnTo>
                  <a:lnTo>
                    <a:pt x="2083" y="339"/>
                  </a:lnTo>
                  <a:lnTo>
                    <a:pt x="2076" y="333"/>
                  </a:lnTo>
                  <a:lnTo>
                    <a:pt x="2068" y="325"/>
                  </a:lnTo>
                  <a:lnTo>
                    <a:pt x="2054" y="310"/>
                  </a:lnTo>
                  <a:lnTo>
                    <a:pt x="2039" y="297"/>
                  </a:lnTo>
                  <a:lnTo>
                    <a:pt x="2025" y="286"/>
                  </a:lnTo>
                  <a:lnTo>
                    <a:pt x="2010" y="277"/>
                  </a:lnTo>
                  <a:lnTo>
                    <a:pt x="1993" y="268"/>
                  </a:lnTo>
                  <a:lnTo>
                    <a:pt x="1976" y="262"/>
                  </a:lnTo>
                  <a:lnTo>
                    <a:pt x="1957" y="256"/>
                  </a:lnTo>
                  <a:lnTo>
                    <a:pt x="1936" y="253"/>
                  </a:lnTo>
                  <a:lnTo>
                    <a:pt x="1938" y="236"/>
                  </a:lnTo>
                  <a:lnTo>
                    <a:pt x="1941" y="219"/>
                  </a:lnTo>
                  <a:lnTo>
                    <a:pt x="1944" y="205"/>
                  </a:lnTo>
                  <a:lnTo>
                    <a:pt x="1948" y="191"/>
                  </a:lnTo>
                  <a:lnTo>
                    <a:pt x="1958" y="163"/>
                  </a:lnTo>
                  <a:lnTo>
                    <a:pt x="1970" y="132"/>
                  </a:lnTo>
                  <a:lnTo>
                    <a:pt x="1975" y="120"/>
                  </a:lnTo>
                  <a:lnTo>
                    <a:pt x="1982" y="110"/>
                  </a:lnTo>
                  <a:lnTo>
                    <a:pt x="1988" y="101"/>
                  </a:lnTo>
                  <a:lnTo>
                    <a:pt x="1995" y="91"/>
                  </a:lnTo>
                  <a:lnTo>
                    <a:pt x="2000" y="81"/>
                  </a:lnTo>
                  <a:lnTo>
                    <a:pt x="2005" y="72"/>
                  </a:lnTo>
                  <a:lnTo>
                    <a:pt x="2006" y="66"/>
                  </a:lnTo>
                  <a:lnTo>
                    <a:pt x="2008" y="61"/>
                  </a:lnTo>
                  <a:lnTo>
                    <a:pt x="2009" y="54"/>
                  </a:lnTo>
                  <a:lnTo>
                    <a:pt x="2010" y="48"/>
                  </a:lnTo>
                  <a:lnTo>
                    <a:pt x="2009" y="42"/>
                  </a:lnTo>
                  <a:lnTo>
                    <a:pt x="2008" y="38"/>
                  </a:lnTo>
                  <a:lnTo>
                    <a:pt x="2006" y="33"/>
                  </a:lnTo>
                  <a:lnTo>
                    <a:pt x="2004" y="28"/>
                  </a:lnTo>
                  <a:lnTo>
                    <a:pt x="2001" y="24"/>
                  </a:lnTo>
                  <a:lnTo>
                    <a:pt x="1998" y="20"/>
                  </a:lnTo>
                  <a:lnTo>
                    <a:pt x="1995" y="16"/>
                  </a:lnTo>
                  <a:lnTo>
                    <a:pt x="1990" y="13"/>
                  </a:lnTo>
                  <a:lnTo>
                    <a:pt x="1982" y="8"/>
                  </a:lnTo>
                  <a:lnTo>
                    <a:pt x="1971" y="3"/>
                  </a:lnTo>
                  <a:lnTo>
                    <a:pt x="1961" y="1"/>
                  </a:lnTo>
                  <a:lnTo>
                    <a:pt x="1949" y="0"/>
                  </a:lnTo>
                  <a:lnTo>
                    <a:pt x="1920" y="1"/>
                  </a:lnTo>
                  <a:lnTo>
                    <a:pt x="1892" y="2"/>
                  </a:lnTo>
                  <a:lnTo>
                    <a:pt x="1866" y="5"/>
                  </a:lnTo>
                  <a:lnTo>
                    <a:pt x="1841" y="6"/>
                  </a:lnTo>
                  <a:lnTo>
                    <a:pt x="1815" y="8"/>
                  </a:lnTo>
                  <a:lnTo>
                    <a:pt x="1789" y="10"/>
                  </a:lnTo>
                  <a:lnTo>
                    <a:pt x="1761" y="11"/>
                  </a:lnTo>
                  <a:lnTo>
                    <a:pt x="1732" y="12"/>
                  </a:lnTo>
                  <a:lnTo>
                    <a:pt x="1732" y="12"/>
                  </a:lnTo>
                  <a:lnTo>
                    <a:pt x="1735" y="22"/>
                  </a:lnTo>
                  <a:lnTo>
                    <a:pt x="1740" y="29"/>
                  </a:lnTo>
                  <a:lnTo>
                    <a:pt x="1744" y="37"/>
                  </a:lnTo>
                  <a:lnTo>
                    <a:pt x="1748" y="43"/>
                  </a:lnTo>
                  <a:lnTo>
                    <a:pt x="1752" y="50"/>
                  </a:lnTo>
                  <a:lnTo>
                    <a:pt x="1755" y="57"/>
                  </a:lnTo>
                  <a:lnTo>
                    <a:pt x="1756" y="66"/>
                  </a:lnTo>
                  <a:lnTo>
                    <a:pt x="1757" y="76"/>
                  </a:lnTo>
                  <a:lnTo>
                    <a:pt x="1756" y="88"/>
                  </a:lnTo>
                  <a:lnTo>
                    <a:pt x="1753" y="97"/>
                  </a:lnTo>
                  <a:lnTo>
                    <a:pt x="1748" y="107"/>
                  </a:lnTo>
                  <a:lnTo>
                    <a:pt x="1743" y="115"/>
                  </a:lnTo>
                  <a:lnTo>
                    <a:pt x="1735" y="122"/>
                  </a:lnTo>
                  <a:lnTo>
                    <a:pt x="1728" y="130"/>
                  </a:lnTo>
                  <a:lnTo>
                    <a:pt x="1719" y="136"/>
                  </a:lnTo>
                  <a:lnTo>
                    <a:pt x="1709" y="144"/>
                  </a:lnTo>
                  <a:lnTo>
                    <a:pt x="1692" y="165"/>
                  </a:lnTo>
                  <a:lnTo>
                    <a:pt x="1677" y="185"/>
                  </a:lnTo>
                  <a:lnTo>
                    <a:pt x="1669" y="194"/>
                  </a:lnTo>
                  <a:lnTo>
                    <a:pt x="1661" y="201"/>
                  </a:lnTo>
                  <a:lnTo>
                    <a:pt x="1651" y="210"/>
                  </a:lnTo>
                  <a:lnTo>
                    <a:pt x="1639" y="219"/>
                  </a:lnTo>
                  <a:lnTo>
                    <a:pt x="1631" y="227"/>
                  </a:lnTo>
                  <a:lnTo>
                    <a:pt x="1622" y="234"/>
                  </a:lnTo>
                  <a:lnTo>
                    <a:pt x="1618" y="237"/>
                  </a:lnTo>
                  <a:lnTo>
                    <a:pt x="1613" y="239"/>
                  </a:lnTo>
                  <a:lnTo>
                    <a:pt x="1608" y="241"/>
                  </a:lnTo>
                  <a:lnTo>
                    <a:pt x="1602" y="241"/>
                  </a:lnTo>
                  <a:lnTo>
                    <a:pt x="1571" y="241"/>
                  </a:lnTo>
                  <a:lnTo>
                    <a:pt x="1543" y="241"/>
                  </a:lnTo>
                  <a:lnTo>
                    <a:pt x="1516" y="241"/>
                  </a:lnTo>
                  <a:lnTo>
                    <a:pt x="1485" y="241"/>
                  </a:lnTo>
                  <a:lnTo>
                    <a:pt x="1470" y="263"/>
                  </a:lnTo>
                  <a:lnTo>
                    <a:pt x="1457" y="282"/>
                  </a:lnTo>
                  <a:lnTo>
                    <a:pt x="1443" y="300"/>
                  </a:lnTo>
                  <a:lnTo>
                    <a:pt x="1429" y="323"/>
                  </a:lnTo>
                  <a:lnTo>
                    <a:pt x="1416" y="347"/>
                  </a:lnTo>
                  <a:lnTo>
                    <a:pt x="1403" y="367"/>
                  </a:lnTo>
                  <a:lnTo>
                    <a:pt x="1395" y="377"/>
                  </a:lnTo>
                  <a:lnTo>
                    <a:pt x="1386" y="386"/>
                  </a:lnTo>
                  <a:lnTo>
                    <a:pt x="1382" y="389"/>
                  </a:lnTo>
                  <a:lnTo>
                    <a:pt x="1377" y="392"/>
                  </a:lnTo>
                  <a:lnTo>
                    <a:pt x="1371" y="396"/>
                  </a:lnTo>
                  <a:lnTo>
                    <a:pt x="1365" y="399"/>
                  </a:lnTo>
                  <a:lnTo>
                    <a:pt x="1352" y="402"/>
                  </a:lnTo>
                  <a:lnTo>
                    <a:pt x="1341" y="404"/>
                  </a:lnTo>
                  <a:lnTo>
                    <a:pt x="1330" y="405"/>
                  </a:lnTo>
                  <a:lnTo>
                    <a:pt x="1319" y="404"/>
                  </a:lnTo>
                  <a:lnTo>
                    <a:pt x="1298" y="403"/>
                  </a:lnTo>
                  <a:lnTo>
                    <a:pt x="1273" y="401"/>
                  </a:lnTo>
                  <a:lnTo>
                    <a:pt x="1243" y="400"/>
                  </a:lnTo>
                  <a:lnTo>
                    <a:pt x="1216" y="399"/>
                  </a:lnTo>
                  <a:lnTo>
                    <a:pt x="1190" y="397"/>
                  </a:lnTo>
                  <a:lnTo>
                    <a:pt x="1160" y="396"/>
                  </a:lnTo>
                  <a:lnTo>
                    <a:pt x="1120" y="397"/>
                  </a:lnTo>
                  <a:lnTo>
                    <a:pt x="1084" y="397"/>
                  </a:lnTo>
                  <a:lnTo>
                    <a:pt x="1049" y="398"/>
                  </a:lnTo>
                  <a:lnTo>
                    <a:pt x="1010" y="399"/>
                  </a:lnTo>
                  <a:lnTo>
                    <a:pt x="978" y="399"/>
                  </a:lnTo>
                  <a:lnTo>
                    <a:pt x="949" y="400"/>
                  </a:lnTo>
                  <a:lnTo>
                    <a:pt x="923" y="402"/>
                  </a:lnTo>
                  <a:lnTo>
                    <a:pt x="897" y="405"/>
                  </a:lnTo>
                  <a:lnTo>
                    <a:pt x="871" y="411"/>
                  </a:lnTo>
                  <a:lnTo>
                    <a:pt x="845" y="418"/>
                  </a:lnTo>
                  <a:lnTo>
                    <a:pt x="818" y="427"/>
                  </a:lnTo>
                  <a:lnTo>
                    <a:pt x="790" y="438"/>
                  </a:lnTo>
                  <a:lnTo>
                    <a:pt x="771" y="458"/>
                  </a:lnTo>
                  <a:lnTo>
                    <a:pt x="754" y="477"/>
                  </a:lnTo>
                  <a:lnTo>
                    <a:pt x="744" y="485"/>
                  </a:lnTo>
                  <a:lnTo>
                    <a:pt x="734" y="491"/>
                  </a:lnTo>
                  <a:lnTo>
                    <a:pt x="729" y="494"/>
                  </a:lnTo>
                  <a:lnTo>
                    <a:pt x="722" y="495"/>
                  </a:lnTo>
                  <a:lnTo>
                    <a:pt x="716" y="496"/>
                  </a:lnTo>
                  <a:lnTo>
                    <a:pt x="708" y="497"/>
                  </a:lnTo>
                  <a:lnTo>
                    <a:pt x="700" y="496"/>
                  </a:lnTo>
                  <a:lnTo>
                    <a:pt x="692" y="495"/>
                  </a:lnTo>
                  <a:lnTo>
                    <a:pt x="684" y="493"/>
                  </a:lnTo>
                  <a:lnTo>
                    <a:pt x="677" y="491"/>
                  </a:lnTo>
                  <a:lnTo>
                    <a:pt x="663" y="484"/>
                  </a:lnTo>
                  <a:lnTo>
                    <a:pt x="650" y="477"/>
                  </a:lnTo>
                  <a:lnTo>
                    <a:pt x="636" y="470"/>
                  </a:lnTo>
                  <a:lnTo>
                    <a:pt x="623" y="464"/>
                  </a:lnTo>
                  <a:lnTo>
                    <a:pt x="615" y="461"/>
                  </a:lnTo>
                  <a:lnTo>
                    <a:pt x="608" y="459"/>
                  </a:lnTo>
                  <a:lnTo>
                    <a:pt x="599" y="458"/>
                  </a:lnTo>
                  <a:lnTo>
                    <a:pt x="590" y="457"/>
                  </a:lnTo>
                  <a:lnTo>
                    <a:pt x="565" y="457"/>
                  </a:lnTo>
                  <a:lnTo>
                    <a:pt x="542" y="457"/>
                  </a:lnTo>
                  <a:lnTo>
                    <a:pt x="520" y="457"/>
                  </a:lnTo>
                  <a:lnTo>
                    <a:pt x="500" y="457"/>
                  </a:lnTo>
                  <a:lnTo>
                    <a:pt x="479" y="457"/>
                  </a:lnTo>
                  <a:lnTo>
                    <a:pt x="458" y="457"/>
                  </a:lnTo>
                  <a:lnTo>
                    <a:pt x="435" y="457"/>
                  </a:lnTo>
                  <a:lnTo>
                    <a:pt x="409" y="457"/>
                  </a:lnTo>
                  <a:lnTo>
                    <a:pt x="396" y="457"/>
                  </a:lnTo>
                  <a:lnTo>
                    <a:pt x="384" y="456"/>
                  </a:lnTo>
                  <a:lnTo>
                    <a:pt x="372" y="455"/>
                  </a:lnTo>
                  <a:lnTo>
                    <a:pt x="360" y="453"/>
                  </a:lnTo>
                  <a:lnTo>
                    <a:pt x="339" y="448"/>
                  </a:lnTo>
                  <a:lnTo>
                    <a:pt x="318" y="442"/>
                  </a:lnTo>
                  <a:lnTo>
                    <a:pt x="299" y="433"/>
                  </a:lnTo>
                  <a:lnTo>
                    <a:pt x="278" y="425"/>
                  </a:lnTo>
                  <a:lnTo>
                    <a:pt x="256" y="415"/>
                  </a:lnTo>
                  <a:lnTo>
                    <a:pt x="232" y="404"/>
                  </a:lnTo>
                  <a:lnTo>
                    <a:pt x="215" y="396"/>
                  </a:lnTo>
                  <a:lnTo>
                    <a:pt x="199" y="387"/>
                  </a:lnTo>
                  <a:lnTo>
                    <a:pt x="191" y="384"/>
                  </a:lnTo>
                  <a:lnTo>
                    <a:pt x="183" y="381"/>
                  </a:lnTo>
                  <a:lnTo>
                    <a:pt x="175" y="379"/>
                  </a:lnTo>
                  <a:lnTo>
                    <a:pt x="164" y="379"/>
                  </a:lnTo>
                  <a:lnTo>
                    <a:pt x="141" y="379"/>
                  </a:lnTo>
                  <a:lnTo>
                    <a:pt x="121" y="379"/>
                  </a:lnTo>
                  <a:lnTo>
                    <a:pt x="101" y="379"/>
                  </a:lnTo>
                  <a:lnTo>
                    <a:pt x="82" y="379"/>
                  </a:lnTo>
                  <a:lnTo>
                    <a:pt x="63" y="379"/>
                  </a:lnTo>
                  <a:lnTo>
                    <a:pt x="44" y="379"/>
                  </a:lnTo>
                  <a:lnTo>
                    <a:pt x="22" y="379"/>
                  </a:lnTo>
                  <a:lnTo>
                    <a:pt x="0" y="379"/>
                  </a:lnTo>
                  <a:lnTo>
                    <a:pt x="0" y="392"/>
                  </a:lnTo>
                  <a:lnTo>
                    <a:pt x="0" y="404"/>
                  </a:lnTo>
                  <a:lnTo>
                    <a:pt x="0" y="415"/>
                  </a:lnTo>
                  <a:lnTo>
                    <a:pt x="0" y="429"/>
                  </a:lnTo>
                  <a:lnTo>
                    <a:pt x="0" y="438"/>
                  </a:lnTo>
                  <a:lnTo>
                    <a:pt x="1" y="446"/>
                  </a:lnTo>
                  <a:lnTo>
                    <a:pt x="2" y="454"/>
                  </a:lnTo>
                  <a:lnTo>
                    <a:pt x="4" y="461"/>
                  </a:lnTo>
                  <a:lnTo>
                    <a:pt x="6" y="469"/>
                  </a:lnTo>
                  <a:lnTo>
                    <a:pt x="9" y="477"/>
                  </a:lnTo>
                  <a:lnTo>
                    <a:pt x="14" y="484"/>
                  </a:lnTo>
                  <a:lnTo>
                    <a:pt x="19" y="491"/>
                  </a:lnTo>
                  <a:lnTo>
                    <a:pt x="23" y="496"/>
                  </a:lnTo>
                  <a:lnTo>
                    <a:pt x="29" y="500"/>
                  </a:lnTo>
                  <a:lnTo>
                    <a:pt x="33" y="505"/>
                  </a:lnTo>
                  <a:lnTo>
                    <a:pt x="39" y="508"/>
                  </a:lnTo>
                  <a:lnTo>
                    <a:pt x="49" y="511"/>
                  </a:lnTo>
                  <a:lnTo>
                    <a:pt x="62" y="514"/>
                  </a:lnTo>
                  <a:lnTo>
                    <a:pt x="74" y="516"/>
                  </a:lnTo>
                  <a:lnTo>
                    <a:pt x="87" y="518"/>
                  </a:lnTo>
                  <a:lnTo>
                    <a:pt x="101" y="521"/>
                  </a:lnTo>
                  <a:lnTo>
                    <a:pt x="114" y="524"/>
                  </a:lnTo>
                  <a:lnTo>
                    <a:pt x="137" y="534"/>
                  </a:lnTo>
                  <a:lnTo>
                    <a:pt x="156" y="542"/>
                  </a:lnTo>
                  <a:lnTo>
                    <a:pt x="176" y="552"/>
                  </a:lnTo>
                  <a:lnTo>
                    <a:pt x="198" y="561"/>
                  </a:lnTo>
                  <a:lnTo>
                    <a:pt x="206" y="563"/>
                  </a:lnTo>
                  <a:lnTo>
                    <a:pt x="215" y="564"/>
                  </a:lnTo>
                  <a:lnTo>
                    <a:pt x="222" y="564"/>
                  </a:lnTo>
                  <a:lnTo>
                    <a:pt x="229" y="563"/>
                  </a:lnTo>
                  <a:lnTo>
                    <a:pt x="236" y="563"/>
                  </a:lnTo>
                  <a:lnTo>
                    <a:pt x="243" y="564"/>
                  </a:lnTo>
                  <a:lnTo>
                    <a:pt x="249" y="567"/>
                  </a:lnTo>
                  <a:lnTo>
                    <a:pt x="255" y="573"/>
                  </a:lnTo>
                  <a:lnTo>
                    <a:pt x="257" y="576"/>
                  </a:lnTo>
                  <a:lnTo>
                    <a:pt x="259" y="580"/>
                  </a:lnTo>
                  <a:lnTo>
                    <a:pt x="259" y="583"/>
                  </a:lnTo>
                  <a:lnTo>
                    <a:pt x="259" y="588"/>
                  </a:lnTo>
                  <a:lnTo>
                    <a:pt x="258" y="596"/>
                  </a:lnTo>
                  <a:lnTo>
                    <a:pt x="258" y="606"/>
                  </a:lnTo>
                  <a:lnTo>
                    <a:pt x="257" y="623"/>
                  </a:lnTo>
                  <a:lnTo>
                    <a:pt x="255" y="639"/>
                  </a:lnTo>
                  <a:lnTo>
                    <a:pt x="252" y="655"/>
                  </a:lnTo>
                  <a:lnTo>
                    <a:pt x="249" y="669"/>
                  </a:lnTo>
                  <a:lnTo>
                    <a:pt x="239" y="697"/>
                  </a:lnTo>
                  <a:lnTo>
                    <a:pt x="230" y="723"/>
                  </a:lnTo>
                  <a:lnTo>
                    <a:pt x="219" y="750"/>
                  </a:lnTo>
                  <a:lnTo>
                    <a:pt x="210" y="777"/>
                  </a:lnTo>
                  <a:lnTo>
                    <a:pt x="207" y="792"/>
                  </a:lnTo>
                  <a:lnTo>
                    <a:pt x="204" y="807"/>
                  </a:lnTo>
                  <a:lnTo>
                    <a:pt x="202" y="823"/>
                  </a:lnTo>
                  <a:lnTo>
                    <a:pt x="202" y="839"/>
                  </a:lnTo>
                  <a:lnTo>
                    <a:pt x="202" y="873"/>
                  </a:lnTo>
                  <a:lnTo>
                    <a:pt x="202" y="904"/>
                  </a:lnTo>
                  <a:lnTo>
                    <a:pt x="203" y="933"/>
                  </a:lnTo>
                  <a:lnTo>
                    <a:pt x="206" y="963"/>
                  </a:lnTo>
                  <a:lnTo>
                    <a:pt x="209" y="975"/>
                  </a:lnTo>
                  <a:lnTo>
                    <a:pt x="212" y="990"/>
                  </a:lnTo>
                  <a:lnTo>
                    <a:pt x="216" y="1002"/>
                  </a:lnTo>
                  <a:lnTo>
                    <a:pt x="221" y="1017"/>
                  </a:lnTo>
                  <a:lnTo>
                    <a:pt x="228" y="1029"/>
                  </a:lnTo>
                  <a:lnTo>
                    <a:pt x="234" y="1044"/>
                  </a:lnTo>
                  <a:lnTo>
                    <a:pt x="243" y="1058"/>
                  </a:lnTo>
                  <a:lnTo>
                    <a:pt x="251" y="1071"/>
                  </a:lnTo>
                  <a:lnTo>
                    <a:pt x="261" y="1081"/>
                  </a:lnTo>
                  <a:lnTo>
                    <a:pt x="271" y="1090"/>
                  </a:lnTo>
                  <a:lnTo>
                    <a:pt x="280" y="1098"/>
                  </a:lnTo>
                  <a:lnTo>
                    <a:pt x="291" y="1107"/>
                  </a:lnTo>
                  <a:lnTo>
                    <a:pt x="314" y="1130"/>
                  </a:lnTo>
                  <a:lnTo>
                    <a:pt x="334" y="1149"/>
                  </a:lnTo>
                  <a:lnTo>
                    <a:pt x="355" y="1168"/>
                  </a:lnTo>
                  <a:lnTo>
                    <a:pt x="376" y="1184"/>
                  </a:lnTo>
                  <a:lnTo>
                    <a:pt x="397" y="1198"/>
                  </a:lnTo>
                  <a:lnTo>
                    <a:pt x="420" y="1213"/>
                  </a:lnTo>
                  <a:lnTo>
                    <a:pt x="445" y="1227"/>
                  </a:lnTo>
                  <a:lnTo>
                    <a:pt x="473" y="1242"/>
                  </a:lnTo>
                  <a:lnTo>
                    <a:pt x="473" y="124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9">
              <a:extLst>
                <a:ext uri="{FF2B5EF4-FFF2-40B4-BE49-F238E27FC236}">
                  <a16:creationId xmlns:a16="http://schemas.microsoft.com/office/drawing/2014/main" id="{10E722B9-824F-4FF8-9E16-3C743FD06C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551363" y="573088"/>
              <a:ext cx="2201863" cy="2124075"/>
            </a:xfrm>
            <a:custGeom>
              <a:avLst/>
              <a:gdLst>
                <a:gd name="T0" fmla="*/ 3525 w 5546"/>
                <a:gd name="T1" fmla="*/ 1395 h 5352"/>
                <a:gd name="T2" fmla="*/ 3436 w 5546"/>
                <a:gd name="T3" fmla="*/ 1327 h 5352"/>
                <a:gd name="T4" fmla="*/ 3638 w 5546"/>
                <a:gd name="T5" fmla="*/ 1242 h 5352"/>
                <a:gd name="T6" fmla="*/ 3996 w 5546"/>
                <a:gd name="T7" fmla="*/ 1260 h 5352"/>
                <a:gd name="T8" fmla="*/ 4110 w 5546"/>
                <a:gd name="T9" fmla="*/ 1233 h 5352"/>
                <a:gd name="T10" fmla="*/ 3894 w 5546"/>
                <a:gd name="T11" fmla="*/ 1113 h 5352"/>
                <a:gd name="T12" fmla="*/ 3699 w 5546"/>
                <a:gd name="T13" fmla="*/ 1075 h 5352"/>
                <a:gd name="T14" fmla="*/ 3842 w 5546"/>
                <a:gd name="T15" fmla="*/ 1235 h 5352"/>
                <a:gd name="T16" fmla="*/ 5440 w 5546"/>
                <a:gd name="T17" fmla="*/ 2027 h 5352"/>
                <a:gd name="T18" fmla="*/ 5450 w 5546"/>
                <a:gd name="T19" fmla="*/ 2196 h 5352"/>
                <a:gd name="T20" fmla="*/ 5260 w 5546"/>
                <a:gd name="T21" fmla="*/ 2511 h 5352"/>
                <a:gd name="T22" fmla="*/ 5143 w 5546"/>
                <a:gd name="T23" fmla="*/ 2800 h 5352"/>
                <a:gd name="T24" fmla="*/ 4943 w 5546"/>
                <a:gd name="T25" fmla="*/ 3047 h 5352"/>
                <a:gd name="T26" fmla="*/ 4795 w 5546"/>
                <a:gd name="T27" fmla="*/ 3185 h 5352"/>
                <a:gd name="T28" fmla="*/ 4467 w 5546"/>
                <a:gd name="T29" fmla="*/ 3447 h 5352"/>
                <a:gd name="T30" fmla="*/ 4549 w 5546"/>
                <a:gd name="T31" fmla="*/ 3710 h 5352"/>
                <a:gd name="T32" fmla="*/ 4460 w 5546"/>
                <a:gd name="T33" fmla="*/ 3989 h 5352"/>
                <a:gd name="T34" fmla="*/ 4331 w 5546"/>
                <a:gd name="T35" fmla="*/ 4126 h 5352"/>
                <a:gd name="T36" fmla="*/ 4098 w 5546"/>
                <a:gd name="T37" fmla="*/ 4396 h 5352"/>
                <a:gd name="T38" fmla="*/ 4100 w 5546"/>
                <a:gd name="T39" fmla="*/ 4604 h 5352"/>
                <a:gd name="T40" fmla="*/ 4055 w 5546"/>
                <a:gd name="T41" fmla="*/ 4837 h 5352"/>
                <a:gd name="T42" fmla="*/ 3721 w 5546"/>
                <a:gd name="T43" fmla="*/ 5244 h 5352"/>
                <a:gd name="T44" fmla="*/ 1095 w 5546"/>
                <a:gd name="T45" fmla="*/ 4984 h 5352"/>
                <a:gd name="T46" fmla="*/ 828 w 5546"/>
                <a:gd name="T47" fmla="*/ 4708 h 5352"/>
                <a:gd name="T48" fmla="*/ 806 w 5546"/>
                <a:gd name="T49" fmla="*/ 4437 h 5352"/>
                <a:gd name="T50" fmla="*/ 665 w 5546"/>
                <a:gd name="T51" fmla="*/ 4121 h 5352"/>
                <a:gd name="T52" fmla="*/ 734 w 5546"/>
                <a:gd name="T53" fmla="*/ 3869 h 5352"/>
                <a:gd name="T54" fmla="*/ 1038 w 5546"/>
                <a:gd name="T55" fmla="*/ 1940 h 5352"/>
                <a:gd name="T56" fmla="*/ 742 w 5546"/>
                <a:gd name="T57" fmla="*/ 1792 h 5352"/>
                <a:gd name="T58" fmla="*/ 416 w 5546"/>
                <a:gd name="T59" fmla="*/ 1693 h 5352"/>
                <a:gd name="T60" fmla="*/ 257 w 5546"/>
                <a:gd name="T61" fmla="*/ 1475 h 5352"/>
                <a:gd name="T62" fmla="*/ 32 w 5546"/>
                <a:gd name="T63" fmla="*/ 1244 h 5352"/>
                <a:gd name="T64" fmla="*/ 200 w 5546"/>
                <a:gd name="T65" fmla="*/ 584 h 5352"/>
                <a:gd name="T66" fmla="*/ 558 w 5546"/>
                <a:gd name="T67" fmla="*/ 436 h 5352"/>
                <a:gd name="T68" fmla="*/ 838 w 5546"/>
                <a:gd name="T69" fmla="*/ 295 h 5352"/>
                <a:gd name="T70" fmla="*/ 1111 w 5546"/>
                <a:gd name="T71" fmla="*/ 320 h 5352"/>
                <a:gd name="T72" fmla="*/ 1417 w 5546"/>
                <a:gd name="T73" fmla="*/ 306 h 5352"/>
                <a:gd name="T74" fmla="*/ 1331 w 5546"/>
                <a:gd name="T75" fmla="*/ 128 h 5352"/>
                <a:gd name="T76" fmla="*/ 1621 w 5546"/>
                <a:gd name="T77" fmla="*/ 51 h 5352"/>
                <a:gd name="T78" fmla="*/ 1898 w 5546"/>
                <a:gd name="T79" fmla="*/ 64 h 5352"/>
                <a:gd name="T80" fmla="*/ 1961 w 5546"/>
                <a:gd name="T81" fmla="*/ 361 h 5352"/>
                <a:gd name="T82" fmla="*/ 2149 w 5546"/>
                <a:gd name="T83" fmla="*/ 672 h 5352"/>
                <a:gd name="T84" fmla="*/ 2388 w 5546"/>
                <a:gd name="T85" fmla="*/ 837 h 5352"/>
                <a:gd name="T86" fmla="*/ 2642 w 5546"/>
                <a:gd name="T87" fmla="*/ 1223 h 5352"/>
                <a:gd name="T88" fmla="*/ 2815 w 5546"/>
                <a:gd name="T89" fmla="*/ 1469 h 5352"/>
                <a:gd name="T90" fmla="*/ 3018 w 5546"/>
                <a:gd name="T91" fmla="*/ 1656 h 5352"/>
                <a:gd name="T92" fmla="*/ 2960 w 5546"/>
                <a:gd name="T93" fmla="*/ 1805 h 5352"/>
                <a:gd name="T94" fmla="*/ 3183 w 5546"/>
                <a:gd name="T95" fmla="*/ 1787 h 5352"/>
                <a:gd name="T96" fmla="*/ 3424 w 5546"/>
                <a:gd name="T97" fmla="*/ 1642 h 5352"/>
                <a:gd name="T98" fmla="*/ 3527 w 5546"/>
                <a:gd name="T99" fmla="*/ 1635 h 5352"/>
                <a:gd name="T100" fmla="*/ 3680 w 5546"/>
                <a:gd name="T101" fmla="*/ 1385 h 5352"/>
                <a:gd name="T102" fmla="*/ 3992 w 5546"/>
                <a:gd name="T103" fmla="*/ 1359 h 5352"/>
                <a:gd name="T104" fmla="*/ 4367 w 5546"/>
                <a:gd name="T105" fmla="*/ 1339 h 5352"/>
                <a:gd name="T106" fmla="*/ 4494 w 5546"/>
                <a:gd name="T107" fmla="*/ 1477 h 5352"/>
                <a:gd name="T108" fmla="*/ 4316 w 5546"/>
                <a:gd name="T109" fmla="*/ 1850 h 5352"/>
                <a:gd name="T110" fmla="*/ 3756 w 5546"/>
                <a:gd name="T111" fmla="*/ 1920 h 5352"/>
                <a:gd name="T112" fmla="*/ 3756 w 5546"/>
                <a:gd name="T113" fmla="*/ 2009 h 5352"/>
                <a:gd name="T114" fmla="*/ 4074 w 5546"/>
                <a:gd name="T115" fmla="*/ 2271 h 5352"/>
                <a:gd name="T116" fmla="*/ 4362 w 5546"/>
                <a:gd name="T117" fmla="*/ 1892 h 5352"/>
                <a:gd name="T118" fmla="*/ 4559 w 5546"/>
                <a:gd name="T119" fmla="*/ 1859 h 5352"/>
                <a:gd name="T120" fmla="*/ 4636 w 5546"/>
                <a:gd name="T121" fmla="*/ 1618 h 5352"/>
                <a:gd name="T122" fmla="*/ 4973 w 5546"/>
                <a:gd name="T123" fmla="*/ 1569 h 5352"/>
                <a:gd name="T124" fmla="*/ 5385 w 5546"/>
                <a:gd name="T125" fmla="*/ 1676 h 5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46" h="5352">
                  <a:moveTo>
                    <a:pt x="3581" y="1362"/>
                  </a:moveTo>
                  <a:lnTo>
                    <a:pt x="3581" y="1328"/>
                  </a:lnTo>
                  <a:lnTo>
                    <a:pt x="3570" y="1325"/>
                  </a:lnTo>
                  <a:lnTo>
                    <a:pt x="3564" y="1314"/>
                  </a:lnTo>
                  <a:lnTo>
                    <a:pt x="3564" y="1314"/>
                  </a:lnTo>
                  <a:lnTo>
                    <a:pt x="3556" y="1310"/>
                  </a:lnTo>
                  <a:lnTo>
                    <a:pt x="3547" y="1308"/>
                  </a:lnTo>
                  <a:lnTo>
                    <a:pt x="3540" y="1309"/>
                  </a:lnTo>
                  <a:lnTo>
                    <a:pt x="3534" y="1312"/>
                  </a:lnTo>
                  <a:lnTo>
                    <a:pt x="3529" y="1315"/>
                  </a:lnTo>
                  <a:lnTo>
                    <a:pt x="3524" y="1320"/>
                  </a:lnTo>
                  <a:lnTo>
                    <a:pt x="3516" y="1332"/>
                  </a:lnTo>
                  <a:lnTo>
                    <a:pt x="3506" y="1342"/>
                  </a:lnTo>
                  <a:lnTo>
                    <a:pt x="3489" y="1356"/>
                  </a:lnTo>
                  <a:lnTo>
                    <a:pt x="3472" y="1369"/>
                  </a:lnTo>
                  <a:lnTo>
                    <a:pt x="3466" y="1376"/>
                  </a:lnTo>
                  <a:lnTo>
                    <a:pt x="3458" y="1385"/>
                  </a:lnTo>
                  <a:lnTo>
                    <a:pt x="3453" y="1393"/>
                  </a:lnTo>
                  <a:lnTo>
                    <a:pt x="3446" y="1404"/>
                  </a:lnTo>
                  <a:lnTo>
                    <a:pt x="3454" y="1405"/>
                  </a:lnTo>
                  <a:lnTo>
                    <a:pt x="3463" y="1406"/>
                  </a:lnTo>
                  <a:lnTo>
                    <a:pt x="3480" y="1406"/>
                  </a:lnTo>
                  <a:lnTo>
                    <a:pt x="3496" y="1404"/>
                  </a:lnTo>
                  <a:lnTo>
                    <a:pt x="3511" y="1400"/>
                  </a:lnTo>
                  <a:lnTo>
                    <a:pt x="3525" y="1395"/>
                  </a:lnTo>
                  <a:lnTo>
                    <a:pt x="3539" y="1389"/>
                  </a:lnTo>
                  <a:lnTo>
                    <a:pt x="3552" y="1380"/>
                  </a:lnTo>
                  <a:lnTo>
                    <a:pt x="3566" y="1372"/>
                  </a:lnTo>
                  <a:lnTo>
                    <a:pt x="3581" y="1362"/>
                  </a:lnTo>
                  <a:lnTo>
                    <a:pt x="3581" y="1362"/>
                  </a:lnTo>
                  <a:close/>
                  <a:moveTo>
                    <a:pt x="3606" y="1197"/>
                  </a:moveTo>
                  <a:lnTo>
                    <a:pt x="3591" y="1197"/>
                  </a:lnTo>
                  <a:lnTo>
                    <a:pt x="3578" y="1199"/>
                  </a:lnTo>
                  <a:lnTo>
                    <a:pt x="3566" y="1202"/>
                  </a:lnTo>
                  <a:lnTo>
                    <a:pt x="3554" y="1207"/>
                  </a:lnTo>
                  <a:lnTo>
                    <a:pt x="3543" y="1213"/>
                  </a:lnTo>
                  <a:lnTo>
                    <a:pt x="3532" y="1219"/>
                  </a:lnTo>
                  <a:lnTo>
                    <a:pt x="3520" y="1227"/>
                  </a:lnTo>
                  <a:lnTo>
                    <a:pt x="3508" y="1235"/>
                  </a:lnTo>
                  <a:lnTo>
                    <a:pt x="3482" y="1254"/>
                  </a:lnTo>
                  <a:lnTo>
                    <a:pt x="3458" y="1272"/>
                  </a:lnTo>
                  <a:lnTo>
                    <a:pt x="3453" y="1278"/>
                  </a:lnTo>
                  <a:lnTo>
                    <a:pt x="3449" y="1282"/>
                  </a:lnTo>
                  <a:lnTo>
                    <a:pt x="3445" y="1288"/>
                  </a:lnTo>
                  <a:lnTo>
                    <a:pt x="3442" y="1294"/>
                  </a:lnTo>
                  <a:lnTo>
                    <a:pt x="3439" y="1300"/>
                  </a:lnTo>
                  <a:lnTo>
                    <a:pt x="3437" y="1307"/>
                  </a:lnTo>
                  <a:lnTo>
                    <a:pt x="3436" y="1314"/>
                  </a:lnTo>
                  <a:lnTo>
                    <a:pt x="3436" y="1322"/>
                  </a:lnTo>
                  <a:lnTo>
                    <a:pt x="3436" y="1327"/>
                  </a:lnTo>
                  <a:lnTo>
                    <a:pt x="3438" y="1331"/>
                  </a:lnTo>
                  <a:lnTo>
                    <a:pt x="3440" y="1334"/>
                  </a:lnTo>
                  <a:lnTo>
                    <a:pt x="3443" y="1337"/>
                  </a:lnTo>
                  <a:lnTo>
                    <a:pt x="3446" y="1339"/>
                  </a:lnTo>
                  <a:lnTo>
                    <a:pt x="3451" y="1340"/>
                  </a:lnTo>
                  <a:lnTo>
                    <a:pt x="3456" y="1341"/>
                  </a:lnTo>
                  <a:lnTo>
                    <a:pt x="3461" y="1342"/>
                  </a:lnTo>
                  <a:lnTo>
                    <a:pt x="3466" y="1341"/>
                  </a:lnTo>
                  <a:lnTo>
                    <a:pt x="3470" y="1339"/>
                  </a:lnTo>
                  <a:lnTo>
                    <a:pt x="3473" y="1335"/>
                  </a:lnTo>
                  <a:lnTo>
                    <a:pt x="3476" y="1331"/>
                  </a:lnTo>
                  <a:lnTo>
                    <a:pt x="3481" y="1321"/>
                  </a:lnTo>
                  <a:lnTo>
                    <a:pt x="3489" y="1311"/>
                  </a:lnTo>
                  <a:lnTo>
                    <a:pt x="3507" y="1296"/>
                  </a:lnTo>
                  <a:lnTo>
                    <a:pt x="3525" y="1283"/>
                  </a:lnTo>
                  <a:lnTo>
                    <a:pt x="3534" y="1278"/>
                  </a:lnTo>
                  <a:lnTo>
                    <a:pt x="3544" y="1272"/>
                  </a:lnTo>
                  <a:lnTo>
                    <a:pt x="3556" y="1268"/>
                  </a:lnTo>
                  <a:lnTo>
                    <a:pt x="3567" y="1264"/>
                  </a:lnTo>
                  <a:lnTo>
                    <a:pt x="3593" y="1258"/>
                  </a:lnTo>
                  <a:lnTo>
                    <a:pt x="3618" y="1252"/>
                  </a:lnTo>
                  <a:lnTo>
                    <a:pt x="3625" y="1250"/>
                  </a:lnTo>
                  <a:lnTo>
                    <a:pt x="3629" y="1247"/>
                  </a:lnTo>
                  <a:lnTo>
                    <a:pt x="3634" y="1245"/>
                  </a:lnTo>
                  <a:lnTo>
                    <a:pt x="3638" y="1242"/>
                  </a:lnTo>
                  <a:lnTo>
                    <a:pt x="3641" y="1238"/>
                  </a:lnTo>
                  <a:lnTo>
                    <a:pt x="3643" y="1233"/>
                  </a:lnTo>
                  <a:lnTo>
                    <a:pt x="3645" y="1228"/>
                  </a:lnTo>
                  <a:lnTo>
                    <a:pt x="3645" y="1221"/>
                  </a:lnTo>
                  <a:lnTo>
                    <a:pt x="3644" y="1216"/>
                  </a:lnTo>
                  <a:lnTo>
                    <a:pt x="3641" y="1212"/>
                  </a:lnTo>
                  <a:lnTo>
                    <a:pt x="3637" y="1208"/>
                  </a:lnTo>
                  <a:lnTo>
                    <a:pt x="3631" y="1205"/>
                  </a:lnTo>
                  <a:lnTo>
                    <a:pt x="3618" y="1200"/>
                  </a:lnTo>
                  <a:lnTo>
                    <a:pt x="3606" y="1197"/>
                  </a:lnTo>
                  <a:lnTo>
                    <a:pt x="3606" y="1197"/>
                  </a:lnTo>
                  <a:close/>
                  <a:moveTo>
                    <a:pt x="4046" y="1207"/>
                  </a:moveTo>
                  <a:lnTo>
                    <a:pt x="4041" y="1208"/>
                  </a:lnTo>
                  <a:lnTo>
                    <a:pt x="4035" y="1211"/>
                  </a:lnTo>
                  <a:lnTo>
                    <a:pt x="4031" y="1214"/>
                  </a:lnTo>
                  <a:lnTo>
                    <a:pt x="4028" y="1217"/>
                  </a:lnTo>
                  <a:lnTo>
                    <a:pt x="4020" y="1227"/>
                  </a:lnTo>
                  <a:lnTo>
                    <a:pt x="4012" y="1235"/>
                  </a:lnTo>
                  <a:lnTo>
                    <a:pt x="4007" y="1240"/>
                  </a:lnTo>
                  <a:lnTo>
                    <a:pt x="4002" y="1244"/>
                  </a:lnTo>
                  <a:lnTo>
                    <a:pt x="3999" y="1246"/>
                  </a:lnTo>
                  <a:lnTo>
                    <a:pt x="3997" y="1248"/>
                  </a:lnTo>
                  <a:lnTo>
                    <a:pt x="3996" y="1252"/>
                  </a:lnTo>
                  <a:lnTo>
                    <a:pt x="3996" y="1255"/>
                  </a:lnTo>
                  <a:lnTo>
                    <a:pt x="3996" y="1260"/>
                  </a:lnTo>
                  <a:lnTo>
                    <a:pt x="3997" y="1265"/>
                  </a:lnTo>
                  <a:lnTo>
                    <a:pt x="3998" y="1269"/>
                  </a:lnTo>
                  <a:lnTo>
                    <a:pt x="4001" y="1273"/>
                  </a:lnTo>
                  <a:lnTo>
                    <a:pt x="4005" y="1281"/>
                  </a:lnTo>
                  <a:lnTo>
                    <a:pt x="4011" y="1287"/>
                  </a:lnTo>
                  <a:lnTo>
                    <a:pt x="4019" y="1293"/>
                  </a:lnTo>
                  <a:lnTo>
                    <a:pt x="4028" y="1297"/>
                  </a:lnTo>
                  <a:lnTo>
                    <a:pt x="4036" y="1299"/>
                  </a:lnTo>
                  <a:lnTo>
                    <a:pt x="4046" y="1300"/>
                  </a:lnTo>
                  <a:lnTo>
                    <a:pt x="4053" y="1299"/>
                  </a:lnTo>
                  <a:lnTo>
                    <a:pt x="4059" y="1297"/>
                  </a:lnTo>
                  <a:lnTo>
                    <a:pt x="4064" y="1295"/>
                  </a:lnTo>
                  <a:lnTo>
                    <a:pt x="4070" y="1292"/>
                  </a:lnTo>
                  <a:lnTo>
                    <a:pt x="4079" y="1284"/>
                  </a:lnTo>
                  <a:lnTo>
                    <a:pt x="4091" y="1278"/>
                  </a:lnTo>
                  <a:lnTo>
                    <a:pt x="4100" y="1274"/>
                  </a:lnTo>
                  <a:lnTo>
                    <a:pt x="4109" y="1269"/>
                  </a:lnTo>
                  <a:lnTo>
                    <a:pt x="4112" y="1267"/>
                  </a:lnTo>
                  <a:lnTo>
                    <a:pt x="4114" y="1264"/>
                  </a:lnTo>
                  <a:lnTo>
                    <a:pt x="4116" y="1259"/>
                  </a:lnTo>
                  <a:lnTo>
                    <a:pt x="4116" y="1255"/>
                  </a:lnTo>
                  <a:lnTo>
                    <a:pt x="4116" y="1250"/>
                  </a:lnTo>
                  <a:lnTo>
                    <a:pt x="4115" y="1244"/>
                  </a:lnTo>
                  <a:lnTo>
                    <a:pt x="4113" y="1239"/>
                  </a:lnTo>
                  <a:lnTo>
                    <a:pt x="4110" y="1233"/>
                  </a:lnTo>
                  <a:lnTo>
                    <a:pt x="4106" y="1229"/>
                  </a:lnTo>
                  <a:lnTo>
                    <a:pt x="4103" y="1226"/>
                  </a:lnTo>
                  <a:lnTo>
                    <a:pt x="4099" y="1223"/>
                  </a:lnTo>
                  <a:lnTo>
                    <a:pt x="4093" y="1219"/>
                  </a:lnTo>
                  <a:lnTo>
                    <a:pt x="4083" y="1214"/>
                  </a:lnTo>
                  <a:lnTo>
                    <a:pt x="4071" y="1211"/>
                  </a:lnTo>
                  <a:lnTo>
                    <a:pt x="4059" y="1208"/>
                  </a:lnTo>
                  <a:lnTo>
                    <a:pt x="4046" y="1207"/>
                  </a:lnTo>
                  <a:lnTo>
                    <a:pt x="4046" y="1207"/>
                  </a:lnTo>
                  <a:close/>
                  <a:moveTo>
                    <a:pt x="3950" y="1253"/>
                  </a:moveTo>
                  <a:lnTo>
                    <a:pt x="3950" y="1235"/>
                  </a:lnTo>
                  <a:lnTo>
                    <a:pt x="3950" y="1219"/>
                  </a:lnTo>
                  <a:lnTo>
                    <a:pt x="3950" y="1204"/>
                  </a:lnTo>
                  <a:lnTo>
                    <a:pt x="3950" y="1187"/>
                  </a:lnTo>
                  <a:lnTo>
                    <a:pt x="3951" y="1173"/>
                  </a:lnTo>
                  <a:lnTo>
                    <a:pt x="3951" y="1159"/>
                  </a:lnTo>
                  <a:lnTo>
                    <a:pt x="3951" y="1152"/>
                  </a:lnTo>
                  <a:lnTo>
                    <a:pt x="3950" y="1146"/>
                  </a:lnTo>
                  <a:lnTo>
                    <a:pt x="3947" y="1140"/>
                  </a:lnTo>
                  <a:lnTo>
                    <a:pt x="3942" y="1135"/>
                  </a:lnTo>
                  <a:lnTo>
                    <a:pt x="3935" y="1129"/>
                  </a:lnTo>
                  <a:lnTo>
                    <a:pt x="3927" y="1123"/>
                  </a:lnTo>
                  <a:lnTo>
                    <a:pt x="3920" y="1120"/>
                  </a:lnTo>
                  <a:lnTo>
                    <a:pt x="3911" y="1118"/>
                  </a:lnTo>
                  <a:lnTo>
                    <a:pt x="3894" y="1113"/>
                  </a:lnTo>
                  <a:lnTo>
                    <a:pt x="3875" y="1107"/>
                  </a:lnTo>
                  <a:lnTo>
                    <a:pt x="3863" y="1100"/>
                  </a:lnTo>
                  <a:lnTo>
                    <a:pt x="3854" y="1093"/>
                  </a:lnTo>
                  <a:lnTo>
                    <a:pt x="3843" y="1084"/>
                  </a:lnTo>
                  <a:lnTo>
                    <a:pt x="3833" y="1076"/>
                  </a:lnTo>
                  <a:lnTo>
                    <a:pt x="3823" y="1067"/>
                  </a:lnTo>
                  <a:lnTo>
                    <a:pt x="3814" y="1059"/>
                  </a:lnTo>
                  <a:lnTo>
                    <a:pt x="3803" y="1052"/>
                  </a:lnTo>
                  <a:lnTo>
                    <a:pt x="3791" y="1045"/>
                  </a:lnTo>
                  <a:lnTo>
                    <a:pt x="3791" y="1045"/>
                  </a:lnTo>
                  <a:lnTo>
                    <a:pt x="3780" y="1037"/>
                  </a:lnTo>
                  <a:lnTo>
                    <a:pt x="3771" y="1028"/>
                  </a:lnTo>
                  <a:lnTo>
                    <a:pt x="3765" y="1025"/>
                  </a:lnTo>
                  <a:lnTo>
                    <a:pt x="3760" y="1022"/>
                  </a:lnTo>
                  <a:lnTo>
                    <a:pt x="3753" y="1021"/>
                  </a:lnTo>
                  <a:lnTo>
                    <a:pt x="3747" y="1019"/>
                  </a:lnTo>
                  <a:lnTo>
                    <a:pt x="3741" y="1021"/>
                  </a:lnTo>
                  <a:lnTo>
                    <a:pt x="3737" y="1023"/>
                  </a:lnTo>
                  <a:lnTo>
                    <a:pt x="3734" y="1026"/>
                  </a:lnTo>
                  <a:lnTo>
                    <a:pt x="3732" y="1030"/>
                  </a:lnTo>
                  <a:lnTo>
                    <a:pt x="3726" y="1040"/>
                  </a:lnTo>
                  <a:lnTo>
                    <a:pt x="3721" y="1051"/>
                  </a:lnTo>
                  <a:lnTo>
                    <a:pt x="3712" y="1062"/>
                  </a:lnTo>
                  <a:lnTo>
                    <a:pt x="3704" y="1070"/>
                  </a:lnTo>
                  <a:lnTo>
                    <a:pt x="3699" y="1075"/>
                  </a:lnTo>
                  <a:lnTo>
                    <a:pt x="3696" y="1080"/>
                  </a:lnTo>
                  <a:lnTo>
                    <a:pt x="3694" y="1085"/>
                  </a:lnTo>
                  <a:lnTo>
                    <a:pt x="3693" y="1093"/>
                  </a:lnTo>
                  <a:lnTo>
                    <a:pt x="3694" y="1102"/>
                  </a:lnTo>
                  <a:lnTo>
                    <a:pt x="3697" y="1108"/>
                  </a:lnTo>
                  <a:lnTo>
                    <a:pt x="3700" y="1116"/>
                  </a:lnTo>
                  <a:lnTo>
                    <a:pt x="3706" y="1121"/>
                  </a:lnTo>
                  <a:lnTo>
                    <a:pt x="3710" y="1127"/>
                  </a:lnTo>
                  <a:lnTo>
                    <a:pt x="3715" y="1134"/>
                  </a:lnTo>
                  <a:lnTo>
                    <a:pt x="3720" y="1140"/>
                  </a:lnTo>
                  <a:lnTo>
                    <a:pt x="3724" y="1149"/>
                  </a:lnTo>
                  <a:lnTo>
                    <a:pt x="3729" y="1166"/>
                  </a:lnTo>
                  <a:lnTo>
                    <a:pt x="3734" y="1184"/>
                  </a:lnTo>
                  <a:lnTo>
                    <a:pt x="3737" y="1191"/>
                  </a:lnTo>
                  <a:lnTo>
                    <a:pt x="3740" y="1199"/>
                  </a:lnTo>
                  <a:lnTo>
                    <a:pt x="3746" y="1206"/>
                  </a:lnTo>
                  <a:lnTo>
                    <a:pt x="3752" y="1213"/>
                  </a:lnTo>
                  <a:lnTo>
                    <a:pt x="3756" y="1217"/>
                  </a:lnTo>
                  <a:lnTo>
                    <a:pt x="3762" y="1220"/>
                  </a:lnTo>
                  <a:lnTo>
                    <a:pt x="3767" y="1224"/>
                  </a:lnTo>
                  <a:lnTo>
                    <a:pt x="3772" y="1226"/>
                  </a:lnTo>
                  <a:lnTo>
                    <a:pt x="3782" y="1229"/>
                  </a:lnTo>
                  <a:lnTo>
                    <a:pt x="3793" y="1231"/>
                  </a:lnTo>
                  <a:lnTo>
                    <a:pt x="3817" y="1232"/>
                  </a:lnTo>
                  <a:lnTo>
                    <a:pt x="3842" y="1235"/>
                  </a:lnTo>
                  <a:lnTo>
                    <a:pt x="3866" y="1241"/>
                  </a:lnTo>
                  <a:lnTo>
                    <a:pt x="3886" y="1246"/>
                  </a:lnTo>
                  <a:lnTo>
                    <a:pt x="3907" y="1251"/>
                  </a:lnTo>
                  <a:lnTo>
                    <a:pt x="3931" y="1255"/>
                  </a:lnTo>
                  <a:lnTo>
                    <a:pt x="3950" y="1253"/>
                  </a:lnTo>
                  <a:close/>
                  <a:moveTo>
                    <a:pt x="3931" y="1255"/>
                  </a:moveTo>
                  <a:lnTo>
                    <a:pt x="3950" y="1253"/>
                  </a:lnTo>
                  <a:lnTo>
                    <a:pt x="3931" y="1255"/>
                  </a:lnTo>
                  <a:close/>
                  <a:moveTo>
                    <a:pt x="5546" y="1760"/>
                  </a:moveTo>
                  <a:lnTo>
                    <a:pt x="5538" y="1788"/>
                  </a:lnTo>
                  <a:lnTo>
                    <a:pt x="5530" y="1813"/>
                  </a:lnTo>
                  <a:lnTo>
                    <a:pt x="5525" y="1837"/>
                  </a:lnTo>
                  <a:lnTo>
                    <a:pt x="5518" y="1861"/>
                  </a:lnTo>
                  <a:lnTo>
                    <a:pt x="5513" y="1883"/>
                  </a:lnTo>
                  <a:lnTo>
                    <a:pt x="5505" y="1907"/>
                  </a:lnTo>
                  <a:lnTo>
                    <a:pt x="5498" y="1932"/>
                  </a:lnTo>
                  <a:lnTo>
                    <a:pt x="5487" y="1958"/>
                  </a:lnTo>
                  <a:lnTo>
                    <a:pt x="5481" y="1970"/>
                  </a:lnTo>
                  <a:lnTo>
                    <a:pt x="5474" y="1981"/>
                  </a:lnTo>
                  <a:lnTo>
                    <a:pt x="5466" y="1989"/>
                  </a:lnTo>
                  <a:lnTo>
                    <a:pt x="5458" y="1998"/>
                  </a:lnTo>
                  <a:lnTo>
                    <a:pt x="5451" y="2007"/>
                  </a:lnTo>
                  <a:lnTo>
                    <a:pt x="5445" y="2016"/>
                  </a:lnTo>
                  <a:lnTo>
                    <a:pt x="5442" y="2022"/>
                  </a:lnTo>
                  <a:lnTo>
                    <a:pt x="5440" y="2027"/>
                  </a:lnTo>
                  <a:lnTo>
                    <a:pt x="5439" y="2034"/>
                  </a:lnTo>
                  <a:lnTo>
                    <a:pt x="5439" y="2040"/>
                  </a:lnTo>
                  <a:lnTo>
                    <a:pt x="5439" y="2043"/>
                  </a:lnTo>
                  <a:lnTo>
                    <a:pt x="5440" y="2047"/>
                  </a:lnTo>
                  <a:lnTo>
                    <a:pt x="5441" y="2050"/>
                  </a:lnTo>
                  <a:lnTo>
                    <a:pt x="5444" y="2053"/>
                  </a:lnTo>
                  <a:lnTo>
                    <a:pt x="5448" y="2057"/>
                  </a:lnTo>
                  <a:lnTo>
                    <a:pt x="5453" y="2062"/>
                  </a:lnTo>
                  <a:lnTo>
                    <a:pt x="5459" y="2066"/>
                  </a:lnTo>
                  <a:lnTo>
                    <a:pt x="5464" y="2070"/>
                  </a:lnTo>
                  <a:lnTo>
                    <a:pt x="5469" y="2076"/>
                  </a:lnTo>
                  <a:lnTo>
                    <a:pt x="5473" y="2082"/>
                  </a:lnTo>
                  <a:lnTo>
                    <a:pt x="5475" y="2088"/>
                  </a:lnTo>
                  <a:lnTo>
                    <a:pt x="5476" y="2094"/>
                  </a:lnTo>
                  <a:lnTo>
                    <a:pt x="5477" y="2099"/>
                  </a:lnTo>
                  <a:lnTo>
                    <a:pt x="5477" y="2105"/>
                  </a:lnTo>
                  <a:lnTo>
                    <a:pt x="5476" y="2117"/>
                  </a:lnTo>
                  <a:lnTo>
                    <a:pt x="5476" y="2130"/>
                  </a:lnTo>
                  <a:lnTo>
                    <a:pt x="5475" y="2138"/>
                  </a:lnTo>
                  <a:lnTo>
                    <a:pt x="5475" y="2146"/>
                  </a:lnTo>
                  <a:lnTo>
                    <a:pt x="5473" y="2152"/>
                  </a:lnTo>
                  <a:lnTo>
                    <a:pt x="5471" y="2160"/>
                  </a:lnTo>
                  <a:lnTo>
                    <a:pt x="5465" y="2173"/>
                  </a:lnTo>
                  <a:lnTo>
                    <a:pt x="5458" y="2185"/>
                  </a:lnTo>
                  <a:lnTo>
                    <a:pt x="5450" y="2196"/>
                  </a:lnTo>
                  <a:lnTo>
                    <a:pt x="5441" y="2209"/>
                  </a:lnTo>
                  <a:lnTo>
                    <a:pt x="5433" y="2222"/>
                  </a:lnTo>
                  <a:lnTo>
                    <a:pt x="5425" y="2236"/>
                  </a:lnTo>
                  <a:lnTo>
                    <a:pt x="5417" y="2258"/>
                  </a:lnTo>
                  <a:lnTo>
                    <a:pt x="5409" y="2280"/>
                  </a:lnTo>
                  <a:lnTo>
                    <a:pt x="5402" y="2299"/>
                  </a:lnTo>
                  <a:lnTo>
                    <a:pt x="5397" y="2319"/>
                  </a:lnTo>
                  <a:lnTo>
                    <a:pt x="5391" y="2338"/>
                  </a:lnTo>
                  <a:lnTo>
                    <a:pt x="5383" y="2358"/>
                  </a:lnTo>
                  <a:lnTo>
                    <a:pt x="5373" y="2378"/>
                  </a:lnTo>
                  <a:lnTo>
                    <a:pt x="5360" y="2399"/>
                  </a:lnTo>
                  <a:lnTo>
                    <a:pt x="5353" y="2408"/>
                  </a:lnTo>
                  <a:lnTo>
                    <a:pt x="5345" y="2415"/>
                  </a:lnTo>
                  <a:lnTo>
                    <a:pt x="5336" y="2421"/>
                  </a:lnTo>
                  <a:lnTo>
                    <a:pt x="5326" y="2426"/>
                  </a:lnTo>
                  <a:lnTo>
                    <a:pt x="5316" y="2431"/>
                  </a:lnTo>
                  <a:lnTo>
                    <a:pt x="5305" y="2435"/>
                  </a:lnTo>
                  <a:lnTo>
                    <a:pt x="5296" y="2442"/>
                  </a:lnTo>
                  <a:lnTo>
                    <a:pt x="5285" y="2449"/>
                  </a:lnTo>
                  <a:lnTo>
                    <a:pt x="5279" y="2455"/>
                  </a:lnTo>
                  <a:lnTo>
                    <a:pt x="5274" y="2462"/>
                  </a:lnTo>
                  <a:lnTo>
                    <a:pt x="5272" y="2470"/>
                  </a:lnTo>
                  <a:lnTo>
                    <a:pt x="5270" y="2477"/>
                  </a:lnTo>
                  <a:lnTo>
                    <a:pt x="5265" y="2494"/>
                  </a:lnTo>
                  <a:lnTo>
                    <a:pt x="5260" y="2511"/>
                  </a:lnTo>
                  <a:lnTo>
                    <a:pt x="5250" y="2533"/>
                  </a:lnTo>
                  <a:lnTo>
                    <a:pt x="5242" y="2552"/>
                  </a:lnTo>
                  <a:lnTo>
                    <a:pt x="5234" y="2571"/>
                  </a:lnTo>
                  <a:lnTo>
                    <a:pt x="5226" y="2595"/>
                  </a:lnTo>
                  <a:lnTo>
                    <a:pt x="5220" y="2614"/>
                  </a:lnTo>
                  <a:lnTo>
                    <a:pt x="5216" y="2630"/>
                  </a:lnTo>
                  <a:lnTo>
                    <a:pt x="5210" y="2646"/>
                  </a:lnTo>
                  <a:lnTo>
                    <a:pt x="5204" y="2664"/>
                  </a:lnTo>
                  <a:lnTo>
                    <a:pt x="5201" y="2672"/>
                  </a:lnTo>
                  <a:lnTo>
                    <a:pt x="5196" y="2677"/>
                  </a:lnTo>
                  <a:lnTo>
                    <a:pt x="5192" y="2683"/>
                  </a:lnTo>
                  <a:lnTo>
                    <a:pt x="5188" y="2688"/>
                  </a:lnTo>
                  <a:lnTo>
                    <a:pt x="5183" y="2693"/>
                  </a:lnTo>
                  <a:lnTo>
                    <a:pt x="5179" y="2699"/>
                  </a:lnTo>
                  <a:lnTo>
                    <a:pt x="5177" y="2705"/>
                  </a:lnTo>
                  <a:lnTo>
                    <a:pt x="5176" y="2712"/>
                  </a:lnTo>
                  <a:lnTo>
                    <a:pt x="5179" y="2728"/>
                  </a:lnTo>
                  <a:lnTo>
                    <a:pt x="5181" y="2744"/>
                  </a:lnTo>
                  <a:lnTo>
                    <a:pt x="5181" y="2751"/>
                  </a:lnTo>
                  <a:lnTo>
                    <a:pt x="5180" y="2757"/>
                  </a:lnTo>
                  <a:lnTo>
                    <a:pt x="5178" y="2763"/>
                  </a:lnTo>
                  <a:lnTo>
                    <a:pt x="5176" y="2767"/>
                  </a:lnTo>
                  <a:lnTo>
                    <a:pt x="5169" y="2777"/>
                  </a:lnTo>
                  <a:lnTo>
                    <a:pt x="5162" y="2785"/>
                  </a:lnTo>
                  <a:lnTo>
                    <a:pt x="5143" y="2800"/>
                  </a:lnTo>
                  <a:lnTo>
                    <a:pt x="5125" y="2819"/>
                  </a:lnTo>
                  <a:lnTo>
                    <a:pt x="5114" y="2834"/>
                  </a:lnTo>
                  <a:lnTo>
                    <a:pt x="5105" y="2848"/>
                  </a:lnTo>
                  <a:lnTo>
                    <a:pt x="5098" y="2863"/>
                  </a:lnTo>
                  <a:lnTo>
                    <a:pt x="5089" y="2880"/>
                  </a:lnTo>
                  <a:lnTo>
                    <a:pt x="5074" y="2916"/>
                  </a:lnTo>
                  <a:lnTo>
                    <a:pt x="5063" y="2949"/>
                  </a:lnTo>
                  <a:lnTo>
                    <a:pt x="5060" y="2957"/>
                  </a:lnTo>
                  <a:lnTo>
                    <a:pt x="5057" y="2965"/>
                  </a:lnTo>
                  <a:lnTo>
                    <a:pt x="5053" y="2972"/>
                  </a:lnTo>
                  <a:lnTo>
                    <a:pt x="5048" y="2979"/>
                  </a:lnTo>
                  <a:lnTo>
                    <a:pt x="5043" y="2986"/>
                  </a:lnTo>
                  <a:lnTo>
                    <a:pt x="5036" y="2993"/>
                  </a:lnTo>
                  <a:lnTo>
                    <a:pt x="5030" y="2998"/>
                  </a:lnTo>
                  <a:lnTo>
                    <a:pt x="5021" y="3003"/>
                  </a:lnTo>
                  <a:lnTo>
                    <a:pt x="5016" y="3007"/>
                  </a:lnTo>
                  <a:lnTo>
                    <a:pt x="5010" y="3009"/>
                  </a:lnTo>
                  <a:lnTo>
                    <a:pt x="5005" y="3011"/>
                  </a:lnTo>
                  <a:lnTo>
                    <a:pt x="5000" y="3012"/>
                  </a:lnTo>
                  <a:lnTo>
                    <a:pt x="4989" y="3014"/>
                  </a:lnTo>
                  <a:lnTo>
                    <a:pt x="4977" y="3017"/>
                  </a:lnTo>
                  <a:lnTo>
                    <a:pt x="4966" y="3024"/>
                  </a:lnTo>
                  <a:lnTo>
                    <a:pt x="4958" y="3032"/>
                  </a:lnTo>
                  <a:lnTo>
                    <a:pt x="4950" y="3039"/>
                  </a:lnTo>
                  <a:lnTo>
                    <a:pt x="4943" y="3047"/>
                  </a:lnTo>
                  <a:lnTo>
                    <a:pt x="4938" y="3055"/>
                  </a:lnTo>
                  <a:lnTo>
                    <a:pt x="4932" y="3064"/>
                  </a:lnTo>
                  <a:lnTo>
                    <a:pt x="4924" y="3074"/>
                  </a:lnTo>
                  <a:lnTo>
                    <a:pt x="4915" y="3082"/>
                  </a:lnTo>
                  <a:lnTo>
                    <a:pt x="4911" y="3087"/>
                  </a:lnTo>
                  <a:lnTo>
                    <a:pt x="4909" y="3091"/>
                  </a:lnTo>
                  <a:lnTo>
                    <a:pt x="4907" y="3095"/>
                  </a:lnTo>
                  <a:lnTo>
                    <a:pt x="4905" y="3100"/>
                  </a:lnTo>
                  <a:lnTo>
                    <a:pt x="4901" y="3109"/>
                  </a:lnTo>
                  <a:lnTo>
                    <a:pt x="4896" y="3119"/>
                  </a:lnTo>
                  <a:lnTo>
                    <a:pt x="4888" y="3127"/>
                  </a:lnTo>
                  <a:lnTo>
                    <a:pt x="4881" y="3134"/>
                  </a:lnTo>
                  <a:lnTo>
                    <a:pt x="4874" y="3141"/>
                  </a:lnTo>
                  <a:lnTo>
                    <a:pt x="4867" y="3146"/>
                  </a:lnTo>
                  <a:lnTo>
                    <a:pt x="4859" y="3151"/>
                  </a:lnTo>
                  <a:lnTo>
                    <a:pt x="4851" y="3156"/>
                  </a:lnTo>
                  <a:lnTo>
                    <a:pt x="4842" y="3160"/>
                  </a:lnTo>
                  <a:lnTo>
                    <a:pt x="4831" y="3163"/>
                  </a:lnTo>
                  <a:lnTo>
                    <a:pt x="4825" y="3165"/>
                  </a:lnTo>
                  <a:lnTo>
                    <a:pt x="4819" y="3169"/>
                  </a:lnTo>
                  <a:lnTo>
                    <a:pt x="4815" y="3173"/>
                  </a:lnTo>
                  <a:lnTo>
                    <a:pt x="4811" y="3176"/>
                  </a:lnTo>
                  <a:lnTo>
                    <a:pt x="4806" y="3181"/>
                  </a:lnTo>
                  <a:lnTo>
                    <a:pt x="4801" y="3183"/>
                  </a:lnTo>
                  <a:lnTo>
                    <a:pt x="4795" y="3185"/>
                  </a:lnTo>
                  <a:lnTo>
                    <a:pt x="4789" y="3186"/>
                  </a:lnTo>
                  <a:lnTo>
                    <a:pt x="4780" y="3185"/>
                  </a:lnTo>
                  <a:lnTo>
                    <a:pt x="4772" y="3183"/>
                  </a:lnTo>
                  <a:lnTo>
                    <a:pt x="4764" y="3182"/>
                  </a:lnTo>
                  <a:lnTo>
                    <a:pt x="4756" y="3181"/>
                  </a:lnTo>
                  <a:lnTo>
                    <a:pt x="4736" y="3182"/>
                  </a:lnTo>
                  <a:lnTo>
                    <a:pt x="4718" y="3184"/>
                  </a:lnTo>
                  <a:lnTo>
                    <a:pt x="4700" y="3187"/>
                  </a:lnTo>
                  <a:lnTo>
                    <a:pt x="4684" y="3192"/>
                  </a:lnTo>
                  <a:lnTo>
                    <a:pt x="4669" y="3198"/>
                  </a:lnTo>
                  <a:lnTo>
                    <a:pt x="4654" y="3205"/>
                  </a:lnTo>
                  <a:lnTo>
                    <a:pt x="4640" y="3214"/>
                  </a:lnTo>
                  <a:lnTo>
                    <a:pt x="4626" y="3225"/>
                  </a:lnTo>
                  <a:lnTo>
                    <a:pt x="4613" y="3236"/>
                  </a:lnTo>
                  <a:lnTo>
                    <a:pt x="4601" y="3246"/>
                  </a:lnTo>
                  <a:lnTo>
                    <a:pt x="4589" y="3259"/>
                  </a:lnTo>
                  <a:lnTo>
                    <a:pt x="4577" y="3273"/>
                  </a:lnTo>
                  <a:lnTo>
                    <a:pt x="4567" y="3287"/>
                  </a:lnTo>
                  <a:lnTo>
                    <a:pt x="4556" y="3303"/>
                  </a:lnTo>
                  <a:lnTo>
                    <a:pt x="4545" y="3318"/>
                  </a:lnTo>
                  <a:lnTo>
                    <a:pt x="4534" y="3335"/>
                  </a:lnTo>
                  <a:lnTo>
                    <a:pt x="4508" y="3374"/>
                  </a:lnTo>
                  <a:lnTo>
                    <a:pt x="4487" y="3410"/>
                  </a:lnTo>
                  <a:lnTo>
                    <a:pt x="4477" y="3428"/>
                  </a:lnTo>
                  <a:lnTo>
                    <a:pt x="4467" y="3447"/>
                  </a:lnTo>
                  <a:lnTo>
                    <a:pt x="4459" y="3468"/>
                  </a:lnTo>
                  <a:lnTo>
                    <a:pt x="4450" y="3492"/>
                  </a:lnTo>
                  <a:lnTo>
                    <a:pt x="4450" y="3492"/>
                  </a:lnTo>
                  <a:lnTo>
                    <a:pt x="4446" y="3506"/>
                  </a:lnTo>
                  <a:lnTo>
                    <a:pt x="4441" y="3520"/>
                  </a:lnTo>
                  <a:lnTo>
                    <a:pt x="4442" y="3527"/>
                  </a:lnTo>
                  <a:lnTo>
                    <a:pt x="4446" y="3533"/>
                  </a:lnTo>
                  <a:lnTo>
                    <a:pt x="4450" y="3537"/>
                  </a:lnTo>
                  <a:lnTo>
                    <a:pt x="4455" y="3541"/>
                  </a:lnTo>
                  <a:lnTo>
                    <a:pt x="4467" y="3549"/>
                  </a:lnTo>
                  <a:lnTo>
                    <a:pt x="4478" y="3559"/>
                  </a:lnTo>
                  <a:lnTo>
                    <a:pt x="4506" y="3591"/>
                  </a:lnTo>
                  <a:lnTo>
                    <a:pt x="4530" y="3622"/>
                  </a:lnTo>
                  <a:lnTo>
                    <a:pt x="4535" y="3630"/>
                  </a:lnTo>
                  <a:lnTo>
                    <a:pt x="4540" y="3638"/>
                  </a:lnTo>
                  <a:lnTo>
                    <a:pt x="4544" y="3646"/>
                  </a:lnTo>
                  <a:lnTo>
                    <a:pt x="4547" y="3656"/>
                  </a:lnTo>
                  <a:lnTo>
                    <a:pt x="4550" y="3664"/>
                  </a:lnTo>
                  <a:lnTo>
                    <a:pt x="4552" y="3674"/>
                  </a:lnTo>
                  <a:lnTo>
                    <a:pt x="4554" y="3685"/>
                  </a:lnTo>
                  <a:lnTo>
                    <a:pt x="4554" y="3696"/>
                  </a:lnTo>
                  <a:lnTo>
                    <a:pt x="4554" y="3700"/>
                  </a:lnTo>
                  <a:lnTo>
                    <a:pt x="4552" y="3704"/>
                  </a:lnTo>
                  <a:lnTo>
                    <a:pt x="4551" y="3708"/>
                  </a:lnTo>
                  <a:lnTo>
                    <a:pt x="4549" y="3710"/>
                  </a:lnTo>
                  <a:lnTo>
                    <a:pt x="4544" y="3715"/>
                  </a:lnTo>
                  <a:lnTo>
                    <a:pt x="4538" y="3721"/>
                  </a:lnTo>
                  <a:lnTo>
                    <a:pt x="4532" y="3725"/>
                  </a:lnTo>
                  <a:lnTo>
                    <a:pt x="4527" y="3730"/>
                  </a:lnTo>
                  <a:lnTo>
                    <a:pt x="4521" y="3737"/>
                  </a:lnTo>
                  <a:lnTo>
                    <a:pt x="4517" y="3743"/>
                  </a:lnTo>
                  <a:lnTo>
                    <a:pt x="4514" y="3754"/>
                  </a:lnTo>
                  <a:lnTo>
                    <a:pt x="4513" y="3764"/>
                  </a:lnTo>
                  <a:lnTo>
                    <a:pt x="4511" y="3773"/>
                  </a:lnTo>
                  <a:lnTo>
                    <a:pt x="4510" y="3782"/>
                  </a:lnTo>
                  <a:lnTo>
                    <a:pt x="4510" y="3802"/>
                  </a:lnTo>
                  <a:lnTo>
                    <a:pt x="4509" y="3822"/>
                  </a:lnTo>
                  <a:lnTo>
                    <a:pt x="4507" y="3832"/>
                  </a:lnTo>
                  <a:lnTo>
                    <a:pt x="4504" y="3842"/>
                  </a:lnTo>
                  <a:lnTo>
                    <a:pt x="4501" y="3849"/>
                  </a:lnTo>
                  <a:lnTo>
                    <a:pt x="4496" y="3858"/>
                  </a:lnTo>
                  <a:lnTo>
                    <a:pt x="4493" y="3865"/>
                  </a:lnTo>
                  <a:lnTo>
                    <a:pt x="4489" y="3874"/>
                  </a:lnTo>
                  <a:lnTo>
                    <a:pt x="4487" y="3883"/>
                  </a:lnTo>
                  <a:lnTo>
                    <a:pt x="4483" y="3892"/>
                  </a:lnTo>
                  <a:lnTo>
                    <a:pt x="4478" y="3923"/>
                  </a:lnTo>
                  <a:lnTo>
                    <a:pt x="4473" y="3950"/>
                  </a:lnTo>
                  <a:lnTo>
                    <a:pt x="4469" y="3962"/>
                  </a:lnTo>
                  <a:lnTo>
                    <a:pt x="4465" y="3977"/>
                  </a:lnTo>
                  <a:lnTo>
                    <a:pt x="4460" y="3989"/>
                  </a:lnTo>
                  <a:lnTo>
                    <a:pt x="4453" y="4005"/>
                  </a:lnTo>
                  <a:lnTo>
                    <a:pt x="4443" y="4023"/>
                  </a:lnTo>
                  <a:lnTo>
                    <a:pt x="4434" y="4040"/>
                  </a:lnTo>
                  <a:lnTo>
                    <a:pt x="4427" y="4048"/>
                  </a:lnTo>
                  <a:lnTo>
                    <a:pt x="4421" y="4053"/>
                  </a:lnTo>
                  <a:lnTo>
                    <a:pt x="4416" y="4054"/>
                  </a:lnTo>
                  <a:lnTo>
                    <a:pt x="4412" y="4056"/>
                  </a:lnTo>
                  <a:lnTo>
                    <a:pt x="4408" y="4058"/>
                  </a:lnTo>
                  <a:lnTo>
                    <a:pt x="4402" y="4058"/>
                  </a:lnTo>
                  <a:lnTo>
                    <a:pt x="4388" y="4049"/>
                  </a:lnTo>
                  <a:lnTo>
                    <a:pt x="4374" y="4040"/>
                  </a:lnTo>
                  <a:lnTo>
                    <a:pt x="4369" y="4041"/>
                  </a:lnTo>
                  <a:lnTo>
                    <a:pt x="4365" y="4042"/>
                  </a:lnTo>
                  <a:lnTo>
                    <a:pt x="4360" y="4045"/>
                  </a:lnTo>
                  <a:lnTo>
                    <a:pt x="4356" y="4047"/>
                  </a:lnTo>
                  <a:lnTo>
                    <a:pt x="4353" y="4050"/>
                  </a:lnTo>
                  <a:lnTo>
                    <a:pt x="4349" y="4054"/>
                  </a:lnTo>
                  <a:lnTo>
                    <a:pt x="4347" y="4059"/>
                  </a:lnTo>
                  <a:lnTo>
                    <a:pt x="4345" y="4063"/>
                  </a:lnTo>
                  <a:lnTo>
                    <a:pt x="4342" y="4074"/>
                  </a:lnTo>
                  <a:lnTo>
                    <a:pt x="4339" y="4086"/>
                  </a:lnTo>
                  <a:lnTo>
                    <a:pt x="4336" y="4096"/>
                  </a:lnTo>
                  <a:lnTo>
                    <a:pt x="4335" y="4108"/>
                  </a:lnTo>
                  <a:lnTo>
                    <a:pt x="4333" y="4117"/>
                  </a:lnTo>
                  <a:lnTo>
                    <a:pt x="4331" y="4126"/>
                  </a:lnTo>
                  <a:lnTo>
                    <a:pt x="4328" y="4133"/>
                  </a:lnTo>
                  <a:lnTo>
                    <a:pt x="4325" y="4140"/>
                  </a:lnTo>
                  <a:lnTo>
                    <a:pt x="4316" y="4154"/>
                  </a:lnTo>
                  <a:lnTo>
                    <a:pt x="4304" y="4167"/>
                  </a:lnTo>
                  <a:lnTo>
                    <a:pt x="4296" y="4178"/>
                  </a:lnTo>
                  <a:lnTo>
                    <a:pt x="4291" y="4190"/>
                  </a:lnTo>
                  <a:lnTo>
                    <a:pt x="4288" y="4196"/>
                  </a:lnTo>
                  <a:lnTo>
                    <a:pt x="4284" y="4201"/>
                  </a:lnTo>
                  <a:lnTo>
                    <a:pt x="4279" y="4205"/>
                  </a:lnTo>
                  <a:lnTo>
                    <a:pt x="4274" y="4209"/>
                  </a:lnTo>
                  <a:lnTo>
                    <a:pt x="4246" y="4221"/>
                  </a:lnTo>
                  <a:lnTo>
                    <a:pt x="4220" y="4230"/>
                  </a:lnTo>
                  <a:lnTo>
                    <a:pt x="4207" y="4235"/>
                  </a:lnTo>
                  <a:lnTo>
                    <a:pt x="4195" y="4241"/>
                  </a:lnTo>
                  <a:lnTo>
                    <a:pt x="4182" y="4248"/>
                  </a:lnTo>
                  <a:lnTo>
                    <a:pt x="4170" y="4256"/>
                  </a:lnTo>
                  <a:lnTo>
                    <a:pt x="4161" y="4263"/>
                  </a:lnTo>
                  <a:lnTo>
                    <a:pt x="4155" y="4269"/>
                  </a:lnTo>
                  <a:lnTo>
                    <a:pt x="4149" y="4277"/>
                  </a:lnTo>
                  <a:lnTo>
                    <a:pt x="4143" y="4283"/>
                  </a:lnTo>
                  <a:lnTo>
                    <a:pt x="4134" y="4298"/>
                  </a:lnTo>
                  <a:lnTo>
                    <a:pt x="4127" y="4313"/>
                  </a:lnTo>
                  <a:lnTo>
                    <a:pt x="4115" y="4348"/>
                  </a:lnTo>
                  <a:lnTo>
                    <a:pt x="4102" y="4386"/>
                  </a:lnTo>
                  <a:lnTo>
                    <a:pt x="4098" y="4396"/>
                  </a:lnTo>
                  <a:lnTo>
                    <a:pt x="4092" y="4405"/>
                  </a:lnTo>
                  <a:lnTo>
                    <a:pt x="4087" y="4414"/>
                  </a:lnTo>
                  <a:lnTo>
                    <a:pt x="4082" y="4421"/>
                  </a:lnTo>
                  <a:lnTo>
                    <a:pt x="4069" y="4437"/>
                  </a:lnTo>
                  <a:lnTo>
                    <a:pt x="4056" y="4451"/>
                  </a:lnTo>
                  <a:lnTo>
                    <a:pt x="4050" y="4458"/>
                  </a:lnTo>
                  <a:lnTo>
                    <a:pt x="4045" y="4466"/>
                  </a:lnTo>
                  <a:lnTo>
                    <a:pt x="4039" y="4473"/>
                  </a:lnTo>
                  <a:lnTo>
                    <a:pt x="4035" y="4481"/>
                  </a:lnTo>
                  <a:lnTo>
                    <a:pt x="4032" y="4490"/>
                  </a:lnTo>
                  <a:lnTo>
                    <a:pt x="4029" y="4499"/>
                  </a:lnTo>
                  <a:lnTo>
                    <a:pt x="4028" y="4509"/>
                  </a:lnTo>
                  <a:lnTo>
                    <a:pt x="4026" y="4520"/>
                  </a:lnTo>
                  <a:lnTo>
                    <a:pt x="4028" y="4531"/>
                  </a:lnTo>
                  <a:lnTo>
                    <a:pt x="4031" y="4539"/>
                  </a:lnTo>
                  <a:lnTo>
                    <a:pt x="4035" y="4548"/>
                  </a:lnTo>
                  <a:lnTo>
                    <a:pt x="4041" y="4554"/>
                  </a:lnTo>
                  <a:lnTo>
                    <a:pt x="4047" y="4562"/>
                  </a:lnTo>
                  <a:lnTo>
                    <a:pt x="4055" y="4567"/>
                  </a:lnTo>
                  <a:lnTo>
                    <a:pt x="4062" y="4574"/>
                  </a:lnTo>
                  <a:lnTo>
                    <a:pt x="4070" y="4579"/>
                  </a:lnTo>
                  <a:lnTo>
                    <a:pt x="4078" y="4586"/>
                  </a:lnTo>
                  <a:lnTo>
                    <a:pt x="4086" y="4591"/>
                  </a:lnTo>
                  <a:lnTo>
                    <a:pt x="4093" y="4598"/>
                  </a:lnTo>
                  <a:lnTo>
                    <a:pt x="4100" y="4604"/>
                  </a:lnTo>
                  <a:lnTo>
                    <a:pt x="4105" y="4612"/>
                  </a:lnTo>
                  <a:lnTo>
                    <a:pt x="4110" y="4620"/>
                  </a:lnTo>
                  <a:lnTo>
                    <a:pt x="4113" y="4629"/>
                  </a:lnTo>
                  <a:lnTo>
                    <a:pt x="4114" y="4639"/>
                  </a:lnTo>
                  <a:lnTo>
                    <a:pt x="4114" y="4654"/>
                  </a:lnTo>
                  <a:lnTo>
                    <a:pt x="4113" y="4668"/>
                  </a:lnTo>
                  <a:lnTo>
                    <a:pt x="4112" y="4682"/>
                  </a:lnTo>
                  <a:lnTo>
                    <a:pt x="4110" y="4695"/>
                  </a:lnTo>
                  <a:lnTo>
                    <a:pt x="4106" y="4707"/>
                  </a:lnTo>
                  <a:lnTo>
                    <a:pt x="4101" y="4717"/>
                  </a:lnTo>
                  <a:lnTo>
                    <a:pt x="4097" y="4723"/>
                  </a:lnTo>
                  <a:lnTo>
                    <a:pt x="4093" y="4728"/>
                  </a:lnTo>
                  <a:lnTo>
                    <a:pt x="4088" y="4734"/>
                  </a:lnTo>
                  <a:lnTo>
                    <a:pt x="4083" y="4739"/>
                  </a:lnTo>
                  <a:lnTo>
                    <a:pt x="4073" y="4747"/>
                  </a:lnTo>
                  <a:lnTo>
                    <a:pt x="4063" y="4754"/>
                  </a:lnTo>
                  <a:lnTo>
                    <a:pt x="4060" y="4758"/>
                  </a:lnTo>
                  <a:lnTo>
                    <a:pt x="4057" y="4763"/>
                  </a:lnTo>
                  <a:lnTo>
                    <a:pt x="4056" y="4768"/>
                  </a:lnTo>
                  <a:lnTo>
                    <a:pt x="4055" y="4775"/>
                  </a:lnTo>
                  <a:lnTo>
                    <a:pt x="4055" y="4790"/>
                  </a:lnTo>
                  <a:lnTo>
                    <a:pt x="4055" y="4803"/>
                  </a:lnTo>
                  <a:lnTo>
                    <a:pt x="4055" y="4817"/>
                  </a:lnTo>
                  <a:lnTo>
                    <a:pt x="4055" y="4832"/>
                  </a:lnTo>
                  <a:lnTo>
                    <a:pt x="4055" y="4837"/>
                  </a:lnTo>
                  <a:lnTo>
                    <a:pt x="4053" y="4842"/>
                  </a:lnTo>
                  <a:lnTo>
                    <a:pt x="4052" y="4846"/>
                  </a:lnTo>
                  <a:lnTo>
                    <a:pt x="4050" y="4849"/>
                  </a:lnTo>
                  <a:lnTo>
                    <a:pt x="4046" y="4857"/>
                  </a:lnTo>
                  <a:lnTo>
                    <a:pt x="4039" y="4863"/>
                  </a:lnTo>
                  <a:lnTo>
                    <a:pt x="4026" y="4875"/>
                  </a:lnTo>
                  <a:lnTo>
                    <a:pt x="4012" y="4890"/>
                  </a:lnTo>
                  <a:lnTo>
                    <a:pt x="4002" y="4904"/>
                  </a:lnTo>
                  <a:lnTo>
                    <a:pt x="3990" y="4916"/>
                  </a:lnTo>
                  <a:lnTo>
                    <a:pt x="3978" y="4928"/>
                  </a:lnTo>
                  <a:lnTo>
                    <a:pt x="3965" y="4938"/>
                  </a:lnTo>
                  <a:lnTo>
                    <a:pt x="3940" y="4956"/>
                  </a:lnTo>
                  <a:lnTo>
                    <a:pt x="3915" y="4973"/>
                  </a:lnTo>
                  <a:lnTo>
                    <a:pt x="3890" y="4991"/>
                  </a:lnTo>
                  <a:lnTo>
                    <a:pt x="3866" y="5010"/>
                  </a:lnTo>
                  <a:lnTo>
                    <a:pt x="3854" y="5021"/>
                  </a:lnTo>
                  <a:lnTo>
                    <a:pt x="3843" y="5033"/>
                  </a:lnTo>
                  <a:lnTo>
                    <a:pt x="3832" y="5046"/>
                  </a:lnTo>
                  <a:lnTo>
                    <a:pt x="3822" y="5061"/>
                  </a:lnTo>
                  <a:lnTo>
                    <a:pt x="3800" y="5099"/>
                  </a:lnTo>
                  <a:lnTo>
                    <a:pt x="3781" y="5133"/>
                  </a:lnTo>
                  <a:lnTo>
                    <a:pt x="3763" y="5169"/>
                  </a:lnTo>
                  <a:lnTo>
                    <a:pt x="3744" y="5210"/>
                  </a:lnTo>
                  <a:lnTo>
                    <a:pt x="3733" y="5228"/>
                  </a:lnTo>
                  <a:lnTo>
                    <a:pt x="3721" y="5244"/>
                  </a:lnTo>
                  <a:lnTo>
                    <a:pt x="3715" y="5252"/>
                  </a:lnTo>
                  <a:lnTo>
                    <a:pt x="3711" y="5261"/>
                  </a:lnTo>
                  <a:lnTo>
                    <a:pt x="3706" y="5269"/>
                  </a:lnTo>
                  <a:lnTo>
                    <a:pt x="3701" y="5279"/>
                  </a:lnTo>
                  <a:lnTo>
                    <a:pt x="3694" y="5301"/>
                  </a:lnTo>
                  <a:lnTo>
                    <a:pt x="3687" y="5319"/>
                  </a:lnTo>
                  <a:lnTo>
                    <a:pt x="3682" y="5328"/>
                  </a:lnTo>
                  <a:lnTo>
                    <a:pt x="3677" y="5336"/>
                  </a:lnTo>
                  <a:lnTo>
                    <a:pt x="3670" y="5345"/>
                  </a:lnTo>
                  <a:lnTo>
                    <a:pt x="3662" y="5352"/>
                  </a:lnTo>
                  <a:lnTo>
                    <a:pt x="3662" y="5352"/>
                  </a:lnTo>
                  <a:lnTo>
                    <a:pt x="1151" y="5055"/>
                  </a:lnTo>
                  <a:lnTo>
                    <a:pt x="1147" y="5054"/>
                  </a:lnTo>
                  <a:lnTo>
                    <a:pt x="1144" y="5053"/>
                  </a:lnTo>
                  <a:lnTo>
                    <a:pt x="1141" y="5052"/>
                  </a:lnTo>
                  <a:lnTo>
                    <a:pt x="1138" y="5050"/>
                  </a:lnTo>
                  <a:lnTo>
                    <a:pt x="1134" y="5045"/>
                  </a:lnTo>
                  <a:lnTo>
                    <a:pt x="1132" y="5038"/>
                  </a:lnTo>
                  <a:lnTo>
                    <a:pt x="1130" y="5031"/>
                  </a:lnTo>
                  <a:lnTo>
                    <a:pt x="1128" y="5023"/>
                  </a:lnTo>
                  <a:lnTo>
                    <a:pt x="1124" y="5014"/>
                  </a:lnTo>
                  <a:lnTo>
                    <a:pt x="1120" y="5008"/>
                  </a:lnTo>
                  <a:lnTo>
                    <a:pt x="1112" y="4998"/>
                  </a:lnTo>
                  <a:lnTo>
                    <a:pt x="1104" y="4991"/>
                  </a:lnTo>
                  <a:lnTo>
                    <a:pt x="1095" y="4984"/>
                  </a:lnTo>
                  <a:lnTo>
                    <a:pt x="1087" y="4979"/>
                  </a:lnTo>
                  <a:lnTo>
                    <a:pt x="1078" y="4972"/>
                  </a:lnTo>
                  <a:lnTo>
                    <a:pt x="1069" y="4966"/>
                  </a:lnTo>
                  <a:lnTo>
                    <a:pt x="1061" y="4958"/>
                  </a:lnTo>
                  <a:lnTo>
                    <a:pt x="1053" y="4949"/>
                  </a:lnTo>
                  <a:lnTo>
                    <a:pt x="1027" y="4910"/>
                  </a:lnTo>
                  <a:lnTo>
                    <a:pt x="1002" y="4875"/>
                  </a:lnTo>
                  <a:lnTo>
                    <a:pt x="996" y="4868"/>
                  </a:lnTo>
                  <a:lnTo>
                    <a:pt x="988" y="4861"/>
                  </a:lnTo>
                  <a:lnTo>
                    <a:pt x="981" y="4855"/>
                  </a:lnTo>
                  <a:lnTo>
                    <a:pt x="973" y="4849"/>
                  </a:lnTo>
                  <a:lnTo>
                    <a:pt x="963" y="4844"/>
                  </a:lnTo>
                  <a:lnTo>
                    <a:pt x="954" y="4839"/>
                  </a:lnTo>
                  <a:lnTo>
                    <a:pt x="944" y="4836"/>
                  </a:lnTo>
                  <a:lnTo>
                    <a:pt x="932" y="4834"/>
                  </a:lnTo>
                  <a:lnTo>
                    <a:pt x="921" y="4831"/>
                  </a:lnTo>
                  <a:lnTo>
                    <a:pt x="912" y="4828"/>
                  </a:lnTo>
                  <a:lnTo>
                    <a:pt x="902" y="4823"/>
                  </a:lnTo>
                  <a:lnTo>
                    <a:pt x="894" y="4818"/>
                  </a:lnTo>
                  <a:lnTo>
                    <a:pt x="887" y="4811"/>
                  </a:lnTo>
                  <a:lnTo>
                    <a:pt x="880" y="4804"/>
                  </a:lnTo>
                  <a:lnTo>
                    <a:pt x="874" y="4796"/>
                  </a:lnTo>
                  <a:lnTo>
                    <a:pt x="868" y="4788"/>
                  </a:lnTo>
                  <a:lnTo>
                    <a:pt x="849" y="4750"/>
                  </a:lnTo>
                  <a:lnTo>
                    <a:pt x="828" y="4708"/>
                  </a:lnTo>
                  <a:lnTo>
                    <a:pt x="822" y="4694"/>
                  </a:lnTo>
                  <a:lnTo>
                    <a:pt x="815" y="4681"/>
                  </a:lnTo>
                  <a:lnTo>
                    <a:pt x="811" y="4668"/>
                  </a:lnTo>
                  <a:lnTo>
                    <a:pt x="807" y="4656"/>
                  </a:lnTo>
                  <a:lnTo>
                    <a:pt x="798" y="4630"/>
                  </a:lnTo>
                  <a:lnTo>
                    <a:pt x="789" y="4601"/>
                  </a:lnTo>
                  <a:lnTo>
                    <a:pt x="783" y="4587"/>
                  </a:lnTo>
                  <a:lnTo>
                    <a:pt x="775" y="4575"/>
                  </a:lnTo>
                  <a:lnTo>
                    <a:pt x="772" y="4569"/>
                  </a:lnTo>
                  <a:lnTo>
                    <a:pt x="770" y="4563"/>
                  </a:lnTo>
                  <a:lnTo>
                    <a:pt x="768" y="4555"/>
                  </a:lnTo>
                  <a:lnTo>
                    <a:pt x="767" y="4548"/>
                  </a:lnTo>
                  <a:lnTo>
                    <a:pt x="768" y="4540"/>
                  </a:lnTo>
                  <a:lnTo>
                    <a:pt x="769" y="4534"/>
                  </a:lnTo>
                  <a:lnTo>
                    <a:pt x="771" y="4526"/>
                  </a:lnTo>
                  <a:lnTo>
                    <a:pt x="773" y="4521"/>
                  </a:lnTo>
                  <a:lnTo>
                    <a:pt x="780" y="4509"/>
                  </a:lnTo>
                  <a:lnTo>
                    <a:pt x="786" y="4497"/>
                  </a:lnTo>
                  <a:lnTo>
                    <a:pt x="794" y="4486"/>
                  </a:lnTo>
                  <a:lnTo>
                    <a:pt x="800" y="4474"/>
                  </a:lnTo>
                  <a:lnTo>
                    <a:pt x="802" y="4468"/>
                  </a:lnTo>
                  <a:lnTo>
                    <a:pt x="805" y="4461"/>
                  </a:lnTo>
                  <a:lnTo>
                    <a:pt x="806" y="4455"/>
                  </a:lnTo>
                  <a:lnTo>
                    <a:pt x="807" y="4447"/>
                  </a:lnTo>
                  <a:lnTo>
                    <a:pt x="806" y="4437"/>
                  </a:lnTo>
                  <a:lnTo>
                    <a:pt x="805" y="4427"/>
                  </a:lnTo>
                  <a:lnTo>
                    <a:pt x="804" y="4418"/>
                  </a:lnTo>
                  <a:lnTo>
                    <a:pt x="801" y="4410"/>
                  </a:lnTo>
                  <a:lnTo>
                    <a:pt x="795" y="4393"/>
                  </a:lnTo>
                  <a:lnTo>
                    <a:pt x="787" y="4378"/>
                  </a:lnTo>
                  <a:lnTo>
                    <a:pt x="769" y="4348"/>
                  </a:lnTo>
                  <a:lnTo>
                    <a:pt x="747" y="4316"/>
                  </a:lnTo>
                  <a:lnTo>
                    <a:pt x="738" y="4301"/>
                  </a:lnTo>
                  <a:lnTo>
                    <a:pt x="728" y="4286"/>
                  </a:lnTo>
                  <a:lnTo>
                    <a:pt x="718" y="4274"/>
                  </a:lnTo>
                  <a:lnTo>
                    <a:pt x="707" y="4262"/>
                  </a:lnTo>
                  <a:lnTo>
                    <a:pt x="687" y="4238"/>
                  </a:lnTo>
                  <a:lnTo>
                    <a:pt x="663" y="4212"/>
                  </a:lnTo>
                  <a:lnTo>
                    <a:pt x="663" y="4212"/>
                  </a:lnTo>
                  <a:lnTo>
                    <a:pt x="661" y="4197"/>
                  </a:lnTo>
                  <a:lnTo>
                    <a:pt x="658" y="4184"/>
                  </a:lnTo>
                  <a:lnTo>
                    <a:pt x="656" y="4171"/>
                  </a:lnTo>
                  <a:lnTo>
                    <a:pt x="654" y="4156"/>
                  </a:lnTo>
                  <a:lnTo>
                    <a:pt x="656" y="4150"/>
                  </a:lnTo>
                  <a:lnTo>
                    <a:pt x="657" y="4145"/>
                  </a:lnTo>
                  <a:lnTo>
                    <a:pt x="659" y="4140"/>
                  </a:lnTo>
                  <a:lnTo>
                    <a:pt x="661" y="4135"/>
                  </a:lnTo>
                  <a:lnTo>
                    <a:pt x="662" y="4131"/>
                  </a:lnTo>
                  <a:lnTo>
                    <a:pt x="664" y="4126"/>
                  </a:lnTo>
                  <a:lnTo>
                    <a:pt x="665" y="4121"/>
                  </a:lnTo>
                  <a:lnTo>
                    <a:pt x="666" y="4115"/>
                  </a:lnTo>
                  <a:lnTo>
                    <a:pt x="665" y="4107"/>
                  </a:lnTo>
                  <a:lnTo>
                    <a:pt x="663" y="4101"/>
                  </a:lnTo>
                  <a:lnTo>
                    <a:pt x="660" y="4094"/>
                  </a:lnTo>
                  <a:lnTo>
                    <a:pt x="657" y="4088"/>
                  </a:lnTo>
                  <a:lnTo>
                    <a:pt x="653" y="4082"/>
                  </a:lnTo>
                  <a:lnTo>
                    <a:pt x="651" y="4076"/>
                  </a:lnTo>
                  <a:lnTo>
                    <a:pt x="649" y="4069"/>
                  </a:lnTo>
                  <a:lnTo>
                    <a:pt x="648" y="4061"/>
                  </a:lnTo>
                  <a:lnTo>
                    <a:pt x="648" y="4037"/>
                  </a:lnTo>
                  <a:lnTo>
                    <a:pt x="648" y="4015"/>
                  </a:lnTo>
                  <a:lnTo>
                    <a:pt x="648" y="3994"/>
                  </a:lnTo>
                  <a:lnTo>
                    <a:pt x="648" y="3970"/>
                  </a:lnTo>
                  <a:lnTo>
                    <a:pt x="648" y="3964"/>
                  </a:lnTo>
                  <a:lnTo>
                    <a:pt x="649" y="3958"/>
                  </a:lnTo>
                  <a:lnTo>
                    <a:pt x="651" y="3953"/>
                  </a:lnTo>
                  <a:lnTo>
                    <a:pt x="653" y="3947"/>
                  </a:lnTo>
                  <a:lnTo>
                    <a:pt x="659" y="3939"/>
                  </a:lnTo>
                  <a:lnTo>
                    <a:pt x="665" y="3931"/>
                  </a:lnTo>
                  <a:lnTo>
                    <a:pt x="684" y="3916"/>
                  </a:lnTo>
                  <a:lnTo>
                    <a:pt x="703" y="3901"/>
                  </a:lnTo>
                  <a:lnTo>
                    <a:pt x="714" y="3894"/>
                  </a:lnTo>
                  <a:lnTo>
                    <a:pt x="725" y="3887"/>
                  </a:lnTo>
                  <a:lnTo>
                    <a:pt x="730" y="3878"/>
                  </a:lnTo>
                  <a:lnTo>
                    <a:pt x="734" y="3869"/>
                  </a:lnTo>
                  <a:lnTo>
                    <a:pt x="738" y="3859"/>
                  </a:lnTo>
                  <a:lnTo>
                    <a:pt x="742" y="3850"/>
                  </a:lnTo>
                  <a:lnTo>
                    <a:pt x="746" y="3843"/>
                  </a:lnTo>
                  <a:lnTo>
                    <a:pt x="752" y="3836"/>
                  </a:lnTo>
                  <a:lnTo>
                    <a:pt x="754" y="3834"/>
                  </a:lnTo>
                  <a:lnTo>
                    <a:pt x="758" y="3832"/>
                  </a:lnTo>
                  <a:lnTo>
                    <a:pt x="762" y="3831"/>
                  </a:lnTo>
                  <a:lnTo>
                    <a:pt x="767" y="3831"/>
                  </a:lnTo>
                  <a:lnTo>
                    <a:pt x="779" y="3833"/>
                  </a:lnTo>
                  <a:lnTo>
                    <a:pt x="789" y="3836"/>
                  </a:lnTo>
                  <a:lnTo>
                    <a:pt x="1246" y="1998"/>
                  </a:lnTo>
                  <a:lnTo>
                    <a:pt x="1216" y="1987"/>
                  </a:lnTo>
                  <a:lnTo>
                    <a:pt x="1191" y="1976"/>
                  </a:lnTo>
                  <a:lnTo>
                    <a:pt x="1178" y="1972"/>
                  </a:lnTo>
                  <a:lnTo>
                    <a:pt x="1164" y="1968"/>
                  </a:lnTo>
                  <a:lnTo>
                    <a:pt x="1150" y="1964"/>
                  </a:lnTo>
                  <a:lnTo>
                    <a:pt x="1134" y="1961"/>
                  </a:lnTo>
                  <a:lnTo>
                    <a:pt x="1114" y="1960"/>
                  </a:lnTo>
                  <a:lnTo>
                    <a:pt x="1094" y="1960"/>
                  </a:lnTo>
                  <a:lnTo>
                    <a:pt x="1084" y="1960"/>
                  </a:lnTo>
                  <a:lnTo>
                    <a:pt x="1076" y="1959"/>
                  </a:lnTo>
                  <a:lnTo>
                    <a:pt x="1066" y="1957"/>
                  </a:lnTo>
                  <a:lnTo>
                    <a:pt x="1055" y="1953"/>
                  </a:lnTo>
                  <a:lnTo>
                    <a:pt x="1047" y="1947"/>
                  </a:lnTo>
                  <a:lnTo>
                    <a:pt x="1038" y="1940"/>
                  </a:lnTo>
                  <a:lnTo>
                    <a:pt x="1031" y="1932"/>
                  </a:lnTo>
                  <a:lnTo>
                    <a:pt x="1025" y="1923"/>
                  </a:lnTo>
                  <a:lnTo>
                    <a:pt x="1018" y="1916"/>
                  </a:lnTo>
                  <a:lnTo>
                    <a:pt x="1012" y="1908"/>
                  </a:lnTo>
                  <a:lnTo>
                    <a:pt x="1004" y="1902"/>
                  </a:lnTo>
                  <a:lnTo>
                    <a:pt x="994" y="1896"/>
                  </a:lnTo>
                  <a:lnTo>
                    <a:pt x="968" y="1888"/>
                  </a:lnTo>
                  <a:lnTo>
                    <a:pt x="945" y="1881"/>
                  </a:lnTo>
                  <a:lnTo>
                    <a:pt x="933" y="1877"/>
                  </a:lnTo>
                  <a:lnTo>
                    <a:pt x="922" y="1872"/>
                  </a:lnTo>
                  <a:lnTo>
                    <a:pt x="913" y="1864"/>
                  </a:lnTo>
                  <a:lnTo>
                    <a:pt x="902" y="1854"/>
                  </a:lnTo>
                  <a:lnTo>
                    <a:pt x="888" y="1848"/>
                  </a:lnTo>
                  <a:lnTo>
                    <a:pt x="877" y="1839"/>
                  </a:lnTo>
                  <a:lnTo>
                    <a:pt x="867" y="1831"/>
                  </a:lnTo>
                  <a:lnTo>
                    <a:pt x="858" y="1822"/>
                  </a:lnTo>
                  <a:lnTo>
                    <a:pt x="848" y="1814"/>
                  </a:lnTo>
                  <a:lnTo>
                    <a:pt x="837" y="1807"/>
                  </a:lnTo>
                  <a:lnTo>
                    <a:pt x="825" y="1799"/>
                  </a:lnTo>
                  <a:lnTo>
                    <a:pt x="812" y="1793"/>
                  </a:lnTo>
                  <a:lnTo>
                    <a:pt x="799" y="1790"/>
                  </a:lnTo>
                  <a:lnTo>
                    <a:pt x="787" y="1788"/>
                  </a:lnTo>
                  <a:lnTo>
                    <a:pt x="777" y="1788"/>
                  </a:lnTo>
                  <a:lnTo>
                    <a:pt x="766" y="1790"/>
                  </a:lnTo>
                  <a:lnTo>
                    <a:pt x="742" y="1792"/>
                  </a:lnTo>
                  <a:lnTo>
                    <a:pt x="716" y="1793"/>
                  </a:lnTo>
                  <a:lnTo>
                    <a:pt x="692" y="1792"/>
                  </a:lnTo>
                  <a:lnTo>
                    <a:pt x="671" y="1788"/>
                  </a:lnTo>
                  <a:lnTo>
                    <a:pt x="649" y="1786"/>
                  </a:lnTo>
                  <a:lnTo>
                    <a:pt x="624" y="1785"/>
                  </a:lnTo>
                  <a:lnTo>
                    <a:pt x="609" y="1786"/>
                  </a:lnTo>
                  <a:lnTo>
                    <a:pt x="596" y="1790"/>
                  </a:lnTo>
                  <a:lnTo>
                    <a:pt x="583" y="1792"/>
                  </a:lnTo>
                  <a:lnTo>
                    <a:pt x="568" y="1793"/>
                  </a:lnTo>
                  <a:lnTo>
                    <a:pt x="562" y="1793"/>
                  </a:lnTo>
                  <a:lnTo>
                    <a:pt x="556" y="1792"/>
                  </a:lnTo>
                  <a:lnTo>
                    <a:pt x="552" y="1790"/>
                  </a:lnTo>
                  <a:lnTo>
                    <a:pt x="548" y="1787"/>
                  </a:lnTo>
                  <a:lnTo>
                    <a:pt x="539" y="1781"/>
                  </a:lnTo>
                  <a:lnTo>
                    <a:pt x="532" y="1773"/>
                  </a:lnTo>
                  <a:lnTo>
                    <a:pt x="525" y="1765"/>
                  </a:lnTo>
                  <a:lnTo>
                    <a:pt x="518" y="1756"/>
                  </a:lnTo>
                  <a:lnTo>
                    <a:pt x="510" y="1747"/>
                  </a:lnTo>
                  <a:lnTo>
                    <a:pt x="501" y="1740"/>
                  </a:lnTo>
                  <a:lnTo>
                    <a:pt x="485" y="1730"/>
                  </a:lnTo>
                  <a:lnTo>
                    <a:pt x="471" y="1723"/>
                  </a:lnTo>
                  <a:lnTo>
                    <a:pt x="457" y="1715"/>
                  </a:lnTo>
                  <a:lnTo>
                    <a:pt x="443" y="1709"/>
                  </a:lnTo>
                  <a:lnTo>
                    <a:pt x="430" y="1701"/>
                  </a:lnTo>
                  <a:lnTo>
                    <a:pt x="416" y="1693"/>
                  </a:lnTo>
                  <a:lnTo>
                    <a:pt x="403" y="1684"/>
                  </a:lnTo>
                  <a:lnTo>
                    <a:pt x="389" y="1673"/>
                  </a:lnTo>
                  <a:lnTo>
                    <a:pt x="373" y="1660"/>
                  </a:lnTo>
                  <a:lnTo>
                    <a:pt x="356" y="1650"/>
                  </a:lnTo>
                  <a:lnTo>
                    <a:pt x="349" y="1645"/>
                  </a:lnTo>
                  <a:lnTo>
                    <a:pt x="341" y="1639"/>
                  </a:lnTo>
                  <a:lnTo>
                    <a:pt x="334" y="1633"/>
                  </a:lnTo>
                  <a:lnTo>
                    <a:pt x="327" y="1625"/>
                  </a:lnTo>
                  <a:lnTo>
                    <a:pt x="323" y="1619"/>
                  </a:lnTo>
                  <a:lnTo>
                    <a:pt x="320" y="1612"/>
                  </a:lnTo>
                  <a:lnTo>
                    <a:pt x="319" y="1606"/>
                  </a:lnTo>
                  <a:lnTo>
                    <a:pt x="318" y="1598"/>
                  </a:lnTo>
                  <a:lnTo>
                    <a:pt x="318" y="1584"/>
                  </a:lnTo>
                  <a:lnTo>
                    <a:pt x="315" y="1569"/>
                  </a:lnTo>
                  <a:lnTo>
                    <a:pt x="312" y="1553"/>
                  </a:lnTo>
                  <a:lnTo>
                    <a:pt x="308" y="1540"/>
                  </a:lnTo>
                  <a:lnTo>
                    <a:pt x="305" y="1526"/>
                  </a:lnTo>
                  <a:lnTo>
                    <a:pt x="301" y="1510"/>
                  </a:lnTo>
                  <a:lnTo>
                    <a:pt x="300" y="1504"/>
                  </a:lnTo>
                  <a:lnTo>
                    <a:pt x="299" y="1500"/>
                  </a:lnTo>
                  <a:lnTo>
                    <a:pt x="297" y="1496"/>
                  </a:lnTo>
                  <a:lnTo>
                    <a:pt x="294" y="1493"/>
                  </a:lnTo>
                  <a:lnTo>
                    <a:pt x="286" y="1486"/>
                  </a:lnTo>
                  <a:lnTo>
                    <a:pt x="278" y="1482"/>
                  </a:lnTo>
                  <a:lnTo>
                    <a:pt x="257" y="1475"/>
                  </a:lnTo>
                  <a:lnTo>
                    <a:pt x="234" y="1471"/>
                  </a:lnTo>
                  <a:lnTo>
                    <a:pt x="228" y="1469"/>
                  </a:lnTo>
                  <a:lnTo>
                    <a:pt x="221" y="1467"/>
                  </a:lnTo>
                  <a:lnTo>
                    <a:pt x="216" y="1463"/>
                  </a:lnTo>
                  <a:lnTo>
                    <a:pt x="211" y="1459"/>
                  </a:lnTo>
                  <a:lnTo>
                    <a:pt x="201" y="1451"/>
                  </a:lnTo>
                  <a:lnTo>
                    <a:pt x="193" y="1441"/>
                  </a:lnTo>
                  <a:lnTo>
                    <a:pt x="179" y="1419"/>
                  </a:lnTo>
                  <a:lnTo>
                    <a:pt x="164" y="1395"/>
                  </a:lnTo>
                  <a:lnTo>
                    <a:pt x="157" y="1386"/>
                  </a:lnTo>
                  <a:lnTo>
                    <a:pt x="148" y="1378"/>
                  </a:lnTo>
                  <a:lnTo>
                    <a:pt x="138" y="1372"/>
                  </a:lnTo>
                  <a:lnTo>
                    <a:pt x="128" y="1364"/>
                  </a:lnTo>
                  <a:lnTo>
                    <a:pt x="118" y="1355"/>
                  </a:lnTo>
                  <a:lnTo>
                    <a:pt x="109" y="1346"/>
                  </a:lnTo>
                  <a:lnTo>
                    <a:pt x="101" y="1336"/>
                  </a:lnTo>
                  <a:lnTo>
                    <a:pt x="95" y="1325"/>
                  </a:lnTo>
                  <a:lnTo>
                    <a:pt x="89" y="1315"/>
                  </a:lnTo>
                  <a:lnTo>
                    <a:pt x="81" y="1305"/>
                  </a:lnTo>
                  <a:lnTo>
                    <a:pt x="73" y="1294"/>
                  </a:lnTo>
                  <a:lnTo>
                    <a:pt x="64" y="1283"/>
                  </a:lnTo>
                  <a:lnTo>
                    <a:pt x="51" y="1271"/>
                  </a:lnTo>
                  <a:lnTo>
                    <a:pt x="40" y="1258"/>
                  </a:lnTo>
                  <a:lnTo>
                    <a:pt x="36" y="1252"/>
                  </a:lnTo>
                  <a:lnTo>
                    <a:pt x="32" y="1244"/>
                  </a:lnTo>
                  <a:lnTo>
                    <a:pt x="30" y="1237"/>
                  </a:lnTo>
                  <a:lnTo>
                    <a:pt x="30" y="1228"/>
                  </a:lnTo>
                  <a:lnTo>
                    <a:pt x="30" y="1202"/>
                  </a:lnTo>
                  <a:lnTo>
                    <a:pt x="30" y="1179"/>
                  </a:lnTo>
                  <a:lnTo>
                    <a:pt x="30" y="1157"/>
                  </a:lnTo>
                  <a:lnTo>
                    <a:pt x="30" y="1131"/>
                  </a:lnTo>
                  <a:lnTo>
                    <a:pt x="29" y="1107"/>
                  </a:lnTo>
                  <a:lnTo>
                    <a:pt x="27" y="1085"/>
                  </a:lnTo>
                  <a:lnTo>
                    <a:pt x="25" y="1064"/>
                  </a:lnTo>
                  <a:lnTo>
                    <a:pt x="25" y="1039"/>
                  </a:lnTo>
                  <a:lnTo>
                    <a:pt x="0" y="544"/>
                  </a:lnTo>
                  <a:lnTo>
                    <a:pt x="0" y="544"/>
                  </a:lnTo>
                  <a:lnTo>
                    <a:pt x="3" y="546"/>
                  </a:lnTo>
                  <a:lnTo>
                    <a:pt x="8" y="549"/>
                  </a:lnTo>
                  <a:lnTo>
                    <a:pt x="16" y="553"/>
                  </a:lnTo>
                  <a:lnTo>
                    <a:pt x="25" y="555"/>
                  </a:lnTo>
                  <a:lnTo>
                    <a:pt x="33" y="556"/>
                  </a:lnTo>
                  <a:lnTo>
                    <a:pt x="41" y="557"/>
                  </a:lnTo>
                  <a:lnTo>
                    <a:pt x="58" y="557"/>
                  </a:lnTo>
                  <a:lnTo>
                    <a:pt x="78" y="560"/>
                  </a:lnTo>
                  <a:lnTo>
                    <a:pt x="116" y="569"/>
                  </a:lnTo>
                  <a:lnTo>
                    <a:pt x="149" y="578"/>
                  </a:lnTo>
                  <a:lnTo>
                    <a:pt x="165" y="581"/>
                  </a:lnTo>
                  <a:lnTo>
                    <a:pt x="182" y="583"/>
                  </a:lnTo>
                  <a:lnTo>
                    <a:pt x="200" y="584"/>
                  </a:lnTo>
                  <a:lnTo>
                    <a:pt x="220" y="585"/>
                  </a:lnTo>
                  <a:lnTo>
                    <a:pt x="227" y="585"/>
                  </a:lnTo>
                  <a:lnTo>
                    <a:pt x="232" y="584"/>
                  </a:lnTo>
                  <a:lnTo>
                    <a:pt x="238" y="583"/>
                  </a:lnTo>
                  <a:lnTo>
                    <a:pt x="242" y="581"/>
                  </a:lnTo>
                  <a:lnTo>
                    <a:pt x="252" y="576"/>
                  </a:lnTo>
                  <a:lnTo>
                    <a:pt x="260" y="569"/>
                  </a:lnTo>
                  <a:lnTo>
                    <a:pt x="275" y="554"/>
                  </a:lnTo>
                  <a:lnTo>
                    <a:pt x="294" y="538"/>
                  </a:lnTo>
                  <a:lnTo>
                    <a:pt x="310" y="525"/>
                  </a:lnTo>
                  <a:lnTo>
                    <a:pt x="326" y="515"/>
                  </a:lnTo>
                  <a:lnTo>
                    <a:pt x="342" y="506"/>
                  </a:lnTo>
                  <a:lnTo>
                    <a:pt x="359" y="500"/>
                  </a:lnTo>
                  <a:lnTo>
                    <a:pt x="376" y="495"/>
                  </a:lnTo>
                  <a:lnTo>
                    <a:pt x="393" y="489"/>
                  </a:lnTo>
                  <a:lnTo>
                    <a:pt x="413" y="485"/>
                  </a:lnTo>
                  <a:lnTo>
                    <a:pt x="433" y="482"/>
                  </a:lnTo>
                  <a:lnTo>
                    <a:pt x="501" y="490"/>
                  </a:lnTo>
                  <a:lnTo>
                    <a:pt x="540" y="490"/>
                  </a:lnTo>
                  <a:lnTo>
                    <a:pt x="540" y="479"/>
                  </a:lnTo>
                  <a:lnTo>
                    <a:pt x="542" y="470"/>
                  </a:lnTo>
                  <a:lnTo>
                    <a:pt x="544" y="460"/>
                  </a:lnTo>
                  <a:lnTo>
                    <a:pt x="548" y="451"/>
                  </a:lnTo>
                  <a:lnTo>
                    <a:pt x="553" y="444"/>
                  </a:lnTo>
                  <a:lnTo>
                    <a:pt x="558" y="436"/>
                  </a:lnTo>
                  <a:lnTo>
                    <a:pt x="565" y="429"/>
                  </a:lnTo>
                  <a:lnTo>
                    <a:pt x="573" y="423"/>
                  </a:lnTo>
                  <a:lnTo>
                    <a:pt x="581" y="418"/>
                  </a:lnTo>
                  <a:lnTo>
                    <a:pt x="589" y="415"/>
                  </a:lnTo>
                  <a:lnTo>
                    <a:pt x="595" y="413"/>
                  </a:lnTo>
                  <a:lnTo>
                    <a:pt x="603" y="410"/>
                  </a:lnTo>
                  <a:lnTo>
                    <a:pt x="617" y="408"/>
                  </a:lnTo>
                  <a:lnTo>
                    <a:pt x="632" y="407"/>
                  </a:lnTo>
                  <a:lnTo>
                    <a:pt x="646" y="407"/>
                  </a:lnTo>
                  <a:lnTo>
                    <a:pt x="661" y="407"/>
                  </a:lnTo>
                  <a:lnTo>
                    <a:pt x="677" y="406"/>
                  </a:lnTo>
                  <a:lnTo>
                    <a:pt x="694" y="403"/>
                  </a:lnTo>
                  <a:lnTo>
                    <a:pt x="707" y="400"/>
                  </a:lnTo>
                  <a:lnTo>
                    <a:pt x="718" y="393"/>
                  </a:lnTo>
                  <a:lnTo>
                    <a:pt x="729" y="387"/>
                  </a:lnTo>
                  <a:lnTo>
                    <a:pt x="739" y="379"/>
                  </a:lnTo>
                  <a:lnTo>
                    <a:pt x="756" y="361"/>
                  </a:lnTo>
                  <a:lnTo>
                    <a:pt x="772" y="342"/>
                  </a:lnTo>
                  <a:lnTo>
                    <a:pt x="780" y="333"/>
                  </a:lnTo>
                  <a:lnTo>
                    <a:pt x="787" y="324"/>
                  </a:lnTo>
                  <a:lnTo>
                    <a:pt x="796" y="315"/>
                  </a:lnTo>
                  <a:lnTo>
                    <a:pt x="806" y="309"/>
                  </a:lnTo>
                  <a:lnTo>
                    <a:pt x="815" y="302"/>
                  </a:lnTo>
                  <a:lnTo>
                    <a:pt x="826" y="298"/>
                  </a:lnTo>
                  <a:lnTo>
                    <a:pt x="838" y="295"/>
                  </a:lnTo>
                  <a:lnTo>
                    <a:pt x="851" y="294"/>
                  </a:lnTo>
                  <a:lnTo>
                    <a:pt x="866" y="294"/>
                  </a:lnTo>
                  <a:lnTo>
                    <a:pt x="880" y="295"/>
                  </a:lnTo>
                  <a:lnTo>
                    <a:pt x="887" y="296"/>
                  </a:lnTo>
                  <a:lnTo>
                    <a:pt x="893" y="297"/>
                  </a:lnTo>
                  <a:lnTo>
                    <a:pt x="900" y="299"/>
                  </a:lnTo>
                  <a:lnTo>
                    <a:pt x="907" y="302"/>
                  </a:lnTo>
                  <a:lnTo>
                    <a:pt x="917" y="314"/>
                  </a:lnTo>
                  <a:lnTo>
                    <a:pt x="927" y="325"/>
                  </a:lnTo>
                  <a:lnTo>
                    <a:pt x="953" y="333"/>
                  </a:lnTo>
                  <a:lnTo>
                    <a:pt x="976" y="337"/>
                  </a:lnTo>
                  <a:lnTo>
                    <a:pt x="988" y="339"/>
                  </a:lnTo>
                  <a:lnTo>
                    <a:pt x="1001" y="340"/>
                  </a:lnTo>
                  <a:lnTo>
                    <a:pt x="1014" y="341"/>
                  </a:lnTo>
                  <a:lnTo>
                    <a:pt x="1028" y="341"/>
                  </a:lnTo>
                  <a:lnTo>
                    <a:pt x="1044" y="341"/>
                  </a:lnTo>
                  <a:lnTo>
                    <a:pt x="1058" y="341"/>
                  </a:lnTo>
                  <a:lnTo>
                    <a:pt x="1072" y="341"/>
                  </a:lnTo>
                  <a:lnTo>
                    <a:pt x="1089" y="341"/>
                  </a:lnTo>
                  <a:lnTo>
                    <a:pt x="1093" y="341"/>
                  </a:lnTo>
                  <a:lnTo>
                    <a:pt x="1096" y="339"/>
                  </a:lnTo>
                  <a:lnTo>
                    <a:pt x="1098" y="336"/>
                  </a:lnTo>
                  <a:lnTo>
                    <a:pt x="1102" y="333"/>
                  </a:lnTo>
                  <a:lnTo>
                    <a:pt x="1106" y="325"/>
                  </a:lnTo>
                  <a:lnTo>
                    <a:pt x="1111" y="320"/>
                  </a:lnTo>
                  <a:lnTo>
                    <a:pt x="1129" y="309"/>
                  </a:lnTo>
                  <a:lnTo>
                    <a:pt x="1146" y="300"/>
                  </a:lnTo>
                  <a:lnTo>
                    <a:pt x="1162" y="292"/>
                  </a:lnTo>
                  <a:lnTo>
                    <a:pt x="1179" y="280"/>
                  </a:lnTo>
                  <a:lnTo>
                    <a:pt x="1179" y="280"/>
                  </a:lnTo>
                  <a:lnTo>
                    <a:pt x="1191" y="286"/>
                  </a:lnTo>
                  <a:lnTo>
                    <a:pt x="1202" y="292"/>
                  </a:lnTo>
                  <a:lnTo>
                    <a:pt x="1214" y="296"/>
                  </a:lnTo>
                  <a:lnTo>
                    <a:pt x="1226" y="300"/>
                  </a:lnTo>
                  <a:lnTo>
                    <a:pt x="1249" y="308"/>
                  </a:lnTo>
                  <a:lnTo>
                    <a:pt x="1274" y="313"/>
                  </a:lnTo>
                  <a:lnTo>
                    <a:pt x="1301" y="322"/>
                  </a:lnTo>
                  <a:lnTo>
                    <a:pt x="1324" y="329"/>
                  </a:lnTo>
                  <a:lnTo>
                    <a:pt x="1336" y="333"/>
                  </a:lnTo>
                  <a:lnTo>
                    <a:pt x="1348" y="336"/>
                  </a:lnTo>
                  <a:lnTo>
                    <a:pt x="1361" y="338"/>
                  </a:lnTo>
                  <a:lnTo>
                    <a:pt x="1375" y="339"/>
                  </a:lnTo>
                  <a:lnTo>
                    <a:pt x="1380" y="338"/>
                  </a:lnTo>
                  <a:lnTo>
                    <a:pt x="1385" y="338"/>
                  </a:lnTo>
                  <a:lnTo>
                    <a:pt x="1390" y="336"/>
                  </a:lnTo>
                  <a:lnTo>
                    <a:pt x="1393" y="335"/>
                  </a:lnTo>
                  <a:lnTo>
                    <a:pt x="1402" y="329"/>
                  </a:lnTo>
                  <a:lnTo>
                    <a:pt x="1408" y="322"/>
                  </a:lnTo>
                  <a:lnTo>
                    <a:pt x="1413" y="314"/>
                  </a:lnTo>
                  <a:lnTo>
                    <a:pt x="1417" y="306"/>
                  </a:lnTo>
                  <a:lnTo>
                    <a:pt x="1419" y="296"/>
                  </a:lnTo>
                  <a:lnTo>
                    <a:pt x="1420" y="285"/>
                  </a:lnTo>
                  <a:lnTo>
                    <a:pt x="1419" y="282"/>
                  </a:lnTo>
                  <a:lnTo>
                    <a:pt x="1417" y="279"/>
                  </a:lnTo>
                  <a:lnTo>
                    <a:pt x="1415" y="276"/>
                  </a:lnTo>
                  <a:lnTo>
                    <a:pt x="1412" y="275"/>
                  </a:lnTo>
                  <a:lnTo>
                    <a:pt x="1404" y="271"/>
                  </a:lnTo>
                  <a:lnTo>
                    <a:pt x="1398" y="266"/>
                  </a:lnTo>
                  <a:lnTo>
                    <a:pt x="1386" y="251"/>
                  </a:lnTo>
                  <a:lnTo>
                    <a:pt x="1373" y="239"/>
                  </a:lnTo>
                  <a:lnTo>
                    <a:pt x="1360" y="227"/>
                  </a:lnTo>
                  <a:lnTo>
                    <a:pt x="1347" y="215"/>
                  </a:lnTo>
                  <a:lnTo>
                    <a:pt x="1341" y="209"/>
                  </a:lnTo>
                  <a:lnTo>
                    <a:pt x="1336" y="203"/>
                  </a:lnTo>
                  <a:lnTo>
                    <a:pt x="1332" y="197"/>
                  </a:lnTo>
                  <a:lnTo>
                    <a:pt x="1327" y="190"/>
                  </a:lnTo>
                  <a:lnTo>
                    <a:pt x="1324" y="182"/>
                  </a:lnTo>
                  <a:lnTo>
                    <a:pt x="1321" y="175"/>
                  </a:lnTo>
                  <a:lnTo>
                    <a:pt x="1320" y="166"/>
                  </a:lnTo>
                  <a:lnTo>
                    <a:pt x="1319" y="157"/>
                  </a:lnTo>
                  <a:lnTo>
                    <a:pt x="1320" y="151"/>
                  </a:lnTo>
                  <a:lnTo>
                    <a:pt x="1321" y="146"/>
                  </a:lnTo>
                  <a:lnTo>
                    <a:pt x="1322" y="140"/>
                  </a:lnTo>
                  <a:lnTo>
                    <a:pt x="1324" y="136"/>
                  </a:lnTo>
                  <a:lnTo>
                    <a:pt x="1331" y="128"/>
                  </a:lnTo>
                  <a:lnTo>
                    <a:pt x="1337" y="121"/>
                  </a:lnTo>
                  <a:lnTo>
                    <a:pt x="1346" y="114"/>
                  </a:lnTo>
                  <a:lnTo>
                    <a:pt x="1354" y="107"/>
                  </a:lnTo>
                  <a:lnTo>
                    <a:pt x="1362" y="98"/>
                  </a:lnTo>
                  <a:lnTo>
                    <a:pt x="1369" y="90"/>
                  </a:lnTo>
                  <a:lnTo>
                    <a:pt x="1376" y="79"/>
                  </a:lnTo>
                  <a:lnTo>
                    <a:pt x="1379" y="68"/>
                  </a:lnTo>
                  <a:lnTo>
                    <a:pt x="1381" y="58"/>
                  </a:lnTo>
                  <a:lnTo>
                    <a:pt x="1384" y="47"/>
                  </a:lnTo>
                  <a:lnTo>
                    <a:pt x="1386" y="38"/>
                  </a:lnTo>
                  <a:lnTo>
                    <a:pt x="1390" y="29"/>
                  </a:lnTo>
                  <a:lnTo>
                    <a:pt x="1392" y="24"/>
                  </a:lnTo>
                  <a:lnTo>
                    <a:pt x="1395" y="19"/>
                  </a:lnTo>
                  <a:lnTo>
                    <a:pt x="1399" y="15"/>
                  </a:lnTo>
                  <a:lnTo>
                    <a:pt x="1403" y="11"/>
                  </a:lnTo>
                  <a:lnTo>
                    <a:pt x="1429" y="22"/>
                  </a:lnTo>
                  <a:lnTo>
                    <a:pt x="1453" y="30"/>
                  </a:lnTo>
                  <a:lnTo>
                    <a:pt x="1475" y="37"/>
                  </a:lnTo>
                  <a:lnTo>
                    <a:pt x="1498" y="43"/>
                  </a:lnTo>
                  <a:lnTo>
                    <a:pt x="1521" y="47"/>
                  </a:lnTo>
                  <a:lnTo>
                    <a:pt x="1543" y="51"/>
                  </a:lnTo>
                  <a:lnTo>
                    <a:pt x="1569" y="52"/>
                  </a:lnTo>
                  <a:lnTo>
                    <a:pt x="1596" y="53"/>
                  </a:lnTo>
                  <a:lnTo>
                    <a:pt x="1609" y="52"/>
                  </a:lnTo>
                  <a:lnTo>
                    <a:pt x="1621" y="51"/>
                  </a:lnTo>
                  <a:lnTo>
                    <a:pt x="1633" y="47"/>
                  </a:lnTo>
                  <a:lnTo>
                    <a:pt x="1644" y="44"/>
                  </a:lnTo>
                  <a:lnTo>
                    <a:pt x="1664" y="36"/>
                  </a:lnTo>
                  <a:lnTo>
                    <a:pt x="1684" y="26"/>
                  </a:lnTo>
                  <a:lnTo>
                    <a:pt x="1703" y="16"/>
                  </a:lnTo>
                  <a:lnTo>
                    <a:pt x="1724" y="8"/>
                  </a:lnTo>
                  <a:lnTo>
                    <a:pt x="1735" y="4"/>
                  </a:lnTo>
                  <a:lnTo>
                    <a:pt x="1745" y="2"/>
                  </a:lnTo>
                  <a:lnTo>
                    <a:pt x="1757" y="0"/>
                  </a:lnTo>
                  <a:lnTo>
                    <a:pt x="1770" y="0"/>
                  </a:lnTo>
                  <a:lnTo>
                    <a:pt x="1782" y="0"/>
                  </a:lnTo>
                  <a:lnTo>
                    <a:pt x="1793" y="2"/>
                  </a:lnTo>
                  <a:lnTo>
                    <a:pt x="1803" y="5"/>
                  </a:lnTo>
                  <a:lnTo>
                    <a:pt x="1811" y="10"/>
                  </a:lnTo>
                  <a:lnTo>
                    <a:pt x="1820" y="15"/>
                  </a:lnTo>
                  <a:lnTo>
                    <a:pt x="1829" y="22"/>
                  </a:lnTo>
                  <a:lnTo>
                    <a:pt x="1837" y="29"/>
                  </a:lnTo>
                  <a:lnTo>
                    <a:pt x="1846" y="36"/>
                  </a:lnTo>
                  <a:lnTo>
                    <a:pt x="1853" y="42"/>
                  </a:lnTo>
                  <a:lnTo>
                    <a:pt x="1861" y="45"/>
                  </a:lnTo>
                  <a:lnTo>
                    <a:pt x="1868" y="50"/>
                  </a:lnTo>
                  <a:lnTo>
                    <a:pt x="1876" y="53"/>
                  </a:lnTo>
                  <a:lnTo>
                    <a:pt x="1884" y="55"/>
                  </a:lnTo>
                  <a:lnTo>
                    <a:pt x="1891" y="59"/>
                  </a:lnTo>
                  <a:lnTo>
                    <a:pt x="1898" y="64"/>
                  </a:lnTo>
                  <a:lnTo>
                    <a:pt x="1905" y="70"/>
                  </a:lnTo>
                  <a:lnTo>
                    <a:pt x="1916" y="81"/>
                  </a:lnTo>
                  <a:lnTo>
                    <a:pt x="1927" y="92"/>
                  </a:lnTo>
                  <a:lnTo>
                    <a:pt x="1938" y="103"/>
                  </a:lnTo>
                  <a:lnTo>
                    <a:pt x="1947" y="111"/>
                  </a:lnTo>
                  <a:lnTo>
                    <a:pt x="1947" y="111"/>
                  </a:lnTo>
                  <a:lnTo>
                    <a:pt x="1945" y="145"/>
                  </a:lnTo>
                  <a:lnTo>
                    <a:pt x="1942" y="174"/>
                  </a:lnTo>
                  <a:lnTo>
                    <a:pt x="1940" y="188"/>
                  </a:lnTo>
                  <a:lnTo>
                    <a:pt x="1937" y="203"/>
                  </a:lnTo>
                  <a:lnTo>
                    <a:pt x="1932" y="218"/>
                  </a:lnTo>
                  <a:lnTo>
                    <a:pt x="1928" y="235"/>
                  </a:lnTo>
                  <a:lnTo>
                    <a:pt x="1919" y="255"/>
                  </a:lnTo>
                  <a:lnTo>
                    <a:pt x="1910" y="272"/>
                  </a:lnTo>
                  <a:lnTo>
                    <a:pt x="1905" y="281"/>
                  </a:lnTo>
                  <a:lnTo>
                    <a:pt x="1902" y="289"/>
                  </a:lnTo>
                  <a:lnTo>
                    <a:pt x="1900" y="299"/>
                  </a:lnTo>
                  <a:lnTo>
                    <a:pt x="1900" y="311"/>
                  </a:lnTo>
                  <a:lnTo>
                    <a:pt x="1900" y="316"/>
                  </a:lnTo>
                  <a:lnTo>
                    <a:pt x="1902" y="321"/>
                  </a:lnTo>
                  <a:lnTo>
                    <a:pt x="1906" y="324"/>
                  </a:lnTo>
                  <a:lnTo>
                    <a:pt x="1910" y="327"/>
                  </a:lnTo>
                  <a:lnTo>
                    <a:pt x="1920" y="333"/>
                  </a:lnTo>
                  <a:lnTo>
                    <a:pt x="1930" y="339"/>
                  </a:lnTo>
                  <a:lnTo>
                    <a:pt x="1961" y="361"/>
                  </a:lnTo>
                  <a:lnTo>
                    <a:pt x="1988" y="380"/>
                  </a:lnTo>
                  <a:lnTo>
                    <a:pt x="2001" y="390"/>
                  </a:lnTo>
                  <a:lnTo>
                    <a:pt x="2014" y="402"/>
                  </a:lnTo>
                  <a:lnTo>
                    <a:pt x="2027" y="414"/>
                  </a:lnTo>
                  <a:lnTo>
                    <a:pt x="2039" y="429"/>
                  </a:lnTo>
                  <a:lnTo>
                    <a:pt x="2048" y="438"/>
                  </a:lnTo>
                  <a:lnTo>
                    <a:pt x="2054" y="449"/>
                  </a:lnTo>
                  <a:lnTo>
                    <a:pt x="2061" y="459"/>
                  </a:lnTo>
                  <a:lnTo>
                    <a:pt x="2066" y="469"/>
                  </a:lnTo>
                  <a:lnTo>
                    <a:pt x="2070" y="479"/>
                  </a:lnTo>
                  <a:lnTo>
                    <a:pt x="2075" y="489"/>
                  </a:lnTo>
                  <a:lnTo>
                    <a:pt x="2078" y="500"/>
                  </a:lnTo>
                  <a:lnTo>
                    <a:pt x="2080" y="511"/>
                  </a:lnTo>
                  <a:lnTo>
                    <a:pt x="2086" y="532"/>
                  </a:lnTo>
                  <a:lnTo>
                    <a:pt x="2089" y="555"/>
                  </a:lnTo>
                  <a:lnTo>
                    <a:pt x="2092" y="579"/>
                  </a:lnTo>
                  <a:lnTo>
                    <a:pt x="2095" y="605"/>
                  </a:lnTo>
                  <a:lnTo>
                    <a:pt x="2099" y="617"/>
                  </a:lnTo>
                  <a:lnTo>
                    <a:pt x="2102" y="627"/>
                  </a:lnTo>
                  <a:lnTo>
                    <a:pt x="2107" y="636"/>
                  </a:lnTo>
                  <a:lnTo>
                    <a:pt x="2113" y="645"/>
                  </a:lnTo>
                  <a:lnTo>
                    <a:pt x="2120" y="652"/>
                  </a:lnTo>
                  <a:lnTo>
                    <a:pt x="2129" y="660"/>
                  </a:lnTo>
                  <a:lnTo>
                    <a:pt x="2139" y="666"/>
                  </a:lnTo>
                  <a:lnTo>
                    <a:pt x="2149" y="672"/>
                  </a:lnTo>
                  <a:lnTo>
                    <a:pt x="2170" y="686"/>
                  </a:lnTo>
                  <a:lnTo>
                    <a:pt x="2187" y="700"/>
                  </a:lnTo>
                  <a:lnTo>
                    <a:pt x="2197" y="705"/>
                  </a:lnTo>
                  <a:lnTo>
                    <a:pt x="2207" y="711"/>
                  </a:lnTo>
                  <a:lnTo>
                    <a:pt x="2217" y="715"/>
                  </a:lnTo>
                  <a:lnTo>
                    <a:pt x="2230" y="717"/>
                  </a:lnTo>
                  <a:lnTo>
                    <a:pt x="2242" y="717"/>
                  </a:lnTo>
                  <a:lnTo>
                    <a:pt x="2253" y="716"/>
                  </a:lnTo>
                  <a:lnTo>
                    <a:pt x="2258" y="716"/>
                  </a:lnTo>
                  <a:lnTo>
                    <a:pt x="2264" y="716"/>
                  </a:lnTo>
                  <a:lnTo>
                    <a:pt x="2269" y="717"/>
                  </a:lnTo>
                  <a:lnTo>
                    <a:pt x="2275" y="720"/>
                  </a:lnTo>
                  <a:lnTo>
                    <a:pt x="2280" y="724"/>
                  </a:lnTo>
                  <a:lnTo>
                    <a:pt x="2284" y="728"/>
                  </a:lnTo>
                  <a:lnTo>
                    <a:pt x="2286" y="733"/>
                  </a:lnTo>
                  <a:lnTo>
                    <a:pt x="2289" y="740"/>
                  </a:lnTo>
                  <a:lnTo>
                    <a:pt x="2291" y="754"/>
                  </a:lnTo>
                  <a:lnTo>
                    <a:pt x="2294" y="768"/>
                  </a:lnTo>
                  <a:lnTo>
                    <a:pt x="2298" y="776"/>
                  </a:lnTo>
                  <a:lnTo>
                    <a:pt x="2304" y="784"/>
                  </a:lnTo>
                  <a:lnTo>
                    <a:pt x="2309" y="789"/>
                  </a:lnTo>
                  <a:lnTo>
                    <a:pt x="2317" y="796"/>
                  </a:lnTo>
                  <a:lnTo>
                    <a:pt x="2331" y="806"/>
                  </a:lnTo>
                  <a:lnTo>
                    <a:pt x="2348" y="815"/>
                  </a:lnTo>
                  <a:lnTo>
                    <a:pt x="2388" y="837"/>
                  </a:lnTo>
                  <a:lnTo>
                    <a:pt x="2426" y="855"/>
                  </a:lnTo>
                  <a:lnTo>
                    <a:pt x="2443" y="865"/>
                  </a:lnTo>
                  <a:lnTo>
                    <a:pt x="2460" y="877"/>
                  </a:lnTo>
                  <a:lnTo>
                    <a:pt x="2469" y="883"/>
                  </a:lnTo>
                  <a:lnTo>
                    <a:pt x="2478" y="890"/>
                  </a:lnTo>
                  <a:lnTo>
                    <a:pt x="2485" y="899"/>
                  </a:lnTo>
                  <a:lnTo>
                    <a:pt x="2494" y="907"/>
                  </a:lnTo>
                  <a:lnTo>
                    <a:pt x="2499" y="916"/>
                  </a:lnTo>
                  <a:lnTo>
                    <a:pt x="2504" y="923"/>
                  </a:lnTo>
                  <a:lnTo>
                    <a:pt x="2507" y="931"/>
                  </a:lnTo>
                  <a:lnTo>
                    <a:pt x="2509" y="940"/>
                  </a:lnTo>
                  <a:lnTo>
                    <a:pt x="2512" y="956"/>
                  </a:lnTo>
                  <a:lnTo>
                    <a:pt x="2515" y="975"/>
                  </a:lnTo>
                  <a:lnTo>
                    <a:pt x="2521" y="990"/>
                  </a:lnTo>
                  <a:lnTo>
                    <a:pt x="2526" y="1005"/>
                  </a:lnTo>
                  <a:lnTo>
                    <a:pt x="2532" y="1017"/>
                  </a:lnTo>
                  <a:lnTo>
                    <a:pt x="2539" y="1029"/>
                  </a:lnTo>
                  <a:lnTo>
                    <a:pt x="2554" y="1054"/>
                  </a:lnTo>
                  <a:lnTo>
                    <a:pt x="2569" y="1081"/>
                  </a:lnTo>
                  <a:lnTo>
                    <a:pt x="2589" y="1126"/>
                  </a:lnTo>
                  <a:lnTo>
                    <a:pt x="2606" y="1167"/>
                  </a:lnTo>
                  <a:lnTo>
                    <a:pt x="2616" y="1186"/>
                  </a:lnTo>
                  <a:lnTo>
                    <a:pt x="2628" y="1205"/>
                  </a:lnTo>
                  <a:lnTo>
                    <a:pt x="2634" y="1214"/>
                  </a:lnTo>
                  <a:lnTo>
                    <a:pt x="2642" y="1223"/>
                  </a:lnTo>
                  <a:lnTo>
                    <a:pt x="2649" y="1232"/>
                  </a:lnTo>
                  <a:lnTo>
                    <a:pt x="2659" y="1241"/>
                  </a:lnTo>
                  <a:lnTo>
                    <a:pt x="2676" y="1257"/>
                  </a:lnTo>
                  <a:lnTo>
                    <a:pt x="2692" y="1271"/>
                  </a:lnTo>
                  <a:lnTo>
                    <a:pt x="2708" y="1285"/>
                  </a:lnTo>
                  <a:lnTo>
                    <a:pt x="2726" y="1300"/>
                  </a:lnTo>
                  <a:lnTo>
                    <a:pt x="2748" y="1314"/>
                  </a:lnTo>
                  <a:lnTo>
                    <a:pt x="2767" y="1327"/>
                  </a:lnTo>
                  <a:lnTo>
                    <a:pt x="2776" y="1336"/>
                  </a:lnTo>
                  <a:lnTo>
                    <a:pt x="2782" y="1345"/>
                  </a:lnTo>
                  <a:lnTo>
                    <a:pt x="2784" y="1349"/>
                  </a:lnTo>
                  <a:lnTo>
                    <a:pt x="2787" y="1354"/>
                  </a:lnTo>
                  <a:lnTo>
                    <a:pt x="2788" y="1360"/>
                  </a:lnTo>
                  <a:lnTo>
                    <a:pt x="2788" y="1366"/>
                  </a:lnTo>
                  <a:lnTo>
                    <a:pt x="2788" y="1386"/>
                  </a:lnTo>
                  <a:lnTo>
                    <a:pt x="2788" y="1402"/>
                  </a:lnTo>
                  <a:lnTo>
                    <a:pt x="2788" y="1419"/>
                  </a:lnTo>
                  <a:lnTo>
                    <a:pt x="2788" y="1437"/>
                  </a:lnTo>
                  <a:lnTo>
                    <a:pt x="2789" y="1445"/>
                  </a:lnTo>
                  <a:lnTo>
                    <a:pt x="2791" y="1451"/>
                  </a:lnTo>
                  <a:lnTo>
                    <a:pt x="2793" y="1456"/>
                  </a:lnTo>
                  <a:lnTo>
                    <a:pt x="2797" y="1460"/>
                  </a:lnTo>
                  <a:lnTo>
                    <a:pt x="2803" y="1464"/>
                  </a:lnTo>
                  <a:lnTo>
                    <a:pt x="2808" y="1467"/>
                  </a:lnTo>
                  <a:lnTo>
                    <a:pt x="2815" y="1469"/>
                  </a:lnTo>
                  <a:lnTo>
                    <a:pt x="2822" y="1471"/>
                  </a:lnTo>
                  <a:lnTo>
                    <a:pt x="2854" y="1474"/>
                  </a:lnTo>
                  <a:lnTo>
                    <a:pt x="2886" y="1480"/>
                  </a:lnTo>
                  <a:lnTo>
                    <a:pt x="2892" y="1482"/>
                  </a:lnTo>
                  <a:lnTo>
                    <a:pt x="2898" y="1484"/>
                  </a:lnTo>
                  <a:lnTo>
                    <a:pt x="2903" y="1488"/>
                  </a:lnTo>
                  <a:lnTo>
                    <a:pt x="2906" y="1491"/>
                  </a:lnTo>
                  <a:lnTo>
                    <a:pt x="2911" y="1497"/>
                  </a:lnTo>
                  <a:lnTo>
                    <a:pt x="2913" y="1502"/>
                  </a:lnTo>
                  <a:lnTo>
                    <a:pt x="2915" y="1508"/>
                  </a:lnTo>
                  <a:lnTo>
                    <a:pt x="2917" y="1514"/>
                  </a:lnTo>
                  <a:lnTo>
                    <a:pt x="2923" y="1541"/>
                  </a:lnTo>
                  <a:lnTo>
                    <a:pt x="2928" y="1569"/>
                  </a:lnTo>
                  <a:lnTo>
                    <a:pt x="2930" y="1578"/>
                  </a:lnTo>
                  <a:lnTo>
                    <a:pt x="2933" y="1585"/>
                  </a:lnTo>
                  <a:lnTo>
                    <a:pt x="2937" y="1592"/>
                  </a:lnTo>
                  <a:lnTo>
                    <a:pt x="2941" y="1599"/>
                  </a:lnTo>
                  <a:lnTo>
                    <a:pt x="2945" y="1605"/>
                  </a:lnTo>
                  <a:lnTo>
                    <a:pt x="2951" y="1611"/>
                  </a:lnTo>
                  <a:lnTo>
                    <a:pt x="2956" y="1616"/>
                  </a:lnTo>
                  <a:lnTo>
                    <a:pt x="2962" y="1621"/>
                  </a:lnTo>
                  <a:lnTo>
                    <a:pt x="2974" y="1631"/>
                  </a:lnTo>
                  <a:lnTo>
                    <a:pt x="2987" y="1638"/>
                  </a:lnTo>
                  <a:lnTo>
                    <a:pt x="3003" y="1647"/>
                  </a:lnTo>
                  <a:lnTo>
                    <a:pt x="3018" y="1656"/>
                  </a:lnTo>
                  <a:lnTo>
                    <a:pt x="3036" y="1665"/>
                  </a:lnTo>
                  <a:lnTo>
                    <a:pt x="3052" y="1673"/>
                  </a:lnTo>
                  <a:lnTo>
                    <a:pt x="3068" y="1679"/>
                  </a:lnTo>
                  <a:lnTo>
                    <a:pt x="3088" y="1687"/>
                  </a:lnTo>
                  <a:lnTo>
                    <a:pt x="3079" y="1697"/>
                  </a:lnTo>
                  <a:lnTo>
                    <a:pt x="3073" y="1706"/>
                  </a:lnTo>
                  <a:lnTo>
                    <a:pt x="3070" y="1716"/>
                  </a:lnTo>
                  <a:lnTo>
                    <a:pt x="3067" y="1727"/>
                  </a:lnTo>
                  <a:lnTo>
                    <a:pt x="3065" y="1737"/>
                  </a:lnTo>
                  <a:lnTo>
                    <a:pt x="3063" y="1747"/>
                  </a:lnTo>
                  <a:lnTo>
                    <a:pt x="3061" y="1759"/>
                  </a:lnTo>
                  <a:lnTo>
                    <a:pt x="3057" y="1771"/>
                  </a:lnTo>
                  <a:lnTo>
                    <a:pt x="3057" y="1771"/>
                  </a:lnTo>
                  <a:lnTo>
                    <a:pt x="3053" y="1771"/>
                  </a:lnTo>
                  <a:lnTo>
                    <a:pt x="3051" y="1771"/>
                  </a:lnTo>
                  <a:lnTo>
                    <a:pt x="3041" y="1771"/>
                  </a:lnTo>
                  <a:lnTo>
                    <a:pt x="3034" y="1773"/>
                  </a:lnTo>
                  <a:lnTo>
                    <a:pt x="3026" y="1777"/>
                  </a:lnTo>
                  <a:lnTo>
                    <a:pt x="3019" y="1781"/>
                  </a:lnTo>
                  <a:lnTo>
                    <a:pt x="3011" y="1785"/>
                  </a:lnTo>
                  <a:lnTo>
                    <a:pt x="3004" y="1790"/>
                  </a:lnTo>
                  <a:lnTo>
                    <a:pt x="2996" y="1793"/>
                  </a:lnTo>
                  <a:lnTo>
                    <a:pt x="2986" y="1796"/>
                  </a:lnTo>
                  <a:lnTo>
                    <a:pt x="2973" y="1799"/>
                  </a:lnTo>
                  <a:lnTo>
                    <a:pt x="2960" y="1805"/>
                  </a:lnTo>
                  <a:lnTo>
                    <a:pt x="2955" y="1808"/>
                  </a:lnTo>
                  <a:lnTo>
                    <a:pt x="2952" y="1812"/>
                  </a:lnTo>
                  <a:lnTo>
                    <a:pt x="2949" y="1818"/>
                  </a:lnTo>
                  <a:lnTo>
                    <a:pt x="2947" y="1824"/>
                  </a:lnTo>
                  <a:lnTo>
                    <a:pt x="2949" y="1836"/>
                  </a:lnTo>
                  <a:lnTo>
                    <a:pt x="2950" y="1847"/>
                  </a:lnTo>
                  <a:lnTo>
                    <a:pt x="2952" y="1856"/>
                  </a:lnTo>
                  <a:lnTo>
                    <a:pt x="2955" y="1866"/>
                  </a:lnTo>
                  <a:lnTo>
                    <a:pt x="2958" y="1876"/>
                  </a:lnTo>
                  <a:lnTo>
                    <a:pt x="2960" y="1886"/>
                  </a:lnTo>
                  <a:lnTo>
                    <a:pt x="2963" y="1896"/>
                  </a:lnTo>
                  <a:lnTo>
                    <a:pt x="2965" y="1908"/>
                  </a:lnTo>
                  <a:lnTo>
                    <a:pt x="2986" y="1896"/>
                  </a:lnTo>
                  <a:lnTo>
                    <a:pt x="3007" y="1886"/>
                  </a:lnTo>
                  <a:lnTo>
                    <a:pt x="3026" y="1876"/>
                  </a:lnTo>
                  <a:lnTo>
                    <a:pt x="3045" y="1867"/>
                  </a:lnTo>
                  <a:lnTo>
                    <a:pt x="3064" y="1859"/>
                  </a:lnTo>
                  <a:lnTo>
                    <a:pt x="3084" y="1850"/>
                  </a:lnTo>
                  <a:lnTo>
                    <a:pt x="3104" y="1840"/>
                  </a:lnTo>
                  <a:lnTo>
                    <a:pt x="3127" y="1829"/>
                  </a:lnTo>
                  <a:lnTo>
                    <a:pt x="3138" y="1824"/>
                  </a:lnTo>
                  <a:lnTo>
                    <a:pt x="3148" y="1818"/>
                  </a:lnTo>
                  <a:lnTo>
                    <a:pt x="3157" y="1810"/>
                  </a:lnTo>
                  <a:lnTo>
                    <a:pt x="3167" y="1802"/>
                  </a:lnTo>
                  <a:lnTo>
                    <a:pt x="3183" y="1787"/>
                  </a:lnTo>
                  <a:lnTo>
                    <a:pt x="3199" y="1773"/>
                  </a:lnTo>
                  <a:lnTo>
                    <a:pt x="3207" y="1766"/>
                  </a:lnTo>
                  <a:lnTo>
                    <a:pt x="3214" y="1759"/>
                  </a:lnTo>
                  <a:lnTo>
                    <a:pt x="3223" y="1754"/>
                  </a:lnTo>
                  <a:lnTo>
                    <a:pt x="3233" y="1748"/>
                  </a:lnTo>
                  <a:lnTo>
                    <a:pt x="3242" y="1744"/>
                  </a:lnTo>
                  <a:lnTo>
                    <a:pt x="3252" y="1741"/>
                  </a:lnTo>
                  <a:lnTo>
                    <a:pt x="3263" y="1739"/>
                  </a:lnTo>
                  <a:lnTo>
                    <a:pt x="3276" y="1737"/>
                  </a:lnTo>
                  <a:lnTo>
                    <a:pt x="3288" y="1737"/>
                  </a:lnTo>
                  <a:lnTo>
                    <a:pt x="3301" y="1734"/>
                  </a:lnTo>
                  <a:lnTo>
                    <a:pt x="3311" y="1732"/>
                  </a:lnTo>
                  <a:lnTo>
                    <a:pt x="3322" y="1729"/>
                  </a:lnTo>
                  <a:lnTo>
                    <a:pt x="3333" y="1726"/>
                  </a:lnTo>
                  <a:lnTo>
                    <a:pt x="3343" y="1721"/>
                  </a:lnTo>
                  <a:lnTo>
                    <a:pt x="3353" y="1716"/>
                  </a:lnTo>
                  <a:lnTo>
                    <a:pt x="3362" y="1711"/>
                  </a:lnTo>
                  <a:lnTo>
                    <a:pt x="3371" y="1704"/>
                  </a:lnTo>
                  <a:lnTo>
                    <a:pt x="3380" y="1697"/>
                  </a:lnTo>
                  <a:lnTo>
                    <a:pt x="3388" y="1689"/>
                  </a:lnTo>
                  <a:lnTo>
                    <a:pt x="3396" y="1680"/>
                  </a:lnTo>
                  <a:lnTo>
                    <a:pt x="3403" y="1672"/>
                  </a:lnTo>
                  <a:lnTo>
                    <a:pt x="3410" y="1662"/>
                  </a:lnTo>
                  <a:lnTo>
                    <a:pt x="3417" y="1652"/>
                  </a:lnTo>
                  <a:lnTo>
                    <a:pt x="3424" y="1642"/>
                  </a:lnTo>
                  <a:lnTo>
                    <a:pt x="3430" y="1632"/>
                  </a:lnTo>
                  <a:lnTo>
                    <a:pt x="3435" y="1620"/>
                  </a:lnTo>
                  <a:lnTo>
                    <a:pt x="3439" y="1609"/>
                  </a:lnTo>
                  <a:lnTo>
                    <a:pt x="3443" y="1597"/>
                  </a:lnTo>
                  <a:lnTo>
                    <a:pt x="3451" y="1575"/>
                  </a:lnTo>
                  <a:lnTo>
                    <a:pt x="3457" y="1553"/>
                  </a:lnTo>
                  <a:lnTo>
                    <a:pt x="3462" y="1543"/>
                  </a:lnTo>
                  <a:lnTo>
                    <a:pt x="3466" y="1534"/>
                  </a:lnTo>
                  <a:lnTo>
                    <a:pt x="3471" y="1526"/>
                  </a:lnTo>
                  <a:lnTo>
                    <a:pt x="3478" y="1518"/>
                  </a:lnTo>
                  <a:lnTo>
                    <a:pt x="3484" y="1513"/>
                  </a:lnTo>
                  <a:lnTo>
                    <a:pt x="3493" y="1509"/>
                  </a:lnTo>
                  <a:lnTo>
                    <a:pt x="3503" y="1505"/>
                  </a:lnTo>
                  <a:lnTo>
                    <a:pt x="3513" y="1504"/>
                  </a:lnTo>
                  <a:lnTo>
                    <a:pt x="3517" y="1504"/>
                  </a:lnTo>
                  <a:lnTo>
                    <a:pt x="3520" y="1505"/>
                  </a:lnTo>
                  <a:lnTo>
                    <a:pt x="3522" y="1507"/>
                  </a:lnTo>
                  <a:lnTo>
                    <a:pt x="3524" y="1509"/>
                  </a:lnTo>
                  <a:lnTo>
                    <a:pt x="3526" y="1514"/>
                  </a:lnTo>
                  <a:lnTo>
                    <a:pt x="3529" y="1520"/>
                  </a:lnTo>
                  <a:lnTo>
                    <a:pt x="3530" y="1534"/>
                  </a:lnTo>
                  <a:lnTo>
                    <a:pt x="3530" y="1549"/>
                  </a:lnTo>
                  <a:lnTo>
                    <a:pt x="3529" y="1580"/>
                  </a:lnTo>
                  <a:lnTo>
                    <a:pt x="3529" y="1608"/>
                  </a:lnTo>
                  <a:lnTo>
                    <a:pt x="3527" y="1635"/>
                  </a:lnTo>
                  <a:lnTo>
                    <a:pt x="3527" y="1667"/>
                  </a:lnTo>
                  <a:lnTo>
                    <a:pt x="3547" y="1670"/>
                  </a:lnTo>
                  <a:lnTo>
                    <a:pt x="3564" y="1673"/>
                  </a:lnTo>
                  <a:lnTo>
                    <a:pt x="3581" y="1675"/>
                  </a:lnTo>
                  <a:lnTo>
                    <a:pt x="3601" y="1675"/>
                  </a:lnTo>
                  <a:lnTo>
                    <a:pt x="3605" y="1675"/>
                  </a:lnTo>
                  <a:lnTo>
                    <a:pt x="3608" y="1672"/>
                  </a:lnTo>
                  <a:lnTo>
                    <a:pt x="3612" y="1669"/>
                  </a:lnTo>
                  <a:lnTo>
                    <a:pt x="3613" y="1663"/>
                  </a:lnTo>
                  <a:lnTo>
                    <a:pt x="3615" y="1652"/>
                  </a:lnTo>
                  <a:lnTo>
                    <a:pt x="3617" y="1642"/>
                  </a:lnTo>
                  <a:lnTo>
                    <a:pt x="3624" y="1621"/>
                  </a:lnTo>
                  <a:lnTo>
                    <a:pt x="3628" y="1602"/>
                  </a:lnTo>
                  <a:lnTo>
                    <a:pt x="3631" y="1582"/>
                  </a:lnTo>
                  <a:lnTo>
                    <a:pt x="3634" y="1561"/>
                  </a:lnTo>
                  <a:lnTo>
                    <a:pt x="3638" y="1528"/>
                  </a:lnTo>
                  <a:lnTo>
                    <a:pt x="3642" y="1499"/>
                  </a:lnTo>
                  <a:lnTo>
                    <a:pt x="3644" y="1485"/>
                  </a:lnTo>
                  <a:lnTo>
                    <a:pt x="3648" y="1471"/>
                  </a:lnTo>
                  <a:lnTo>
                    <a:pt x="3653" y="1456"/>
                  </a:lnTo>
                  <a:lnTo>
                    <a:pt x="3659" y="1440"/>
                  </a:lnTo>
                  <a:lnTo>
                    <a:pt x="3667" y="1420"/>
                  </a:lnTo>
                  <a:lnTo>
                    <a:pt x="3672" y="1402"/>
                  </a:lnTo>
                  <a:lnTo>
                    <a:pt x="3675" y="1393"/>
                  </a:lnTo>
                  <a:lnTo>
                    <a:pt x="3680" y="1385"/>
                  </a:lnTo>
                  <a:lnTo>
                    <a:pt x="3685" y="1377"/>
                  </a:lnTo>
                  <a:lnTo>
                    <a:pt x="3693" y="1370"/>
                  </a:lnTo>
                  <a:lnTo>
                    <a:pt x="3702" y="1363"/>
                  </a:lnTo>
                  <a:lnTo>
                    <a:pt x="3712" y="1356"/>
                  </a:lnTo>
                  <a:lnTo>
                    <a:pt x="3722" y="1351"/>
                  </a:lnTo>
                  <a:lnTo>
                    <a:pt x="3732" y="1347"/>
                  </a:lnTo>
                  <a:lnTo>
                    <a:pt x="3740" y="1342"/>
                  </a:lnTo>
                  <a:lnTo>
                    <a:pt x="3750" y="1339"/>
                  </a:lnTo>
                  <a:lnTo>
                    <a:pt x="3760" y="1337"/>
                  </a:lnTo>
                  <a:lnTo>
                    <a:pt x="3769" y="1334"/>
                  </a:lnTo>
                  <a:lnTo>
                    <a:pt x="3789" y="1331"/>
                  </a:lnTo>
                  <a:lnTo>
                    <a:pt x="3810" y="1329"/>
                  </a:lnTo>
                  <a:lnTo>
                    <a:pt x="3832" y="1328"/>
                  </a:lnTo>
                  <a:lnTo>
                    <a:pt x="3856" y="1328"/>
                  </a:lnTo>
                  <a:lnTo>
                    <a:pt x="3867" y="1328"/>
                  </a:lnTo>
                  <a:lnTo>
                    <a:pt x="3876" y="1329"/>
                  </a:lnTo>
                  <a:lnTo>
                    <a:pt x="3886" y="1331"/>
                  </a:lnTo>
                  <a:lnTo>
                    <a:pt x="3895" y="1333"/>
                  </a:lnTo>
                  <a:lnTo>
                    <a:pt x="3912" y="1338"/>
                  </a:lnTo>
                  <a:lnTo>
                    <a:pt x="3929" y="1343"/>
                  </a:lnTo>
                  <a:lnTo>
                    <a:pt x="3947" y="1349"/>
                  </a:lnTo>
                  <a:lnTo>
                    <a:pt x="3964" y="1354"/>
                  </a:lnTo>
                  <a:lnTo>
                    <a:pt x="3972" y="1356"/>
                  </a:lnTo>
                  <a:lnTo>
                    <a:pt x="3982" y="1358"/>
                  </a:lnTo>
                  <a:lnTo>
                    <a:pt x="3992" y="1359"/>
                  </a:lnTo>
                  <a:lnTo>
                    <a:pt x="4003" y="1359"/>
                  </a:lnTo>
                  <a:lnTo>
                    <a:pt x="4020" y="1358"/>
                  </a:lnTo>
                  <a:lnTo>
                    <a:pt x="4035" y="1355"/>
                  </a:lnTo>
                  <a:lnTo>
                    <a:pt x="4050" y="1352"/>
                  </a:lnTo>
                  <a:lnTo>
                    <a:pt x="4064" y="1348"/>
                  </a:lnTo>
                  <a:lnTo>
                    <a:pt x="4091" y="1337"/>
                  </a:lnTo>
                  <a:lnTo>
                    <a:pt x="4117" y="1324"/>
                  </a:lnTo>
                  <a:lnTo>
                    <a:pt x="4143" y="1311"/>
                  </a:lnTo>
                  <a:lnTo>
                    <a:pt x="4169" y="1299"/>
                  </a:lnTo>
                  <a:lnTo>
                    <a:pt x="4183" y="1295"/>
                  </a:lnTo>
                  <a:lnTo>
                    <a:pt x="4198" y="1292"/>
                  </a:lnTo>
                  <a:lnTo>
                    <a:pt x="4214" y="1289"/>
                  </a:lnTo>
                  <a:lnTo>
                    <a:pt x="4232" y="1288"/>
                  </a:lnTo>
                  <a:lnTo>
                    <a:pt x="4239" y="1289"/>
                  </a:lnTo>
                  <a:lnTo>
                    <a:pt x="4246" y="1289"/>
                  </a:lnTo>
                  <a:lnTo>
                    <a:pt x="4252" y="1292"/>
                  </a:lnTo>
                  <a:lnTo>
                    <a:pt x="4259" y="1293"/>
                  </a:lnTo>
                  <a:lnTo>
                    <a:pt x="4271" y="1298"/>
                  </a:lnTo>
                  <a:lnTo>
                    <a:pt x="4281" y="1304"/>
                  </a:lnTo>
                  <a:lnTo>
                    <a:pt x="4304" y="1318"/>
                  </a:lnTo>
                  <a:lnTo>
                    <a:pt x="4329" y="1331"/>
                  </a:lnTo>
                  <a:lnTo>
                    <a:pt x="4340" y="1335"/>
                  </a:lnTo>
                  <a:lnTo>
                    <a:pt x="4349" y="1337"/>
                  </a:lnTo>
                  <a:lnTo>
                    <a:pt x="4358" y="1338"/>
                  </a:lnTo>
                  <a:lnTo>
                    <a:pt x="4367" y="1339"/>
                  </a:lnTo>
                  <a:lnTo>
                    <a:pt x="4385" y="1341"/>
                  </a:lnTo>
                  <a:lnTo>
                    <a:pt x="4406" y="1345"/>
                  </a:lnTo>
                  <a:lnTo>
                    <a:pt x="4420" y="1349"/>
                  </a:lnTo>
                  <a:lnTo>
                    <a:pt x="4433" y="1353"/>
                  </a:lnTo>
                  <a:lnTo>
                    <a:pt x="4447" y="1358"/>
                  </a:lnTo>
                  <a:lnTo>
                    <a:pt x="4461" y="1362"/>
                  </a:lnTo>
                  <a:lnTo>
                    <a:pt x="4474" y="1364"/>
                  </a:lnTo>
                  <a:lnTo>
                    <a:pt x="4486" y="1367"/>
                  </a:lnTo>
                  <a:lnTo>
                    <a:pt x="4497" y="1372"/>
                  </a:lnTo>
                  <a:lnTo>
                    <a:pt x="4508" y="1376"/>
                  </a:lnTo>
                  <a:lnTo>
                    <a:pt x="4514" y="1379"/>
                  </a:lnTo>
                  <a:lnTo>
                    <a:pt x="4518" y="1381"/>
                  </a:lnTo>
                  <a:lnTo>
                    <a:pt x="4521" y="1386"/>
                  </a:lnTo>
                  <a:lnTo>
                    <a:pt x="4524" y="1389"/>
                  </a:lnTo>
                  <a:lnTo>
                    <a:pt x="4528" y="1393"/>
                  </a:lnTo>
                  <a:lnTo>
                    <a:pt x="4530" y="1399"/>
                  </a:lnTo>
                  <a:lnTo>
                    <a:pt x="4531" y="1403"/>
                  </a:lnTo>
                  <a:lnTo>
                    <a:pt x="4531" y="1409"/>
                  </a:lnTo>
                  <a:lnTo>
                    <a:pt x="4531" y="1417"/>
                  </a:lnTo>
                  <a:lnTo>
                    <a:pt x="4528" y="1423"/>
                  </a:lnTo>
                  <a:lnTo>
                    <a:pt x="4524" y="1429"/>
                  </a:lnTo>
                  <a:lnTo>
                    <a:pt x="4520" y="1434"/>
                  </a:lnTo>
                  <a:lnTo>
                    <a:pt x="4511" y="1445"/>
                  </a:lnTo>
                  <a:lnTo>
                    <a:pt x="4503" y="1457"/>
                  </a:lnTo>
                  <a:lnTo>
                    <a:pt x="4494" y="1477"/>
                  </a:lnTo>
                  <a:lnTo>
                    <a:pt x="4487" y="1496"/>
                  </a:lnTo>
                  <a:lnTo>
                    <a:pt x="4484" y="1505"/>
                  </a:lnTo>
                  <a:lnTo>
                    <a:pt x="4482" y="1515"/>
                  </a:lnTo>
                  <a:lnTo>
                    <a:pt x="4481" y="1526"/>
                  </a:lnTo>
                  <a:lnTo>
                    <a:pt x="4481" y="1538"/>
                  </a:lnTo>
                  <a:lnTo>
                    <a:pt x="4481" y="1559"/>
                  </a:lnTo>
                  <a:lnTo>
                    <a:pt x="4481" y="1580"/>
                  </a:lnTo>
                  <a:lnTo>
                    <a:pt x="4481" y="1599"/>
                  </a:lnTo>
                  <a:lnTo>
                    <a:pt x="4481" y="1622"/>
                  </a:lnTo>
                  <a:lnTo>
                    <a:pt x="4474" y="1631"/>
                  </a:lnTo>
                  <a:lnTo>
                    <a:pt x="4468" y="1638"/>
                  </a:lnTo>
                  <a:lnTo>
                    <a:pt x="4463" y="1646"/>
                  </a:lnTo>
                  <a:lnTo>
                    <a:pt x="4460" y="1655"/>
                  </a:lnTo>
                  <a:lnTo>
                    <a:pt x="4453" y="1671"/>
                  </a:lnTo>
                  <a:lnTo>
                    <a:pt x="4444" y="1689"/>
                  </a:lnTo>
                  <a:lnTo>
                    <a:pt x="4426" y="1723"/>
                  </a:lnTo>
                  <a:lnTo>
                    <a:pt x="4408" y="1755"/>
                  </a:lnTo>
                  <a:lnTo>
                    <a:pt x="4398" y="1770"/>
                  </a:lnTo>
                  <a:lnTo>
                    <a:pt x="4388" y="1784"/>
                  </a:lnTo>
                  <a:lnTo>
                    <a:pt x="4378" y="1798"/>
                  </a:lnTo>
                  <a:lnTo>
                    <a:pt x="4367" y="1810"/>
                  </a:lnTo>
                  <a:lnTo>
                    <a:pt x="4355" y="1822"/>
                  </a:lnTo>
                  <a:lnTo>
                    <a:pt x="4343" y="1833"/>
                  </a:lnTo>
                  <a:lnTo>
                    <a:pt x="4330" y="1842"/>
                  </a:lnTo>
                  <a:lnTo>
                    <a:pt x="4316" y="1850"/>
                  </a:lnTo>
                  <a:lnTo>
                    <a:pt x="4301" y="1858"/>
                  </a:lnTo>
                  <a:lnTo>
                    <a:pt x="4285" y="1863"/>
                  </a:lnTo>
                  <a:lnTo>
                    <a:pt x="4267" y="1866"/>
                  </a:lnTo>
                  <a:lnTo>
                    <a:pt x="4248" y="1868"/>
                  </a:lnTo>
                  <a:lnTo>
                    <a:pt x="4223" y="1872"/>
                  </a:lnTo>
                  <a:lnTo>
                    <a:pt x="4200" y="1875"/>
                  </a:lnTo>
                  <a:lnTo>
                    <a:pt x="4178" y="1879"/>
                  </a:lnTo>
                  <a:lnTo>
                    <a:pt x="4156" y="1883"/>
                  </a:lnTo>
                  <a:lnTo>
                    <a:pt x="4116" y="1894"/>
                  </a:lnTo>
                  <a:lnTo>
                    <a:pt x="4077" y="1906"/>
                  </a:lnTo>
                  <a:lnTo>
                    <a:pt x="4038" y="1918"/>
                  </a:lnTo>
                  <a:lnTo>
                    <a:pt x="3997" y="1927"/>
                  </a:lnTo>
                  <a:lnTo>
                    <a:pt x="3977" y="1931"/>
                  </a:lnTo>
                  <a:lnTo>
                    <a:pt x="3954" y="1933"/>
                  </a:lnTo>
                  <a:lnTo>
                    <a:pt x="3931" y="1935"/>
                  </a:lnTo>
                  <a:lnTo>
                    <a:pt x="3907" y="1936"/>
                  </a:lnTo>
                  <a:lnTo>
                    <a:pt x="3887" y="1935"/>
                  </a:lnTo>
                  <a:lnTo>
                    <a:pt x="3871" y="1933"/>
                  </a:lnTo>
                  <a:lnTo>
                    <a:pt x="3855" y="1931"/>
                  </a:lnTo>
                  <a:lnTo>
                    <a:pt x="3840" y="1928"/>
                  </a:lnTo>
                  <a:lnTo>
                    <a:pt x="3825" y="1925"/>
                  </a:lnTo>
                  <a:lnTo>
                    <a:pt x="3808" y="1922"/>
                  </a:lnTo>
                  <a:lnTo>
                    <a:pt x="3791" y="1920"/>
                  </a:lnTo>
                  <a:lnTo>
                    <a:pt x="3773" y="1919"/>
                  </a:lnTo>
                  <a:lnTo>
                    <a:pt x="3756" y="1920"/>
                  </a:lnTo>
                  <a:lnTo>
                    <a:pt x="3742" y="1921"/>
                  </a:lnTo>
                  <a:lnTo>
                    <a:pt x="3728" y="1923"/>
                  </a:lnTo>
                  <a:lnTo>
                    <a:pt x="3714" y="1926"/>
                  </a:lnTo>
                  <a:lnTo>
                    <a:pt x="3687" y="1931"/>
                  </a:lnTo>
                  <a:lnTo>
                    <a:pt x="3657" y="1936"/>
                  </a:lnTo>
                  <a:lnTo>
                    <a:pt x="3632" y="1937"/>
                  </a:lnTo>
                  <a:lnTo>
                    <a:pt x="3610" y="1936"/>
                  </a:lnTo>
                  <a:lnTo>
                    <a:pt x="3599" y="1936"/>
                  </a:lnTo>
                  <a:lnTo>
                    <a:pt x="3588" y="1936"/>
                  </a:lnTo>
                  <a:lnTo>
                    <a:pt x="3576" y="1939"/>
                  </a:lnTo>
                  <a:lnTo>
                    <a:pt x="3564" y="1942"/>
                  </a:lnTo>
                  <a:lnTo>
                    <a:pt x="3570" y="1949"/>
                  </a:lnTo>
                  <a:lnTo>
                    <a:pt x="3575" y="1955"/>
                  </a:lnTo>
                  <a:lnTo>
                    <a:pt x="3581" y="1960"/>
                  </a:lnTo>
                  <a:lnTo>
                    <a:pt x="3589" y="1963"/>
                  </a:lnTo>
                  <a:lnTo>
                    <a:pt x="3605" y="1970"/>
                  </a:lnTo>
                  <a:lnTo>
                    <a:pt x="3624" y="1975"/>
                  </a:lnTo>
                  <a:lnTo>
                    <a:pt x="3651" y="1987"/>
                  </a:lnTo>
                  <a:lnTo>
                    <a:pt x="3674" y="1998"/>
                  </a:lnTo>
                  <a:lnTo>
                    <a:pt x="3686" y="2002"/>
                  </a:lnTo>
                  <a:lnTo>
                    <a:pt x="3699" y="2006"/>
                  </a:lnTo>
                  <a:lnTo>
                    <a:pt x="3712" y="2008"/>
                  </a:lnTo>
                  <a:lnTo>
                    <a:pt x="3727" y="2009"/>
                  </a:lnTo>
                  <a:lnTo>
                    <a:pt x="3742" y="2009"/>
                  </a:lnTo>
                  <a:lnTo>
                    <a:pt x="3756" y="2009"/>
                  </a:lnTo>
                  <a:lnTo>
                    <a:pt x="3771" y="2009"/>
                  </a:lnTo>
                  <a:lnTo>
                    <a:pt x="3786" y="2009"/>
                  </a:lnTo>
                  <a:lnTo>
                    <a:pt x="3786" y="2009"/>
                  </a:lnTo>
                  <a:lnTo>
                    <a:pt x="4152" y="1956"/>
                  </a:lnTo>
                  <a:lnTo>
                    <a:pt x="4152" y="1956"/>
                  </a:lnTo>
                  <a:lnTo>
                    <a:pt x="4152" y="1964"/>
                  </a:lnTo>
                  <a:lnTo>
                    <a:pt x="4152" y="1973"/>
                  </a:lnTo>
                  <a:lnTo>
                    <a:pt x="4152" y="1981"/>
                  </a:lnTo>
                  <a:lnTo>
                    <a:pt x="4152" y="1990"/>
                  </a:lnTo>
                  <a:lnTo>
                    <a:pt x="4151" y="2001"/>
                  </a:lnTo>
                  <a:lnTo>
                    <a:pt x="4150" y="2011"/>
                  </a:lnTo>
                  <a:lnTo>
                    <a:pt x="4149" y="2021"/>
                  </a:lnTo>
                  <a:lnTo>
                    <a:pt x="4145" y="2030"/>
                  </a:lnTo>
                  <a:lnTo>
                    <a:pt x="4140" y="2048"/>
                  </a:lnTo>
                  <a:lnTo>
                    <a:pt x="4131" y="2064"/>
                  </a:lnTo>
                  <a:lnTo>
                    <a:pt x="4112" y="2096"/>
                  </a:lnTo>
                  <a:lnTo>
                    <a:pt x="4091" y="2132"/>
                  </a:lnTo>
                  <a:lnTo>
                    <a:pt x="4084" y="2148"/>
                  </a:lnTo>
                  <a:lnTo>
                    <a:pt x="4078" y="2164"/>
                  </a:lnTo>
                  <a:lnTo>
                    <a:pt x="4075" y="2178"/>
                  </a:lnTo>
                  <a:lnTo>
                    <a:pt x="4073" y="2193"/>
                  </a:lnTo>
                  <a:lnTo>
                    <a:pt x="4072" y="2224"/>
                  </a:lnTo>
                  <a:lnTo>
                    <a:pt x="4072" y="2258"/>
                  </a:lnTo>
                  <a:lnTo>
                    <a:pt x="4072" y="2266"/>
                  </a:lnTo>
                  <a:lnTo>
                    <a:pt x="4074" y="2271"/>
                  </a:lnTo>
                  <a:lnTo>
                    <a:pt x="4076" y="2278"/>
                  </a:lnTo>
                  <a:lnTo>
                    <a:pt x="4079" y="2283"/>
                  </a:lnTo>
                  <a:lnTo>
                    <a:pt x="4086" y="2277"/>
                  </a:lnTo>
                  <a:lnTo>
                    <a:pt x="4091" y="2269"/>
                  </a:lnTo>
                  <a:lnTo>
                    <a:pt x="4095" y="2260"/>
                  </a:lnTo>
                  <a:lnTo>
                    <a:pt x="4097" y="2253"/>
                  </a:lnTo>
                  <a:lnTo>
                    <a:pt x="4101" y="2237"/>
                  </a:lnTo>
                  <a:lnTo>
                    <a:pt x="4107" y="2219"/>
                  </a:lnTo>
                  <a:lnTo>
                    <a:pt x="4119" y="2198"/>
                  </a:lnTo>
                  <a:lnTo>
                    <a:pt x="4130" y="2177"/>
                  </a:lnTo>
                  <a:lnTo>
                    <a:pt x="4142" y="2159"/>
                  </a:lnTo>
                  <a:lnTo>
                    <a:pt x="4156" y="2138"/>
                  </a:lnTo>
                  <a:lnTo>
                    <a:pt x="4172" y="2111"/>
                  </a:lnTo>
                  <a:lnTo>
                    <a:pt x="4185" y="2088"/>
                  </a:lnTo>
                  <a:lnTo>
                    <a:pt x="4198" y="2064"/>
                  </a:lnTo>
                  <a:lnTo>
                    <a:pt x="4214" y="2037"/>
                  </a:lnTo>
                  <a:lnTo>
                    <a:pt x="4224" y="2023"/>
                  </a:lnTo>
                  <a:lnTo>
                    <a:pt x="4234" y="2010"/>
                  </a:lnTo>
                  <a:lnTo>
                    <a:pt x="4244" y="1997"/>
                  </a:lnTo>
                  <a:lnTo>
                    <a:pt x="4253" y="1986"/>
                  </a:lnTo>
                  <a:lnTo>
                    <a:pt x="4273" y="1966"/>
                  </a:lnTo>
                  <a:lnTo>
                    <a:pt x="4293" y="1946"/>
                  </a:lnTo>
                  <a:lnTo>
                    <a:pt x="4315" y="1929"/>
                  </a:lnTo>
                  <a:lnTo>
                    <a:pt x="4338" y="1910"/>
                  </a:lnTo>
                  <a:lnTo>
                    <a:pt x="4362" y="1892"/>
                  </a:lnTo>
                  <a:lnTo>
                    <a:pt x="4388" y="1872"/>
                  </a:lnTo>
                  <a:lnTo>
                    <a:pt x="4394" y="1878"/>
                  </a:lnTo>
                  <a:lnTo>
                    <a:pt x="4398" y="1885"/>
                  </a:lnTo>
                  <a:lnTo>
                    <a:pt x="4402" y="1891"/>
                  </a:lnTo>
                  <a:lnTo>
                    <a:pt x="4406" y="1898"/>
                  </a:lnTo>
                  <a:lnTo>
                    <a:pt x="4410" y="1904"/>
                  </a:lnTo>
                  <a:lnTo>
                    <a:pt x="4414" y="1909"/>
                  </a:lnTo>
                  <a:lnTo>
                    <a:pt x="4420" y="1914"/>
                  </a:lnTo>
                  <a:lnTo>
                    <a:pt x="4427" y="1917"/>
                  </a:lnTo>
                  <a:lnTo>
                    <a:pt x="4459" y="1925"/>
                  </a:lnTo>
                  <a:lnTo>
                    <a:pt x="4486" y="1929"/>
                  </a:lnTo>
                  <a:lnTo>
                    <a:pt x="4500" y="1931"/>
                  </a:lnTo>
                  <a:lnTo>
                    <a:pt x="4514" y="1932"/>
                  </a:lnTo>
                  <a:lnTo>
                    <a:pt x="4529" y="1933"/>
                  </a:lnTo>
                  <a:lnTo>
                    <a:pt x="4545" y="1933"/>
                  </a:lnTo>
                  <a:lnTo>
                    <a:pt x="4548" y="1933"/>
                  </a:lnTo>
                  <a:lnTo>
                    <a:pt x="4550" y="1932"/>
                  </a:lnTo>
                  <a:lnTo>
                    <a:pt x="4552" y="1931"/>
                  </a:lnTo>
                  <a:lnTo>
                    <a:pt x="4555" y="1929"/>
                  </a:lnTo>
                  <a:lnTo>
                    <a:pt x="4557" y="1925"/>
                  </a:lnTo>
                  <a:lnTo>
                    <a:pt x="4558" y="1919"/>
                  </a:lnTo>
                  <a:lnTo>
                    <a:pt x="4559" y="1906"/>
                  </a:lnTo>
                  <a:lnTo>
                    <a:pt x="4559" y="1893"/>
                  </a:lnTo>
                  <a:lnTo>
                    <a:pt x="4559" y="1875"/>
                  </a:lnTo>
                  <a:lnTo>
                    <a:pt x="4559" y="1859"/>
                  </a:lnTo>
                  <a:lnTo>
                    <a:pt x="4559" y="1842"/>
                  </a:lnTo>
                  <a:lnTo>
                    <a:pt x="4559" y="1825"/>
                  </a:lnTo>
                  <a:lnTo>
                    <a:pt x="4560" y="1819"/>
                  </a:lnTo>
                  <a:lnTo>
                    <a:pt x="4560" y="1813"/>
                  </a:lnTo>
                  <a:lnTo>
                    <a:pt x="4562" y="1808"/>
                  </a:lnTo>
                  <a:lnTo>
                    <a:pt x="4563" y="1804"/>
                  </a:lnTo>
                  <a:lnTo>
                    <a:pt x="4568" y="1795"/>
                  </a:lnTo>
                  <a:lnTo>
                    <a:pt x="4573" y="1786"/>
                  </a:lnTo>
                  <a:lnTo>
                    <a:pt x="4578" y="1778"/>
                  </a:lnTo>
                  <a:lnTo>
                    <a:pt x="4583" y="1769"/>
                  </a:lnTo>
                  <a:lnTo>
                    <a:pt x="4585" y="1764"/>
                  </a:lnTo>
                  <a:lnTo>
                    <a:pt x="4586" y="1759"/>
                  </a:lnTo>
                  <a:lnTo>
                    <a:pt x="4587" y="1754"/>
                  </a:lnTo>
                  <a:lnTo>
                    <a:pt x="4587" y="1747"/>
                  </a:lnTo>
                  <a:lnTo>
                    <a:pt x="4587" y="1725"/>
                  </a:lnTo>
                  <a:lnTo>
                    <a:pt x="4587" y="1703"/>
                  </a:lnTo>
                  <a:lnTo>
                    <a:pt x="4587" y="1683"/>
                  </a:lnTo>
                  <a:lnTo>
                    <a:pt x="4587" y="1659"/>
                  </a:lnTo>
                  <a:lnTo>
                    <a:pt x="4588" y="1652"/>
                  </a:lnTo>
                  <a:lnTo>
                    <a:pt x="4590" y="1647"/>
                  </a:lnTo>
                  <a:lnTo>
                    <a:pt x="4595" y="1643"/>
                  </a:lnTo>
                  <a:lnTo>
                    <a:pt x="4599" y="1638"/>
                  </a:lnTo>
                  <a:lnTo>
                    <a:pt x="4611" y="1632"/>
                  </a:lnTo>
                  <a:lnTo>
                    <a:pt x="4624" y="1625"/>
                  </a:lnTo>
                  <a:lnTo>
                    <a:pt x="4636" y="1618"/>
                  </a:lnTo>
                  <a:lnTo>
                    <a:pt x="4648" y="1610"/>
                  </a:lnTo>
                  <a:lnTo>
                    <a:pt x="4656" y="1604"/>
                  </a:lnTo>
                  <a:lnTo>
                    <a:pt x="4666" y="1596"/>
                  </a:lnTo>
                  <a:lnTo>
                    <a:pt x="4673" y="1589"/>
                  </a:lnTo>
                  <a:lnTo>
                    <a:pt x="4682" y="1580"/>
                  </a:lnTo>
                  <a:lnTo>
                    <a:pt x="4691" y="1569"/>
                  </a:lnTo>
                  <a:lnTo>
                    <a:pt x="4699" y="1557"/>
                  </a:lnTo>
                  <a:lnTo>
                    <a:pt x="4705" y="1559"/>
                  </a:lnTo>
                  <a:lnTo>
                    <a:pt x="4710" y="1561"/>
                  </a:lnTo>
                  <a:lnTo>
                    <a:pt x="4730" y="1559"/>
                  </a:lnTo>
                  <a:lnTo>
                    <a:pt x="4748" y="1558"/>
                  </a:lnTo>
                  <a:lnTo>
                    <a:pt x="4764" y="1556"/>
                  </a:lnTo>
                  <a:lnTo>
                    <a:pt x="4781" y="1554"/>
                  </a:lnTo>
                  <a:lnTo>
                    <a:pt x="4798" y="1551"/>
                  </a:lnTo>
                  <a:lnTo>
                    <a:pt x="4814" y="1549"/>
                  </a:lnTo>
                  <a:lnTo>
                    <a:pt x="4832" y="1548"/>
                  </a:lnTo>
                  <a:lnTo>
                    <a:pt x="4852" y="1547"/>
                  </a:lnTo>
                  <a:lnTo>
                    <a:pt x="4876" y="1547"/>
                  </a:lnTo>
                  <a:lnTo>
                    <a:pt x="4898" y="1547"/>
                  </a:lnTo>
                  <a:lnTo>
                    <a:pt x="4920" y="1549"/>
                  </a:lnTo>
                  <a:lnTo>
                    <a:pt x="4943" y="1552"/>
                  </a:lnTo>
                  <a:lnTo>
                    <a:pt x="4952" y="1554"/>
                  </a:lnTo>
                  <a:lnTo>
                    <a:pt x="4960" y="1558"/>
                  </a:lnTo>
                  <a:lnTo>
                    <a:pt x="4967" y="1564"/>
                  </a:lnTo>
                  <a:lnTo>
                    <a:pt x="4973" y="1569"/>
                  </a:lnTo>
                  <a:lnTo>
                    <a:pt x="4979" y="1575"/>
                  </a:lnTo>
                  <a:lnTo>
                    <a:pt x="4987" y="1580"/>
                  </a:lnTo>
                  <a:lnTo>
                    <a:pt x="4993" y="1584"/>
                  </a:lnTo>
                  <a:lnTo>
                    <a:pt x="5002" y="1589"/>
                  </a:lnTo>
                  <a:lnTo>
                    <a:pt x="5024" y="1596"/>
                  </a:lnTo>
                  <a:lnTo>
                    <a:pt x="5046" y="1602"/>
                  </a:lnTo>
                  <a:lnTo>
                    <a:pt x="5067" y="1605"/>
                  </a:lnTo>
                  <a:lnTo>
                    <a:pt x="5086" y="1608"/>
                  </a:lnTo>
                  <a:lnTo>
                    <a:pt x="5105" y="1610"/>
                  </a:lnTo>
                  <a:lnTo>
                    <a:pt x="5127" y="1612"/>
                  </a:lnTo>
                  <a:lnTo>
                    <a:pt x="5149" y="1615"/>
                  </a:lnTo>
                  <a:lnTo>
                    <a:pt x="5174" y="1617"/>
                  </a:lnTo>
                  <a:lnTo>
                    <a:pt x="5186" y="1619"/>
                  </a:lnTo>
                  <a:lnTo>
                    <a:pt x="5199" y="1621"/>
                  </a:lnTo>
                  <a:lnTo>
                    <a:pt x="5212" y="1623"/>
                  </a:lnTo>
                  <a:lnTo>
                    <a:pt x="5223" y="1626"/>
                  </a:lnTo>
                  <a:lnTo>
                    <a:pt x="5246" y="1634"/>
                  </a:lnTo>
                  <a:lnTo>
                    <a:pt x="5266" y="1642"/>
                  </a:lnTo>
                  <a:lnTo>
                    <a:pt x="5288" y="1649"/>
                  </a:lnTo>
                  <a:lnTo>
                    <a:pt x="5311" y="1656"/>
                  </a:lnTo>
                  <a:lnTo>
                    <a:pt x="5321" y="1658"/>
                  </a:lnTo>
                  <a:lnTo>
                    <a:pt x="5334" y="1661"/>
                  </a:lnTo>
                  <a:lnTo>
                    <a:pt x="5347" y="1663"/>
                  </a:lnTo>
                  <a:lnTo>
                    <a:pt x="5360" y="1664"/>
                  </a:lnTo>
                  <a:lnTo>
                    <a:pt x="5385" y="1676"/>
                  </a:lnTo>
                  <a:lnTo>
                    <a:pt x="5408" y="1686"/>
                  </a:lnTo>
                  <a:lnTo>
                    <a:pt x="5428" y="1696"/>
                  </a:lnTo>
                  <a:lnTo>
                    <a:pt x="5449" y="1704"/>
                  </a:lnTo>
                  <a:lnTo>
                    <a:pt x="5469" y="1714"/>
                  </a:lnTo>
                  <a:lnTo>
                    <a:pt x="5489" y="1724"/>
                  </a:lnTo>
                  <a:lnTo>
                    <a:pt x="5509" y="1737"/>
                  </a:lnTo>
                  <a:lnTo>
                    <a:pt x="5532" y="1751"/>
                  </a:lnTo>
                  <a:lnTo>
                    <a:pt x="5539" y="1756"/>
                  </a:lnTo>
                  <a:lnTo>
                    <a:pt x="5546" y="1760"/>
                  </a:lnTo>
                  <a:lnTo>
                    <a:pt x="5546" y="1760"/>
                  </a:lnTo>
                  <a:close/>
                </a:path>
              </a:pathLst>
            </a:custGeom>
            <a:solidFill>
              <a:srgbClr val="56EFF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30">
              <a:extLst>
                <a:ext uri="{FF2B5EF4-FFF2-40B4-BE49-F238E27FC236}">
                  <a16:creationId xmlns:a16="http://schemas.microsoft.com/office/drawing/2014/main" id="{52780C97-E905-4546-9106-F413A7FC1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2938" y="1092201"/>
              <a:ext cx="53975" cy="39688"/>
            </a:xfrm>
            <a:custGeom>
              <a:avLst/>
              <a:gdLst>
                <a:gd name="T0" fmla="*/ 135 w 135"/>
                <a:gd name="T1" fmla="*/ 54 h 98"/>
                <a:gd name="T2" fmla="*/ 135 w 135"/>
                <a:gd name="T3" fmla="*/ 20 h 98"/>
                <a:gd name="T4" fmla="*/ 124 w 135"/>
                <a:gd name="T5" fmla="*/ 17 h 98"/>
                <a:gd name="T6" fmla="*/ 118 w 135"/>
                <a:gd name="T7" fmla="*/ 6 h 98"/>
                <a:gd name="T8" fmla="*/ 118 w 135"/>
                <a:gd name="T9" fmla="*/ 6 h 98"/>
                <a:gd name="T10" fmla="*/ 110 w 135"/>
                <a:gd name="T11" fmla="*/ 2 h 98"/>
                <a:gd name="T12" fmla="*/ 101 w 135"/>
                <a:gd name="T13" fmla="*/ 0 h 98"/>
                <a:gd name="T14" fmla="*/ 94 w 135"/>
                <a:gd name="T15" fmla="*/ 1 h 98"/>
                <a:gd name="T16" fmla="*/ 88 w 135"/>
                <a:gd name="T17" fmla="*/ 4 h 98"/>
                <a:gd name="T18" fmla="*/ 83 w 135"/>
                <a:gd name="T19" fmla="*/ 7 h 98"/>
                <a:gd name="T20" fmla="*/ 78 w 135"/>
                <a:gd name="T21" fmla="*/ 12 h 98"/>
                <a:gd name="T22" fmla="*/ 70 w 135"/>
                <a:gd name="T23" fmla="*/ 24 h 98"/>
                <a:gd name="T24" fmla="*/ 60 w 135"/>
                <a:gd name="T25" fmla="*/ 34 h 98"/>
                <a:gd name="T26" fmla="*/ 43 w 135"/>
                <a:gd name="T27" fmla="*/ 48 h 98"/>
                <a:gd name="T28" fmla="*/ 26 w 135"/>
                <a:gd name="T29" fmla="*/ 61 h 98"/>
                <a:gd name="T30" fmla="*/ 20 w 135"/>
                <a:gd name="T31" fmla="*/ 68 h 98"/>
                <a:gd name="T32" fmla="*/ 12 w 135"/>
                <a:gd name="T33" fmla="*/ 77 h 98"/>
                <a:gd name="T34" fmla="*/ 7 w 135"/>
                <a:gd name="T35" fmla="*/ 85 h 98"/>
                <a:gd name="T36" fmla="*/ 0 w 135"/>
                <a:gd name="T37" fmla="*/ 96 h 98"/>
                <a:gd name="T38" fmla="*/ 8 w 135"/>
                <a:gd name="T39" fmla="*/ 97 h 98"/>
                <a:gd name="T40" fmla="*/ 17 w 135"/>
                <a:gd name="T41" fmla="*/ 98 h 98"/>
                <a:gd name="T42" fmla="*/ 34 w 135"/>
                <a:gd name="T43" fmla="*/ 98 h 98"/>
                <a:gd name="T44" fmla="*/ 50 w 135"/>
                <a:gd name="T45" fmla="*/ 96 h 98"/>
                <a:gd name="T46" fmla="*/ 65 w 135"/>
                <a:gd name="T47" fmla="*/ 92 h 98"/>
                <a:gd name="T48" fmla="*/ 79 w 135"/>
                <a:gd name="T49" fmla="*/ 87 h 98"/>
                <a:gd name="T50" fmla="*/ 93 w 135"/>
                <a:gd name="T51" fmla="*/ 81 h 98"/>
                <a:gd name="T52" fmla="*/ 106 w 135"/>
                <a:gd name="T53" fmla="*/ 72 h 98"/>
                <a:gd name="T54" fmla="*/ 120 w 135"/>
                <a:gd name="T55" fmla="*/ 64 h 98"/>
                <a:gd name="T56" fmla="*/ 135 w 135"/>
                <a:gd name="T57" fmla="*/ 54 h 98"/>
                <a:gd name="T58" fmla="*/ 135 w 135"/>
                <a:gd name="T59" fmla="*/ 5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5" h="98">
                  <a:moveTo>
                    <a:pt x="135" y="54"/>
                  </a:moveTo>
                  <a:lnTo>
                    <a:pt x="135" y="20"/>
                  </a:lnTo>
                  <a:lnTo>
                    <a:pt x="124" y="17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0" y="2"/>
                  </a:lnTo>
                  <a:lnTo>
                    <a:pt x="101" y="0"/>
                  </a:lnTo>
                  <a:lnTo>
                    <a:pt x="94" y="1"/>
                  </a:lnTo>
                  <a:lnTo>
                    <a:pt x="88" y="4"/>
                  </a:lnTo>
                  <a:lnTo>
                    <a:pt x="83" y="7"/>
                  </a:lnTo>
                  <a:lnTo>
                    <a:pt x="78" y="12"/>
                  </a:lnTo>
                  <a:lnTo>
                    <a:pt x="70" y="24"/>
                  </a:lnTo>
                  <a:lnTo>
                    <a:pt x="60" y="34"/>
                  </a:lnTo>
                  <a:lnTo>
                    <a:pt x="43" y="48"/>
                  </a:lnTo>
                  <a:lnTo>
                    <a:pt x="26" y="61"/>
                  </a:lnTo>
                  <a:lnTo>
                    <a:pt x="20" y="68"/>
                  </a:lnTo>
                  <a:lnTo>
                    <a:pt x="12" y="77"/>
                  </a:lnTo>
                  <a:lnTo>
                    <a:pt x="7" y="85"/>
                  </a:lnTo>
                  <a:lnTo>
                    <a:pt x="0" y="96"/>
                  </a:lnTo>
                  <a:lnTo>
                    <a:pt x="8" y="97"/>
                  </a:lnTo>
                  <a:lnTo>
                    <a:pt x="17" y="98"/>
                  </a:lnTo>
                  <a:lnTo>
                    <a:pt x="34" y="98"/>
                  </a:lnTo>
                  <a:lnTo>
                    <a:pt x="50" y="96"/>
                  </a:lnTo>
                  <a:lnTo>
                    <a:pt x="65" y="92"/>
                  </a:lnTo>
                  <a:lnTo>
                    <a:pt x="79" y="87"/>
                  </a:lnTo>
                  <a:lnTo>
                    <a:pt x="93" y="81"/>
                  </a:lnTo>
                  <a:lnTo>
                    <a:pt x="106" y="72"/>
                  </a:lnTo>
                  <a:lnTo>
                    <a:pt x="120" y="64"/>
                  </a:lnTo>
                  <a:lnTo>
                    <a:pt x="135" y="54"/>
                  </a:lnTo>
                  <a:lnTo>
                    <a:pt x="135" y="5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31">
              <a:extLst>
                <a:ext uri="{FF2B5EF4-FFF2-40B4-BE49-F238E27FC236}">
                  <a16:creationId xmlns:a16="http://schemas.microsoft.com/office/drawing/2014/main" id="{336A4803-7F5E-4D63-95C1-FD68D434A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7700" y="1047751"/>
              <a:ext cx="84138" cy="58738"/>
            </a:xfrm>
            <a:custGeom>
              <a:avLst/>
              <a:gdLst>
                <a:gd name="T0" fmla="*/ 170 w 209"/>
                <a:gd name="T1" fmla="*/ 0 h 145"/>
                <a:gd name="T2" fmla="*/ 155 w 209"/>
                <a:gd name="T3" fmla="*/ 0 h 145"/>
                <a:gd name="T4" fmla="*/ 142 w 209"/>
                <a:gd name="T5" fmla="*/ 2 h 145"/>
                <a:gd name="T6" fmla="*/ 130 w 209"/>
                <a:gd name="T7" fmla="*/ 5 h 145"/>
                <a:gd name="T8" fmla="*/ 118 w 209"/>
                <a:gd name="T9" fmla="*/ 10 h 145"/>
                <a:gd name="T10" fmla="*/ 107 w 209"/>
                <a:gd name="T11" fmla="*/ 16 h 145"/>
                <a:gd name="T12" fmla="*/ 96 w 209"/>
                <a:gd name="T13" fmla="*/ 22 h 145"/>
                <a:gd name="T14" fmla="*/ 84 w 209"/>
                <a:gd name="T15" fmla="*/ 30 h 145"/>
                <a:gd name="T16" fmla="*/ 72 w 209"/>
                <a:gd name="T17" fmla="*/ 38 h 145"/>
                <a:gd name="T18" fmla="*/ 46 w 209"/>
                <a:gd name="T19" fmla="*/ 57 h 145"/>
                <a:gd name="T20" fmla="*/ 22 w 209"/>
                <a:gd name="T21" fmla="*/ 75 h 145"/>
                <a:gd name="T22" fmla="*/ 17 w 209"/>
                <a:gd name="T23" fmla="*/ 81 h 145"/>
                <a:gd name="T24" fmla="*/ 13 w 209"/>
                <a:gd name="T25" fmla="*/ 85 h 145"/>
                <a:gd name="T26" fmla="*/ 9 w 209"/>
                <a:gd name="T27" fmla="*/ 91 h 145"/>
                <a:gd name="T28" fmla="*/ 6 w 209"/>
                <a:gd name="T29" fmla="*/ 97 h 145"/>
                <a:gd name="T30" fmla="*/ 3 w 209"/>
                <a:gd name="T31" fmla="*/ 103 h 145"/>
                <a:gd name="T32" fmla="*/ 1 w 209"/>
                <a:gd name="T33" fmla="*/ 110 h 145"/>
                <a:gd name="T34" fmla="*/ 0 w 209"/>
                <a:gd name="T35" fmla="*/ 117 h 145"/>
                <a:gd name="T36" fmla="*/ 0 w 209"/>
                <a:gd name="T37" fmla="*/ 125 h 145"/>
                <a:gd name="T38" fmla="*/ 0 w 209"/>
                <a:gd name="T39" fmla="*/ 130 h 145"/>
                <a:gd name="T40" fmla="*/ 2 w 209"/>
                <a:gd name="T41" fmla="*/ 134 h 145"/>
                <a:gd name="T42" fmla="*/ 4 w 209"/>
                <a:gd name="T43" fmla="*/ 137 h 145"/>
                <a:gd name="T44" fmla="*/ 7 w 209"/>
                <a:gd name="T45" fmla="*/ 140 h 145"/>
                <a:gd name="T46" fmla="*/ 10 w 209"/>
                <a:gd name="T47" fmla="*/ 142 h 145"/>
                <a:gd name="T48" fmla="*/ 15 w 209"/>
                <a:gd name="T49" fmla="*/ 143 h 145"/>
                <a:gd name="T50" fmla="*/ 20 w 209"/>
                <a:gd name="T51" fmla="*/ 144 h 145"/>
                <a:gd name="T52" fmla="*/ 25 w 209"/>
                <a:gd name="T53" fmla="*/ 145 h 145"/>
                <a:gd name="T54" fmla="*/ 30 w 209"/>
                <a:gd name="T55" fmla="*/ 144 h 145"/>
                <a:gd name="T56" fmla="*/ 34 w 209"/>
                <a:gd name="T57" fmla="*/ 142 h 145"/>
                <a:gd name="T58" fmla="*/ 37 w 209"/>
                <a:gd name="T59" fmla="*/ 138 h 145"/>
                <a:gd name="T60" fmla="*/ 40 w 209"/>
                <a:gd name="T61" fmla="*/ 134 h 145"/>
                <a:gd name="T62" fmla="*/ 45 w 209"/>
                <a:gd name="T63" fmla="*/ 124 h 145"/>
                <a:gd name="T64" fmla="*/ 53 w 209"/>
                <a:gd name="T65" fmla="*/ 114 h 145"/>
                <a:gd name="T66" fmla="*/ 71 w 209"/>
                <a:gd name="T67" fmla="*/ 99 h 145"/>
                <a:gd name="T68" fmla="*/ 89 w 209"/>
                <a:gd name="T69" fmla="*/ 86 h 145"/>
                <a:gd name="T70" fmla="*/ 98 w 209"/>
                <a:gd name="T71" fmla="*/ 81 h 145"/>
                <a:gd name="T72" fmla="*/ 108 w 209"/>
                <a:gd name="T73" fmla="*/ 75 h 145"/>
                <a:gd name="T74" fmla="*/ 120 w 209"/>
                <a:gd name="T75" fmla="*/ 71 h 145"/>
                <a:gd name="T76" fmla="*/ 131 w 209"/>
                <a:gd name="T77" fmla="*/ 67 h 145"/>
                <a:gd name="T78" fmla="*/ 157 w 209"/>
                <a:gd name="T79" fmla="*/ 61 h 145"/>
                <a:gd name="T80" fmla="*/ 182 w 209"/>
                <a:gd name="T81" fmla="*/ 55 h 145"/>
                <a:gd name="T82" fmla="*/ 189 w 209"/>
                <a:gd name="T83" fmla="*/ 53 h 145"/>
                <a:gd name="T84" fmla="*/ 193 w 209"/>
                <a:gd name="T85" fmla="*/ 50 h 145"/>
                <a:gd name="T86" fmla="*/ 198 w 209"/>
                <a:gd name="T87" fmla="*/ 48 h 145"/>
                <a:gd name="T88" fmla="*/ 202 w 209"/>
                <a:gd name="T89" fmla="*/ 45 h 145"/>
                <a:gd name="T90" fmla="*/ 205 w 209"/>
                <a:gd name="T91" fmla="*/ 41 h 145"/>
                <a:gd name="T92" fmla="*/ 207 w 209"/>
                <a:gd name="T93" fmla="*/ 36 h 145"/>
                <a:gd name="T94" fmla="*/ 209 w 209"/>
                <a:gd name="T95" fmla="*/ 31 h 145"/>
                <a:gd name="T96" fmla="*/ 209 w 209"/>
                <a:gd name="T97" fmla="*/ 24 h 145"/>
                <a:gd name="T98" fmla="*/ 208 w 209"/>
                <a:gd name="T99" fmla="*/ 19 h 145"/>
                <a:gd name="T100" fmla="*/ 205 w 209"/>
                <a:gd name="T101" fmla="*/ 15 h 145"/>
                <a:gd name="T102" fmla="*/ 201 w 209"/>
                <a:gd name="T103" fmla="*/ 11 h 145"/>
                <a:gd name="T104" fmla="*/ 195 w 209"/>
                <a:gd name="T105" fmla="*/ 8 h 145"/>
                <a:gd name="T106" fmla="*/ 182 w 209"/>
                <a:gd name="T107" fmla="*/ 3 h 145"/>
                <a:gd name="T108" fmla="*/ 170 w 209"/>
                <a:gd name="T109" fmla="*/ 0 h 145"/>
                <a:gd name="T110" fmla="*/ 170 w 209"/>
                <a:gd name="T111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9" h="145">
                  <a:moveTo>
                    <a:pt x="170" y="0"/>
                  </a:moveTo>
                  <a:lnTo>
                    <a:pt x="155" y="0"/>
                  </a:lnTo>
                  <a:lnTo>
                    <a:pt x="142" y="2"/>
                  </a:lnTo>
                  <a:lnTo>
                    <a:pt x="130" y="5"/>
                  </a:lnTo>
                  <a:lnTo>
                    <a:pt x="118" y="10"/>
                  </a:lnTo>
                  <a:lnTo>
                    <a:pt x="107" y="16"/>
                  </a:lnTo>
                  <a:lnTo>
                    <a:pt x="96" y="22"/>
                  </a:lnTo>
                  <a:lnTo>
                    <a:pt x="84" y="30"/>
                  </a:lnTo>
                  <a:lnTo>
                    <a:pt x="72" y="38"/>
                  </a:lnTo>
                  <a:lnTo>
                    <a:pt x="46" y="57"/>
                  </a:lnTo>
                  <a:lnTo>
                    <a:pt x="22" y="75"/>
                  </a:lnTo>
                  <a:lnTo>
                    <a:pt x="17" y="81"/>
                  </a:lnTo>
                  <a:lnTo>
                    <a:pt x="13" y="85"/>
                  </a:lnTo>
                  <a:lnTo>
                    <a:pt x="9" y="91"/>
                  </a:lnTo>
                  <a:lnTo>
                    <a:pt x="6" y="97"/>
                  </a:lnTo>
                  <a:lnTo>
                    <a:pt x="3" y="103"/>
                  </a:lnTo>
                  <a:lnTo>
                    <a:pt x="1" y="110"/>
                  </a:lnTo>
                  <a:lnTo>
                    <a:pt x="0" y="117"/>
                  </a:lnTo>
                  <a:lnTo>
                    <a:pt x="0" y="125"/>
                  </a:lnTo>
                  <a:lnTo>
                    <a:pt x="0" y="130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5" y="143"/>
                  </a:lnTo>
                  <a:lnTo>
                    <a:pt x="20" y="144"/>
                  </a:lnTo>
                  <a:lnTo>
                    <a:pt x="25" y="145"/>
                  </a:lnTo>
                  <a:lnTo>
                    <a:pt x="30" y="144"/>
                  </a:lnTo>
                  <a:lnTo>
                    <a:pt x="34" y="142"/>
                  </a:lnTo>
                  <a:lnTo>
                    <a:pt x="37" y="138"/>
                  </a:lnTo>
                  <a:lnTo>
                    <a:pt x="40" y="134"/>
                  </a:lnTo>
                  <a:lnTo>
                    <a:pt x="45" y="124"/>
                  </a:lnTo>
                  <a:lnTo>
                    <a:pt x="53" y="114"/>
                  </a:lnTo>
                  <a:lnTo>
                    <a:pt x="71" y="99"/>
                  </a:lnTo>
                  <a:lnTo>
                    <a:pt x="89" y="86"/>
                  </a:lnTo>
                  <a:lnTo>
                    <a:pt x="98" y="81"/>
                  </a:lnTo>
                  <a:lnTo>
                    <a:pt x="108" y="75"/>
                  </a:lnTo>
                  <a:lnTo>
                    <a:pt x="120" y="71"/>
                  </a:lnTo>
                  <a:lnTo>
                    <a:pt x="131" y="67"/>
                  </a:lnTo>
                  <a:lnTo>
                    <a:pt x="157" y="61"/>
                  </a:lnTo>
                  <a:lnTo>
                    <a:pt x="182" y="55"/>
                  </a:lnTo>
                  <a:lnTo>
                    <a:pt x="189" y="53"/>
                  </a:lnTo>
                  <a:lnTo>
                    <a:pt x="193" y="50"/>
                  </a:lnTo>
                  <a:lnTo>
                    <a:pt x="198" y="48"/>
                  </a:lnTo>
                  <a:lnTo>
                    <a:pt x="202" y="45"/>
                  </a:lnTo>
                  <a:lnTo>
                    <a:pt x="205" y="41"/>
                  </a:lnTo>
                  <a:lnTo>
                    <a:pt x="207" y="36"/>
                  </a:lnTo>
                  <a:lnTo>
                    <a:pt x="209" y="31"/>
                  </a:lnTo>
                  <a:lnTo>
                    <a:pt x="209" y="24"/>
                  </a:lnTo>
                  <a:lnTo>
                    <a:pt x="208" y="19"/>
                  </a:lnTo>
                  <a:lnTo>
                    <a:pt x="205" y="15"/>
                  </a:lnTo>
                  <a:lnTo>
                    <a:pt x="201" y="11"/>
                  </a:lnTo>
                  <a:lnTo>
                    <a:pt x="195" y="8"/>
                  </a:lnTo>
                  <a:lnTo>
                    <a:pt x="182" y="3"/>
                  </a:lnTo>
                  <a:lnTo>
                    <a:pt x="170" y="0"/>
                  </a:lnTo>
                  <a:lnTo>
                    <a:pt x="17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32">
              <a:extLst>
                <a:ext uri="{FF2B5EF4-FFF2-40B4-BE49-F238E27FC236}">
                  <a16:creationId xmlns:a16="http://schemas.microsoft.com/office/drawing/2014/main" id="{2AA08A13-CA4E-4102-8576-F588B9718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65450" y="1052513"/>
              <a:ext cx="47625" cy="36513"/>
            </a:xfrm>
            <a:custGeom>
              <a:avLst/>
              <a:gdLst>
                <a:gd name="T0" fmla="*/ 50 w 120"/>
                <a:gd name="T1" fmla="*/ 0 h 93"/>
                <a:gd name="T2" fmla="*/ 45 w 120"/>
                <a:gd name="T3" fmla="*/ 1 h 93"/>
                <a:gd name="T4" fmla="*/ 39 w 120"/>
                <a:gd name="T5" fmla="*/ 4 h 93"/>
                <a:gd name="T6" fmla="*/ 35 w 120"/>
                <a:gd name="T7" fmla="*/ 7 h 93"/>
                <a:gd name="T8" fmla="*/ 32 w 120"/>
                <a:gd name="T9" fmla="*/ 10 h 93"/>
                <a:gd name="T10" fmla="*/ 24 w 120"/>
                <a:gd name="T11" fmla="*/ 20 h 93"/>
                <a:gd name="T12" fmla="*/ 16 w 120"/>
                <a:gd name="T13" fmla="*/ 28 h 93"/>
                <a:gd name="T14" fmla="*/ 11 w 120"/>
                <a:gd name="T15" fmla="*/ 33 h 93"/>
                <a:gd name="T16" fmla="*/ 6 w 120"/>
                <a:gd name="T17" fmla="*/ 37 h 93"/>
                <a:gd name="T18" fmla="*/ 3 w 120"/>
                <a:gd name="T19" fmla="*/ 39 h 93"/>
                <a:gd name="T20" fmla="*/ 1 w 120"/>
                <a:gd name="T21" fmla="*/ 41 h 93"/>
                <a:gd name="T22" fmla="*/ 0 w 120"/>
                <a:gd name="T23" fmla="*/ 45 h 93"/>
                <a:gd name="T24" fmla="*/ 0 w 120"/>
                <a:gd name="T25" fmla="*/ 48 h 93"/>
                <a:gd name="T26" fmla="*/ 0 w 120"/>
                <a:gd name="T27" fmla="*/ 53 h 93"/>
                <a:gd name="T28" fmla="*/ 1 w 120"/>
                <a:gd name="T29" fmla="*/ 58 h 93"/>
                <a:gd name="T30" fmla="*/ 2 w 120"/>
                <a:gd name="T31" fmla="*/ 62 h 93"/>
                <a:gd name="T32" fmla="*/ 5 w 120"/>
                <a:gd name="T33" fmla="*/ 66 h 93"/>
                <a:gd name="T34" fmla="*/ 9 w 120"/>
                <a:gd name="T35" fmla="*/ 74 h 93"/>
                <a:gd name="T36" fmla="*/ 15 w 120"/>
                <a:gd name="T37" fmla="*/ 80 h 93"/>
                <a:gd name="T38" fmla="*/ 23 w 120"/>
                <a:gd name="T39" fmla="*/ 86 h 93"/>
                <a:gd name="T40" fmla="*/ 32 w 120"/>
                <a:gd name="T41" fmla="*/ 90 h 93"/>
                <a:gd name="T42" fmla="*/ 40 w 120"/>
                <a:gd name="T43" fmla="*/ 92 h 93"/>
                <a:gd name="T44" fmla="*/ 50 w 120"/>
                <a:gd name="T45" fmla="*/ 93 h 93"/>
                <a:gd name="T46" fmla="*/ 57 w 120"/>
                <a:gd name="T47" fmla="*/ 92 h 93"/>
                <a:gd name="T48" fmla="*/ 63 w 120"/>
                <a:gd name="T49" fmla="*/ 90 h 93"/>
                <a:gd name="T50" fmla="*/ 68 w 120"/>
                <a:gd name="T51" fmla="*/ 88 h 93"/>
                <a:gd name="T52" fmla="*/ 74 w 120"/>
                <a:gd name="T53" fmla="*/ 85 h 93"/>
                <a:gd name="T54" fmla="*/ 83 w 120"/>
                <a:gd name="T55" fmla="*/ 77 h 93"/>
                <a:gd name="T56" fmla="*/ 95 w 120"/>
                <a:gd name="T57" fmla="*/ 71 h 93"/>
                <a:gd name="T58" fmla="*/ 104 w 120"/>
                <a:gd name="T59" fmla="*/ 67 h 93"/>
                <a:gd name="T60" fmla="*/ 113 w 120"/>
                <a:gd name="T61" fmla="*/ 62 h 93"/>
                <a:gd name="T62" fmla="*/ 116 w 120"/>
                <a:gd name="T63" fmla="*/ 60 h 93"/>
                <a:gd name="T64" fmla="*/ 118 w 120"/>
                <a:gd name="T65" fmla="*/ 57 h 93"/>
                <a:gd name="T66" fmla="*/ 120 w 120"/>
                <a:gd name="T67" fmla="*/ 52 h 93"/>
                <a:gd name="T68" fmla="*/ 120 w 120"/>
                <a:gd name="T69" fmla="*/ 48 h 93"/>
                <a:gd name="T70" fmla="*/ 120 w 120"/>
                <a:gd name="T71" fmla="*/ 43 h 93"/>
                <a:gd name="T72" fmla="*/ 119 w 120"/>
                <a:gd name="T73" fmla="*/ 37 h 93"/>
                <a:gd name="T74" fmla="*/ 117 w 120"/>
                <a:gd name="T75" fmla="*/ 32 h 93"/>
                <a:gd name="T76" fmla="*/ 114 w 120"/>
                <a:gd name="T77" fmla="*/ 26 h 93"/>
                <a:gd name="T78" fmla="*/ 110 w 120"/>
                <a:gd name="T79" fmla="*/ 22 h 93"/>
                <a:gd name="T80" fmla="*/ 107 w 120"/>
                <a:gd name="T81" fmla="*/ 19 h 93"/>
                <a:gd name="T82" fmla="*/ 103 w 120"/>
                <a:gd name="T83" fmla="*/ 16 h 93"/>
                <a:gd name="T84" fmla="*/ 97 w 120"/>
                <a:gd name="T85" fmla="*/ 12 h 93"/>
                <a:gd name="T86" fmla="*/ 87 w 120"/>
                <a:gd name="T87" fmla="*/ 7 h 93"/>
                <a:gd name="T88" fmla="*/ 75 w 120"/>
                <a:gd name="T89" fmla="*/ 4 h 93"/>
                <a:gd name="T90" fmla="*/ 63 w 120"/>
                <a:gd name="T91" fmla="*/ 1 h 93"/>
                <a:gd name="T92" fmla="*/ 50 w 120"/>
                <a:gd name="T93" fmla="*/ 0 h 93"/>
                <a:gd name="T94" fmla="*/ 50 w 120"/>
                <a:gd name="T9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93">
                  <a:moveTo>
                    <a:pt x="50" y="0"/>
                  </a:moveTo>
                  <a:lnTo>
                    <a:pt x="45" y="1"/>
                  </a:lnTo>
                  <a:lnTo>
                    <a:pt x="39" y="4"/>
                  </a:lnTo>
                  <a:lnTo>
                    <a:pt x="35" y="7"/>
                  </a:lnTo>
                  <a:lnTo>
                    <a:pt x="32" y="10"/>
                  </a:lnTo>
                  <a:lnTo>
                    <a:pt x="24" y="20"/>
                  </a:lnTo>
                  <a:lnTo>
                    <a:pt x="16" y="28"/>
                  </a:lnTo>
                  <a:lnTo>
                    <a:pt x="11" y="33"/>
                  </a:lnTo>
                  <a:lnTo>
                    <a:pt x="6" y="37"/>
                  </a:lnTo>
                  <a:lnTo>
                    <a:pt x="3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1" y="58"/>
                  </a:lnTo>
                  <a:lnTo>
                    <a:pt x="2" y="62"/>
                  </a:lnTo>
                  <a:lnTo>
                    <a:pt x="5" y="66"/>
                  </a:lnTo>
                  <a:lnTo>
                    <a:pt x="9" y="74"/>
                  </a:lnTo>
                  <a:lnTo>
                    <a:pt x="15" y="80"/>
                  </a:lnTo>
                  <a:lnTo>
                    <a:pt x="23" y="86"/>
                  </a:lnTo>
                  <a:lnTo>
                    <a:pt x="32" y="90"/>
                  </a:lnTo>
                  <a:lnTo>
                    <a:pt x="40" y="92"/>
                  </a:lnTo>
                  <a:lnTo>
                    <a:pt x="50" y="93"/>
                  </a:lnTo>
                  <a:lnTo>
                    <a:pt x="57" y="92"/>
                  </a:lnTo>
                  <a:lnTo>
                    <a:pt x="63" y="90"/>
                  </a:lnTo>
                  <a:lnTo>
                    <a:pt x="68" y="88"/>
                  </a:lnTo>
                  <a:lnTo>
                    <a:pt x="74" y="85"/>
                  </a:lnTo>
                  <a:lnTo>
                    <a:pt x="83" y="77"/>
                  </a:lnTo>
                  <a:lnTo>
                    <a:pt x="95" y="71"/>
                  </a:lnTo>
                  <a:lnTo>
                    <a:pt x="104" y="67"/>
                  </a:lnTo>
                  <a:lnTo>
                    <a:pt x="113" y="62"/>
                  </a:lnTo>
                  <a:lnTo>
                    <a:pt x="116" y="60"/>
                  </a:lnTo>
                  <a:lnTo>
                    <a:pt x="118" y="57"/>
                  </a:lnTo>
                  <a:lnTo>
                    <a:pt x="120" y="52"/>
                  </a:lnTo>
                  <a:lnTo>
                    <a:pt x="120" y="48"/>
                  </a:lnTo>
                  <a:lnTo>
                    <a:pt x="120" y="43"/>
                  </a:lnTo>
                  <a:lnTo>
                    <a:pt x="119" y="37"/>
                  </a:lnTo>
                  <a:lnTo>
                    <a:pt x="117" y="32"/>
                  </a:lnTo>
                  <a:lnTo>
                    <a:pt x="114" y="26"/>
                  </a:lnTo>
                  <a:lnTo>
                    <a:pt x="110" y="22"/>
                  </a:lnTo>
                  <a:lnTo>
                    <a:pt x="107" y="19"/>
                  </a:lnTo>
                  <a:lnTo>
                    <a:pt x="103" y="16"/>
                  </a:lnTo>
                  <a:lnTo>
                    <a:pt x="97" y="12"/>
                  </a:lnTo>
                  <a:lnTo>
                    <a:pt x="87" y="7"/>
                  </a:lnTo>
                  <a:lnTo>
                    <a:pt x="75" y="4"/>
                  </a:lnTo>
                  <a:lnTo>
                    <a:pt x="63" y="1"/>
                  </a:lnTo>
                  <a:lnTo>
                    <a:pt x="50" y="0"/>
                  </a:lnTo>
                  <a:lnTo>
                    <a:pt x="5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33">
              <a:extLst>
                <a:ext uri="{FF2B5EF4-FFF2-40B4-BE49-F238E27FC236}">
                  <a16:creationId xmlns:a16="http://schemas.microsoft.com/office/drawing/2014/main" id="{55DE2781-2D90-4561-961F-A43984AF3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86100" y="977901"/>
              <a:ext cx="103188" cy="93663"/>
            </a:xfrm>
            <a:custGeom>
              <a:avLst/>
              <a:gdLst>
                <a:gd name="T0" fmla="*/ 257 w 258"/>
                <a:gd name="T1" fmla="*/ 216 h 236"/>
                <a:gd name="T2" fmla="*/ 257 w 258"/>
                <a:gd name="T3" fmla="*/ 185 h 236"/>
                <a:gd name="T4" fmla="*/ 258 w 258"/>
                <a:gd name="T5" fmla="*/ 154 h 236"/>
                <a:gd name="T6" fmla="*/ 258 w 258"/>
                <a:gd name="T7" fmla="*/ 133 h 236"/>
                <a:gd name="T8" fmla="*/ 254 w 258"/>
                <a:gd name="T9" fmla="*/ 121 h 236"/>
                <a:gd name="T10" fmla="*/ 242 w 258"/>
                <a:gd name="T11" fmla="*/ 110 h 236"/>
                <a:gd name="T12" fmla="*/ 227 w 258"/>
                <a:gd name="T13" fmla="*/ 101 h 236"/>
                <a:gd name="T14" fmla="*/ 201 w 258"/>
                <a:gd name="T15" fmla="*/ 94 h 236"/>
                <a:gd name="T16" fmla="*/ 170 w 258"/>
                <a:gd name="T17" fmla="*/ 81 h 236"/>
                <a:gd name="T18" fmla="*/ 150 w 258"/>
                <a:gd name="T19" fmla="*/ 65 h 236"/>
                <a:gd name="T20" fmla="*/ 130 w 258"/>
                <a:gd name="T21" fmla="*/ 48 h 236"/>
                <a:gd name="T22" fmla="*/ 110 w 258"/>
                <a:gd name="T23" fmla="*/ 33 h 236"/>
                <a:gd name="T24" fmla="*/ 98 w 258"/>
                <a:gd name="T25" fmla="*/ 26 h 236"/>
                <a:gd name="T26" fmla="*/ 78 w 258"/>
                <a:gd name="T27" fmla="*/ 9 h 236"/>
                <a:gd name="T28" fmla="*/ 67 w 258"/>
                <a:gd name="T29" fmla="*/ 3 h 236"/>
                <a:gd name="T30" fmla="*/ 54 w 258"/>
                <a:gd name="T31" fmla="*/ 0 h 236"/>
                <a:gd name="T32" fmla="*/ 44 w 258"/>
                <a:gd name="T33" fmla="*/ 4 h 236"/>
                <a:gd name="T34" fmla="*/ 39 w 258"/>
                <a:gd name="T35" fmla="*/ 11 h 236"/>
                <a:gd name="T36" fmla="*/ 28 w 258"/>
                <a:gd name="T37" fmla="*/ 32 h 236"/>
                <a:gd name="T38" fmla="*/ 11 w 258"/>
                <a:gd name="T39" fmla="*/ 51 h 236"/>
                <a:gd name="T40" fmla="*/ 3 w 258"/>
                <a:gd name="T41" fmla="*/ 61 h 236"/>
                <a:gd name="T42" fmla="*/ 0 w 258"/>
                <a:gd name="T43" fmla="*/ 74 h 236"/>
                <a:gd name="T44" fmla="*/ 4 w 258"/>
                <a:gd name="T45" fmla="*/ 89 h 236"/>
                <a:gd name="T46" fmla="*/ 13 w 258"/>
                <a:gd name="T47" fmla="*/ 102 h 236"/>
                <a:gd name="T48" fmla="*/ 22 w 258"/>
                <a:gd name="T49" fmla="*/ 115 h 236"/>
                <a:gd name="T50" fmla="*/ 31 w 258"/>
                <a:gd name="T51" fmla="*/ 130 h 236"/>
                <a:gd name="T52" fmla="*/ 41 w 258"/>
                <a:gd name="T53" fmla="*/ 165 h 236"/>
                <a:gd name="T54" fmla="*/ 47 w 258"/>
                <a:gd name="T55" fmla="*/ 180 h 236"/>
                <a:gd name="T56" fmla="*/ 59 w 258"/>
                <a:gd name="T57" fmla="*/ 194 h 236"/>
                <a:gd name="T58" fmla="*/ 69 w 258"/>
                <a:gd name="T59" fmla="*/ 201 h 236"/>
                <a:gd name="T60" fmla="*/ 79 w 258"/>
                <a:gd name="T61" fmla="*/ 207 h 236"/>
                <a:gd name="T62" fmla="*/ 100 w 258"/>
                <a:gd name="T63" fmla="*/ 212 h 236"/>
                <a:gd name="T64" fmla="*/ 149 w 258"/>
                <a:gd name="T65" fmla="*/ 216 h 236"/>
                <a:gd name="T66" fmla="*/ 193 w 258"/>
                <a:gd name="T67" fmla="*/ 227 h 236"/>
                <a:gd name="T68" fmla="*/ 238 w 258"/>
                <a:gd name="T6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8" h="236">
                  <a:moveTo>
                    <a:pt x="257" y="234"/>
                  </a:moveTo>
                  <a:lnTo>
                    <a:pt x="257" y="216"/>
                  </a:lnTo>
                  <a:lnTo>
                    <a:pt x="257" y="200"/>
                  </a:lnTo>
                  <a:lnTo>
                    <a:pt x="257" y="185"/>
                  </a:lnTo>
                  <a:lnTo>
                    <a:pt x="257" y="168"/>
                  </a:lnTo>
                  <a:lnTo>
                    <a:pt x="258" y="154"/>
                  </a:lnTo>
                  <a:lnTo>
                    <a:pt x="258" y="140"/>
                  </a:lnTo>
                  <a:lnTo>
                    <a:pt x="258" y="133"/>
                  </a:lnTo>
                  <a:lnTo>
                    <a:pt x="257" y="127"/>
                  </a:lnTo>
                  <a:lnTo>
                    <a:pt x="254" y="121"/>
                  </a:lnTo>
                  <a:lnTo>
                    <a:pt x="249" y="116"/>
                  </a:lnTo>
                  <a:lnTo>
                    <a:pt x="242" y="110"/>
                  </a:lnTo>
                  <a:lnTo>
                    <a:pt x="234" y="104"/>
                  </a:lnTo>
                  <a:lnTo>
                    <a:pt x="227" y="101"/>
                  </a:lnTo>
                  <a:lnTo>
                    <a:pt x="218" y="99"/>
                  </a:lnTo>
                  <a:lnTo>
                    <a:pt x="201" y="94"/>
                  </a:lnTo>
                  <a:lnTo>
                    <a:pt x="182" y="88"/>
                  </a:lnTo>
                  <a:lnTo>
                    <a:pt x="170" y="81"/>
                  </a:lnTo>
                  <a:lnTo>
                    <a:pt x="161" y="74"/>
                  </a:lnTo>
                  <a:lnTo>
                    <a:pt x="150" y="65"/>
                  </a:lnTo>
                  <a:lnTo>
                    <a:pt x="140" y="57"/>
                  </a:lnTo>
                  <a:lnTo>
                    <a:pt x="130" y="48"/>
                  </a:lnTo>
                  <a:lnTo>
                    <a:pt x="121" y="40"/>
                  </a:lnTo>
                  <a:lnTo>
                    <a:pt x="110" y="33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87" y="18"/>
                  </a:lnTo>
                  <a:lnTo>
                    <a:pt x="78" y="9"/>
                  </a:lnTo>
                  <a:lnTo>
                    <a:pt x="72" y="6"/>
                  </a:lnTo>
                  <a:lnTo>
                    <a:pt x="67" y="3"/>
                  </a:lnTo>
                  <a:lnTo>
                    <a:pt x="60" y="2"/>
                  </a:lnTo>
                  <a:lnTo>
                    <a:pt x="54" y="0"/>
                  </a:lnTo>
                  <a:lnTo>
                    <a:pt x="48" y="2"/>
                  </a:lnTo>
                  <a:lnTo>
                    <a:pt x="44" y="4"/>
                  </a:lnTo>
                  <a:lnTo>
                    <a:pt x="41" y="7"/>
                  </a:lnTo>
                  <a:lnTo>
                    <a:pt x="39" y="11"/>
                  </a:lnTo>
                  <a:lnTo>
                    <a:pt x="33" y="21"/>
                  </a:lnTo>
                  <a:lnTo>
                    <a:pt x="28" y="32"/>
                  </a:lnTo>
                  <a:lnTo>
                    <a:pt x="19" y="43"/>
                  </a:lnTo>
                  <a:lnTo>
                    <a:pt x="11" y="51"/>
                  </a:lnTo>
                  <a:lnTo>
                    <a:pt x="6" y="56"/>
                  </a:lnTo>
                  <a:lnTo>
                    <a:pt x="3" y="61"/>
                  </a:lnTo>
                  <a:lnTo>
                    <a:pt x="1" y="66"/>
                  </a:lnTo>
                  <a:lnTo>
                    <a:pt x="0" y="74"/>
                  </a:lnTo>
                  <a:lnTo>
                    <a:pt x="1" y="83"/>
                  </a:lnTo>
                  <a:lnTo>
                    <a:pt x="4" y="89"/>
                  </a:lnTo>
                  <a:lnTo>
                    <a:pt x="7" y="97"/>
                  </a:lnTo>
                  <a:lnTo>
                    <a:pt x="13" y="102"/>
                  </a:lnTo>
                  <a:lnTo>
                    <a:pt x="17" y="108"/>
                  </a:lnTo>
                  <a:lnTo>
                    <a:pt x="22" y="115"/>
                  </a:lnTo>
                  <a:lnTo>
                    <a:pt x="27" y="121"/>
                  </a:lnTo>
                  <a:lnTo>
                    <a:pt x="31" y="130"/>
                  </a:lnTo>
                  <a:lnTo>
                    <a:pt x="36" y="147"/>
                  </a:lnTo>
                  <a:lnTo>
                    <a:pt x="41" y="165"/>
                  </a:lnTo>
                  <a:lnTo>
                    <a:pt x="44" y="172"/>
                  </a:lnTo>
                  <a:lnTo>
                    <a:pt x="47" y="180"/>
                  </a:lnTo>
                  <a:lnTo>
                    <a:pt x="53" y="187"/>
                  </a:lnTo>
                  <a:lnTo>
                    <a:pt x="59" y="194"/>
                  </a:lnTo>
                  <a:lnTo>
                    <a:pt x="63" y="198"/>
                  </a:lnTo>
                  <a:lnTo>
                    <a:pt x="69" y="201"/>
                  </a:lnTo>
                  <a:lnTo>
                    <a:pt x="74" y="205"/>
                  </a:lnTo>
                  <a:lnTo>
                    <a:pt x="79" y="207"/>
                  </a:lnTo>
                  <a:lnTo>
                    <a:pt x="89" y="210"/>
                  </a:lnTo>
                  <a:lnTo>
                    <a:pt x="100" y="212"/>
                  </a:lnTo>
                  <a:lnTo>
                    <a:pt x="124" y="213"/>
                  </a:lnTo>
                  <a:lnTo>
                    <a:pt x="149" y="216"/>
                  </a:lnTo>
                  <a:lnTo>
                    <a:pt x="173" y="222"/>
                  </a:lnTo>
                  <a:lnTo>
                    <a:pt x="193" y="227"/>
                  </a:lnTo>
                  <a:lnTo>
                    <a:pt x="214" y="232"/>
                  </a:lnTo>
                  <a:lnTo>
                    <a:pt x="238" y="236"/>
                  </a:lnTo>
                  <a:lnTo>
                    <a:pt x="257" y="23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36">
              <a:extLst>
                <a:ext uri="{FF2B5EF4-FFF2-40B4-BE49-F238E27FC236}">
                  <a16:creationId xmlns:a16="http://schemas.microsoft.com/office/drawing/2014/main" id="{96561924-36A7-4C80-919D-BDF4113534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797300" y="330201"/>
              <a:ext cx="793750" cy="949325"/>
            </a:xfrm>
            <a:custGeom>
              <a:avLst/>
              <a:gdLst>
                <a:gd name="T0" fmla="*/ 1768 w 2000"/>
                <a:gd name="T1" fmla="*/ 860 h 2393"/>
                <a:gd name="T2" fmla="*/ 1793 w 2000"/>
                <a:gd name="T3" fmla="*/ 976 h 2393"/>
                <a:gd name="T4" fmla="*/ 1849 w 2000"/>
                <a:gd name="T5" fmla="*/ 1018 h 2393"/>
                <a:gd name="T6" fmla="*/ 1890 w 2000"/>
                <a:gd name="T7" fmla="*/ 947 h 2393"/>
                <a:gd name="T8" fmla="*/ 1862 w 2000"/>
                <a:gd name="T9" fmla="*/ 853 h 2393"/>
                <a:gd name="T10" fmla="*/ 81 w 2000"/>
                <a:gd name="T11" fmla="*/ 745 h 2393"/>
                <a:gd name="T12" fmla="*/ 170 w 2000"/>
                <a:gd name="T13" fmla="*/ 860 h 2393"/>
                <a:gd name="T14" fmla="*/ 274 w 2000"/>
                <a:gd name="T15" fmla="*/ 910 h 2393"/>
                <a:gd name="T16" fmla="*/ 375 w 2000"/>
                <a:gd name="T17" fmla="*/ 907 h 2393"/>
                <a:gd name="T18" fmla="*/ 563 w 2000"/>
                <a:gd name="T19" fmla="*/ 1003 h 2393"/>
                <a:gd name="T20" fmla="*/ 574 w 2000"/>
                <a:gd name="T21" fmla="*/ 896 h 2393"/>
                <a:gd name="T22" fmla="*/ 726 w 2000"/>
                <a:gd name="T23" fmla="*/ 831 h 2393"/>
                <a:gd name="T24" fmla="*/ 908 w 2000"/>
                <a:gd name="T25" fmla="*/ 756 h 2393"/>
                <a:gd name="T26" fmla="*/ 951 w 2000"/>
                <a:gd name="T27" fmla="*/ 646 h 2393"/>
                <a:gd name="T28" fmla="*/ 1013 w 2000"/>
                <a:gd name="T29" fmla="*/ 532 h 2393"/>
                <a:gd name="T30" fmla="*/ 1070 w 2000"/>
                <a:gd name="T31" fmla="*/ 363 h 2393"/>
                <a:gd name="T32" fmla="*/ 1195 w 2000"/>
                <a:gd name="T33" fmla="*/ 211 h 2393"/>
                <a:gd name="T34" fmla="*/ 1329 w 2000"/>
                <a:gd name="T35" fmla="*/ 18 h 2393"/>
                <a:gd name="T36" fmla="*/ 1406 w 2000"/>
                <a:gd name="T37" fmla="*/ 6 h 2393"/>
                <a:gd name="T38" fmla="*/ 1489 w 2000"/>
                <a:gd name="T39" fmla="*/ 155 h 2393"/>
                <a:gd name="T40" fmla="*/ 1516 w 2000"/>
                <a:gd name="T41" fmla="*/ 199 h 2393"/>
                <a:gd name="T42" fmla="*/ 1563 w 2000"/>
                <a:gd name="T43" fmla="*/ 278 h 2393"/>
                <a:gd name="T44" fmla="*/ 1550 w 2000"/>
                <a:gd name="T45" fmla="*/ 386 h 2393"/>
                <a:gd name="T46" fmla="*/ 1630 w 2000"/>
                <a:gd name="T47" fmla="*/ 658 h 2393"/>
                <a:gd name="T48" fmla="*/ 1664 w 2000"/>
                <a:gd name="T49" fmla="*/ 860 h 2393"/>
                <a:gd name="T50" fmla="*/ 1716 w 2000"/>
                <a:gd name="T51" fmla="*/ 951 h 2393"/>
                <a:gd name="T52" fmla="*/ 1755 w 2000"/>
                <a:gd name="T53" fmla="*/ 1035 h 2393"/>
                <a:gd name="T54" fmla="*/ 1887 w 2000"/>
                <a:gd name="T55" fmla="*/ 1071 h 2393"/>
                <a:gd name="T56" fmla="*/ 1976 w 2000"/>
                <a:gd name="T57" fmla="*/ 1107 h 2393"/>
                <a:gd name="T58" fmla="*/ 2000 w 2000"/>
                <a:gd name="T59" fmla="*/ 1203 h 2393"/>
                <a:gd name="T60" fmla="*/ 1939 w 2000"/>
                <a:gd name="T61" fmla="*/ 1250 h 2393"/>
                <a:gd name="T62" fmla="*/ 1901 w 2000"/>
                <a:gd name="T63" fmla="*/ 1290 h 2393"/>
                <a:gd name="T64" fmla="*/ 1981 w 2000"/>
                <a:gd name="T65" fmla="*/ 1322 h 2393"/>
                <a:gd name="T66" fmla="*/ 1977 w 2000"/>
                <a:gd name="T67" fmla="*/ 1380 h 2393"/>
                <a:gd name="T68" fmla="*/ 1887 w 2000"/>
                <a:gd name="T69" fmla="*/ 1460 h 2393"/>
                <a:gd name="T70" fmla="*/ 1729 w 2000"/>
                <a:gd name="T71" fmla="*/ 1599 h 2393"/>
                <a:gd name="T72" fmla="*/ 1561 w 2000"/>
                <a:gd name="T73" fmla="*/ 1708 h 2393"/>
                <a:gd name="T74" fmla="*/ 1457 w 2000"/>
                <a:gd name="T75" fmla="*/ 1797 h 2393"/>
                <a:gd name="T76" fmla="*/ 1362 w 2000"/>
                <a:gd name="T77" fmla="*/ 2026 h 2393"/>
                <a:gd name="T78" fmla="*/ 1404 w 2000"/>
                <a:gd name="T79" fmla="*/ 2093 h 2393"/>
                <a:gd name="T80" fmla="*/ 1390 w 2000"/>
                <a:gd name="T81" fmla="*/ 2197 h 2393"/>
                <a:gd name="T82" fmla="*/ 1308 w 2000"/>
                <a:gd name="T83" fmla="*/ 2310 h 2393"/>
                <a:gd name="T84" fmla="*/ 1189 w 2000"/>
                <a:gd name="T85" fmla="*/ 2393 h 2393"/>
                <a:gd name="T86" fmla="*/ 1173 w 2000"/>
                <a:gd name="T87" fmla="*/ 2317 h 2393"/>
                <a:gd name="T88" fmla="*/ 1062 w 2000"/>
                <a:gd name="T89" fmla="*/ 2232 h 2393"/>
                <a:gd name="T90" fmla="*/ 1017 w 2000"/>
                <a:gd name="T91" fmla="*/ 2125 h 2393"/>
                <a:gd name="T92" fmla="*/ 922 w 2000"/>
                <a:gd name="T93" fmla="*/ 2082 h 2393"/>
                <a:gd name="T94" fmla="*/ 888 w 2000"/>
                <a:gd name="T95" fmla="*/ 2013 h 2393"/>
                <a:gd name="T96" fmla="*/ 826 w 2000"/>
                <a:gd name="T97" fmla="*/ 1911 h 2393"/>
                <a:gd name="T98" fmla="*/ 706 w 2000"/>
                <a:gd name="T99" fmla="*/ 1778 h 2393"/>
                <a:gd name="T100" fmla="*/ 609 w 2000"/>
                <a:gd name="T101" fmla="*/ 1551 h 2393"/>
                <a:gd name="T102" fmla="*/ 526 w 2000"/>
                <a:gd name="T103" fmla="*/ 1466 h 2393"/>
                <a:gd name="T104" fmla="*/ 389 w 2000"/>
                <a:gd name="T105" fmla="*/ 1351 h 2393"/>
                <a:gd name="T106" fmla="*/ 330 w 2000"/>
                <a:gd name="T107" fmla="*/ 1328 h 2393"/>
                <a:gd name="T108" fmla="*/ 213 w 2000"/>
                <a:gd name="T109" fmla="*/ 1256 h 2393"/>
                <a:gd name="T110" fmla="*/ 175 w 2000"/>
                <a:gd name="T111" fmla="*/ 1100 h 2393"/>
                <a:gd name="T112" fmla="*/ 88 w 2000"/>
                <a:gd name="T113" fmla="*/ 991 h 2393"/>
                <a:gd name="T114" fmla="*/ 2 w 2000"/>
                <a:gd name="T115" fmla="*/ 900 h 2393"/>
                <a:gd name="T116" fmla="*/ 47 w 2000"/>
                <a:gd name="T117" fmla="*/ 722 h 2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00" h="2393">
                  <a:moveTo>
                    <a:pt x="1829" y="835"/>
                  </a:moveTo>
                  <a:lnTo>
                    <a:pt x="1810" y="831"/>
                  </a:lnTo>
                  <a:lnTo>
                    <a:pt x="1793" y="828"/>
                  </a:lnTo>
                  <a:lnTo>
                    <a:pt x="1777" y="822"/>
                  </a:lnTo>
                  <a:lnTo>
                    <a:pt x="1759" y="813"/>
                  </a:lnTo>
                  <a:lnTo>
                    <a:pt x="1761" y="822"/>
                  </a:lnTo>
                  <a:lnTo>
                    <a:pt x="1764" y="829"/>
                  </a:lnTo>
                  <a:lnTo>
                    <a:pt x="1767" y="837"/>
                  </a:lnTo>
                  <a:lnTo>
                    <a:pt x="1768" y="845"/>
                  </a:lnTo>
                  <a:lnTo>
                    <a:pt x="1768" y="860"/>
                  </a:lnTo>
                  <a:lnTo>
                    <a:pt x="1768" y="874"/>
                  </a:lnTo>
                  <a:lnTo>
                    <a:pt x="1768" y="887"/>
                  </a:lnTo>
                  <a:lnTo>
                    <a:pt x="1768" y="903"/>
                  </a:lnTo>
                  <a:lnTo>
                    <a:pt x="1768" y="911"/>
                  </a:lnTo>
                  <a:lnTo>
                    <a:pt x="1769" y="920"/>
                  </a:lnTo>
                  <a:lnTo>
                    <a:pt x="1771" y="927"/>
                  </a:lnTo>
                  <a:lnTo>
                    <a:pt x="1773" y="935"/>
                  </a:lnTo>
                  <a:lnTo>
                    <a:pt x="1780" y="949"/>
                  </a:lnTo>
                  <a:lnTo>
                    <a:pt x="1786" y="963"/>
                  </a:lnTo>
                  <a:lnTo>
                    <a:pt x="1793" y="976"/>
                  </a:lnTo>
                  <a:lnTo>
                    <a:pt x="1798" y="990"/>
                  </a:lnTo>
                  <a:lnTo>
                    <a:pt x="1801" y="998"/>
                  </a:lnTo>
                  <a:lnTo>
                    <a:pt x="1802" y="1005"/>
                  </a:lnTo>
                  <a:lnTo>
                    <a:pt x="1804" y="1014"/>
                  </a:lnTo>
                  <a:lnTo>
                    <a:pt x="1805" y="1022"/>
                  </a:lnTo>
                  <a:lnTo>
                    <a:pt x="1815" y="1022"/>
                  </a:lnTo>
                  <a:lnTo>
                    <a:pt x="1826" y="1022"/>
                  </a:lnTo>
                  <a:lnTo>
                    <a:pt x="1834" y="1022"/>
                  </a:lnTo>
                  <a:lnTo>
                    <a:pt x="1841" y="1020"/>
                  </a:lnTo>
                  <a:lnTo>
                    <a:pt x="1849" y="1018"/>
                  </a:lnTo>
                  <a:lnTo>
                    <a:pt x="1855" y="1014"/>
                  </a:lnTo>
                  <a:lnTo>
                    <a:pt x="1861" y="1009"/>
                  </a:lnTo>
                  <a:lnTo>
                    <a:pt x="1866" y="1005"/>
                  </a:lnTo>
                  <a:lnTo>
                    <a:pt x="1871" y="999"/>
                  </a:lnTo>
                  <a:lnTo>
                    <a:pt x="1875" y="993"/>
                  </a:lnTo>
                  <a:lnTo>
                    <a:pt x="1879" y="986"/>
                  </a:lnTo>
                  <a:lnTo>
                    <a:pt x="1882" y="979"/>
                  </a:lnTo>
                  <a:lnTo>
                    <a:pt x="1885" y="971"/>
                  </a:lnTo>
                  <a:lnTo>
                    <a:pt x="1888" y="963"/>
                  </a:lnTo>
                  <a:lnTo>
                    <a:pt x="1890" y="947"/>
                  </a:lnTo>
                  <a:lnTo>
                    <a:pt x="1891" y="931"/>
                  </a:lnTo>
                  <a:lnTo>
                    <a:pt x="1890" y="914"/>
                  </a:lnTo>
                  <a:lnTo>
                    <a:pt x="1887" y="899"/>
                  </a:lnTo>
                  <a:lnTo>
                    <a:pt x="1885" y="892"/>
                  </a:lnTo>
                  <a:lnTo>
                    <a:pt x="1882" y="884"/>
                  </a:lnTo>
                  <a:lnTo>
                    <a:pt x="1879" y="878"/>
                  </a:lnTo>
                  <a:lnTo>
                    <a:pt x="1876" y="870"/>
                  </a:lnTo>
                  <a:lnTo>
                    <a:pt x="1872" y="865"/>
                  </a:lnTo>
                  <a:lnTo>
                    <a:pt x="1866" y="858"/>
                  </a:lnTo>
                  <a:lnTo>
                    <a:pt x="1862" y="853"/>
                  </a:lnTo>
                  <a:lnTo>
                    <a:pt x="1856" y="849"/>
                  </a:lnTo>
                  <a:lnTo>
                    <a:pt x="1850" y="844"/>
                  </a:lnTo>
                  <a:lnTo>
                    <a:pt x="1844" y="840"/>
                  </a:lnTo>
                  <a:lnTo>
                    <a:pt x="1837" y="837"/>
                  </a:lnTo>
                  <a:lnTo>
                    <a:pt x="1829" y="835"/>
                  </a:lnTo>
                  <a:lnTo>
                    <a:pt x="1829" y="835"/>
                  </a:lnTo>
                  <a:close/>
                  <a:moveTo>
                    <a:pt x="47" y="722"/>
                  </a:moveTo>
                  <a:lnTo>
                    <a:pt x="58" y="731"/>
                  </a:lnTo>
                  <a:lnTo>
                    <a:pt x="69" y="737"/>
                  </a:lnTo>
                  <a:lnTo>
                    <a:pt x="81" y="745"/>
                  </a:lnTo>
                  <a:lnTo>
                    <a:pt x="95" y="750"/>
                  </a:lnTo>
                  <a:lnTo>
                    <a:pt x="95" y="750"/>
                  </a:lnTo>
                  <a:lnTo>
                    <a:pt x="104" y="768"/>
                  </a:lnTo>
                  <a:lnTo>
                    <a:pt x="111" y="783"/>
                  </a:lnTo>
                  <a:lnTo>
                    <a:pt x="120" y="797"/>
                  </a:lnTo>
                  <a:lnTo>
                    <a:pt x="128" y="810"/>
                  </a:lnTo>
                  <a:lnTo>
                    <a:pt x="137" y="822"/>
                  </a:lnTo>
                  <a:lnTo>
                    <a:pt x="147" y="835"/>
                  </a:lnTo>
                  <a:lnTo>
                    <a:pt x="158" y="846"/>
                  </a:lnTo>
                  <a:lnTo>
                    <a:pt x="170" y="860"/>
                  </a:lnTo>
                  <a:lnTo>
                    <a:pt x="188" y="879"/>
                  </a:lnTo>
                  <a:lnTo>
                    <a:pt x="204" y="895"/>
                  </a:lnTo>
                  <a:lnTo>
                    <a:pt x="213" y="901"/>
                  </a:lnTo>
                  <a:lnTo>
                    <a:pt x="223" y="906"/>
                  </a:lnTo>
                  <a:lnTo>
                    <a:pt x="229" y="908"/>
                  </a:lnTo>
                  <a:lnTo>
                    <a:pt x="234" y="909"/>
                  </a:lnTo>
                  <a:lnTo>
                    <a:pt x="241" y="910"/>
                  </a:lnTo>
                  <a:lnTo>
                    <a:pt x="247" y="910"/>
                  </a:lnTo>
                  <a:lnTo>
                    <a:pt x="261" y="910"/>
                  </a:lnTo>
                  <a:lnTo>
                    <a:pt x="274" y="910"/>
                  </a:lnTo>
                  <a:lnTo>
                    <a:pt x="287" y="910"/>
                  </a:lnTo>
                  <a:lnTo>
                    <a:pt x="301" y="910"/>
                  </a:lnTo>
                  <a:lnTo>
                    <a:pt x="314" y="909"/>
                  </a:lnTo>
                  <a:lnTo>
                    <a:pt x="326" y="906"/>
                  </a:lnTo>
                  <a:lnTo>
                    <a:pt x="337" y="904"/>
                  </a:lnTo>
                  <a:lnTo>
                    <a:pt x="350" y="903"/>
                  </a:lnTo>
                  <a:lnTo>
                    <a:pt x="356" y="903"/>
                  </a:lnTo>
                  <a:lnTo>
                    <a:pt x="363" y="904"/>
                  </a:lnTo>
                  <a:lnTo>
                    <a:pt x="368" y="905"/>
                  </a:lnTo>
                  <a:lnTo>
                    <a:pt x="375" y="907"/>
                  </a:lnTo>
                  <a:lnTo>
                    <a:pt x="384" y="911"/>
                  </a:lnTo>
                  <a:lnTo>
                    <a:pt x="394" y="918"/>
                  </a:lnTo>
                  <a:lnTo>
                    <a:pt x="404" y="924"/>
                  </a:lnTo>
                  <a:lnTo>
                    <a:pt x="413" y="932"/>
                  </a:lnTo>
                  <a:lnTo>
                    <a:pt x="424" y="938"/>
                  </a:lnTo>
                  <a:lnTo>
                    <a:pt x="436" y="944"/>
                  </a:lnTo>
                  <a:lnTo>
                    <a:pt x="471" y="959"/>
                  </a:lnTo>
                  <a:lnTo>
                    <a:pt x="500" y="973"/>
                  </a:lnTo>
                  <a:lnTo>
                    <a:pt x="530" y="987"/>
                  </a:lnTo>
                  <a:lnTo>
                    <a:pt x="563" y="1003"/>
                  </a:lnTo>
                  <a:lnTo>
                    <a:pt x="566" y="998"/>
                  </a:lnTo>
                  <a:lnTo>
                    <a:pt x="568" y="992"/>
                  </a:lnTo>
                  <a:lnTo>
                    <a:pt x="566" y="978"/>
                  </a:lnTo>
                  <a:lnTo>
                    <a:pt x="563" y="964"/>
                  </a:lnTo>
                  <a:lnTo>
                    <a:pt x="563" y="951"/>
                  </a:lnTo>
                  <a:lnTo>
                    <a:pt x="564" y="939"/>
                  </a:lnTo>
                  <a:lnTo>
                    <a:pt x="565" y="927"/>
                  </a:lnTo>
                  <a:lnTo>
                    <a:pt x="567" y="917"/>
                  </a:lnTo>
                  <a:lnTo>
                    <a:pt x="570" y="907"/>
                  </a:lnTo>
                  <a:lnTo>
                    <a:pt x="574" y="896"/>
                  </a:lnTo>
                  <a:lnTo>
                    <a:pt x="580" y="886"/>
                  </a:lnTo>
                  <a:lnTo>
                    <a:pt x="588" y="877"/>
                  </a:lnTo>
                  <a:lnTo>
                    <a:pt x="594" y="871"/>
                  </a:lnTo>
                  <a:lnTo>
                    <a:pt x="601" y="867"/>
                  </a:lnTo>
                  <a:lnTo>
                    <a:pt x="608" y="864"/>
                  </a:lnTo>
                  <a:lnTo>
                    <a:pt x="615" y="862"/>
                  </a:lnTo>
                  <a:lnTo>
                    <a:pt x="632" y="859"/>
                  </a:lnTo>
                  <a:lnTo>
                    <a:pt x="650" y="854"/>
                  </a:lnTo>
                  <a:lnTo>
                    <a:pt x="690" y="841"/>
                  </a:lnTo>
                  <a:lnTo>
                    <a:pt x="726" y="831"/>
                  </a:lnTo>
                  <a:lnTo>
                    <a:pt x="761" y="820"/>
                  </a:lnTo>
                  <a:lnTo>
                    <a:pt x="801" y="806"/>
                  </a:lnTo>
                  <a:lnTo>
                    <a:pt x="823" y="799"/>
                  </a:lnTo>
                  <a:lnTo>
                    <a:pt x="841" y="791"/>
                  </a:lnTo>
                  <a:lnTo>
                    <a:pt x="860" y="782"/>
                  </a:lnTo>
                  <a:lnTo>
                    <a:pt x="879" y="771"/>
                  </a:lnTo>
                  <a:lnTo>
                    <a:pt x="890" y="765"/>
                  </a:lnTo>
                  <a:lnTo>
                    <a:pt x="900" y="761"/>
                  </a:lnTo>
                  <a:lnTo>
                    <a:pt x="904" y="759"/>
                  </a:lnTo>
                  <a:lnTo>
                    <a:pt x="908" y="756"/>
                  </a:lnTo>
                  <a:lnTo>
                    <a:pt x="912" y="752"/>
                  </a:lnTo>
                  <a:lnTo>
                    <a:pt x="916" y="748"/>
                  </a:lnTo>
                  <a:lnTo>
                    <a:pt x="921" y="737"/>
                  </a:lnTo>
                  <a:lnTo>
                    <a:pt x="925" y="728"/>
                  </a:lnTo>
                  <a:lnTo>
                    <a:pt x="929" y="718"/>
                  </a:lnTo>
                  <a:lnTo>
                    <a:pt x="931" y="708"/>
                  </a:lnTo>
                  <a:lnTo>
                    <a:pt x="935" y="689"/>
                  </a:lnTo>
                  <a:lnTo>
                    <a:pt x="941" y="667"/>
                  </a:lnTo>
                  <a:lnTo>
                    <a:pt x="946" y="655"/>
                  </a:lnTo>
                  <a:lnTo>
                    <a:pt x="951" y="646"/>
                  </a:lnTo>
                  <a:lnTo>
                    <a:pt x="958" y="637"/>
                  </a:lnTo>
                  <a:lnTo>
                    <a:pt x="963" y="629"/>
                  </a:lnTo>
                  <a:lnTo>
                    <a:pt x="977" y="613"/>
                  </a:lnTo>
                  <a:lnTo>
                    <a:pt x="991" y="594"/>
                  </a:lnTo>
                  <a:lnTo>
                    <a:pt x="997" y="586"/>
                  </a:lnTo>
                  <a:lnTo>
                    <a:pt x="1001" y="579"/>
                  </a:lnTo>
                  <a:lnTo>
                    <a:pt x="1004" y="571"/>
                  </a:lnTo>
                  <a:lnTo>
                    <a:pt x="1006" y="563"/>
                  </a:lnTo>
                  <a:lnTo>
                    <a:pt x="1011" y="547"/>
                  </a:lnTo>
                  <a:lnTo>
                    <a:pt x="1013" y="532"/>
                  </a:lnTo>
                  <a:lnTo>
                    <a:pt x="1016" y="500"/>
                  </a:lnTo>
                  <a:lnTo>
                    <a:pt x="1019" y="465"/>
                  </a:lnTo>
                  <a:lnTo>
                    <a:pt x="1020" y="460"/>
                  </a:lnTo>
                  <a:lnTo>
                    <a:pt x="1023" y="454"/>
                  </a:lnTo>
                  <a:lnTo>
                    <a:pt x="1025" y="450"/>
                  </a:lnTo>
                  <a:lnTo>
                    <a:pt x="1028" y="447"/>
                  </a:lnTo>
                  <a:lnTo>
                    <a:pt x="1033" y="438"/>
                  </a:lnTo>
                  <a:lnTo>
                    <a:pt x="1039" y="428"/>
                  </a:lnTo>
                  <a:lnTo>
                    <a:pt x="1055" y="394"/>
                  </a:lnTo>
                  <a:lnTo>
                    <a:pt x="1070" y="363"/>
                  </a:lnTo>
                  <a:lnTo>
                    <a:pt x="1078" y="349"/>
                  </a:lnTo>
                  <a:lnTo>
                    <a:pt x="1087" y="333"/>
                  </a:lnTo>
                  <a:lnTo>
                    <a:pt x="1097" y="318"/>
                  </a:lnTo>
                  <a:lnTo>
                    <a:pt x="1109" y="302"/>
                  </a:lnTo>
                  <a:lnTo>
                    <a:pt x="1124" y="284"/>
                  </a:lnTo>
                  <a:lnTo>
                    <a:pt x="1138" y="268"/>
                  </a:lnTo>
                  <a:lnTo>
                    <a:pt x="1153" y="253"/>
                  </a:lnTo>
                  <a:lnTo>
                    <a:pt x="1167" y="239"/>
                  </a:lnTo>
                  <a:lnTo>
                    <a:pt x="1181" y="225"/>
                  </a:lnTo>
                  <a:lnTo>
                    <a:pt x="1195" y="211"/>
                  </a:lnTo>
                  <a:lnTo>
                    <a:pt x="1209" y="195"/>
                  </a:lnTo>
                  <a:lnTo>
                    <a:pt x="1225" y="176"/>
                  </a:lnTo>
                  <a:lnTo>
                    <a:pt x="1239" y="155"/>
                  </a:lnTo>
                  <a:lnTo>
                    <a:pt x="1252" y="137"/>
                  </a:lnTo>
                  <a:lnTo>
                    <a:pt x="1264" y="117"/>
                  </a:lnTo>
                  <a:lnTo>
                    <a:pt x="1274" y="99"/>
                  </a:lnTo>
                  <a:lnTo>
                    <a:pt x="1295" y="61"/>
                  </a:lnTo>
                  <a:lnTo>
                    <a:pt x="1320" y="19"/>
                  </a:lnTo>
                  <a:lnTo>
                    <a:pt x="1320" y="19"/>
                  </a:lnTo>
                  <a:lnTo>
                    <a:pt x="1329" y="18"/>
                  </a:lnTo>
                  <a:lnTo>
                    <a:pt x="1338" y="16"/>
                  </a:lnTo>
                  <a:lnTo>
                    <a:pt x="1346" y="13"/>
                  </a:lnTo>
                  <a:lnTo>
                    <a:pt x="1354" y="9"/>
                  </a:lnTo>
                  <a:lnTo>
                    <a:pt x="1362" y="5"/>
                  </a:lnTo>
                  <a:lnTo>
                    <a:pt x="1370" y="3"/>
                  </a:lnTo>
                  <a:lnTo>
                    <a:pt x="1379" y="1"/>
                  </a:lnTo>
                  <a:lnTo>
                    <a:pt x="1390" y="0"/>
                  </a:lnTo>
                  <a:lnTo>
                    <a:pt x="1396" y="1"/>
                  </a:lnTo>
                  <a:lnTo>
                    <a:pt x="1402" y="3"/>
                  </a:lnTo>
                  <a:lnTo>
                    <a:pt x="1406" y="6"/>
                  </a:lnTo>
                  <a:lnTo>
                    <a:pt x="1410" y="10"/>
                  </a:lnTo>
                  <a:lnTo>
                    <a:pt x="1418" y="22"/>
                  </a:lnTo>
                  <a:lnTo>
                    <a:pt x="1426" y="33"/>
                  </a:lnTo>
                  <a:lnTo>
                    <a:pt x="1446" y="60"/>
                  </a:lnTo>
                  <a:lnTo>
                    <a:pt x="1463" y="85"/>
                  </a:lnTo>
                  <a:lnTo>
                    <a:pt x="1471" y="98"/>
                  </a:lnTo>
                  <a:lnTo>
                    <a:pt x="1477" y="111"/>
                  </a:lnTo>
                  <a:lnTo>
                    <a:pt x="1483" y="126"/>
                  </a:lnTo>
                  <a:lnTo>
                    <a:pt x="1488" y="142"/>
                  </a:lnTo>
                  <a:lnTo>
                    <a:pt x="1489" y="155"/>
                  </a:lnTo>
                  <a:lnTo>
                    <a:pt x="1489" y="168"/>
                  </a:lnTo>
                  <a:lnTo>
                    <a:pt x="1489" y="174"/>
                  </a:lnTo>
                  <a:lnTo>
                    <a:pt x="1490" y="179"/>
                  </a:lnTo>
                  <a:lnTo>
                    <a:pt x="1492" y="184"/>
                  </a:lnTo>
                  <a:lnTo>
                    <a:pt x="1496" y="190"/>
                  </a:lnTo>
                  <a:lnTo>
                    <a:pt x="1499" y="194"/>
                  </a:lnTo>
                  <a:lnTo>
                    <a:pt x="1503" y="196"/>
                  </a:lnTo>
                  <a:lnTo>
                    <a:pt x="1508" y="197"/>
                  </a:lnTo>
                  <a:lnTo>
                    <a:pt x="1512" y="198"/>
                  </a:lnTo>
                  <a:lnTo>
                    <a:pt x="1516" y="199"/>
                  </a:lnTo>
                  <a:lnTo>
                    <a:pt x="1522" y="201"/>
                  </a:lnTo>
                  <a:lnTo>
                    <a:pt x="1526" y="202"/>
                  </a:lnTo>
                  <a:lnTo>
                    <a:pt x="1529" y="204"/>
                  </a:lnTo>
                  <a:lnTo>
                    <a:pt x="1539" y="214"/>
                  </a:lnTo>
                  <a:lnTo>
                    <a:pt x="1546" y="222"/>
                  </a:lnTo>
                  <a:lnTo>
                    <a:pt x="1552" y="233"/>
                  </a:lnTo>
                  <a:lnTo>
                    <a:pt x="1557" y="243"/>
                  </a:lnTo>
                  <a:lnTo>
                    <a:pt x="1559" y="255"/>
                  </a:lnTo>
                  <a:lnTo>
                    <a:pt x="1562" y="265"/>
                  </a:lnTo>
                  <a:lnTo>
                    <a:pt x="1563" y="278"/>
                  </a:lnTo>
                  <a:lnTo>
                    <a:pt x="1564" y="291"/>
                  </a:lnTo>
                  <a:lnTo>
                    <a:pt x="1563" y="301"/>
                  </a:lnTo>
                  <a:lnTo>
                    <a:pt x="1562" y="311"/>
                  </a:lnTo>
                  <a:lnTo>
                    <a:pt x="1558" y="319"/>
                  </a:lnTo>
                  <a:lnTo>
                    <a:pt x="1556" y="328"/>
                  </a:lnTo>
                  <a:lnTo>
                    <a:pt x="1554" y="336"/>
                  </a:lnTo>
                  <a:lnTo>
                    <a:pt x="1552" y="344"/>
                  </a:lnTo>
                  <a:lnTo>
                    <a:pt x="1550" y="354"/>
                  </a:lnTo>
                  <a:lnTo>
                    <a:pt x="1550" y="364"/>
                  </a:lnTo>
                  <a:lnTo>
                    <a:pt x="1550" y="386"/>
                  </a:lnTo>
                  <a:lnTo>
                    <a:pt x="1552" y="406"/>
                  </a:lnTo>
                  <a:lnTo>
                    <a:pt x="1555" y="425"/>
                  </a:lnTo>
                  <a:lnTo>
                    <a:pt x="1559" y="442"/>
                  </a:lnTo>
                  <a:lnTo>
                    <a:pt x="1571" y="478"/>
                  </a:lnTo>
                  <a:lnTo>
                    <a:pt x="1585" y="518"/>
                  </a:lnTo>
                  <a:lnTo>
                    <a:pt x="1595" y="547"/>
                  </a:lnTo>
                  <a:lnTo>
                    <a:pt x="1603" y="574"/>
                  </a:lnTo>
                  <a:lnTo>
                    <a:pt x="1610" y="600"/>
                  </a:lnTo>
                  <a:lnTo>
                    <a:pt x="1619" y="630"/>
                  </a:lnTo>
                  <a:lnTo>
                    <a:pt x="1630" y="658"/>
                  </a:lnTo>
                  <a:lnTo>
                    <a:pt x="1639" y="684"/>
                  </a:lnTo>
                  <a:lnTo>
                    <a:pt x="1648" y="709"/>
                  </a:lnTo>
                  <a:lnTo>
                    <a:pt x="1656" y="733"/>
                  </a:lnTo>
                  <a:lnTo>
                    <a:pt x="1662" y="758"/>
                  </a:lnTo>
                  <a:lnTo>
                    <a:pt x="1666" y="783"/>
                  </a:lnTo>
                  <a:lnTo>
                    <a:pt x="1669" y="811"/>
                  </a:lnTo>
                  <a:lnTo>
                    <a:pt x="1670" y="840"/>
                  </a:lnTo>
                  <a:lnTo>
                    <a:pt x="1670" y="847"/>
                  </a:lnTo>
                  <a:lnTo>
                    <a:pt x="1667" y="854"/>
                  </a:lnTo>
                  <a:lnTo>
                    <a:pt x="1664" y="860"/>
                  </a:lnTo>
                  <a:lnTo>
                    <a:pt x="1661" y="866"/>
                  </a:lnTo>
                  <a:lnTo>
                    <a:pt x="1651" y="877"/>
                  </a:lnTo>
                  <a:lnTo>
                    <a:pt x="1642" y="889"/>
                  </a:lnTo>
                  <a:lnTo>
                    <a:pt x="1651" y="894"/>
                  </a:lnTo>
                  <a:lnTo>
                    <a:pt x="1660" y="899"/>
                  </a:lnTo>
                  <a:lnTo>
                    <a:pt x="1667" y="906"/>
                  </a:lnTo>
                  <a:lnTo>
                    <a:pt x="1674" y="912"/>
                  </a:lnTo>
                  <a:lnTo>
                    <a:pt x="1688" y="926"/>
                  </a:lnTo>
                  <a:lnTo>
                    <a:pt x="1703" y="941"/>
                  </a:lnTo>
                  <a:lnTo>
                    <a:pt x="1716" y="951"/>
                  </a:lnTo>
                  <a:lnTo>
                    <a:pt x="1727" y="960"/>
                  </a:lnTo>
                  <a:lnTo>
                    <a:pt x="1732" y="964"/>
                  </a:lnTo>
                  <a:lnTo>
                    <a:pt x="1737" y="970"/>
                  </a:lnTo>
                  <a:lnTo>
                    <a:pt x="1740" y="976"/>
                  </a:lnTo>
                  <a:lnTo>
                    <a:pt x="1743" y="984"/>
                  </a:lnTo>
                  <a:lnTo>
                    <a:pt x="1746" y="1000"/>
                  </a:lnTo>
                  <a:lnTo>
                    <a:pt x="1747" y="1015"/>
                  </a:lnTo>
                  <a:lnTo>
                    <a:pt x="1750" y="1021"/>
                  </a:lnTo>
                  <a:lnTo>
                    <a:pt x="1752" y="1029"/>
                  </a:lnTo>
                  <a:lnTo>
                    <a:pt x="1755" y="1035"/>
                  </a:lnTo>
                  <a:lnTo>
                    <a:pt x="1759" y="1042"/>
                  </a:lnTo>
                  <a:lnTo>
                    <a:pt x="1768" y="1051"/>
                  </a:lnTo>
                  <a:lnTo>
                    <a:pt x="1777" y="1056"/>
                  </a:lnTo>
                  <a:lnTo>
                    <a:pt x="1785" y="1059"/>
                  </a:lnTo>
                  <a:lnTo>
                    <a:pt x="1795" y="1061"/>
                  </a:lnTo>
                  <a:lnTo>
                    <a:pt x="1815" y="1065"/>
                  </a:lnTo>
                  <a:lnTo>
                    <a:pt x="1838" y="1068"/>
                  </a:lnTo>
                  <a:lnTo>
                    <a:pt x="1855" y="1070"/>
                  </a:lnTo>
                  <a:lnTo>
                    <a:pt x="1872" y="1071"/>
                  </a:lnTo>
                  <a:lnTo>
                    <a:pt x="1887" y="1071"/>
                  </a:lnTo>
                  <a:lnTo>
                    <a:pt x="1902" y="1072"/>
                  </a:lnTo>
                  <a:lnTo>
                    <a:pt x="1917" y="1073"/>
                  </a:lnTo>
                  <a:lnTo>
                    <a:pt x="1932" y="1076"/>
                  </a:lnTo>
                  <a:lnTo>
                    <a:pt x="1940" y="1079"/>
                  </a:lnTo>
                  <a:lnTo>
                    <a:pt x="1946" y="1082"/>
                  </a:lnTo>
                  <a:lnTo>
                    <a:pt x="1954" y="1085"/>
                  </a:lnTo>
                  <a:lnTo>
                    <a:pt x="1961" y="1089"/>
                  </a:lnTo>
                  <a:lnTo>
                    <a:pt x="1968" y="1095"/>
                  </a:lnTo>
                  <a:lnTo>
                    <a:pt x="1972" y="1100"/>
                  </a:lnTo>
                  <a:lnTo>
                    <a:pt x="1976" y="1107"/>
                  </a:lnTo>
                  <a:lnTo>
                    <a:pt x="1979" y="1113"/>
                  </a:lnTo>
                  <a:lnTo>
                    <a:pt x="1983" y="1127"/>
                  </a:lnTo>
                  <a:lnTo>
                    <a:pt x="1986" y="1143"/>
                  </a:lnTo>
                  <a:lnTo>
                    <a:pt x="1990" y="1156"/>
                  </a:lnTo>
                  <a:lnTo>
                    <a:pt x="1996" y="1168"/>
                  </a:lnTo>
                  <a:lnTo>
                    <a:pt x="1997" y="1174"/>
                  </a:lnTo>
                  <a:lnTo>
                    <a:pt x="1999" y="1180"/>
                  </a:lnTo>
                  <a:lnTo>
                    <a:pt x="2000" y="1187"/>
                  </a:lnTo>
                  <a:lnTo>
                    <a:pt x="2000" y="1193"/>
                  </a:lnTo>
                  <a:lnTo>
                    <a:pt x="2000" y="1203"/>
                  </a:lnTo>
                  <a:lnTo>
                    <a:pt x="1998" y="1210"/>
                  </a:lnTo>
                  <a:lnTo>
                    <a:pt x="1995" y="1218"/>
                  </a:lnTo>
                  <a:lnTo>
                    <a:pt x="1990" y="1223"/>
                  </a:lnTo>
                  <a:lnTo>
                    <a:pt x="1985" y="1230"/>
                  </a:lnTo>
                  <a:lnTo>
                    <a:pt x="1979" y="1234"/>
                  </a:lnTo>
                  <a:lnTo>
                    <a:pt x="1972" y="1238"/>
                  </a:lnTo>
                  <a:lnTo>
                    <a:pt x="1964" y="1243"/>
                  </a:lnTo>
                  <a:lnTo>
                    <a:pt x="1956" y="1246"/>
                  </a:lnTo>
                  <a:lnTo>
                    <a:pt x="1947" y="1248"/>
                  </a:lnTo>
                  <a:lnTo>
                    <a:pt x="1939" y="1250"/>
                  </a:lnTo>
                  <a:lnTo>
                    <a:pt x="1929" y="1252"/>
                  </a:lnTo>
                  <a:lnTo>
                    <a:pt x="1910" y="1255"/>
                  </a:lnTo>
                  <a:lnTo>
                    <a:pt x="1891" y="1256"/>
                  </a:lnTo>
                  <a:lnTo>
                    <a:pt x="1891" y="1262"/>
                  </a:lnTo>
                  <a:lnTo>
                    <a:pt x="1891" y="1270"/>
                  </a:lnTo>
                  <a:lnTo>
                    <a:pt x="1891" y="1274"/>
                  </a:lnTo>
                  <a:lnTo>
                    <a:pt x="1892" y="1278"/>
                  </a:lnTo>
                  <a:lnTo>
                    <a:pt x="1893" y="1282"/>
                  </a:lnTo>
                  <a:lnTo>
                    <a:pt x="1895" y="1285"/>
                  </a:lnTo>
                  <a:lnTo>
                    <a:pt x="1901" y="1290"/>
                  </a:lnTo>
                  <a:lnTo>
                    <a:pt x="1906" y="1295"/>
                  </a:lnTo>
                  <a:lnTo>
                    <a:pt x="1914" y="1298"/>
                  </a:lnTo>
                  <a:lnTo>
                    <a:pt x="1922" y="1301"/>
                  </a:lnTo>
                  <a:lnTo>
                    <a:pt x="1931" y="1303"/>
                  </a:lnTo>
                  <a:lnTo>
                    <a:pt x="1941" y="1306"/>
                  </a:lnTo>
                  <a:lnTo>
                    <a:pt x="1949" y="1309"/>
                  </a:lnTo>
                  <a:lnTo>
                    <a:pt x="1958" y="1311"/>
                  </a:lnTo>
                  <a:lnTo>
                    <a:pt x="1967" y="1314"/>
                  </a:lnTo>
                  <a:lnTo>
                    <a:pt x="1974" y="1317"/>
                  </a:lnTo>
                  <a:lnTo>
                    <a:pt x="1981" y="1322"/>
                  </a:lnTo>
                  <a:lnTo>
                    <a:pt x="1985" y="1327"/>
                  </a:lnTo>
                  <a:lnTo>
                    <a:pt x="1987" y="1330"/>
                  </a:lnTo>
                  <a:lnTo>
                    <a:pt x="1988" y="1335"/>
                  </a:lnTo>
                  <a:lnTo>
                    <a:pt x="1989" y="1338"/>
                  </a:lnTo>
                  <a:lnTo>
                    <a:pt x="1989" y="1342"/>
                  </a:lnTo>
                  <a:lnTo>
                    <a:pt x="1989" y="1351"/>
                  </a:lnTo>
                  <a:lnTo>
                    <a:pt x="1987" y="1358"/>
                  </a:lnTo>
                  <a:lnTo>
                    <a:pt x="1985" y="1366"/>
                  </a:lnTo>
                  <a:lnTo>
                    <a:pt x="1982" y="1373"/>
                  </a:lnTo>
                  <a:lnTo>
                    <a:pt x="1977" y="1380"/>
                  </a:lnTo>
                  <a:lnTo>
                    <a:pt x="1973" y="1386"/>
                  </a:lnTo>
                  <a:lnTo>
                    <a:pt x="1968" y="1393"/>
                  </a:lnTo>
                  <a:lnTo>
                    <a:pt x="1961" y="1398"/>
                  </a:lnTo>
                  <a:lnTo>
                    <a:pt x="1947" y="1405"/>
                  </a:lnTo>
                  <a:lnTo>
                    <a:pt x="1934" y="1412"/>
                  </a:lnTo>
                  <a:lnTo>
                    <a:pt x="1922" y="1421"/>
                  </a:lnTo>
                  <a:lnTo>
                    <a:pt x="1913" y="1430"/>
                  </a:lnTo>
                  <a:lnTo>
                    <a:pt x="1903" y="1439"/>
                  </a:lnTo>
                  <a:lnTo>
                    <a:pt x="1894" y="1449"/>
                  </a:lnTo>
                  <a:lnTo>
                    <a:pt x="1887" y="1460"/>
                  </a:lnTo>
                  <a:lnTo>
                    <a:pt x="1879" y="1471"/>
                  </a:lnTo>
                  <a:lnTo>
                    <a:pt x="1863" y="1492"/>
                  </a:lnTo>
                  <a:lnTo>
                    <a:pt x="1847" y="1513"/>
                  </a:lnTo>
                  <a:lnTo>
                    <a:pt x="1837" y="1522"/>
                  </a:lnTo>
                  <a:lnTo>
                    <a:pt x="1826" y="1532"/>
                  </a:lnTo>
                  <a:lnTo>
                    <a:pt x="1814" y="1541"/>
                  </a:lnTo>
                  <a:lnTo>
                    <a:pt x="1801" y="1549"/>
                  </a:lnTo>
                  <a:lnTo>
                    <a:pt x="1774" y="1566"/>
                  </a:lnTo>
                  <a:lnTo>
                    <a:pt x="1751" y="1582"/>
                  </a:lnTo>
                  <a:lnTo>
                    <a:pt x="1729" y="1599"/>
                  </a:lnTo>
                  <a:lnTo>
                    <a:pt x="1708" y="1615"/>
                  </a:lnTo>
                  <a:lnTo>
                    <a:pt x="1688" y="1633"/>
                  </a:lnTo>
                  <a:lnTo>
                    <a:pt x="1666" y="1650"/>
                  </a:lnTo>
                  <a:lnTo>
                    <a:pt x="1643" y="1667"/>
                  </a:lnTo>
                  <a:lnTo>
                    <a:pt x="1617" y="1684"/>
                  </a:lnTo>
                  <a:lnTo>
                    <a:pt x="1605" y="1691"/>
                  </a:lnTo>
                  <a:lnTo>
                    <a:pt x="1593" y="1695"/>
                  </a:lnTo>
                  <a:lnTo>
                    <a:pt x="1582" y="1700"/>
                  </a:lnTo>
                  <a:lnTo>
                    <a:pt x="1571" y="1704"/>
                  </a:lnTo>
                  <a:lnTo>
                    <a:pt x="1561" y="1708"/>
                  </a:lnTo>
                  <a:lnTo>
                    <a:pt x="1550" y="1713"/>
                  </a:lnTo>
                  <a:lnTo>
                    <a:pt x="1538" y="1719"/>
                  </a:lnTo>
                  <a:lnTo>
                    <a:pt x="1527" y="1726"/>
                  </a:lnTo>
                  <a:lnTo>
                    <a:pt x="1514" y="1735"/>
                  </a:lnTo>
                  <a:lnTo>
                    <a:pt x="1502" y="1745"/>
                  </a:lnTo>
                  <a:lnTo>
                    <a:pt x="1491" y="1756"/>
                  </a:lnTo>
                  <a:lnTo>
                    <a:pt x="1482" y="1765"/>
                  </a:lnTo>
                  <a:lnTo>
                    <a:pt x="1473" y="1775"/>
                  </a:lnTo>
                  <a:lnTo>
                    <a:pt x="1464" y="1786"/>
                  </a:lnTo>
                  <a:lnTo>
                    <a:pt x="1457" y="1797"/>
                  </a:lnTo>
                  <a:lnTo>
                    <a:pt x="1450" y="1809"/>
                  </a:lnTo>
                  <a:lnTo>
                    <a:pt x="1437" y="1831"/>
                  </a:lnTo>
                  <a:lnTo>
                    <a:pt x="1427" y="1857"/>
                  </a:lnTo>
                  <a:lnTo>
                    <a:pt x="1417" y="1884"/>
                  </a:lnTo>
                  <a:lnTo>
                    <a:pt x="1406" y="1913"/>
                  </a:lnTo>
                  <a:lnTo>
                    <a:pt x="1395" y="1944"/>
                  </a:lnTo>
                  <a:lnTo>
                    <a:pt x="1384" y="1970"/>
                  </a:lnTo>
                  <a:lnTo>
                    <a:pt x="1373" y="1996"/>
                  </a:lnTo>
                  <a:lnTo>
                    <a:pt x="1362" y="2026"/>
                  </a:lnTo>
                  <a:lnTo>
                    <a:pt x="1362" y="2026"/>
                  </a:lnTo>
                  <a:lnTo>
                    <a:pt x="1418" y="2026"/>
                  </a:lnTo>
                  <a:lnTo>
                    <a:pt x="1418" y="2026"/>
                  </a:lnTo>
                  <a:lnTo>
                    <a:pt x="1418" y="2038"/>
                  </a:lnTo>
                  <a:lnTo>
                    <a:pt x="1418" y="2048"/>
                  </a:lnTo>
                  <a:lnTo>
                    <a:pt x="1417" y="2056"/>
                  </a:lnTo>
                  <a:lnTo>
                    <a:pt x="1417" y="2061"/>
                  </a:lnTo>
                  <a:lnTo>
                    <a:pt x="1415" y="2067"/>
                  </a:lnTo>
                  <a:lnTo>
                    <a:pt x="1414" y="2073"/>
                  </a:lnTo>
                  <a:lnTo>
                    <a:pt x="1408" y="2083"/>
                  </a:lnTo>
                  <a:lnTo>
                    <a:pt x="1404" y="2093"/>
                  </a:lnTo>
                  <a:lnTo>
                    <a:pt x="1399" y="2104"/>
                  </a:lnTo>
                  <a:lnTo>
                    <a:pt x="1394" y="2113"/>
                  </a:lnTo>
                  <a:lnTo>
                    <a:pt x="1392" y="2119"/>
                  </a:lnTo>
                  <a:lnTo>
                    <a:pt x="1391" y="2125"/>
                  </a:lnTo>
                  <a:lnTo>
                    <a:pt x="1390" y="2131"/>
                  </a:lnTo>
                  <a:lnTo>
                    <a:pt x="1390" y="2137"/>
                  </a:lnTo>
                  <a:lnTo>
                    <a:pt x="1390" y="2153"/>
                  </a:lnTo>
                  <a:lnTo>
                    <a:pt x="1390" y="2167"/>
                  </a:lnTo>
                  <a:lnTo>
                    <a:pt x="1390" y="2181"/>
                  </a:lnTo>
                  <a:lnTo>
                    <a:pt x="1390" y="2197"/>
                  </a:lnTo>
                  <a:lnTo>
                    <a:pt x="1389" y="2206"/>
                  </a:lnTo>
                  <a:lnTo>
                    <a:pt x="1387" y="2214"/>
                  </a:lnTo>
                  <a:lnTo>
                    <a:pt x="1384" y="2220"/>
                  </a:lnTo>
                  <a:lnTo>
                    <a:pt x="1380" y="2227"/>
                  </a:lnTo>
                  <a:lnTo>
                    <a:pt x="1370" y="2239"/>
                  </a:lnTo>
                  <a:lnTo>
                    <a:pt x="1359" y="2250"/>
                  </a:lnTo>
                  <a:lnTo>
                    <a:pt x="1328" y="2281"/>
                  </a:lnTo>
                  <a:lnTo>
                    <a:pt x="1322" y="2293"/>
                  </a:lnTo>
                  <a:lnTo>
                    <a:pt x="1315" y="2301"/>
                  </a:lnTo>
                  <a:lnTo>
                    <a:pt x="1308" y="2310"/>
                  </a:lnTo>
                  <a:lnTo>
                    <a:pt x="1300" y="2316"/>
                  </a:lnTo>
                  <a:lnTo>
                    <a:pt x="1283" y="2330"/>
                  </a:lnTo>
                  <a:lnTo>
                    <a:pt x="1264" y="2345"/>
                  </a:lnTo>
                  <a:lnTo>
                    <a:pt x="1244" y="2363"/>
                  </a:lnTo>
                  <a:lnTo>
                    <a:pt x="1226" y="2378"/>
                  </a:lnTo>
                  <a:lnTo>
                    <a:pt x="1216" y="2384"/>
                  </a:lnTo>
                  <a:lnTo>
                    <a:pt x="1206" y="2389"/>
                  </a:lnTo>
                  <a:lnTo>
                    <a:pt x="1201" y="2391"/>
                  </a:lnTo>
                  <a:lnTo>
                    <a:pt x="1194" y="2392"/>
                  </a:lnTo>
                  <a:lnTo>
                    <a:pt x="1189" y="2393"/>
                  </a:lnTo>
                  <a:lnTo>
                    <a:pt x="1182" y="2393"/>
                  </a:lnTo>
                  <a:lnTo>
                    <a:pt x="1168" y="2389"/>
                  </a:lnTo>
                  <a:lnTo>
                    <a:pt x="1157" y="2382"/>
                  </a:lnTo>
                  <a:lnTo>
                    <a:pt x="1157" y="2382"/>
                  </a:lnTo>
                  <a:lnTo>
                    <a:pt x="1161" y="2370"/>
                  </a:lnTo>
                  <a:lnTo>
                    <a:pt x="1163" y="2358"/>
                  </a:lnTo>
                  <a:lnTo>
                    <a:pt x="1165" y="2348"/>
                  </a:lnTo>
                  <a:lnTo>
                    <a:pt x="1167" y="2338"/>
                  </a:lnTo>
                  <a:lnTo>
                    <a:pt x="1170" y="2327"/>
                  </a:lnTo>
                  <a:lnTo>
                    <a:pt x="1173" y="2317"/>
                  </a:lnTo>
                  <a:lnTo>
                    <a:pt x="1179" y="2308"/>
                  </a:lnTo>
                  <a:lnTo>
                    <a:pt x="1188" y="2298"/>
                  </a:lnTo>
                  <a:lnTo>
                    <a:pt x="1168" y="2290"/>
                  </a:lnTo>
                  <a:lnTo>
                    <a:pt x="1152" y="2284"/>
                  </a:lnTo>
                  <a:lnTo>
                    <a:pt x="1136" y="2276"/>
                  </a:lnTo>
                  <a:lnTo>
                    <a:pt x="1118" y="2267"/>
                  </a:lnTo>
                  <a:lnTo>
                    <a:pt x="1103" y="2258"/>
                  </a:lnTo>
                  <a:lnTo>
                    <a:pt x="1087" y="2249"/>
                  </a:lnTo>
                  <a:lnTo>
                    <a:pt x="1074" y="2242"/>
                  </a:lnTo>
                  <a:lnTo>
                    <a:pt x="1062" y="2232"/>
                  </a:lnTo>
                  <a:lnTo>
                    <a:pt x="1056" y="2227"/>
                  </a:lnTo>
                  <a:lnTo>
                    <a:pt x="1051" y="2222"/>
                  </a:lnTo>
                  <a:lnTo>
                    <a:pt x="1045" y="2216"/>
                  </a:lnTo>
                  <a:lnTo>
                    <a:pt x="1041" y="2210"/>
                  </a:lnTo>
                  <a:lnTo>
                    <a:pt x="1037" y="2203"/>
                  </a:lnTo>
                  <a:lnTo>
                    <a:pt x="1033" y="2196"/>
                  </a:lnTo>
                  <a:lnTo>
                    <a:pt x="1030" y="2189"/>
                  </a:lnTo>
                  <a:lnTo>
                    <a:pt x="1028" y="2180"/>
                  </a:lnTo>
                  <a:lnTo>
                    <a:pt x="1023" y="2152"/>
                  </a:lnTo>
                  <a:lnTo>
                    <a:pt x="1017" y="2125"/>
                  </a:lnTo>
                  <a:lnTo>
                    <a:pt x="1015" y="2119"/>
                  </a:lnTo>
                  <a:lnTo>
                    <a:pt x="1013" y="2113"/>
                  </a:lnTo>
                  <a:lnTo>
                    <a:pt x="1011" y="2108"/>
                  </a:lnTo>
                  <a:lnTo>
                    <a:pt x="1006" y="2102"/>
                  </a:lnTo>
                  <a:lnTo>
                    <a:pt x="1003" y="2099"/>
                  </a:lnTo>
                  <a:lnTo>
                    <a:pt x="998" y="2095"/>
                  </a:lnTo>
                  <a:lnTo>
                    <a:pt x="992" y="2093"/>
                  </a:lnTo>
                  <a:lnTo>
                    <a:pt x="986" y="2091"/>
                  </a:lnTo>
                  <a:lnTo>
                    <a:pt x="954" y="2085"/>
                  </a:lnTo>
                  <a:lnTo>
                    <a:pt x="922" y="2082"/>
                  </a:lnTo>
                  <a:lnTo>
                    <a:pt x="915" y="2080"/>
                  </a:lnTo>
                  <a:lnTo>
                    <a:pt x="908" y="2078"/>
                  </a:lnTo>
                  <a:lnTo>
                    <a:pt x="903" y="2075"/>
                  </a:lnTo>
                  <a:lnTo>
                    <a:pt x="897" y="2071"/>
                  </a:lnTo>
                  <a:lnTo>
                    <a:pt x="893" y="2067"/>
                  </a:lnTo>
                  <a:lnTo>
                    <a:pt x="891" y="2062"/>
                  </a:lnTo>
                  <a:lnTo>
                    <a:pt x="889" y="2056"/>
                  </a:lnTo>
                  <a:lnTo>
                    <a:pt x="888" y="2048"/>
                  </a:lnTo>
                  <a:lnTo>
                    <a:pt x="888" y="2030"/>
                  </a:lnTo>
                  <a:lnTo>
                    <a:pt x="888" y="2013"/>
                  </a:lnTo>
                  <a:lnTo>
                    <a:pt x="888" y="1997"/>
                  </a:lnTo>
                  <a:lnTo>
                    <a:pt x="888" y="1977"/>
                  </a:lnTo>
                  <a:lnTo>
                    <a:pt x="888" y="1971"/>
                  </a:lnTo>
                  <a:lnTo>
                    <a:pt x="887" y="1965"/>
                  </a:lnTo>
                  <a:lnTo>
                    <a:pt x="884" y="1960"/>
                  </a:lnTo>
                  <a:lnTo>
                    <a:pt x="882" y="1956"/>
                  </a:lnTo>
                  <a:lnTo>
                    <a:pt x="876" y="1947"/>
                  </a:lnTo>
                  <a:lnTo>
                    <a:pt x="867" y="1938"/>
                  </a:lnTo>
                  <a:lnTo>
                    <a:pt x="848" y="1925"/>
                  </a:lnTo>
                  <a:lnTo>
                    <a:pt x="826" y="1911"/>
                  </a:lnTo>
                  <a:lnTo>
                    <a:pt x="808" y="1896"/>
                  </a:lnTo>
                  <a:lnTo>
                    <a:pt x="792" y="1882"/>
                  </a:lnTo>
                  <a:lnTo>
                    <a:pt x="776" y="1868"/>
                  </a:lnTo>
                  <a:lnTo>
                    <a:pt x="759" y="1852"/>
                  </a:lnTo>
                  <a:lnTo>
                    <a:pt x="749" y="1843"/>
                  </a:lnTo>
                  <a:lnTo>
                    <a:pt x="742" y="1834"/>
                  </a:lnTo>
                  <a:lnTo>
                    <a:pt x="734" y="1825"/>
                  </a:lnTo>
                  <a:lnTo>
                    <a:pt x="728" y="1816"/>
                  </a:lnTo>
                  <a:lnTo>
                    <a:pt x="716" y="1797"/>
                  </a:lnTo>
                  <a:lnTo>
                    <a:pt x="706" y="1778"/>
                  </a:lnTo>
                  <a:lnTo>
                    <a:pt x="689" y="1737"/>
                  </a:lnTo>
                  <a:lnTo>
                    <a:pt x="669" y="1692"/>
                  </a:lnTo>
                  <a:lnTo>
                    <a:pt x="654" y="1665"/>
                  </a:lnTo>
                  <a:lnTo>
                    <a:pt x="639" y="1640"/>
                  </a:lnTo>
                  <a:lnTo>
                    <a:pt x="632" y="1628"/>
                  </a:lnTo>
                  <a:lnTo>
                    <a:pt x="626" y="1616"/>
                  </a:lnTo>
                  <a:lnTo>
                    <a:pt x="621" y="1601"/>
                  </a:lnTo>
                  <a:lnTo>
                    <a:pt x="615" y="1586"/>
                  </a:lnTo>
                  <a:lnTo>
                    <a:pt x="612" y="1567"/>
                  </a:lnTo>
                  <a:lnTo>
                    <a:pt x="609" y="1551"/>
                  </a:lnTo>
                  <a:lnTo>
                    <a:pt x="607" y="1542"/>
                  </a:lnTo>
                  <a:lnTo>
                    <a:pt x="604" y="1534"/>
                  </a:lnTo>
                  <a:lnTo>
                    <a:pt x="599" y="1527"/>
                  </a:lnTo>
                  <a:lnTo>
                    <a:pt x="594" y="1518"/>
                  </a:lnTo>
                  <a:lnTo>
                    <a:pt x="585" y="1510"/>
                  </a:lnTo>
                  <a:lnTo>
                    <a:pt x="578" y="1501"/>
                  </a:lnTo>
                  <a:lnTo>
                    <a:pt x="569" y="1494"/>
                  </a:lnTo>
                  <a:lnTo>
                    <a:pt x="560" y="1488"/>
                  </a:lnTo>
                  <a:lnTo>
                    <a:pt x="543" y="1476"/>
                  </a:lnTo>
                  <a:lnTo>
                    <a:pt x="526" y="1466"/>
                  </a:lnTo>
                  <a:lnTo>
                    <a:pt x="488" y="1448"/>
                  </a:lnTo>
                  <a:lnTo>
                    <a:pt x="448" y="1426"/>
                  </a:lnTo>
                  <a:lnTo>
                    <a:pt x="431" y="1417"/>
                  </a:lnTo>
                  <a:lnTo>
                    <a:pt x="417" y="1407"/>
                  </a:lnTo>
                  <a:lnTo>
                    <a:pt x="409" y="1400"/>
                  </a:lnTo>
                  <a:lnTo>
                    <a:pt x="404" y="1395"/>
                  </a:lnTo>
                  <a:lnTo>
                    <a:pt x="398" y="1387"/>
                  </a:lnTo>
                  <a:lnTo>
                    <a:pt x="394" y="1379"/>
                  </a:lnTo>
                  <a:lnTo>
                    <a:pt x="391" y="1365"/>
                  </a:lnTo>
                  <a:lnTo>
                    <a:pt x="389" y="1351"/>
                  </a:lnTo>
                  <a:lnTo>
                    <a:pt x="386" y="1344"/>
                  </a:lnTo>
                  <a:lnTo>
                    <a:pt x="384" y="1339"/>
                  </a:lnTo>
                  <a:lnTo>
                    <a:pt x="380" y="1335"/>
                  </a:lnTo>
                  <a:lnTo>
                    <a:pt x="375" y="1331"/>
                  </a:lnTo>
                  <a:lnTo>
                    <a:pt x="369" y="1328"/>
                  </a:lnTo>
                  <a:lnTo>
                    <a:pt x="364" y="1327"/>
                  </a:lnTo>
                  <a:lnTo>
                    <a:pt x="358" y="1327"/>
                  </a:lnTo>
                  <a:lnTo>
                    <a:pt x="353" y="1327"/>
                  </a:lnTo>
                  <a:lnTo>
                    <a:pt x="342" y="1328"/>
                  </a:lnTo>
                  <a:lnTo>
                    <a:pt x="330" y="1328"/>
                  </a:lnTo>
                  <a:lnTo>
                    <a:pt x="317" y="1326"/>
                  </a:lnTo>
                  <a:lnTo>
                    <a:pt x="307" y="1322"/>
                  </a:lnTo>
                  <a:lnTo>
                    <a:pt x="297" y="1316"/>
                  </a:lnTo>
                  <a:lnTo>
                    <a:pt x="287" y="1311"/>
                  </a:lnTo>
                  <a:lnTo>
                    <a:pt x="270" y="1297"/>
                  </a:lnTo>
                  <a:lnTo>
                    <a:pt x="249" y="1283"/>
                  </a:lnTo>
                  <a:lnTo>
                    <a:pt x="239" y="1277"/>
                  </a:lnTo>
                  <a:lnTo>
                    <a:pt x="229" y="1271"/>
                  </a:lnTo>
                  <a:lnTo>
                    <a:pt x="220" y="1263"/>
                  </a:lnTo>
                  <a:lnTo>
                    <a:pt x="213" y="1256"/>
                  </a:lnTo>
                  <a:lnTo>
                    <a:pt x="207" y="1247"/>
                  </a:lnTo>
                  <a:lnTo>
                    <a:pt x="202" y="1238"/>
                  </a:lnTo>
                  <a:lnTo>
                    <a:pt x="199" y="1228"/>
                  </a:lnTo>
                  <a:lnTo>
                    <a:pt x="195" y="1216"/>
                  </a:lnTo>
                  <a:lnTo>
                    <a:pt x="192" y="1190"/>
                  </a:lnTo>
                  <a:lnTo>
                    <a:pt x="189" y="1166"/>
                  </a:lnTo>
                  <a:lnTo>
                    <a:pt x="186" y="1143"/>
                  </a:lnTo>
                  <a:lnTo>
                    <a:pt x="180" y="1122"/>
                  </a:lnTo>
                  <a:lnTo>
                    <a:pt x="178" y="1111"/>
                  </a:lnTo>
                  <a:lnTo>
                    <a:pt x="175" y="1100"/>
                  </a:lnTo>
                  <a:lnTo>
                    <a:pt x="170" y="1090"/>
                  </a:lnTo>
                  <a:lnTo>
                    <a:pt x="166" y="1080"/>
                  </a:lnTo>
                  <a:lnTo>
                    <a:pt x="161" y="1070"/>
                  </a:lnTo>
                  <a:lnTo>
                    <a:pt x="154" y="1060"/>
                  </a:lnTo>
                  <a:lnTo>
                    <a:pt x="148" y="1049"/>
                  </a:lnTo>
                  <a:lnTo>
                    <a:pt x="139" y="1040"/>
                  </a:lnTo>
                  <a:lnTo>
                    <a:pt x="127" y="1025"/>
                  </a:lnTo>
                  <a:lnTo>
                    <a:pt x="114" y="1013"/>
                  </a:lnTo>
                  <a:lnTo>
                    <a:pt x="101" y="1001"/>
                  </a:lnTo>
                  <a:lnTo>
                    <a:pt x="88" y="991"/>
                  </a:lnTo>
                  <a:lnTo>
                    <a:pt x="61" y="972"/>
                  </a:lnTo>
                  <a:lnTo>
                    <a:pt x="30" y="950"/>
                  </a:lnTo>
                  <a:lnTo>
                    <a:pt x="20" y="944"/>
                  </a:lnTo>
                  <a:lnTo>
                    <a:pt x="10" y="938"/>
                  </a:lnTo>
                  <a:lnTo>
                    <a:pt x="6" y="935"/>
                  </a:lnTo>
                  <a:lnTo>
                    <a:pt x="2" y="932"/>
                  </a:lnTo>
                  <a:lnTo>
                    <a:pt x="0" y="927"/>
                  </a:lnTo>
                  <a:lnTo>
                    <a:pt x="0" y="922"/>
                  </a:lnTo>
                  <a:lnTo>
                    <a:pt x="0" y="910"/>
                  </a:lnTo>
                  <a:lnTo>
                    <a:pt x="2" y="900"/>
                  </a:lnTo>
                  <a:lnTo>
                    <a:pt x="5" y="892"/>
                  </a:lnTo>
                  <a:lnTo>
                    <a:pt x="10" y="883"/>
                  </a:lnTo>
                  <a:lnTo>
                    <a:pt x="19" y="866"/>
                  </a:lnTo>
                  <a:lnTo>
                    <a:pt x="28" y="846"/>
                  </a:lnTo>
                  <a:lnTo>
                    <a:pt x="32" y="829"/>
                  </a:lnTo>
                  <a:lnTo>
                    <a:pt x="37" y="814"/>
                  </a:lnTo>
                  <a:lnTo>
                    <a:pt x="40" y="799"/>
                  </a:lnTo>
                  <a:lnTo>
                    <a:pt x="42" y="785"/>
                  </a:lnTo>
                  <a:lnTo>
                    <a:pt x="45" y="756"/>
                  </a:lnTo>
                  <a:lnTo>
                    <a:pt x="47" y="722"/>
                  </a:lnTo>
                  <a:lnTo>
                    <a:pt x="47" y="722"/>
                  </a:lnTo>
                  <a:close/>
                </a:path>
              </a:pathLst>
            </a:custGeom>
            <a:solidFill>
              <a:srgbClr val="56EFF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37">
              <a:extLst>
                <a:ext uri="{FF2B5EF4-FFF2-40B4-BE49-F238E27FC236}">
                  <a16:creationId xmlns:a16="http://schemas.microsoft.com/office/drawing/2014/main" id="{27817050-DF5D-47B0-BA74-7D22DB54A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8800" y="652463"/>
              <a:ext cx="52388" cy="84138"/>
            </a:xfrm>
            <a:custGeom>
              <a:avLst/>
              <a:gdLst>
                <a:gd name="T0" fmla="*/ 70 w 132"/>
                <a:gd name="T1" fmla="*/ 22 h 209"/>
                <a:gd name="T2" fmla="*/ 51 w 132"/>
                <a:gd name="T3" fmla="*/ 18 h 209"/>
                <a:gd name="T4" fmla="*/ 34 w 132"/>
                <a:gd name="T5" fmla="*/ 15 h 209"/>
                <a:gd name="T6" fmla="*/ 18 w 132"/>
                <a:gd name="T7" fmla="*/ 9 h 209"/>
                <a:gd name="T8" fmla="*/ 0 w 132"/>
                <a:gd name="T9" fmla="*/ 0 h 209"/>
                <a:gd name="T10" fmla="*/ 2 w 132"/>
                <a:gd name="T11" fmla="*/ 9 h 209"/>
                <a:gd name="T12" fmla="*/ 5 w 132"/>
                <a:gd name="T13" fmla="*/ 16 h 209"/>
                <a:gd name="T14" fmla="*/ 8 w 132"/>
                <a:gd name="T15" fmla="*/ 24 h 209"/>
                <a:gd name="T16" fmla="*/ 9 w 132"/>
                <a:gd name="T17" fmla="*/ 32 h 209"/>
                <a:gd name="T18" fmla="*/ 9 w 132"/>
                <a:gd name="T19" fmla="*/ 47 h 209"/>
                <a:gd name="T20" fmla="*/ 9 w 132"/>
                <a:gd name="T21" fmla="*/ 61 h 209"/>
                <a:gd name="T22" fmla="*/ 9 w 132"/>
                <a:gd name="T23" fmla="*/ 74 h 209"/>
                <a:gd name="T24" fmla="*/ 9 w 132"/>
                <a:gd name="T25" fmla="*/ 90 h 209"/>
                <a:gd name="T26" fmla="*/ 9 w 132"/>
                <a:gd name="T27" fmla="*/ 98 h 209"/>
                <a:gd name="T28" fmla="*/ 10 w 132"/>
                <a:gd name="T29" fmla="*/ 107 h 209"/>
                <a:gd name="T30" fmla="*/ 12 w 132"/>
                <a:gd name="T31" fmla="*/ 114 h 209"/>
                <a:gd name="T32" fmla="*/ 14 w 132"/>
                <a:gd name="T33" fmla="*/ 122 h 209"/>
                <a:gd name="T34" fmla="*/ 21 w 132"/>
                <a:gd name="T35" fmla="*/ 136 h 209"/>
                <a:gd name="T36" fmla="*/ 27 w 132"/>
                <a:gd name="T37" fmla="*/ 150 h 209"/>
                <a:gd name="T38" fmla="*/ 34 w 132"/>
                <a:gd name="T39" fmla="*/ 163 h 209"/>
                <a:gd name="T40" fmla="*/ 39 w 132"/>
                <a:gd name="T41" fmla="*/ 177 h 209"/>
                <a:gd name="T42" fmla="*/ 42 w 132"/>
                <a:gd name="T43" fmla="*/ 185 h 209"/>
                <a:gd name="T44" fmla="*/ 43 w 132"/>
                <a:gd name="T45" fmla="*/ 192 h 209"/>
                <a:gd name="T46" fmla="*/ 45 w 132"/>
                <a:gd name="T47" fmla="*/ 201 h 209"/>
                <a:gd name="T48" fmla="*/ 46 w 132"/>
                <a:gd name="T49" fmla="*/ 209 h 209"/>
                <a:gd name="T50" fmla="*/ 56 w 132"/>
                <a:gd name="T51" fmla="*/ 209 h 209"/>
                <a:gd name="T52" fmla="*/ 67 w 132"/>
                <a:gd name="T53" fmla="*/ 209 h 209"/>
                <a:gd name="T54" fmla="*/ 75 w 132"/>
                <a:gd name="T55" fmla="*/ 209 h 209"/>
                <a:gd name="T56" fmla="*/ 82 w 132"/>
                <a:gd name="T57" fmla="*/ 207 h 209"/>
                <a:gd name="T58" fmla="*/ 90 w 132"/>
                <a:gd name="T59" fmla="*/ 205 h 209"/>
                <a:gd name="T60" fmla="*/ 96 w 132"/>
                <a:gd name="T61" fmla="*/ 201 h 209"/>
                <a:gd name="T62" fmla="*/ 102 w 132"/>
                <a:gd name="T63" fmla="*/ 196 h 209"/>
                <a:gd name="T64" fmla="*/ 107 w 132"/>
                <a:gd name="T65" fmla="*/ 192 h 209"/>
                <a:gd name="T66" fmla="*/ 112 w 132"/>
                <a:gd name="T67" fmla="*/ 186 h 209"/>
                <a:gd name="T68" fmla="*/ 116 w 132"/>
                <a:gd name="T69" fmla="*/ 180 h 209"/>
                <a:gd name="T70" fmla="*/ 120 w 132"/>
                <a:gd name="T71" fmla="*/ 173 h 209"/>
                <a:gd name="T72" fmla="*/ 123 w 132"/>
                <a:gd name="T73" fmla="*/ 166 h 209"/>
                <a:gd name="T74" fmla="*/ 126 w 132"/>
                <a:gd name="T75" fmla="*/ 158 h 209"/>
                <a:gd name="T76" fmla="*/ 129 w 132"/>
                <a:gd name="T77" fmla="*/ 150 h 209"/>
                <a:gd name="T78" fmla="*/ 131 w 132"/>
                <a:gd name="T79" fmla="*/ 134 h 209"/>
                <a:gd name="T80" fmla="*/ 132 w 132"/>
                <a:gd name="T81" fmla="*/ 118 h 209"/>
                <a:gd name="T82" fmla="*/ 131 w 132"/>
                <a:gd name="T83" fmla="*/ 101 h 209"/>
                <a:gd name="T84" fmla="*/ 128 w 132"/>
                <a:gd name="T85" fmla="*/ 86 h 209"/>
                <a:gd name="T86" fmla="*/ 126 w 132"/>
                <a:gd name="T87" fmla="*/ 79 h 209"/>
                <a:gd name="T88" fmla="*/ 123 w 132"/>
                <a:gd name="T89" fmla="*/ 71 h 209"/>
                <a:gd name="T90" fmla="*/ 120 w 132"/>
                <a:gd name="T91" fmla="*/ 65 h 209"/>
                <a:gd name="T92" fmla="*/ 117 w 132"/>
                <a:gd name="T93" fmla="*/ 57 h 209"/>
                <a:gd name="T94" fmla="*/ 113 w 132"/>
                <a:gd name="T95" fmla="*/ 52 h 209"/>
                <a:gd name="T96" fmla="*/ 107 w 132"/>
                <a:gd name="T97" fmla="*/ 45 h 209"/>
                <a:gd name="T98" fmla="*/ 103 w 132"/>
                <a:gd name="T99" fmla="*/ 40 h 209"/>
                <a:gd name="T100" fmla="*/ 97 w 132"/>
                <a:gd name="T101" fmla="*/ 36 h 209"/>
                <a:gd name="T102" fmla="*/ 91 w 132"/>
                <a:gd name="T103" fmla="*/ 31 h 209"/>
                <a:gd name="T104" fmla="*/ 85 w 132"/>
                <a:gd name="T105" fmla="*/ 27 h 209"/>
                <a:gd name="T106" fmla="*/ 78 w 132"/>
                <a:gd name="T107" fmla="*/ 24 h 209"/>
                <a:gd name="T108" fmla="*/ 70 w 132"/>
                <a:gd name="T109" fmla="*/ 22 h 209"/>
                <a:gd name="T110" fmla="*/ 70 w 132"/>
                <a:gd name="T111" fmla="*/ 2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209">
                  <a:moveTo>
                    <a:pt x="70" y="22"/>
                  </a:moveTo>
                  <a:lnTo>
                    <a:pt x="51" y="18"/>
                  </a:lnTo>
                  <a:lnTo>
                    <a:pt x="34" y="15"/>
                  </a:lnTo>
                  <a:lnTo>
                    <a:pt x="18" y="9"/>
                  </a:lnTo>
                  <a:lnTo>
                    <a:pt x="0" y="0"/>
                  </a:lnTo>
                  <a:lnTo>
                    <a:pt x="2" y="9"/>
                  </a:lnTo>
                  <a:lnTo>
                    <a:pt x="5" y="16"/>
                  </a:lnTo>
                  <a:lnTo>
                    <a:pt x="8" y="24"/>
                  </a:lnTo>
                  <a:lnTo>
                    <a:pt x="9" y="32"/>
                  </a:lnTo>
                  <a:lnTo>
                    <a:pt x="9" y="47"/>
                  </a:lnTo>
                  <a:lnTo>
                    <a:pt x="9" y="61"/>
                  </a:lnTo>
                  <a:lnTo>
                    <a:pt x="9" y="74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10" y="107"/>
                  </a:lnTo>
                  <a:lnTo>
                    <a:pt x="12" y="114"/>
                  </a:lnTo>
                  <a:lnTo>
                    <a:pt x="14" y="122"/>
                  </a:lnTo>
                  <a:lnTo>
                    <a:pt x="21" y="136"/>
                  </a:lnTo>
                  <a:lnTo>
                    <a:pt x="27" y="150"/>
                  </a:lnTo>
                  <a:lnTo>
                    <a:pt x="34" y="163"/>
                  </a:lnTo>
                  <a:lnTo>
                    <a:pt x="39" y="177"/>
                  </a:lnTo>
                  <a:lnTo>
                    <a:pt x="42" y="185"/>
                  </a:lnTo>
                  <a:lnTo>
                    <a:pt x="43" y="192"/>
                  </a:lnTo>
                  <a:lnTo>
                    <a:pt x="45" y="201"/>
                  </a:lnTo>
                  <a:lnTo>
                    <a:pt x="46" y="209"/>
                  </a:lnTo>
                  <a:lnTo>
                    <a:pt x="56" y="209"/>
                  </a:lnTo>
                  <a:lnTo>
                    <a:pt x="67" y="209"/>
                  </a:lnTo>
                  <a:lnTo>
                    <a:pt x="75" y="209"/>
                  </a:lnTo>
                  <a:lnTo>
                    <a:pt x="82" y="207"/>
                  </a:lnTo>
                  <a:lnTo>
                    <a:pt x="90" y="205"/>
                  </a:lnTo>
                  <a:lnTo>
                    <a:pt x="96" y="201"/>
                  </a:lnTo>
                  <a:lnTo>
                    <a:pt x="102" y="196"/>
                  </a:lnTo>
                  <a:lnTo>
                    <a:pt x="107" y="192"/>
                  </a:lnTo>
                  <a:lnTo>
                    <a:pt x="112" y="186"/>
                  </a:lnTo>
                  <a:lnTo>
                    <a:pt x="116" y="180"/>
                  </a:lnTo>
                  <a:lnTo>
                    <a:pt x="120" y="173"/>
                  </a:lnTo>
                  <a:lnTo>
                    <a:pt x="123" y="166"/>
                  </a:lnTo>
                  <a:lnTo>
                    <a:pt x="126" y="158"/>
                  </a:lnTo>
                  <a:lnTo>
                    <a:pt x="129" y="150"/>
                  </a:lnTo>
                  <a:lnTo>
                    <a:pt x="131" y="134"/>
                  </a:lnTo>
                  <a:lnTo>
                    <a:pt x="132" y="118"/>
                  </a:lnTo>
                  <a:lnTo>
                    <a:pt x="131" y="101"/>
                  </a:lnTo>
                  <a:lnTo>
                    <a:pt x="128" y="86"/>
                  </a:lnTo>
                  <a:lnTo>
                    <a:pt x="126" y="79"/>
                  </a:lnTo>
                  <a:lnTo>
                    <a:pt x="123" y="71"/>
                  </a:lnTo>
                  <a:lnTo>
                    <a:pt x="120" y="65"/>
                  </a:lnTo>
                  <a:lnTo>
                    <a:pt x="117" y="57"/>
                  </a:lnTo>
                  <a:lnTo>
                    <a:pt x="113" y="52"/>
                  </a:lnTo>
                  <a:lnTo>
                    <a:pt x="107" y="45"/>
                  </a:lnTo>
                  <a:lnTo>
                    <a:pt x="103" y="40"/>
                  </a:lnTo>
                  <a:lnTo>
                    <a:pt x="97" y="36"/>
                  </a:lnTo>
                  <a:lnTo>
                    <a:pt x="91" y="31"/>
                  </a:lnTo>
                  <a:lnTo>
                    <a:pt x="85" y="27"/>
                  </a:lnTo>
                  <a:lnTo>
                    <a:pt x="78" y="24"/>
                  </a:lnTo>
                  <a:lnTo>
                    <a:pt x="70" y="22"/>
                  </a:lnTo>
                  <a:lnTo>
                    <a:pt x="70" y="2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39">
              <a:extLst>
                <a:ext uri="{FF2B5EF4-FFF2-40B4-BE49-F238E27FC236}">
                  <a16:creationId xmlns:a16="http://schemas.microsoft.com/office/drawing/2014/main" id="{C87AB30F-3BBF-4846-B883-141DA1DCE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5000" y="2192338"/>
              <a:ext cx="1204913" cy="669925"/>
            </a:xfrm>
            <a:custGeom>
              <a:avLst/>
              <a:gdLst>
                <a:gd name="T0" fmla="*/ 2986 w 3033"/>
                <a:gd name="T1" fmla="*/ 1095 h 1686"/>
                <a:gd name="T2" fmla="*/ 3008 w 3033"/>
                <a:gd name="T3" fmla="*/ 1134 h 1686"/>
                <a:gd name="T4" fmla="*/ 2938 w 3033"/>
                <a:gd name="T5" fmla="*/ 1199 h 1686"/>
                <a:gd name="T6" fmla="*/ 2905 w 3033"/>
                <a:gd name="T7" fmla="*/ 1249 h 1686"/>
                <a:gd name="T8" fmla="*/ 2865 w 3033"/>
                <a:gd name="T9" fmla="*/ 1269 h 1686"/>
                <a:gd name="T10" fmla="*/ 2798 w 3033"/>
                <a:gd name="T11" fmla="*/ 1284 h 1686"/>
                <a:gd name="T12" fmla="*/ 2725 w 3033"/>
                <a:gd name="T13" fmla="*/ 1357 h 1686"/>
                <a:gd name="T14" fmla="*/ 2656 w 3033"/>
                <a:gd name="T15" fmla="*/ 1433 h 1686"/>
                <a:gd name="T16" fmla="*/ 2636 w 3033"/>
                <a:gd name="T17" fmla="*/ 1466 h 1686"/>
                <a:gd name="T18" fmla="*/ 2577 w 3033"/>
                <a:gd name="T19" fmla="*/ 1455 h 1686"/>
                <a:gd name="T20" fmla="*/ 2516 w 3033"/>
                <a:gd name="T21" fmla="*/ 1443 h 1686"/>
                <a:gd name="T22" fmla="*/ 2482 w 3033"/>
                <a:gd name="T23" fmla="*/ 1479 h 1686"/>
                <a:gd name="T24" fmla="*/ 2375 w 3033"/>
                <a:gd name="T25" fmla="*/ 1588 h 1686"/>
                <a:gd name="T26" fmla="*/ 2303 w 3033"/>
                <a:gd name="T27" fmla="*/ 1655 h 1686"/>
                <a:gd name="T28" fmla="*/ 2248 w 3033"/>
                <a:gd name="T29" fmla="*/ 1657 h 1686"/>
                <a:gd name="T30" fmla="*/ 2182 w 3033"/>
                <a:gd name="T31" fmla="*/ 1621 h 1686"/>
                <a:gd name="T32" fmla="*/ 2112 w 3033"/>
                <a:gd name="T33" fmla="*/ 1616 h 1686"/>
                <a:gd name="T34" fmla="*/ 2029 w 3033"/>
                <a:gd name="T35" fmla="*/ 1614 h 1686"/>
                <a:gd name="T36" fmla="*/ 1905 w 3033"/>
                <a:gd name="T37" fmla="*/ 1653 h 1686"/>
                <a:gd name="T38" fmla="*/ 1813 w 3033"/>
                <a:gd name="T39" fmla="*/ 1624 h 1686"/>
                <a:gd name="T40" fmla="*/ 1767 w 3033"/>
                <a:gd name="T41" fmla="*/ 1611 h 1686"/>
                <a:gd name="T42" fmla="*/ 1680 w 3033"/>
                <a:gd name="T43" fmla="*/ 1632 h 1686"/>
                <a:gd name="T44" fmla="*/ 1560 w 3033"/>
                <a:gd name="T45" fmla="*/ 1668 h 1686"/>
                <a:gd name="T46" fmla="*/ 1496 w 3033"/>
                <a:gd name="T47" fmla="*/ 1685 h 1686"/>
                <a:gd name="T48" fmla="*/ 1454 w 3033"/>
                <a:gd name="T49" fmla="*/ 1662 h 1686"/>
                <a:gd name="T50" fmla="*/ 1404 w 3033"/>
                <a:gd name="T51" fmla="*/ 1551 h 1686"/>
                <a:gd name="T52" fmla="*/ 1375 w 3033"/>
                <a:gd name="T53" fmla="*/ 1451 h 1686"/>
                <a:gd name="T54" fmla="*/ 1376 w 3033"/>
                <a:gd name="T55" fmla="*/ 1355 h 1686"/>
                <a:gd name="T56" fmla="*/ 1376 w 3033"/>
                <a:gd name="T57" fmla="*/ 1213 h 1686"/>
                <a:gd name="T58" fmla="*/ 1389 w 3033"/>
                <a:gd name="T59" fmla="*/ 1143 h 1686"/>
                <a:gd name="T60" fmla="*/ 1414 w 3033"/>
                <a:gd name="T61" fmla="*/ 1049 h 1686"/>
                <a:gd name="T62" fmla="*/ 1427 w 3033"/>
                <a:gd name="T63" fmla="*/ 936 h 1686"/>
                <a:gd name="T64" fmla="*/ 1358 w 3033"/>
                <a:gd name="T65" fmla="*/ 981 h 1686"/>
                <a:gd name="T66" fmla="*/ 1226 w 3033"/>
                <a:gd name="T67" fmla="*/ 1069 h 1686"/>
                <a:gd name="T68" fmla="*/ 1150 w 3033"/>
                <a:gd name="T69" fmla="*/ 1150 h 1686"/>
                <a:gd name="T70" fmla="*/ 1088 w 3033"/>
                <a:gd name="T71" fmla="*/ 1193 h 1686"/>
                <a:gd name="T72" fmla="*/ 949 w 3033"/>
                <a:gd name="T73" fmla="*/ 1195 h 1686"/>
                <a:gd name="T74" fmla="*/ 804 w 3033"/>
                <a:gd name="T75" fmla="*/ 1207 h 1686"/>
                <a:gd name="T76" fmla="*/ 741 w 3033"/>
                <a:gd name="T77" fmla="*/ 1195 h 1686"/>
                <a:gd name="T78" fmla="*/ 706 w 3033"/>
                <a:gd name="T79" fmla="*/ 1133 h 1686"/>
                <a:gd name="T80" fmla="*/ 664 w 3033"/>
                <a:gd name="T81" fmla="*/ 1036 h 1686"/>
                <a:gd name="T82" fmla="*/ 610 w 3033"/>
                <a:gd name="T83" fmla="*/ 995 h 1686"/>
                <a:gd name="T84" fmla="*/ 489 w 3033"/>
                <a:gd name="T85" fmla="*/ 942 h 1686"/>
                <a:gd name="T86" fmla="*/ 359 w 3033"/>
                <a:gd name="T87" fmla="*/ 938 h 1686"/>
                <a:gd name="T88" fmla="*/ 352 w 3033"/>
                <a:gd name="T89" fmla="*/ 771 h 1686"/>
                <a:gd name="T90" fmla="*/ 290 w 3033"/>
                <a:gd name="T91" fmla="*/ 663 h 1686"/>
                <a:gd name="T92" fmla="*/ 236 w 3033"/>
                <a:gd name="T93" fmla="*/ 623 h 1686"/>
                <a:gd name="T94" fmla="*/ 216 w 3033"/>
                <a:gd name="T95" fmla="*/ 582 h 1686"/>
                <a:gd name="T96" fmla="*/ 198 w 3033"/>
                <a:gd name="T97" fmla="*/ 523 h 1686"/>
                <a:gd name="T98" fmla="*/ 140 w 3033"/>
                <a:gd name="T99" fmla="*/ 445 h 1686"/>
                <a:gd name="T100" fmla="*/ 128 w 3033"/>
                <a:gd name="T101" fmla="*/ 388 h 1686"/>
                <a:gd name="T102" fmla="*/ 113 w 3033"/>
                <a:gd name="T103" fmla="*/ 271 h 1686"/>
                <a:gd name="T104" fmla="*/ 92 w 3033"/>
                <a:gd name="T105" fmla="*/ 236 h 1686"/>
                <a:gd name="T106" fmla="*/ 50 w 3033"/>
                <a:gd name="T107" fmla="*/ 222 h 1686"/>
                <a:gd name="T108" fmla="*/ 33 w 3033"/>
                <a:gd name="T109" fmla="*/ 185 h 1686"/>
                <a:gd name="T110" fmla="*/ 18 w 3033"/>
                <a:gd name="T111" fmla="*/ 148 h 1686"/>
                <a:gd name="T112" fmla="*/ 1 w 3033"/>
                <a:gd name="T113" fmla="*/ 117 h 1686"/>
                <a:gd name="T114" fmla="*/ 46 w 3033"/>
                <a:gd name="T115" fmla="*/ 102 h 1686"/>
                <a:gd name="T116" fmla="*/ 91 w 3033"/>
                <a:gd name="T117" fmla="*/ 97 h 1686"/>
                <a:gd name="T118" fmla="*/ 98 w 3033"/>
                <a:gd name="T119" fmla="*/ 32 h 1686"/>
                <a:gd name="T120" fmla="*/ 2909 w 3033"/>
                <a:gd name="T121" fmla="*/ 1049 h 1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33" h="1686">
                  <a:moveTo>
                    <a:pt x="2909" y="1049"/>
                  </a:moveTo>
                  <a:lnTo>
                    <a:pt x="2924" y="1062"/>
                  </a:lnTo>
                  <a:lnTo>
                    <a:pt x="2939" y="1072"/>
                  </a:lnTo>
                  <a:lnTo>
                    <a:pt x="2954" y="1080"/>
                  </a:lnTo>
                  <a:lnTo>
                    <a:pt x="2971" y="1088"/>
                  </a:lnTo>
                  <a:lnTo>
                    <a:pt x="2986" y="1095"/>
                  </a:lnTo>
                  <a:lnTo>
                    <a:pt x="3002" y="1103"/>
                  </a:lnTo>
                  <a:lnTo>
                    <a:pt x="3017" y="1113"/>
                  </a:lnTo>
                  <a:lnTo>
                    <a:pt x="3033" y="1123"/>
                  </a:lnTo>
                  <a:lnTo>
                    <a:pt x="3033" y="1123"/>
                  </a:lnTo>
                  <a:lnTo>
                    <a:pt x="3021" y="1128"/>
                  </a:lnTo>
                  <a:lnTo>
                    <a:pt x="3008" y="1134"/>
                  </a:lnTo>
                  <a:lnTo>
                    <a:pt x="2993" y="1144"/>
                  </a:lnTo>
                  <a:lnTo>
                    <a:pt x="2980" y="1155"/>
                  </a:lnTo>
                  <a:lnTo>
                    <a:pt x="2970" y="1167"/>
                  </a:lnTo>
                  <a:lnTo>
                    <a:pt x="2955" y="1179"/>
                  </a:lnTo>
                  <a:lnTo>
                    <a:pt x="2946" y="1188"/>
                  </a:lnTo>
                  <a:lnTo>
                    <a:pt x="2938" y="1199"/>
                  </a:lnTo>
                  <a:lnTo>
                    <a:pt x="2932" y="1209"/>
                  </a:lnTo>
                  <a:lnTo>
                    <a:pt x="2926" y="1220"/>
                  </a:lnTo>
                  <a:lnTo>
                    <a:pt x="2920" y="1230"/>
                  </a:lnTo>
                  <a:lnTo>
                    <a:pt x="2913" y="1240"/>
                  </a:lnTo>
                  <a:lnTo>
                    <a:pt x="2909" y="1244"/>
                  </a:lnTo>
                  <a:lnTo>
                    <a:pt x="2905" y="1249"/>
                  </a:lnTo>
                  <a:lnTo>
                    <a:pt x="2899" y="1253"/>
                  </a:lnTo>
                  <a:lnTo>
                    <a:pt x="2894" y="1257"/>
                  </a:lnTo>
                  <a:lnTo>
                    <a:pt x="2886" y="1262"/>
                  </a:lnTo>
                  <a:lnTo>
                    <a:pt x="2880" y="1265"/>
                  </a:lnTo>
                  <a:lnTo>
                    <a:pt x="2872" y="1267"/>
                  </a:lnTo>
                  <a:lnTo>
                    <a:pt x="2865" y="1269"/>
                  </a:lnTo>
                  <a:lnTo>
                    <a:pt x="2851" y="1271"/>
                  </a:lnTo>
                  <a:lnTo>
                    <a:pt x="2838" y="1274"/>
                  </a:lnTo>
                  <a:lnTo>
                    <a:pt x="2824" y="1276"/>
                  </a:lnTo>
                  <a:lnTo>
                    <a:pt x="2811" y="1279"/>
                  </a:lnTo>
                  <a:lnTo>
                    <a:pt x="2804" y="1281"/>
                  </a:lnTo>
                  <a:lnTo>
                    <a:pt x="2798" y="1284"/>
                  </a:lnTo>
                  <a:lnTo>
                    <a:pt x="2791" y="1289"/>
                  </a:lnTo>
                  <a:lnTo>
                    <a:pt x="2785" y="1294"/>
                  </a:lnTo>
                  <a:lnTo>
                    <a:pt x="2766" y="1310"/>
                  </a:lnTo>
                  <a:lnTo>
                    <a:pt x="2751" y="1325"/>
                  </a:lnTo>
                  <a:lnTo>
                    <a:pt x="2738" y="1342"/>
                  </a:lnTo>
                  <a:lnTo>
                    <a:pt x="2725" y="1357"/>
                  </a:lnTo>
                  <a:lnTo>
                    <a:pt x="2714" y="1372"/>
                  </a:lnTo>
                  <a:lnTo>
                    <a:pt x="2699" y="1388"/>
                  </a:lnTo>
                  <a:lnTo>
                    <a:pt x="2684" y="1403"/>
                  </a:lnTo>
                  <a:lnTo>
                    <a:pt x="2667" y="1419"/>
                  </a:lnTo>
                  <a:lnTo>
                    <a:pt x="2661" y="1426"/>
                  </a:lnTo>
                  <a:lnTo>
                    <a:pt x="2656" y="1433"/>
                  </a:lnTo>
                  <a:lnTo>
                    <a:pt x="2653" y="1441"/>
                  </a:lnTo>
                  <a:lnTo>
                    <a:pt x="2650" y="1450"/>
                  </a:lnTo>
                  <a:lnTo>
                    <a:pt x="2645" y="1456"/>
                  </a:lnTo>
                  <a:lnTo>
                    <a:pt x="2641" y="1463"/>
                  </a:lnTo>
                  <a:lnTo>
                    <a:pt x="2639" y="1465"/>
                  </a:lnTo>
                  <a:lnTo>
                    <a:pt x="2636" y="1466"/>
                  </a:lnTo>
                  <a:lnTo>
                    <a:pt x="2631" y="1467"/>
                  </a:lnTo>
                  <a:lnTo>
                    <a:pt x="2627" y="1467"/>
                  </a:lnTo>
                  <a:lnTo>
                    <a:pt x="2613" y="1466"/>
                  </a:lnTo>
                  <a:lnTo>
                    <a:pt x="2600" y="1464"/>
                  </a:lnTo>
                  <a:lnTo>
                    <a:pt x="2588" y="1459"/>
                  </a:lnTo>
                  <a:lnTo>
                    <a:pt x="2577" y="1455"/>
                  </a:lnTo>
                  <a:lnTo>
                    <a:pt x="2566" y="1451"/>
                  </a:lnTo>
                  <a:lnTo>
                    <a:pt x="2554" y="1446"/>
                  </a:lnTo>
                  <a:lnTo>
                    <a:pt x="2541" y="1443"/>
                  </a:lnTo>
                  <a:lnTo>
                    <a:pt x="2527" y="1442"/>
                  </a:lnTo>
                  <a:lnTo>
                    <a:pt x="2521" y="1442"/>
                  </a:lnTo>
                  <a:lnTo>
                    <a:pt x="2516" y="1443"/>
                  </a:lnTo>
                  <a:lnTo>
                    <a:pt x="2512" y="1445"/>
                  </a:lnTo>
                  <a:lnTo>
                    <a:pt x="2507" y="1447"/>
                  </a:lnTo>
                  <a:lnTo>
                    <a:pt x="2501" y="1454"/>
                  </a:lnTo>
                  <a:lnTo>
                    <a:pt x="2494" y="1462"/>
                  </a:lnTo>
                  <a:lnTo>
                    <a:pt x="2489" y="1470"/>
                  </a:lnTo>
                  <a:lnTo>
                    <a:pt x="2482" y="1479"/>
                  </a:lnTo>
                  <a:lnTo>
                    <a:pt x="2476" y="1487"/>
                  </a:lnTo>
                  <a:lnTo>
                    <a:pt x="2467" y="1495"/>
                  </a:lnTo>
                  <a:lnTo>
                    <a:pt x="2442" y="1520"/>
                  </a:lnTo>
                  <a:lnTo>
                    <a:pt x="2421" y="1541"/>
                  </a:lnTo>
                  <a:lnTo>
                    <a:pt x="2399" y="1563"/>
                  </a:lnTo>
                  <a:lnTo>
                    <a:pt x="2375" y="1588"/>
                  </a:lnTo>
                  <a:lnTo>
                    <a:pt x="2351" y="1614"/>
                  </a:lnTo>
                  <a:lnTo>
                    <a:pt x="2328" y="1638"/>
                  </a:lnTo>
                  <a:lnTo>
                    <a:pt x="2323" y="1643"/>
                  </a:lnTo>
                  <a:lnTo>
                    <a:pt x="2316" y="1647"/>
                  </a:lnTo>
                  <a:lnTo>
                    <a:pt x="2310" y="1651"/>
                  </a:lnTo>
                  <a:lnTo>
                    <a:pt x="2303" y="1655"/>
                  </a:lnTo>
                  <a:lnTo>
                    <a:pt x="2296" y="1657"/>
                  </a:lnTo>
                  <a:lnTo>
                    <a:pt x="2288" y="1659"/>
                  </a:lnTo>
                  <a:lnTo>
                    <a:pt x="2279" y="1660"/>
                  </a:lnTo>
                  <a:lnTo>
                    <a:pt x="2271" y="1661"/>
                  </a:lnTo>
                  <a:lnTo>
                    <a:pt x="2259" y="1660"/>
                  </a:lnTo>
                  <a:lnTo>
                    <a:pt x="2248" y="1657"/>
                  </a:lnTo>
                  <a:lnTo>
                    <a:pt x="2239" y="1653"/>
                  </a:lnTo>
                  <a:lnTo>
                    <a:pt x="2231" y="1648"/>
                  </a:lnTo>
                  <a:lnTo>
                    <a:pt x="2213" y="1636"/>
                  </a:lnTo>
                  <a:lnTo>
                    <a:pt x="2193" y="1625"/>
                  </a:lnTo>
                  <a:lnTo>
                    <a:pt x="2188" y="1622"/>
                  </a:lnTo>
                  <a:lnTo>
                    <a:pt x="2182" y="1621"/>
                  </a:lnTo>
                  <a:lnTo>
                    <a:pt x="2177" y="1621"/>
                  </a:lnTo>
                  <a:lnTo>
                    <a:pt x="2171" y="1622"/>
                  </a:lnTo>
                  <a:lnTo>
                    <a:pt x="2161" y="1625"/>
                  </a:lnTo>
                  <a:lnTo>
                    <a:pt x="2149" y="1625"/>
                  </a:lnTo>
                  <a:lnTo>
                    <a:pt x="2129" y="1620"/>
                  </a:lnTo>
                  <a:lnTo>
                    <a:pt x="2112" y="1616"/>
                  </a:lnTo>
                  <a:lnTo>
                    <a:pt x="2103" y="1614"/>
                  </a:lnTo>
                  <a:lnTo>
                    <a:pt x="2095" y="1612"/>
                  </a:lnTo>
                  <a:lnTo>
                    <a:pt x="2086" y="1611"/>
                  </a:lnTo>
                  <a:lnTo>
                    <a:pt x="2075" y="1611"/>
                  </a:lnTo>
                  <a:lnTo>
                    <a:pt x="2051" y="1612"/>
                  </a:lnTo>
                  <a:lnTo>
                    <a:pt x="2029" y="1614"/>
                  </a:lnTo>
                  <a:lnTo>
                    <a:pt x="2008" y="1617"/>
                  </a:lnTo>
                  <a:lnTo>
                    <a:pt x="1988" y="1622"/>
                  </a:lnTo>
                  <a:lnTo>
                    <a:pt x="1968" y="1628"/>
                  </a:lnTo>
                  <a:lnTo>
                    <a:pt x="1948" y="1635"/>
                  </a:lnTo>
                  <a:lnTo>
                    <a:pt x="1927" y="1644"/>
                  </a:lnTo>
                  <a:lnTo>
                    <a:pt x="1905" y="1653"/>
                  </a:lnTo>
                  <a:lnTo>
                    <a:pt x="1905" y="1653"/>
                  </a:lnTo>
                  <a:lnTo>
                    <a:pt x="1884" y="1646"/>
                  </a:lnTo>
                  <a:lnTo>
                    <a:pt x="1865" y="1642"/>
                  </a:lnTo>
                  <a:lnTo>
                    <a:pt x="1846" y="1636"/>
                  </a:lnTo>
                  <a:lnTo>
                    <a:pt x="1826" y="1630"/>
                  </a:lnTo>
                  <a:lnTo>
                    <a:pt x="1813" y="1624"/>
                  </a:lnTo>
                  <a:lnTo>
                    <a:pt x="1801" y="1617"/>
                  </a:lnTo>
                  <a:lnTo>
                    <a:pt x="1795" y="1615"/>
                  </a:lnTo>
                  <a:lnTo>
                    <a:pt x="1789" y="1613"/>
                  </a:lnTo>
                  <a:lnTo>
                    <a:pt x="1783" y="1611"/>
                  </a:lnTo>
                  <a:lnTo>
                    <a:pt x="1776" y="1611"/>
                  </a:lnTo>
                  <a:lnTo>
                    <a:pt x="1767" y="1611"/>
                  </a:lnTo>
                  <a:lnTo>
                    <a:pt x="1760" y="1612"/>
                  </a:lnTo>
                  <a:lnTo>
                    <a:pt x="1752" y="1614"/>
                  </a:lnTo>
                  <a:lnTo>
                    <a:pt x="1746" y="1616"/>
                  </a:lnTo>
                  <a:lnTo>
                    <a:pt x="1732" y="1620"/>
                  </a:lnTo>
                  <a:lnTo>
                    <a:pt x="1717" y="1625"/>
                  </a:lnTo>
                  <a:lnTo>
                    <a:pt x="1680" y="1632"/>
                  </a:lnTo>
                  <a:lnTo>
                    <a:pt x="1646" y="1638"/>
                  </a:lnTo>
                  <a:lnTo>
                    <a:pt x="1630" y="1641"/>
                  </a:lnTo>
                  <a:lnTo>
                    <a:pt x="1614" y="1645"/>
                  </a:lnTo>
                  <a:lnTo>
                    <a:pt x="1598" y="1651"/>
                  </a:lnTo>
                  <a:lnTo>
                    <a:pt x="1579" y="1658"/>
                  </a:lnTo>
                  <a:lnTo>
                    <a:pt x="1560" y="1668"/>
                  </a:lnTo>
                  <a:lnTo>
                    <a:pt x="1543" y="1676"/>
                  </a:lnTo>
                  <a:lnTo>
                    <a:pt x="1535" y="1681"/>
                  </a:lnTo>
                  <a:lnTo>
                    <a:pt x="1525" y="1683"/>
                  </a:lnTo>
                  <a:lnTo>
                    <a:pt x="1516" y="1685"/>
                  </a:lnTo>
                  <a:lnTo>
                    <a:pt x="1505" y="1686"/>
                  </a:lnTo>
                  <a:lnTo>
                    <a:pt x="1496" y="1685"/>
                  </a:lnTo>
                  <a:lnTo>
                    <a:pt x="1488" y="1684"/>
                  </a:lnTo>
                  <a:lnTo>
                    <a:pt x="1480" y="1682"/>
                  </a:lnTo>
                  <a:lnTo>
                    <a:pt x="1473" y="1678"/>
                  </a:lnTo>
                  <a:lnTo>
                    <a:pt x="1466" y="1673"/>
                  </a:lnTo>
                  <a:lnTo>
                    <a:pt x="1460" y="1669"/>
                  </a:lnTo>
                  <a:lnTo>
                    <a:pt x="1454" y="1662"/>
                  </a:lnTo>
                  <a:lnTo>
                    <a:pt x="1449" y="1656"/>
                  </a:lnTo>
                  <a:lnTo>
                    <a:pt x="1440" y="1642"/>
                  </a:lnTo>
                  <a:lnTo>
                    <a:pt x="1433" y="1626"/>
                  </a:lnTo>
                  <a:lnTo>
                    <a:pt x="1425" y="1608"/>
                  </a:lnTo>
                  <a:lnTo>
                    <a:pt x="1420" y="1591"/>
                  </a:lnTo>
                  <a:lnTo>
                    <a:pt x="1404" y="1551"/>
                  </a:lnTo>
                  <a:lnTo>
                    <a:pt x="1390" y="1517"/>
                  </a:lnTo>
                  <a:lnTo>
                    <a:pt x="1384" y="1499"/>
                  </a:lnTo>
                  <a:lnTo>
                    <a:pt x="1380" y="1481"/>
                  </a:lnTo>
                  <a:lnTo>
                    <a:pt x="1377" y="1471"/>
                  </a:lnTo>
                  <a:lnTo>
                    <a:pt x="1376" y="1462"/>
                  </a:lnTo>
                  <a:lnTo>
                    <a:pt x="1375" y="1451"/>
                  </a:lnTo>
                  <a:lnTo>
                    <a:pt x="1374" y="1440"/>
                  </a:lnTo>
                  <a:lnTo>
                    <a:pt x="1374" y="1425"/>
                  </a:lnTo>
                  <a:lnTo>
                    <a:pt x="1374" y="1412"/>
                  </a:lnTo>
                  <a:lnTo>
                    <a:pt x="1374" y="1398"/>
                  </a:lnTo>
                  <a:lnTo>
                    <a:pt x="1374" y="1383"/>
                  </a:lnTo>
                  <a:lnTo>
                    <a:pt x="1376" y="1355"/>
                  </a:lnTo>
                  <a:lnTo>
                    <a:pt x="1379" y="1329"/>
                  </a:lnTo>
                  <a:lnTo>
                    <a:pt x="1382" y="1304"/>
                  </a:lnTo>
                  <a:lnTo>
                    <a:pt x="1383" y="1276"/>
                  </a:lnTo>
                  <a:lnTo>
                    <a:pt x="1382" y="1253"/>
                  </a:lnTo>
                  <a:lnTo>
                    <a:pt x="1379" y="1233"/>
                  </a:lnTo>
                  <a:lnTo>
                    <a:pt x="1376" y="1213"/>
                  </a:lnTo>
                  <a:lnTo>
                    <a:pt x="1374" y="1190"/>
                  </a:lnTo>
                  <a:lnTo>
                    <a:pt x="1375" y="1180"/>
                  </a:lnTo>
                  <a:lnTo>
                    <a:pt x="1377" y="1170"/>
                  </a:lnTo>
                  <a:lnTo>
                    <a:pt x="1382" y="1160"/>
                  </a:lnTo>
                  <a:lnTo>
                    <a:pt x="1385" y="1152"/>
                  </a:lnTo>
                  <a:lnTo>
                    <a:pt x="1389" y="1143"/>
                  </a:lnTo>
                  <a:lnTo>
                    <a:pt x="1394" y="1134"/>
                  </a:lnTo>
                  <a:lnTo>
                    <a:pt x="1397" y="1125"/>
                  </a:lnTo>
                  <a:lnTo>
                    <a:pt x="1400" y="1115"/>
                  </a:lnTo>
                  <a:lnTo>
                    <a:pt x="1404" y="1091"/>
                  </a:lnTo>
                  <a:lnTo>
                    <a:pt x="1409" y="1069"/>
                  </a:lnTo>
                  <a:lnTo>
                    <a:pt x="1414" y="1049"/>
                  </a:lnTo>
                  <a:lnTo>
                    <a:pt x="1419" y="1030"/>
                  </a:lnTo>
                  <a:lnTo>
                    <a:pt x="1422" y="1010"/>
                  </a:lnTo>
                  <a:lnTo>
                    <a:pt x="1425" y="990"/>
                  </a:lnTo>
                  <a:lnTo>
                    <a:pt x="1427" y="968"/>
                  </a:lnTo>
                  <a:lnTo>
                    <a:pt x="1428" y="944"/>
                  </a:lnTo>
                  <a:lnTo>
                    <a:pt x="1427" y="936"/>
                  </a:lnTo>
                  <a:lnTo>
                    <a:pt x="1425" y="927"/>
                  </a:lnTo>
                  <a:lnTo>
                    <a:pt x="1413" y="938"/>
                  </a:lnTo>
                  <a:lnTo>
                    <a:pt x="1402" y="949"/>
                  </a:lnTo>
                  <a:lnTo>
                    <a:pt x="1390" y="957"/>
                  </a:lnTo>
                  <a:lnTo>
                    <a:pt x="1380" y="966"/>
                  </a:lnTo>
                  <a:lnTo>
                    <a:pt x="1358" y="981"/>
                  </a:lnTo>
                  <a:lnTo>
                    <a:pt x="1336" y="995"/>
                  </a:lnTo>
                  <a:lnTo>
                    <a:pt x="1314" y="1008"/>
                  </a:lnTo>
                  <a:lnTo>
                    <a:pt x="1291" y="1022"/>
                  </a:lnTo>
                  <a:lnTo>
                    <a:pt x="1267" y="1037"/>
                  </a:lnTo>
                  <a:lnTo>
                    <a:pt x="1242" y="1055"/>
                  </a:lnTo>
                  <a:lnTo>
                    <a:pt x="1226" y="1069"/>
                  </a:lnTo>
                  <a:lnTo>
                    <a:pt x="1212" y="1084"/>
                  </a:lnTo>
                  <a:lnTo>
                    <a:pt x="1200" y="1096"/>
                  </a:lnTo>
                  <a:lnTo>
                    <a:pt x="1188" y="1111"/>
                  </a:lnTo>
                  <a:lnTo>
                    <a:pt x="1177" y="1123"/>
                  </a:lnTo>
                  <a:lnTo>
                    <a:pt x="1164" y="1138"/>
                  </a:lnTo>
                  <a:lnTo>
                    <a:pt x="1150" y="1150"/>
                  </a:lnTo>
                  <a:lnTo>
                    <a:pt x="1133" y="1165"/>
                  </a:lnTo>
                  <a:lnTo>
                    <a:pt x="1120" y="1175"/>
                  </a:lnTo>
                  <a:lnTo>
                    <a:pt x="1109" y="1184"/>
                  </a:lnTo>
                  <a:lnTo>
                    <a:pt x="1102" y="1187"/>
                  </a:lnTo>
                  <a:lnTo>
                    <a:pt x="1096" y="1190"/>
                  </a:lnTo>
                  <a:lnTo>
                    <a:pt x="1088" y="1193"/>
                  </a:lnTo>
                  <a:lnTo>
                    <a:pt x="1079" y="1193"/>
                  </a:lnTo>
                  <a:lnTo>
                    <a:pt x="1052" y="1193"/>
                  </a:lnTo>
                  <a:lnTo>
                    <a:pt x="1029" y="1193"/>
                  </a:lnTo>
                  <a:lnTo>
                    <a:pt x="1004" y="1193"/>
                  </a:lnTo>
                  <a:lnTo>
                    <a:pt x="977" y="1193"/>
                  </a:lnTo>
                  <a:lnTo>
                    <a:pt x="949" y="1195"/>
                  </a:lnTo>
                  <a:lnTo>
                    <a:pt x="924" y="1197"/>
                  </a:lnTo>
                  <a:lnTo>
                    <a:pt x="899" y="1199"/>
                  </a:lnTo>
                  <a:lnTo>
                    <a:pt x="876" y="1201"/>
                  </a:lnTo>
                  <a:lnTo>
                    <a:pt x="854" y="1203"/>
                  </a:lnTo>
                  <a:lnTo>
                    <a:pt x="830" y="1206"/>
                  </a:lnTo>
                  <a:lnTo>
                    <a:pt x="804" y="1207"/>
                  </a:lnTo>
                  <a:lnTo>
                    <a:pt x="776" y="1207"/>
                  </a:lnTo>
                  <a:lnTo>
                    <a:pt x="768" y="1207"/>
                  </a:lnTo>
                  <a:lnTo>
                    <a:pt x="761" y="1204"/>
                  </a:lnTo>
                  <a:lnTo>
                    <a:pt x="753" y="1202"/>
                  </a:lnTo>
                  <a:lnTo>
                    <a:pt x="747" y="1199"/>
                  </a:lnTo>
                  <a:lnTo>
                    <a:pt x="741" y="1195"/>
                  </a:lnTo>
                  <a:lnTo>
                    <a:pt x="736" y="1190"/>
                  </a:lnTo>
                  <a:lnTo>
                    <a:pt x="731" y="1184"/>
                  </a:lnTo>
                  <a:lnTo>
                    <a:pt x="726" y="1179"/>
                  </a:lnTo>
                  <a:lnTo>
                    <a:pt x="719" y="1165"/>
                  </a:lnTo>
                  <a:lnTo>
                    <a:pt x="711" y="1149"/>
                  </a:lnTo>
                  <a:lnTo>
                    <a:pt x="706" y="1133"/>
                  </a:lnTo>
                  <a:lnTo>
                    <a:pt x="699" y="1117"/>
                  </a:lnTo>
                  <a:lnTo>
                    <a:pt x="691" y="1091"/>
                  </a:lnTo>
                  <a:lnTo>
                    <a:pt x="681" y="1068"/>
                  </a:lnTo>
                  <a:lnTo>
                    <a:pt x="677" y="1058"/>
                  </a:lnTo>
                  <a:lnTo>
                    <a:pt x="670" y="1047"/>
                  </a:lnTo>
                  <a:lnTo>
                    <a:pt x="664" y="1036"/>
                  </a:lnTo>
                  <a:lnTo>
                    <a:pt x="655" y="1025"/>
                  </a:lnTo>
                  <a:lnTo>
                    <a:pt x="647" y="1018"/>
                  </a:lnTo>
                  <a:lnTo>
                    <a:pt x="641" y="1011"/>
                  </a:lnTo>
                  <a:lnTo>
                    <a:pt x="633" y="1007"/>
                  </a:lnTo>
                  <a:lnTo>
                    <a:pt x="626" y="1003"/>
                  </a:lnTo>
                  <a:lnTo>
                    <a:pt x="610" y="995"/>
                  </a:lnTo>
                  <a:lnTo>
                    <a:pt x="592" y="985"/>
                  </a:lnTo>
                  <a:lnTo>
                    <a:pt x="572" y="972"/>
                  </a:lnTo>
                  <a:lnTo>
                    <a:pt x="550" y="961"/>
                  </a:lnTo>
                  <a:lnTo>
                    <a:pt x="531" y="953"/>
                  </a:lnTo>
                  <a:lnTo>
                    <a:pt x="510" y="946"/>
                  </a:lnTo>
                  <a:lnTo>
                    <a:pt x="489" y="942"/>
                  </a:lnTo>
                  <a:lnTo>
                    <a:pt x="467" y="940"/>
                  </a:lnTo>
                  <a:lnTo>
                    <a:pt x="443" y="938"/>
                  </a:lnTo>
                  <a:lnTo>
                    <a:pt x="418" y="938"/>
                  </a:lnTo>
                  <a:lnTo>
                    <a:pt x="397" y="938"/>
                  </a:lnTo>
                  <a:lnTo>
                    <a:pt x="378" y="938"/>
                  </a:lnTo>
                  <a:lnTo>
                    <a:pt x="359" y="938"/>
                  </a:lnTo>
                  <a:lnTo>
                    <a:pt x="337" y="937"/>
                  </a:lnTo>
                  <a:lnTo>
                    <a:pt x="360" y="816"/>
                  </a:lnTo>
                  <a:lnTo>
                    <a:pt x="359" y="804"/>
                  </a:lnTo>
                  <a:lnTo>
                    <a:pt x="357" y="793"/>
                  </a:lnTo>
                  <a:lnTo>
                    <a:pt x="356" y="782"/>
                  </a:lnTo>
                  <a:lnTo>
                    <a:pt x="352" y="771"/>
                  </a:lnTo>
                  <a:lnTo>
                    <a:pt x="346" y="752"/>
                  </a:lnTo>
                  <a:lnTo>
                    <a:pt x="338" y="735"/>
                  </a:lnTo>
                  <a:lnTo>
                    <a:pt x="328" y="716"/>
                  </a:lnTo>
                  <a:lnTo>
                    <a:pt x="317" y="699"/>
                  </a:lnTo>
                  <a:lnTo>
                    <a:pt x="304" y="682"/>
                  </a:lnTo>
                  <a:lnTo>
                    <a:pt x="290" y="663"/>
                  </a:lnTo>
                  <a:lnTo>
                    <a:pt x="281" y="654"/>
                  </a:lnTo>
                  <a:lnTo>
                    <a:pt x="273" y="647"/>
                  </a:lnTo>
                  <a:lnTo>
                    <a:pt x="263" y="641"/>
                  </a:lnTo>
                  <a:lnTo>
                    <a:pt x="254" y="635"/>
                  </a:lnTo>
                  <a:lnTo>
                    <a:pt x="244" y="630"/>
                  </a:lnTo>
                  <a:lnTo>
                    <a:pt x="236" y="623"/>
                  </a:lnTo>
                  <a:lnTo>
                    <a:pt x="233" y="619"/>
                  </a:lnTo>
                  <a:lnTo>
                    <a:pt x="229" y="615"/>
                  </a:lnTo>
                  <a:lnTo>
                    <a:pt x="226" y="609"/>
                  </a:lnTo>
                  <a:lnTo>
                    <a:pt x="223" y="604"/>
                  </a:lnTo>
                  <a:lnTo>
                    <a:pt x="219" y="593"/>
                  </a:lnTo>
                  <a:lnTo>
                    <a:pt x="216" y="582"/>
                  </a:lnTo>
                  <a:lnTo>
                    <a:pt x="214" y="573"/>
                  </a:lnTo>
                  <a:lnTo>
                    <a:pt x="213" y="562"/>
                  </a:lnTo>
                  <a:lnTo>
                    <a:pt x="211" y="552"/>
                  </a:lnTo>
                  <a:lnTo>
                    <a:pt x="209" y="542"/>
                  </a:lnTo>
                  <a:lnTo>
                    <a:pt x="205" y="533"/>
                  </a:lnTo>
                  <a:lnTo>
                    <a:pt x="198" y="523"/>
                  </a:lnTo>
                  <a:lnTo>
                    <a:pt x="184" y="507"/>
                  </a:lnTo>
                  <a:lnTo>
                    <a:pt x="171" y="492"/>
                  </a:lnTo>
                  <a:lnTo>
                    <a:pt x="159" y="477"/>
                  </a:lnTo>
                  <a:lnTo>
                    <a:pt x="148" y="461"/>
                  </a:lnTo>
                  <a:lnTo>
                    <a:pt x="144" y="453"/>
                  </a:lnTo>
                  <a:lnTo>
                    <a:pt x="140" y="445"/>
                  </a:lnTo>
                  <a:lnTo>
                    <a:pt x="136" y="437"/>
                  </a:lnTo>
                  <a:lnTo>
                    <a:pt x="133" y="428"/>
                  </a:lnTo>
                  <a:lnTo>
                    <a:pt x="131" y="419"/>
                  </a:lnTo>
                  <a:lnTo>
                    <a:pt x="129" y="410"/>
                  </a:lnTo>
                  <a:lnTo>
                    <a:pt x="128" y="399"/>
                  </a:lnTo>
                  <a:lnTo>
                    <a:pt x="128" y="388"/>
                  </a:lnTo>
                  <a:lnTo>
                    <a:pt x="114" y="338"/>
                  </a:lnTo>
                  <a:lnTo>
                    <a:pt x="114" y="323"/>
                  </a:lnTo>
                  <a:lnTo>
                    <a:pt x="114" y="310"/>
                  </a:lnTo>
                  <a:lnTo>
                    <a:pt x="114" y="297"/>
                  </a:lnTo>
                  <a:lnTo>
                    <a:pt x="114" y="284"/>
                  </a:lnTo>
                  <a:lnTo>
                    <a:pt x="113" y="271"/>
                  </a:lnTo>
                  <a:lnTo>
                    <a:pt x="112" y="259"/>
                  </a:lnTo>
                  <a:lnTo>
                    <a:pt x="111" y="254"/>
                  </a:lnTo>
                  <a:lnTo>
                    <a:pt x="107" y="249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2" y="236"/>
                  </a:lnTo>
                  <a:lnTo>
                    <a:pt x="86" y="232"/>
                  </a:lnTo>
                  <a:lnTo>
                    <a:pt x="78" y="230"/>
                  </a:lnTo>
                  <a:lnTo>
                    <a:pt x="71" y="229"/>
                  </a:lnTo>
                  <a:lnTo>
                    <a:pt x="64" y="227"/>
                  </a:lnTo>
                  <a:lnTo>
                    <a:pt x="58" y="225"/>
                  </a:lnTo>
                  <a:lnTo>
                    <a:pt x="50" y="222"/>
                  </a:lnTo>
                  <a:lnTo>
                    <a:pt x="44" y="217"/>
                  </a:lnTo>
                  <a:lnTo>
                    <a:pt x="39" y="213"/>
                  </a:lnTo>
                  <a:lnTo>
                    <a:pt x="36" y="209"/>
                  </a:lnTo>
                  <a:lnTo>
                    <a:pt x="35" y="203"/>
                  </a:lnTo>
                  <a:lnTo>
                    <a:pt x="34" y="197"/>
                  </a:lnTo>
                  <a:lnTo>
                    <a:pt x="33" y="185"/>
                  </a:lnTo>
                  <a:lnTo>
                    <a:pt x="32" y="173"/>
                  </a:lnTo>
                  <a:lnTo>
                    <a:pt x="31" y="169"/>
                  </a:lnTo>
                  <a:lnTo>
                    <a:pt x="30" y="164"/>
                  </a:lnTo>
                  <a:lnTo>
                    <a:pt x="26" y="160"/>
                  </a:lnTo>
                  <a:lnTo>
                    <a:pt x="24" y="156"/>
                  </a:lnTo>
                  <a:lnTo>
                    <a:pt x="18" y="148"/>
                  </a:lnTo>
                  <a:lnTo>
                    <a:pt x="10" y="141"/>
                  </a:lnTo>
                  <a:lnTo>
                    <a:pt x="5" y="13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1" y="117"/>
                  </a:lnTo>
                  <a:lnTo>
                    <a:pt x="4" y="114"/>
                  </a:lnTo>
                  <a:lnTo>
                    <a:pt x="10" y="109"/>
                  </a:lnTo>
                  <a:lnTo>
                    <a:pt x="16" y="106"/>
                  </a:lnTo>
                  <a:lnTo>
                    <a:pt x="23" y="104"/>
                  </a:lnTo>
                  <a:lnTo>
                    <a:pt x="30" y="102"/>
                  </a:lnTo>
                  <a:lnTo>
                    <a:pt x="46" y="102"/>
                  </a:lnTo>
                  <a:lnTo>
                    <a:pt x="61" y="102"/>
                  </a:lnTo>
                  <a:lnTo>
                    <a:pt x="68" y="102"/>
                  </a:lnTo>
                  <a:lnTo>
                    <a:pt x="75" y="102"/>
                  </a:lnTo>
                  <a:lnTo>
                    <a:pt x="81" y="101"/>
                  </a:lnTo>
                  <a:lnTo>
                    <a:pt x="87" y="100"/>
                  </a:lnTo>
                  <a:lnTo>
                    <a:pt x="91" y="97"/>
                  </a:lnTo>
                  <a:lnTo>
                    <a:pt x="95" y="93"/>
                  </a:lnTo>
                  <a:lnTo>
                    <a:pt x="98" y="89"/>
                  </a:lnTo>
                  <a:lnTo>
                    <a:pt x="98" y="82"/>
                  </a:lnTo>
                  <a:lnTo>
                    <a:pt x="98" y="64"/>
                  </a:lnTo>
                  <a:lnTo>
                    <a:pt x="98" y="48"/>
                  </a:lnTo>
                  <a:lnTo>
                    <a:pt x="98" y="32"/>
                  </a:lnTo>
                  <a:lnTo>
                    <a:pt x="98" y="13"/>
                  </a:lnTo>
                  <a:lnTo>
                    <a:pt x="99" y="7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2418" y="837"/>
                  </a:lnTo>
                  <a:lnTo>
                    <a:pt x="2909" y="1049"/>
                  </a:lnTo>
                  <a:lnTo>
                    <a:pt x="2909" y="1049"/>
                  </a:lnTo>
                  <a:close/>
                </a:path>
              </a:pathLst>
            </a:custGeom>
            <a:solidFill>
              <a:srgbClr val="56EFF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40">
              <a:extLst>
                <a:ext uri="{FF2B5EF4-FFF2-40B4-BE49-F238E27FC236}">
                  <a16:creationId xmlns:a16="http://schemas.microsoft.com/office/drawing/2014/main" id="{FC3E84D9-D454-42E8-81BE-3F02B69E5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85000" y="2192338"/>
              <a:ext cx="1204913" cy="669925"/>
            </a:xfrm>
            <a:custGeom>
              <a:avLst/>
              <a:gdLst>
                <a:gd name="T0" fmla="*/ 2986 w 3033"/>
                <a:gd name="T1" fmla="*/ 1095 h 1686"/>
                <a:gd name="T2" fmla="*/ 3008 w 3033"/>
                <a:gd name="T3" fmla="*/ 1134 h 1686"/>
                <a:gd name="T4" fmla="*/ 2938 w 3033"/>
                <a:gd name="T5" fmla="*/ 1199 h 1686"/>
                <a:gd name="T6" fmla="*/ 2905 w 3033"/>
                <a:gd name="T7" fmla="*/ 1249 h 1686"/>
                <a:gd name="T8" fmla="*/ 2865 w 3033"/>
                <a:gd name="T9" fmla="*/ 1269 h 1686"/>
                <a:gd name="T10" fmla="*/ 2798 w 3033"/>
                <a:gd name="T11" fmla="*/ 1284 h 1686"/>
                <a:gd name="T12" fmla="*/ 2725 w 3033"/>
                <a:gd name="T13" fmla="*/ 1357 h 1686"/>
                <a:gd name="T14" fmla="*/ 2656 w 3033"/>
                <a:gd name="T15" fmla="*/ 1433 h 1686"/>
                <a:gd name="T16" fmla="*/ 2636 w 3033"/>
                <a:gd name="T17" fmla="*/ 1466 h 1686"/>
                <a:gd name="T18" fmla="*/ 2577 w 3033"/>
                <a:gd name="T19" fmla="*/ 1455 h 1686"/>
                <a:gd name="T20" fmla="*/ 2516 w 3033"/>
                <a:gd name="T21" fmla="*/ 1443 h 1686"/>
                <a:gd name="T22" fmla="*/ 2482 w 3033"/>
                <a:gd name="T23" fmla="*/ 1479 h 1686"/>
                <a:gd name="T24" fmla="*/ 2375 w 3033"/>
                <a:gd name="T25" fmla="*/ 1588 h 1686"/>
                <a:gd name="T26" fmla="*/ 2303 w 3033"/>
                <a:gd name="T27" fmla="*/ 1655 h 1686"/>
                <a:gd name="T28" fmla="*/ 2248 w 3033"/>
                <a:gd name="T29" fmla="*/ 1657 h 1686"/>
                <a:gd name="T30" fmla="*/ 2182 w 3033"/>
                <a:gd name="T31" fmla="*/ 1621 h 1686"/>
                <a:gd name="T32" fmla="*/ 2112 w 3033"/>
                <a:gd name="T33" fmla="*/ 1616 h 1686"/>
                <a:gd name="T34" fmla="*/ 2029 w 3033"/>
                <a:gd name="T35" fmla="*/ 1614 h 1686"/>
                <a:gd name="T36" fmla="*/ 1905 w 3033"/>
                <a:gd name="T37" fmla="*/ 1653 h 1686"/>
                <a:gd name="T38" fmla="*/ 1813 w 3033"/>
                <a:gd name="T39" fmla="*/ 1624 h 1686"/>
                <a:gd name="T40" fmla="*/ 1767 w 3033"/>
                <a:gd name="T41" fmla="*/ 1611 h 1686"/>
                <a:gd name="T42" fmla="*/ 1680 w 3033"/>
                <a:gd name="T43" fmla="*/ 1632 h 1686"/>
                <a:gd name="T44" fmla="*/ 1560 w 3033"/>
                <a:gd name="T45" fmla="*/ 1668 h 1686"/>
                <a:gd name="T46" fmla="*/ 1496 w 3033"/>
                <a:gd name="T47" fmla="*/ 1685 h 1686"/>
                <a:gd name="T48" fmla="*/ 1454 w 3033"/>
                <a:gd name="T49" fmla="*/ 1662 h 1686"/>
                <a:gd name="T50" fmla="*/ 1404 w 3033"/>
                <a:gd name="T51" fmla="*/ 1551 h 1686"/>
                <a:gd name="T52" fmla="*/ 1375 w 3033"/>
                <a:gd name="T53" fmla="*/ 1451 h 1686"/>
                <a:gd name="T54" fmla="*/ 1376 w 3033"/>
                <a:gd name="T55" fmla="*/ 1355 h 1686"/>
                <a:gd name="T56" fmla="*/ 1376 w 3033"/>
                <a:gd name="T57" fmla="*/ 1213 h 1686"/>
                <a:gd name="T58" fmla="*/ 1389 w 3033"/>
                <a:gd name="T59" fmla="*/ 1143 h 1686"/>
                <a:gd name="T60" fmla="*/ 1414 w 3033"/>
                <a:gd name="T61" fmla="*/ 1049 h 1686"/>
                <a:gd name="T62" fmla="*/ 1427 w 3033"/>
                <a:gd name="T63" fmla="*/ 936 h 1686"/>
                <a:gd name="T64" fmla="*/ 1358 w 3033"/>
                <a:gd name="T65" fmla="*/ 981 h 1686"/>
                <a:gd name="T66" fmla="*/ 1226 w 3033"/>
                <a:gd name="T67" fmla="*/ 1069 h 1686"/>
                <a:gd name="T68" fmla="*/ 1150 w 3033"/>
                <a:gd name="T69" fmla="*/ 1150 h 1686"/>
                <a:gd name="T70" fmla="*/ 1088 w 3033"/>
                <a:gd name="T71" fmla="*/ 1193 h 1686"/>
                <a:gd name="T72" fmla="*/ 949 w 3033"/>
                <a:gd name="T73" fmla="*/ 1195 h 1686"/>
                <a:gd name="T74" fmla="*/ 804 w 3033"/>
                <a:gd name="T75" fmla="*/ 1207 h 1686"/>
                <a:gd name="T76" fmla="*/ 741 w 3033"/>
                <a:gd name="T77" fmla="*/ 1195 h 1686"/>
                <a:gd name="T78" fmla="*/ 706 w 3033"/>
                <a:gd name="T79" fmla="*/ 1133 h 1686"/>
                <a:gd name="T80" fmla="*/ 664 w 3033"/>
                <a:gd name="T81" fmla="*/ 1036 h 1686"/>
                <a:gd name="T82" fmla="*/ 610 w 3033"/>
                <a:gd name="T83" fmla="*/ 995 h 1686"/>
                <a:gd name="T84" fmla="*/ 489 w 3033"/>
                <a:gd name="T85" fmla="*/ 942 h 1686"/>
                <a:gd name="T86" fmla="*/ 359 w 3033"/>
                <a:gd name="T87" fmla="*/ 938 h 1686"/>
                <a:gd name="T88" fmla="*/ 352 w 3033"/>
                <a:gd name="T89" fmla="*/ 771 h 1686"/>
                <a:gd name="T90" fmla="*/ 290 w 3033"/>
                <a:gd name="T91" fmla="*/ 663 h 1686"/>
                <a:gd name="T92" fmla="*/ 236 w 3033"/>
                <a:gd name="T93" fmla="*/ 623 h 1686"/>
                <a:gd name="T94" fmla="*/ 216 w 3033"/>
                <a:gd name="T95" fmla="*/ 582 h 1686"/>
                <a:gd name="T96" fmla="*/ 198 w 3033"/>
                <a:gd name="T97" fmla="*/ 523 h 1686"/>
                <a:gd name="T98" fmla="*/ 140 w 3033"/>
                <a:gd name="T99" fmla="*/ 445 h 1686"/>
                <a:gd name="T100" fmla="*/ 128 w 3033"/>
                <a:gd name="T101" fmla="*/ 388 h 1686"/>
                <a:gd name="T102" fmla="*/ 113 w 3033"/>
                <a:gd name="T103" fmla="*/ 271 h 1686"/>
                <a:gd name="T104" fmla="*/ 92 w 3033"/>
                <a:gd name="T105" fmla="*/ 236 h 1686"/>
                <a:gd name="T106" fmla="*/ 50 w 3033"/>
                <a:gd name="T107" fmla="*/ 222 h 1686"/>
                <a:gd name="T108" fmla="*/ 33 w 3033"/>
                <a:gd name="T109" fmla="*/ 185 h 1686"/>
                <a:gd name="T110" fmla="*/ 18 w 3033"/>
                <a:gd name="T111" fmla="*/ 148 h 1686"/>
                <a:gd name="T112" fmla="*/ 1 w 3033"/>
                <a:gd name="T113" fmla="*/ 117 h 1686"/>
                <a:gd name="T114" fmla="*/ 46 w 3033"/>
                <a:gd name="T115" fmla="*/ 102 h 1686"/>
                <a:gd name="T116" fmla="*/ 91 w 3033"/>
                <a:gd name="T117" fmla="*/ 97 h 1686"/>
                <a:gd name="T118" fmla="*/ 98 w 3033"/>
                <a:gd name="T119" fmla="*/ 32 h 1686"/>
                <a:gd name="T120" fmla="*/ 2909 w 3033"/>
                <a:gd name="T121" fmla="*/ 1049 h 1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33" h="1686">
                  <a:moveTo>
                    <a:pt x="2909" y="1049"/>
                  </a:moveTo>
                  <a:lnTo>
                    <a:pt x="2924" y="1062"/>
                  </a:lnTo>
                  <a:lnTo>
                    <a:pt x="2939" y="1072"/>
                  </a:lnTo>
                  <a:lnTo>
                    <a:pt x="2954" y="1080"/>
                  </a:lnTo>
                  <a:lnTo>
                    <a:pt x="2971" y="1088"/>
                  </a:lnTo>
                  <a:lnTo>
                    <a:pt x="2986" y="1095"/>
                  </a:lnTo>
                  <a:lnTo>
                    <a:pt x="3002" y="1103"/>
                  </a:lnTo>
                  <a:lnTo>
                    <a:pt x="3017" y="1113"/>
                  </a:lnTo>
                  <a:lnTo>
                    <a:pt x="3033" y="1123"/>
                  </a:lnTo>
                  <a:lnTo>
                    <a:pt x="3033" y="1123"/>
                  </a:lnTo>
                  <a:lnTo>
                    <a:pt x="3021" y="1128"/>
                  </a:lnTo>
                  <a:lnTo>
                    <a:pt x="3008" y="1134"/>
                  </a:lnTo>
                  <a:lnTo>
                    <a:pt x="2993" y="1144"/>
                  </a:lnTo>
                  <a:lnTo>
                    <a:pt x="2980" y="1155"/>
                  </a:lnTo>
                  <a:lnTo>
                    <a:pt x="2970" y="1167"/>
                  </a:lnTo>
                  <a:lnTo>
                    <a:pt x="2955" y="1179"/>
                  </a:lnTo>
                  <a:lnTo>
                    <a:pt x="2946" y="1188"/>
                  </a:lnTo>
                  <a:lnTo>
                    <a:pt x="2938" y="1199"/>
                  </a:lnTo>
                  <a:lnTo>
                    <a:pt x="2932" y="1209"/>
                  </a:lnTo>
                  <a:lnTo>
                    <a:pt x="2926" y="1220"/>
                  </a:lnTo>
                  <a:lnTo>
                    <a:pt x="2920" y="1230"/>
                  </a:lnTo>
                  <a:lnTo>
                    <a:pt x="2913" y="1240"/>
                  </a:lnTo>
                  <a:lnTo>
                    <a:pt x="2909" y="1244"/>
                  </a:lnTo>
                  <a:lnTo>
                    <a:pt x="2905" y="1249"/>
                  </a:lnTo>
                  <a:lnTo>
                    <a:pt x="2899" y="1253"/>
                  </a:lnTo>
                  <a:lnTo>
                    <a:pt x="2894" y="1257"/>
                  </a:lnTo>
                  <a:lnTo>
                    <a:pt x="2886" y="1262"/>
                  </a:lnTo>
                  <a:lnTo>
                    <a:pt x="2880" y="1265"/>
                  </a:lnTo>
                  <a:lnTo>
                    <a:pt x="2872" y="1267"/>
                  </a:lnTo>
                  <a:lnTo>
                    <a:pt x="2865" y="1269"/>
                  </a:lnTo>
                  <a:lnTo>
                    <a:pt x="2851" y="1271"/>
                  </a:lnTo>
                  <a:lnTo>
                    <a:pt x="2838" y="1274"/>
                  </a:lnTo>
                  <a:lnTo>
                    <a:pt x="2824" y="1276"/>
                  </a:lnTo>
                  <a:lnTo>
                    <a:pt x="2811" y="1279"/>
                  </a:lnTo>
                  <a:lnTo>
                    <a:pt x="2804" y="1281"/>
                  </a:lnTo>
                  <a:lnTo>
                    <a:pt x="2798" y="1284"/>
                  </a:lnTo>
                  <a:lnTo>
                    <a:pt x="2791" y="1289"/>
                  </a:lnTo>
                  <a:lnTo>
                    <a:pt x="2785" y="1294"/>
                  </a:lnTo>
                  <a:lnTo>
                    <a:pt x="2766" y="1310"/>
                  </a:lnTo>
                  <a:lnTo>
                    <a:pt x="2751" y="1325"/>
                  </a:lnTo>
                  <a:lnTo>
                    <a:pt x="2738" y="1342"/>
                  </a:lnTo>
                  <a:lnTo>
                    <a:pt x="2725" y="1357"/>
                  </a:lnTo>
                  <a:lnTo>
                    <a:pt x="2714" y="1372"/>
                  </a:lnTo>
                  <a:lnTo>
                    <a:pt x="2699" y="1388"/>
                  </a:lnTo>
                  <a:lnTo>
                    <a:pt x="2684" y="1403"/>
                  </a:lnTo>
                  <a:lnTo>
                    <a:pt x="2667" y="1419"/>
                  </a:lnTo>
                  <a:lnTo>
                    <a:pt x="2661" y="1426"/>
                  </a:lnTo>
                  <a:lnTo>
                    <a:pt x="2656" y="1433"/>
                  </a:lnTo>
                  <a:lnTo>
                    <a:pt x="2653" y="1441"/>
                  </a:lnTo>
                  <a:lnTo>
                    <a:pt x="2650" y="1450"/>
                  </a:lnTo>
                  <a:lnTo>
                    <a:pt x="2645" y="1456"/>
                  </a:lnTo>
                  <a:lnTo>
                    <a:pt x="2641" y="1463"/>
                  </a:lnTo>
                  <a:lnTo>
                    <a:pt x="2639" y="1465"/>
                  </a:lnTo>
                  <a:lnTo>
                    <a:pt x="2636" y="1466"/>
                  </a:lnTo>
                  <a:lnTo>
                    <a:pt x="2631" y="1467"/>
                  </a:lnTo>
                  <a:lnTo>
                    <a:pt x="2627" y="1467"/>
                  </a:lnTo>
                  <a:lnTo>
                    <a:pt x="2613" y="1466"/>
                  </a:lnTo>
                  <a:lnTo>
                    <a:pt x="2600" y="1464"/>
                  </a:lnTo>
                  <a:lnTo>
                    <a:pt x="2588" y="1459"/>
                  </a:lnTo>
                  <a:lnTo>
                    <a:pt x="2577" y="1455"/>
                  </a:lnTo>
                  <a:lnTo>
                    <a:pt x="2566" y="1451"/>
                  </a:lnTo>
                  <a:lnTo>
                    <a:pt x="2554" y="1446"/>
                  </a:lnTo>
                  <a:lnTo>
                    <a:pt x="2541" y="1443"/>
                  </a:lnTo>
                  <a:lnTo>
                    <a:pt x="2527" y="1442"/>
                  </a:lnTo>
                  <a:lnTo>
                    <a:pt x="2521" y="1442"/>
                  </a:lnTo>
                  <a:lnTo>
                    <a:pt x="2516" y="1443"/>
                  </a:lnTo>
                  <a:lnTo>
                    <a:pt x="2512" y="1445"/>
                  </a:lnTo>
                  <a:lnTo>
                    <a:pt x="2507" y="1447"/>
                  </a:lnTo>
                  <a:lnTo>
                    <a:pt x="2501" y="1454"/>
                  </a:lnTo>
                  <a:lnTo>
                    <a:pt x="2494" y="1462"/>
                  </a:lnTo>
                  <a:lnTo>
                    <a:pt x="2489" y="1470"/>
                  </a:lnTo>
                  <a:lnTo>
                    <a:pt x="2482" y="1479"/>
                  </a:lnTo>
                  <a:lnTo>
                    <a:pt x="2476" y="1487"/>
                  </a:lnTo>
                  <a:lnTo>
                    <a:pt x="2467" y="1495"/>
                  </a:lnTo>
                  <a:lnTo>
                    <a:pt x="2442" y="1520"/>
                  </a:lnTo>
                  <a:lnTo>
                    <a:pt x="2421" y="1541"/>
                  </a:lnTo>
                  <a:lnTo>
                    <a:pt x="2399" y="1563"/>
                  </a:lnTo>
                  <a:lnTo>
                    <a:pt x="2375" y="1588"/>
                  </a:lnTo>
                  <a:lnTo>
                    <a:pt x="2351" y="1614"/>
                  </a:lnTo>
                  <a:lnTo>
                    <a:pt x="2328" y="1638"/>
                  </a:lnTo>
                  <a:lnTo>
                    <a:pt x="2323" y="1643"/>
                  </a:lnTo>
                  <a:lnTo>
                    <a:pt x="2316" y="1647"/>
                  </a:lnTo>
                  <a:lnTo>
                    <a:pt x="2310" y="1651"/>
                  </a:lnTo>
                  <a:lnTo>
                    <a:pt x="2303" y="1655"/>
                  </a:lnTo>
                  <a:lnTo>
                    <a:pt x="2296" y="1657"/>
                  </a:lnTo>
                  <a:lnTo>
                    <a:pt x="2288" y="1659"/>
                  </a:lnTo>
                  <a:lnTo>
                    <a:pt x="2279" y="1660"/>
                  </a:lnTo>
                  <a:lnTo>
                    <a:pt x="2271" y="1661"/>
                  </a:lnTo>
                  <a:lnTo>
                    <a:pt x="2259" y="1660"/>
                  </a:lnTo>
                  <a:lnTo>
                    <a:pt x="2248" y="1657"/>
                  </a:lnTo>
                  <a:lnTo>
                    <a:pt x="2239" y="1653"/>
                  </a:lnTo>
                  <a:lnTo>
                    <a:pt x="2231" y="1648"/>
                  </a:lnTo>
                  <a:lnTo>
                    <a:pt x="2213" y="1636"/>
                  </a:lnTo>
                  <a:lnTo>
                    <a:pt x="2193" y="1625"/>
                  </a:lnTo>
                  <a:lnTo>
                    <a:pt x="2188" y="1622"/>
                  </a:lnTo>
                  <a:lnTo>
                    <a:pt x="2182" y="1621"/>
                  </a:lnTo>
                  <a:lnTo>
                    <a:pt x="2177" y="1621"/>
                  </a:lnTo>
                  <a:lnTo>
                    <a:pt x="2171" y="1622"/>
                  </a:lnTo>
                  <a:lnTo>
                    <a:pt x="2161" y="1625"/>
                  </a:lnTo>
                  <a:lnTo>
                    <a:pt x="2149" y="1625"/>
                  </a:lnTo>
                  <a:lnTo>
                    <a:pt x="2129" y="1620"/>
                  </a:lnTo>
                  <a:lnTo>
                    <a:pt x="2112" y="1616"/>
                  </a:lnTo>
                  <a:lnTo>
                    <a:pt x="2103" y="1614"/>
                  </a:lnTo>
                  <a:lnTo>
                    <a:pt x="2095" y="1612"/>
                  </a:lnTo>
                  <a:lnTo>
                    <a:pt x="2086" y="1611"/>
                  </a:lnTo>
                  <a:lnTo>
                    <a:pt x="2075" y="1611"/>
                  </a:lnTo>
                  <a:lnTo>
                    <a:pt x="2051" y="1612"/>
                  </a:lnTo>
                  <a:lnTo>
                    <a:pt x="2029" y="1614"/>
                  </a:lnTo>
                  <a:lnTo>
                    <a:pt x="2008" y="1617"/>
                  </a:lnTo>
                  <a:lnTo>
                    <a:pt x="1988" y="1622"/>
                  </a:lnTo>
                  <a:lnTo>
                    <a:pt x="1968" y="1628"/>
                  </a:lnTo>
                  <a:lnTo>
                    <a:pt x="1948" y="1635"/>
                  </a:lnTo>
                  <a:lnTo>
                    <a:pt x="1927" y="1644"/>
                  </a:lnTo>
                  <a:lnTo>
                    <a:pt x="1905" y="1653"/>
                  </a:lnTo>
                  <a:lnTo>
                    <a:pt x="1905" y="1653"/>
                  </a:lnTo>
                  <a:lnTo>
                    <a:pt x="1884" y="1646"/>
                  </a:lnTo>
                  <a:lnTo>
                    <a:pt x="1865" y="1642"/>
                  </a:lnTo>
                  <a:lnTo>
                    <a:pt x="1846" y="1636"/>
                  </a:lnTo>
                  <a:lnTo>
                    <a:pt x="1826" y="1630"/>
                  </a:lnTo>
                  <a:lnTo>
                    <a:pt x="1813" y="1624"/>
                  </a:lnTo>
                  <a:lnTo>
                    <a:pt x="1801" y="1617"/>
                  </a:lnTo>
                  <a:lnTo>
                    <a:pt x="1795" y="1615"/>
                  </a:lnTo>
                  <a:lnTo>
                    <a:pt x="1789" y="1613"/>
                  </a:lnTo>
                  <a:lnTo>
                    <a:pt x="1783" y="1611"/>
                  </a:lnTo>
                  <a:lnTo>
                    <a:pt x="1776" y="1611"/>
                  </a:lnTo>
                  <a:lnTo>
                    <a:pt x="1767" y="1611"/>
                  </a:lnTo>
                  <a:lnTo>
                    <a:pt x="1760" y="1612"/>
                  </a:lnTo>
                  <a:lnTo>
                    <a:pt x="1752" y="1614"/>
                  </a:lnTo>
                  <a:lnTo>
                    <a:pt x="1746" y="1616"/>
                  </a:lnTo>
                  <a:lnTo>
                    <a:pt x="1732" y="1620"/>
                  </a:lnTo>
                  <a:lnTo>
                    <a:pt x="1717" y="1625"/>
                  </a:lnTo>
                  <a:lnTo>
                    <a:pt x="1680" y="1632"/>
                  </a:lnTo>
                  <a:lnTo>
                    <a:pt x="1646" y="1638"/>
                  </a:lnTo>
                  <a:lnTo>
                    <a:pt x="1630" y="1641"/>
                  </a:lnTo>
                  <a:lnTo>
                    <a:pt x="1614" y="1645"/>
                  </a:lnTo>
                  <a:lnTo>
                    <a:pt x="1598" y="1651"/>
                  </a:lnTo>
                  <a:lnTo>
                    <a:pt x="1579" y="1658"/>
                  </a:lnTo>
                  <a:lnTo>
                    <a:pt x="1560" y="1668"/>
                  </a:lnTo>
                  <a:lnTo>
                    <a:pt x="1543" y="1676"/>
                  </a:lnTo>
                  <a:lnTo>
                    <a:pt x="1535" y="1681"/>
                  </a:lnTo>
                  <a:lnTo>
                    <a:pt x="1525" y="1683"/>
                  </a:lnTo>
                  <a:lnTo>
                    <a:pt x="1516" y="1685"/>
                  </a:lnTo>
                  <a:lnTo>
                    <a:pt x="1505" y="1686"/>
                  </a:lnTo>
                  <a:lnTo>
                    <a:pt x="1496" y="1685"/>
                  </a:lnTo>
                  <a:lnTo>
                    <a:pt x="1488" y="1684"/>
                  </a:lnTo>
                  <a:lnTo>
                    <a:pt x="1480" y="1682"/>
                  </a:lnTo>
                  <a:lnTo>
                    <a:pt x="1473" y="1678"/>
                  </a:lnTo>
                  <a:lnTo>
                    <a:pt x="1466" y="1673"/>
                  </a:lnTo>
                  <a:lnTo>
                    <a:pt x="1460" y="1669"/>
                  </a:lnTo>
                  <a:lnTo>
                    <a:pt x="1454" y="1662"/>
                  </a:lnTo>
                  <a:lnTo>
                    <a:pt x="1449" y="1656"/>
                  </a:lnTo>
                  <a:lnTo>
                    <a:pt x="1440" y="1642"/>
                  </a:lnTo>
                  <a:lnTo>
                    <a:pt x="1433" y="1626"/>
                  </a:lnTo>
                  <a:lnTo>
                    <a:pt x="1425" y="1608"/>
                  </a:lnTo>
                  <a:lnTo>
                    <a:pt x="1420" y="1591"/>
                  </a:lnTo>
                  <a:lnTo>
                    <a:pt x="1404" y="1551"/>
                  </a:lnTo>
                  <a:lnTo>
                    <a:pt x="1390" y="1517"/>
                  </a:lnTo>
                  <a:lnTo>
                    <a:pt x="1384" y="1499"/>
                  </a:lnTo>
                  <a:lnTo>
                    <a:pt x="1380" y="1481"/>
                  </a:lnTo>
                  <a:lnTo>
                    <a:pt x="1377" y="1471"/>
                  </a:lnTo>
                  <a:lnTo>
                    <a:pt x="1376" y="1462"/>
                  </a:lnTo>
                  <a:lnTo>
                    <a:pt x="1375" y="1451"/>
                  </a:lnTo>
                  <a:lnTo>
                    <a:pt x="1374" y="1440"/>
                  </a:lnTo>
                  <a:lnTo>
                    <a:pt x="1374" y="1425"/>
                  </a:lnTo>
                  <a:lnTo>
                    <a:pt x="1374" y="1412"/>
                  </a:lnTo>
                  <a:lnTo>
                    <a:pt x="1374" y="1398"/>
                  </a:lnTo>
                  <a:lnTo>
                    <a:pt x="1374" y="1383"/>
                  </a:lnTo>
                  <a:lnTo>
                    <a:pt x="1376" y="1355"/>
                  </a:lnTo>
                  <a:lnTo>
                    <a:pt x="1379" y="1329"/>
                  </a:lnTo>
                  <a:lnTo>
                    <a:pt x="1382" y="1304"/>
                  </a:lnTo>
                  <a:lnTo>
                    <a:pt x="1383" y="1276"/>
                  </a:lnTo>
                  <a:lnTo>
                    <a:pt x="1382" y="1253"/>
                  </a:lnTo>
                  <a:lnTo>
                    <a:pt x="1379" y="1233"/>
                  </a:lnTo>
                  <a:lnTo>
                    <a:pt x="1376" y="1213"/>
                  </a:lnTo>
                  <a:lnTo>
                    <a:pt x="1374" y="1190"/>
                  </a:lnTo>
                  <a:lnTo>
                    <a:pt x="1375" y="1180"/>
                  </a:lnTo>
                  <a:lnTo>
                    <a:pt x="1377" y="1170"/>
                  </a:lnTo>
                  <a:lnTo>
                    <a:pt x="1382" y="1160"/>
                  </a:lnTo>
                  <a:lnTo>
                    <a:pt x="1385" y="1152"/>
                  </a:lnTo>
                  <a:lnTo>
                    <a:pt x="1389" y="1143"/>
                  </a:lnTo>
                  <a:lnTo>
                    <a:pt x="1394" y="1134"/>
                  </a:lnTo>
                  <a:lnTo>
                    <a:pt x="1397" y="1125"/>
                  </a:lnTo>
                  <a:lnTo>
                    <a:pt x="1400" y="1115"/>
                  </a:lnTo>
                  <a:lnTo>
                    <a:pt x="1404" y="1091"/>
                  </a:lnTo>
                  <a:lnTo>
                    <a:pt x="1409" y="1069"/>
                  </a:lnTo>
                  <a:lnTo>
                    <a:pt x="1414" y="1049"/>
                  </a:lnTo>
                  <a:lnTo>
                    <a:pt x="1419" y="1030"/>
                  </a:lnTo>
                  <a:lnTo>
                    <a:pt x="1422" y="1010"/>
                  </a:lnTo>
                  <a:lnTo>
                    <a:pt x="1425" y="990"/>
                  </a:lnTo>
                  <a:lnTo>
                    <a:pt x="1427" y="968"/>
                  </a:lnTo>
                  <a:lnTo>
                    <a:pt x="1428" y="944"/>
                  </a:lnTo>
                  <a:lnTo>
                    <a:pt x="1427" y="936"/>
                  </a:lnTo>
                  <a:lnTo>
                    <a:pt x="1425" y="927"/>
                  </a:lnTo>
                  <a:lnTo>
                    <a:pt x="1413" y="938"/>
                  </a:lnTo>
                  <a:lnTo>
                    <a:pt x="1402" y="949"/>
                  </a:lnTo>
                  <a:lnTo>
                    <a:pt x="1390" y="957"/>
                  </a:lnTo>
                  <a:lnTo>
                    <a:pt x="1380" y="966"/>
                  </a:lnTo>
                  <a:lnTo>
                    <a:pt x="1358" y="981"/>
                  </a:lnTo>
                  <a:lnTo>
                    <a:pt x="1336" y="995"/>
                  </a:lnTo>
                  <a:lnTo>
                    <a:pt x="1314" y="1008"/>
                  </a:lnTo>
                  <a:lnTo>
                    <a:pt x="1291" y="1022"/>
                  </a:lnTo>
                  <a:lnTo>
                    <a:pt x="1267" y="1037"/>
                  </a:lnTo>
                  <a:lnTo>
                    <a:pt x="1242" y="1055"/>
                  </a:lnTo>
                  <a:lnTo>
                    <a:pt x="1226" y="1069"/>
                  </a:lnTo>
                  <a:lnTo>
                    <a:pt x="1212" y="1084"/>
                  </a:lnTo>
                  <a:lnTo>
                    <a:pt x="1200" y="1096"/>
                  </a:lnTo>
                  <a:lnTo>
                    <a:pt x="1188" y="1111"/>
                  </a:lnTo>
                  <a:lnTo>
                    <a:pt x="1177" y="1123"/>
                  </a:lnTo>
                  <a:lnTo>
                    <a:pt x="1164" y="1138"/>
                  </a:lnTo>
                  <a:lnTo>
                    <a:pt x="1150" y="1150"/>
                  </a:lnTo>
                  <a:lnTo>
                    <a:pt x="1133" y="1165"/>
                  </a:lnTo>
                  <a:lnTo>
                    <a:pt x="1120" y="1175"/>
                  </a:lnTo>
                  <a:lnTo>
                    <a:pt x="1109" y="1184"/>
                  </a:lnTo>
                  <a:lnTo>
                    <a:pt x="1102" y="1187"/>
                  </a:lnTo>
                  <a:lnTo>
                    <a:pt x="1096" y="1190"/>
                  </a:lnTo>
                  <a:lnTo>
                    <a:pt x="1088" y="1193"/>
                  </a:lnTo>
                  <a:lnTo>
                    <a:pt x="1079" y="1193"/>
                  </a:lnTo>
                  <a:lnTo>
                    <a:pt x="1052" y="1193"/>
                  </a:lnTo>
                  <a:lnTo>
                    <a:pt x="1029" y="1193"/>
                  </a:lnTo>
                  <a:lnTo>
                    <a:pt x="1004" y="1193"/>
                  </a:lnTo>
                  <a:lnTo>
                    <a:pt x="977" y="1193"/>
                  </a:lnTo>
                  <a:lnTo>
                    <a:pt x="949" y="1195"/>
                  </a:lnTo>
                  <a:lnTo>
                    <a:pt x="924" y="1197"/>
                  </a:lnTo>
                  <a:lnTo>
                    <a:pt x="899" y="1199"/>
                  </a:lnTo>
                  <a:lnTo>
                    <a:pt x="876" y="1201"/>
                  </a:lnTo>
                  <a:lnTo>
                    <a:pt x="854" y="1203"/>
                  </a:lnTo>
                  <a:lnTo>
                    <a:pt x="830" y="1206"/>
                  </a:lnTo>
                  <a:lnTo>
                    <a:pt x="804" y="1207"/>
                  </a:lnTo>
                  <a:lnTo>
                    <a:pt x="776" y="1207"/>
                  </a:lnTo>
                  <a:lnTo>
                    <a:pt x="768" y="1207"/>
                  </a:lnTo>
                  <a:lnTo>
                    <a:pt x="761" y="1204"/>
                  </a:lnTo>
                  <a:lnTo>
                    <a:pt x="753" y="1202"/>
                  </a:lnTo>
                  <a:lnTo>
                    <a:pt x="747" y="1199"/>
                  </a:lnTo>
                  <a:lnTo>
                    <a:pt x="741" y="1195"/>
                  </a:lnTo>
                  <a:lnTo>
                    <a:pt x="736" y="1190"/>
                  </a:lnTo>
                  <a:lnTo>
                    <a:pt x="731" y="1184"/>
                  </a:lnTo>
                  <a:lnTo>
                    <a:pt x="726" y="1179"/>
                  </a:lnTo>
                  <a:lnTo>
                    <a:pt x="719" y="1165"/>
                  </a:lnTo>
                  <a:lnTo>
                    <a:pt x="711" y="1149"/>
                  </a:lnTo>
                  <a:lnTo>
                    <a:pt x="706" y="1133"/>
                  </a:lnTo>
                  <a:lnTo>
                    <a:pt x="699" y="1117"/>
                  </a:lnTo>
                  <a:lnTo>
                    <a:pt x="691" y="1091"/>
                  </a:lnTo>
                  <a:lnTo>
                    <a:pt x="681" y="1068"/>
                  </a:lnTo>
                  <a:lnTo>
                    <a:pt x="677" y="1058"/>
                  </a:lnTo>
                  <a:lnTo>
                    <a:pt x="670" y="1047"/>
                  </a:lnTo>
                  <a:lnTo>
                    <a:pt x="664" y="1036"/>
                  </a:lnTo>
                  <a:lnTo>
                    <a:pt x="655" y="1025"/>
                  </a:lnTo>
                  <a:lnTo>
                    <a:pt x="647" y="1018"/>
                  </a:lnTo>
                  <a:lnTo>
                    <a:pt x="641" y="1011"/>
                  </a:lnTo>
                  <a:lnTo>
                    <a:pt x="633" y="1007"/>
                  </a:lnTo>
                  <a:lnTo>
                    <a:pt x="626" y="1003"/>
                  </a:lnTo>
                  <a:lnTo>
                    <a:pt x="610" y="995"/>
                  </a:lnTo>
                  <a:lnTo>
                    <a:pt x="592" y="985"/>
                  </a:lnTo>
                  <a:lnTo>
                    <a:pt x="572" y="972"/>
                  </a:lnTo>
                  <a:lnTo>
                    <a:pt x="550" y="961"/>
                  </a:lnTo>
                  <a:lnTo>
                    <a:pt x="531" y="953"/>
                  </a:lnTo>
                  <a:lnTo>
                    <a:pt x="510" y="946"/>
                  </a:lnTo>
                  <a:lnTo>
                    <a:pt x="489" y="942"/>
                  </a:lnTo>
                  <a:lnTo>
                    <a:pt x="467" y="940"/>
                  </a:lnTo>
                  <a:lnTo>
                    <a:pt x="443" y="938"/>
                  </a:lnTo>
                  <a:lnTo>
                    <a:pt x="418" y="938"/>
                  </a:lnTo>
                  <a:lnTo>
                    <a:pt x="397" y="938"/>
                  </a:lnTo>
                  <a:lnTo>
                    <a:pt x="378" y="938"/>
                  </a:lnTo>
                  <a:lnTo>
                    <a:pt x="359" y="938"/>
                  </a:lnTo>
                  <a:lnTo>
                    <a:pt x="337" y="937"/>
                  </a:lnTo>
                  <a:lnTo>
                    <a:pt x="360" y="816"/>
                  </a:lnTo>
                  <a:lnTo>
                    <a:pt x="359" y="804"/>
                  </a:lnTo>
                  <a:lnTo>
                    <a:pt x="357" y="793"/>
                  </a:lnTo>
                  <a:lnTo>
                    <a:pt x="356" y="782"/>
                  </a:lnTo>
                  <a:lnTo>
                    <a:pt x="352" y="771"/>
                  </a:lnTo>
                  <a:lnTo>
                    <a:pt x="346" y="752"/>
                  </a:lnTo>
                  <a:lnTo>
                    <a:pt x="338" y="735"/>
                  </a:lnTo>
                  <a:lnTo>
                    <a:pt x="328" y="716"/>
                  </a:lnTo>
                  <a:lnTo>
                    <a:pt x="317" y="699"/>
                  </a:lnTo>
                  <a:lnTo>
                    <a:pt x="304" y="682"/>
                  </a:lnTo>
                  <a:lnTo>
                    <a:pt x="290" y="663"/>
                  </a:lnTo>
                  <a:lnTo>
                    <a:pt x="281" y="654"/>
                  </a:lnTo>
                  <a:lnTo>
                    <a:pt x="273" y="647"/>
                  </a:lnTo>
                  <a:lnTo>
                    <a:pt x="263" y="641"/>
                  </a:lnTo>
                  <a:lnTo>
                    <a:pt x="254" y="635"/>
                  </a:lnTo>
                  <a:lnTo>
                    <a:pt x="244" y="630"/>
                  </a:lnTo>
                  <a:lnTo>
                    <a:pt x="236" y="623"/>
                  </a:lnTo>
                  <a:lnTo>
                    <a:pt x="233" y="619"/>
                  </a:lnTo>
                  <a:lnTo>
                    <a:pt x="229" y="615"/>
                  </a:lnTo>
                  <a:lnTo>
                    <a:pt x="226" y="609"/>
                  </a:lnTo>
                  <a:lnTo>
                    <a:pt x="223" y="604"/>
                  </a:lnTo>
                  <a:lnTo>
                    <a:pt x="219" y="593"/>
                  </a:lnTo>
                  <a:lnTo>
                    <a:pt x="216" y="582"/>
                  </a:lnTo>
                  <a:lnTo>
                    <a:pt x="214" y="573"/>
                  </a:lnTo>
                  <a:lnTo>
                    <a:pt x="213" y="562"/>
                  </a:lnTo>
                  <a:lnTo>
                    <a:pt x="211" y="552"/>
                  </a:lnTo>
                  <a:lnTo>
                    <a:pt x="209" y="542"/>
                  </a:lnTo>
                  <a:lnTo>
                    <a:pt x="205" y="533"/>
                  </a:lnTo>
                  <a:lnTo>
                    <a:pt x="198" y="523"/>
                  </a:lnTo>
                  <a:lnTo>
                    <a:pt x="184" y="507"/>
                  </a:lnTo>
                  <a:lnTo>
                    <a:pt x="171" y="492"/>
                  </a:lnTo>
                  <a:lnTo>
                    <a:pt x="159" y="477"/>
                  </a:lnTo>
                  <a:lnTo>
                    <a:pt x="148" y="461"/>
                  </a:lnTo>
                  <a:lnTo>
                    <a:pt x="144" y="453"/>
                  </a:lnTo>
                  <a:lnTo>
                    <a:pt x="140" y="445"/>
                  </a:lnTo>
                  <a:lnTo>
                    <a:pt x="136" y="437"/>
                  </a:lnTo>
                  <a:lnTo>
                    <a:pt x="133" y="428"/>
                  </a:lnTo>
                  <a:lnTo>
                    <a:pt x="131" y="419"/>
                  </a:lnTo>
                  <a:lnTo>
                    <a:pt x="129" y="410"/>
                  </a:lnTo>
                  <a:lnTo>
                    <a:pt x="128" y="399"/>
                  </a:lnTo>
                  <a:lnTo>
                    <a:pt x="128" y="388"/>
                  </a:lnTo>
                  <a:lnTo>
                    <a:pt x="114" y="338"/>
                  </a:lnTo>
                  <a:lnTo>
                    <a:pt x="114" y="323"/>
                  </a:lnTo>
                  <a:lnTo>
                    <a:pt x="114" y="310"/>
                  </a:lnTo>
                  <a:lnTo>
                    <a:pt x="114" y="297"/>
                  </a:lnTo>
                  <a:lnTo>
                    <a:pt x="114" y="284"/>
                  </a:lnTo>
                  <a:lnTo>
                    <a:pt x="113" y="271"/>
                  </a:lnTo>
                  <a:lnTo>
                    <a:pt x="112" y="259"/>
                  </a:lnTo>
                  <a:lnTo>
                    <a:pt x="111" y="254"/>
                  </a:lnTo>
                  <a:lnTo>
                    <a:pt x="107" y="249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2" y="236"/>
                  </a:lnTo>
                  <a:lnTo>
                    <a:pt x="86" y="232"/>
                  </a:lnTo>
                  <a:lnTo>
                    <a:pt x="78" y="230"/>
                  </a:lnTo>
                  <a:lnTo>
                    <a:pt x="71" y="229"/>
                  </a:lnTo>
                  <a:lnTo>
                    <a:pt x="64" y="227"/>
                  </a:lnTo>
                  <a:lnTo>
                    <a:pt x="58" y="225"/>
                  </a:lnTo>
                  <a:lnTo>
                    <a:pt x="50" y="222"/>
                  </a:lnTo>
                  <a:lnTo>
                    <a:pt x="44" y="217"/>
                  </a:lnTo>
                  <a:lnTo>
                    <a:pt x="39" y="213"/>
                  </a:lnTo>
                  <a:lnTo>
                    <a:pt x="36" y="209"/>
                  </a:lnTo>
                  <a:lnTo>
                    <a:pt x="35" y="203"/>
                  </a:lnTo>
                  <a:lnTo>
                    <a:pt x="34" y="197"/>
                  </a:lnTo>
                  <a:lnTo>
                    <a:pt x="33" y="185"/>
                  </a:lnTo>
                  <a:lnTo>
                    <a:pt x="32" y="173"/>
                  </a:lnTo>
                  <a:lnTo>
                    <a:pt x="31" y="169"/>
                  </a:lnTo>
                  <a:lnTo>
                    <a:pt x="30" y="164"/>
                  </a:lnTo>
                  <a:lnTo>
                    <a:pt x="26" y="160"/>
                  </a:lnTo>
                  <a:lnTo>
                    <a:pt x="24" y="156"/>
                  </a:lnTo>
                  <a:lnTo>
                    <a:pt x="18" y="148"/>
                  </a:lnTo>
                  <a:lnTo>
                    <a:pt x="10" y="141"/>
                  </a:lnTo>
                  <a:lnTo>
                    <a:pt x="5" y="13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1" y="117"/>
                  </a:lnTo>
                  <a:lnTo>
                    <a:pt x="4" y="114"/>
                  </a:lnTo>
                  <a:lnTo>
                    <a:pt x="10" y="109"/>
                  </a:lnTo>
                  <a:lnTo>
                    <a:pt x="16" y="106"/>
                  </a:lnTo>
                  <a:lnTo>
                    <a:pt x="23" y="104"/>
                  </a:lnTo>
                  <a:lnTo>
                    <a:pt x="30" y="102"/>
                  </a:lnTo>
                  <a:lnTo>
                    <a:pt x="46" y="102"/>
                  </a:lnTo>
                  <a:lnTo>
                    <a:pt x="61" y="102"/>
                  </a:lnTo>
                  <a:lnTo>
                    <a:pt x="68" y="102"/>
                  </a:lnTo>
                  <a:lnTo>
                    <a:pt x="75" y="102"/>
                  </a:lnTo>
                  <a:lnTo>
                    <a:pt x="81" y="101"/>
                  </a:lnTo>
                  <a:lnTo>
                    <a:pt x="87" y="100"/>
                  </a:lnTo>
                  <a:lnTo>
                    <a:pt x="91" y="97"/>
                  </a:lnTo>
                  <a:lnTo>
                    <a:pt x="95" y="93"/>
                  </a:lnTo>
                  <a:lnTo>
                    <a:pt x="98" y="89"/>
                  </a:lnTo>
                  <a:lnTo>
                    <a:pt x="98" y="82"/>
                  </a:lnTo>
                  <a:lnTo>
                    <a:pt x="98" y="64"/>
                  </a:lnTo>
                  <a:lnTo>
                    <a:pt x="98" y="48"/>
                  </a:lnTo>
                  <a:lnTo>
                    <a:pt x="98" y="32"/>
                  </a:lnTo>
                  <a:lnTo>
                    <a:pt x="98" y="13"/>
                  </a:lnTo>
                  <a:lnTo>
                    <a:pt x="99" y="7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2418" y="837"/>
                  </a:lnTo>
                  <a:lnTo>
                    <a:pt x="2909" y="1049"/>
                  </a:lnTo>
                  <a:lnTo>
                    <a:pt x="2909" y="1049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41">
              <a:extLst>
                <a:ext uri="{FF2B5EF4-FFF2-40B4-BE49-F238E27FC236}">
                  <a16:creationId xmlns:a16="http://schemas.microsoft.com/office/drawing/2014/main" id="{3415676A-CCF0-4AAD-86A6-D71BFCB7D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29300" y="2324101"/>
              <a:ext cx="1149350" cy="927100"/>
            </a:xfrm>
            <a:custGeom>
              <a:avLst/>
              <a:gdLst>
                <a:gd name="T0" fmla="*/ 124 w 2897"/>
                <a:gd name="T1" fmla="*/ 790 h 2334"/>
                <a:gd name="T2" fmla="*/ 231 w 2897"/>
                <a:gd name="T3" fmla="*/ 768 h 2334"/>
                <a:gd name="T4" fmla="*/ 399 w 2897"/>
                <a:gd name="T5" fmla="*/ 727 h 2334"/>
                <a:gd name="T6" fmla="*/ 449 w 2897"/>
                <a:gd name="T7" fmla="*/ 742 h 2334"/>
                <a:gd name="T8" fmla="*/ 571 w 2897"/>
                <a:gd name="T9" fmla="*/ 742 h 2334"/>
                <a:gd name="T10" fmla="*/ 634 w 2897"/>
                <a:gd name="T11" fmla="*/ 758 h 2334"/>
                <a:gd name="T12" fmla="*/ 655 w 2897"/>
                <a:gd name="T13" fmla="*/ 852 h 2334"/>
                <a:gd name="T14" fmla="*/ 637 w 2897"/>
                <a:gd name="T15" fmla="*/ 943 h 2334"/>
                <a:gd name="T16" fmla="*/ 623 w 2897"/>
                <a:gd name="T17" fmla="*/ 1032 h 2334"/>
                <a:gd name="T18" fmla="*/ 684 w 2897"/>
                <a:gd name="T19" fmla="*/ 1163 h 2334"/>
                <a:gd name="T20" fmla="*/ 686 w 2897"/>
                <a:gd name="T21" fmla="*/ 1322 h 2334"/>
                <a:gd name="T22" fmla="*/ 700 w 2897"/>
                <a:gd name="T23" fmla="*/ 1487 h 2334"/>
                <a:gd name="T24" fmla="*/ 764 w 2897"/>
                <a:gd name="T25" fmla="*/ 1543 h 2334"/>
                <a:gd name="T26" fmla="*/ 753 w 2897"/>
                <a:gd name="T27" fmla="*/ 1621 h 2334"/>
                <a:gd name="T28" fmla="*/ 791 w 2897"/>
                <a:gd name="T29" fmla="*/ 1653 h 2334"/>
                <a:gd name="T30" fmla="*/ 871 w 2897"/>
                <a:gd name="T31" fmla="*/ 1706 h 2334"/>
                <a:gd name="T32" fmla="*/ 981 w 2897"/>
                <a:gd name="T33" fmla="*/ 1779 h 2334"/>
                <a:gd name="T34" fmla="*/ 1022 w 2897"/>
                <a:gd name="T35" fmla="*/ 1866 h 2334"/>
                <a:gd name="T36" fmla="*/ 1124 w 2897"/>
                <a:gd name="T37" fmla="*/ 1909 h 2334"/>
                <a:gd name="T38" fmla="*/ 1203 w 2897"/>
                <a:gd name="T39" fmla="*/ 1934 h 2334"/>
                <a:gd name="T40" fmla="*/ 1281 w 2897"/>
                <a:gd name="T41" fmla="*/ 1907 h 2334"/>
                <a:gd name="T42" fmla="*/ 1378 w 2897"/>
                <a:gd name="T43" fmla="*/ 1890 h 2334"/>
                <a:gd name="T44" fmla="*/ 1485 w 2897"/>
                <a:gd name="T45" fmla="*/ 1929 h 2334"/>
                <a:gd name="T46" fmla="*/ 1556 w 2897"/>
                <a:gd name="T47" fmla="*/ 1933 h 2334"/>
                <a:gd name="T48" fmla="*/ 1643 w 2897"/>
                <a:gd name="T49" fmla="*/ 2024 h 2334"/>
                <a:gd name="T50" fmla="*/ 1852 w 2897"/>
                <a:gd name="T51" fmla="*/ 2089 h 2334"/>
                <a:gd name="T52" fmla="*/ 1984 w 2897"/>
                <a:gd name="T53" fmla="*/ 2140 h 2334"/>
                <a:gd name="T54" fmla="*/ 2078 w 2897"/>
                <a:gd name="T55" fmla="*/ 2254 h 2334"/>
                <a:gd name="T56" fmla="*/ 2118 w 2897"/>
                <a:gd name="T57" fmla="*/ 2314 h 2334"/>
                <a:gd name="T58" fmla="*/ 2186 w 2897"/>
                <a:gd name="T59" fmla="*/ 2290 h 2334"/>
                <a:gd name="T60" fmla="*/ 2294 w 2897"/>
                <a:gd name="T61" fmla="*/ 2311 h 2334"/>
                <a:gd name="T62" fmla="*/ 2433 w 2897"/>
                <a:gd name="T63" fmla="*/ 2319 h 2334"/>
                <a:gd name="T64" fmla="*/ 2513 w 2897"/>
                <a:gd name="T65" fmla="*/ 2319 h 2334"/>
                <a:gd name="T66" fmla="*/ 2658 w 2897"/>
                <a:gd name="T67" fmla="*/ 2139 h 2334"/>
                <a:gd name="T68" fmla="*/ 2784 w 2897"/>
                <a:gd name="T69" fmla="*/ 1999 h 2334"/>
                <a:gd name="T70" fmla="*/ 2829 w 2897"/>
                <a:gd name="T71" fmla="*/ 1851 h 2334"/>
                <a:gd name="T72" fmla="*/ 2896 w 2897"/>
                <a:gd name="T73" fmla="*/ 1720 h 2334"/>
                <a:gd name="T74" fmla="*/ 2886 w 2897"/>
                <a:gd name="T75" fmla="*/ 1650 h 2334"/>
                <a:gd name="T76" fmla="*/ 2835 w 2897"/>
                <a:gd name="T77" fmla="*/ 1565 h 2334"/>
                <a:gd name="T78" fmla="*/ 2885 w 2897"/>
                <a:gd name="T79" fmla="*/ 1469 h 2334"/>
                <a:gd name="T80" fmla="*/ 2878 w 2897"/>
                <a:gd name="T81" fmla="*/ 1379 h 2334"/>
                <a:gd name="T82" fmla="*/ 2774 w 2897"/>
                <a:gd name="T83" fmla="*/ 1306 h 2334"/>
                <a:gd name="T84" fmla="*/ 2638 w 2897"/>
                <a:gd name="T85" fmla="*/ 1260 h 2334"/>
                <a:gd name="T86" fmla="*/ 2508 w 2897"/>
                <a:gd name="T87" fmla="*/ 1247 h 2334"/>
                <a:gd name="T88" fmla="*/ 2423 w 2897"/>
                <a:gd name="T89" fmla="*/ 1181 h 2334"/>
                <a:gd name="T90" fmla="*/ 2297 w 2897"/>
                <a:gd name="T91" fmla="*/ 892 h 2334"/>
                <a:gd name="T92" fmla="*/ 2275 w 2897"/>
                <a:gd name="T93" fmla="*/ 692 h 2334"/>
                <a:gd name="T94" fmla="*/ 2242 w 2897"/>
                <a:gd name="T95" fmla="*/ 442 h 2334"/>
                <a:gd name="T96" fmla="*/ 2104 w 2897"/>
                <a:gd name="T97" fmla="*/ 322 h 2334"/>
                <a:gd name="T98" fmla="*/ 1361 w 2897"/>
                <a:gd name="T99" fmla="*/ 9 h 2334"/>
                <a:gd name="T100" fmla="*/ 1271 w 2897"/>
                <a:gd name="T101" fmla="*/ 112 h 2334"/>
                <a:gd name="T102" fmla="*/ 1176 w 2897"/>
                <a:gd name="T103" fmla="*/ 134 h 2334"/>
                <a:gd name="T104" fmla="*/ 1125 w 2897"/>
                <a:gd name="T105" fmla="*/ 217 h 2334"/>
                <a:gd name="T106" fmla="*/ 1122 w 2897"/>
                <a:gd name="T107" fmla="*/ 310 h 2334"/>
                <a:gd name="T108" fmla="*/ 1039 w 2897"/>
                <a:gd name="T109" fmla="*/ 378 h 2334"/>
                <a:gd name="T110" fmla="*/ 852 w 2897"/>
                <a:gd name="T111" fmla="*/ 454 h 2334"/>
                <a:gd name="T112" fmla="*/ 778 w 2897"/>
                <a:gd name="T113" fmla="*/ 490 h 2334"/>
                <a:gd name="T114" fmla="*/ 690 w 2897"/>
                <a:gd name="T115" fmla="*/ 552 h 2334"/>
                <a:gd name="T116" fmla="*/ 582 w 2897"/>
                <a:gd name="T117" fmla="*/ 566 h 2334"/>
                <a:gd name="T118" fmla="*/ 463 w 2897"/>
                <a:gd name="T119" fmla="*/ 530 h 2334"/>
                <a:gd name="T120" fmla="*/ 374 w 2897"/>
                <a:gd name="T121" fmla="*/ 543 h 2334"/>
                <a:gd name="T122" fmla="*/ 224 w 2897"/>
                <a:gd name="T123" fmla="*/ 641 h 2334"/>
                <a:gd name="T124" fmla="*/ 52 w 2897"/>
                <a:gd name="T125" fmla="*/ 705 h 2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7" h="2334">
                  <a:moveTo>
                    <a:pt x="0" y="716"/>
                  </a:moveTo>
                  <a:lnTo>
                    <a:pt x="15" y="729"/>
                  </a:lnTo>
                  <a:lnTo>
                    <a:pt x="30" y="739"/>
                  </a:lnTo>
                  <a:lnTo>
                    <a:pt x="45" y="747"/>
                  </a:lnTo>
                  <a:lnTo>
                    <a:pt x="62" y="755"/>
                  </a:lnTo>
                  <a:lnTo>
                    <a:pt x="77" y="762"/>
                  </a:lnTo>
                  <a:lnTo>
                    <a:pt x="93" y="770"/>
                  </a:lnTo>
                  <a:lnTo>
                    <a:pt x="108" y="780"/>
                  </a:lnTo>
                  <a:lnTo>
                    <a:pt x="124" y="790"/>
                  </a:lnTo>
                  <a:lnTo>
                    <a:pt x="124" y="790"/>
                  </a:lnTo>
                  <a:lnTo>
                    <a:pt x="137" y="787"/>
                  </a:lnTo>
                  <a:lnTo>
                    <a:pt x="150" y="785"/>
                  </a:lnTo>
                  <a:lnTo>
                    <a:pt x="163" y="783"/>
                  </a:lnTo>
                  <a:lnTo>
                    <a:pt x="176" y="782"/>
                  </a:lnTo>
                  <a:lnTo>
                    <a:pt x="190" y="781"/>
                  </a:lnTo>
                  <a:lnTo>
                    <a:pt x="203" y="778"/>
                  </a:lnTo>
                  <a:lnTo>
                    <a:pt x="217" y="773"/>
                  </a:lnTo>
                  <a:lnTo>
                    <a:pt x="231" y="768"/>
                  </a:lnTo>
                  <a:lnTo>
                    <a:pt x="247" y="760"/>
                  </a:lnTo>
                  <a:lnTo>
                    <a:pt x="264" y="755"/>
                  </a:lnTo>
                  <a:lnTo>
                    <a:pt x="278" y="751"/>
                  </a:lnTo>
                  <a:lnTo>
                    <a:pt x="293" y="747"/>
                  </a:lnTo>
                  <a:lnTo>
                    <a:pt x="323" y="744"/>
                  </a:lnTo>
                  <a:lnTo>
                    <a:pt x="358" y="740"/>
                  </a:lnTo>
                  <a:lnTo>
                    <a:pt x="375" y="735"/>
                  </a:lnTo>
                  <a:lnTo>
                    <a:pt x="391" y="729"/>
                  </a:lnTo>
                  <a:lnTo>
                    <a:pt x="399" y="727"/>
                  </a:lnTo>
                  <a:lnTo>
                    <a:pt x="407" y="725"/>
                  </a:lnTo>
                  <a:lnTo>
                    <a:pt x="416" y="724"/>
                  </a:lnTo>
                  <a:lnTo>
                    <a:pt x="424" y="722"/>
                  </a:lnTo>
                  <a:lnTo>
                    <a:pt x="430" y="724"/>
                  </a:lnTo>
                  <a:lnTo>
                    <a:pt x="435" y="726"/>
                  </a:lnTo>
                  <a:lnTo>
                    <a:pt x="439" y="730"/>
                  </a:lnTo>
                  <a:lnTo>
                    <a:pt x="442" y="733"/>
                  </a:lnTo>
                  <a:lnTo>
                    <a:pt x="445" y="738"/>
                  </a:lnTo>
                  <a:lnTo>
                    <a:pt x="449" y="742"/>
                  </a:lnTo>
                  <a:lnTo>
                    <a:pt x="454" y="744"/>
                  </a:lnTo>
                  <a:lnTo>
                    <a:pt x="459" y="745"/>
                  </a:lnTo>
                  <a:lnTo>
                    <a:pt x="478" y="745"/>
                  </a:lnTo>
                  <a:lnTo>
                    <a:pt x="495" y="745"/>
                  </a:lnTo>
                  <a:lnTo>
                    <a:pt x="512" y="745"/>
                  </a:lnTo>
                  <a:lnTo>
                    <a:pt x="530" y="745"/>
                  </a:lnTo>
                  <a:lnTo>
                    <a:pt x="544" y="745"/>
                  </a:lnTo>
                  <a:lnTo>
                    <a:pt x="558" y="744"/>
                  </a:lnTo>
                  <a:lnTo>
                    <a:pt x="571" y="742"/>
                  </a:lnTo>
                  <a:lnTo>
                    <a:pt x="584" y="740"/>
                  </a:lnTo>
                  <a:lnTo>
                    <a:pt x="597" y="735"/>
                  </a:lnTo>
                  <a:lnTo>
                    <a:pt x="609" y="731"/>
                  </a:lnTo>
                  <a:lnTo>
                    <a:pt x="621" y="725"/>
                  </a:lnTo>
                  <a:lnTo>
                    <a:pt x="634" y="718"/>
                  </a:lnTo>
                  <a:lnTo>
                    <a:pt x="634" y="727"/>
                  </a:lnTo>
                  <a:lnTo>
                    <a:pt x="634" y="736"/>
                  </a:lnTo>
                  <a:lnTo>
                    <a:pt x="634" y="747"/>
                  </a:lnTo>
                  <a:lnTo>
                    <a:pt x="634" y="758"/>
                  </a:lnTo>
                  <a:lnTo>
                    <a:pt x="635" y="770"/>
                  </a:lnTo>
                  <a:lnTo>
                    <a:pt x="637" y="780"/>
                  </a:lnTo>
                  <a:lnTo>
                    <a:pt x="641" y="789"/>
                  </a:lnTo>
                  <a:lnTo>
                    <a:pt x="644" y="798"/>
                  </a:lnTo>
                  <a:lnTo>
                    <a:pt x="648" y="807"/>
                  </a:lnTo>
                  <a:lnTo>
                    <a:pt x="651" y="816"/>
                  </a:lnTo>
                  <a:lnTo>
                    <a:pt x="653" y="827"/>
                  </a:lnTo>
                  <a:lnTo>
                    <a:pt x="655" y="838"/>
                  </a:lnTo>
                  <a:lnTo>
                    <a:pt x="655" y="852"/>
                  </a:lnTo>
                  <a:lnTo>
                    <a:pt x="655" y="865"/>
                  </a:lnTo>
                  <a:lnTo>
                    <a:pt x="655" y="878"/>
                  </a:lnTo>
                  <a:lnTo>
                    <a:pt x="655" y="893"/>
                  </a:lnTo>
                  <a:lnTo>
                    <a:pt x="653" y="903"/>
                  </a:lnTo>
                  <a:lnTo>
                    <a:pt x="651" y="911"/>
                  </a:lnTo>
                  <a:lnTo>
                    <a:pt x="648" y="919"/>
                  </a:lnTo>
                  <a:lnTo>
                    <a:pt x="645" y="927"/>
                  </a:lnTo>
                  <a:lnTo>
                    <a:pt x="641" y="934"/>
                  </a:lnTo>
                  <a:lnTo>
                    <a:pt x="637" y="943"/>
                  </a:lnTo>
                  <a:lnTo>
                    <a:pt x="634" y="951"/>
                  </a:lnTo>
                  <a:lnTo>
                    <a:pt x="632" y="961"/>
                  </a:lnTo>
                  <a:lnTo>
                    <a:pt x="632" y="981"/>
                  </a:lnTo>
                  <a:lnTo>
                    <a:pt x="633" y="1001"/>
                  </a:lnTo>
                  <a:lnTo>
                    <a:pt x="632" y="1011"/>
                  </a:lnTo>
                  <a:lnTo>
                    <a:pt x="630" y="1019"/>
                  </a:lnTo>
                  <a:lnTo>
                    <a:pt x="628" y="1024"/>
                  </a:lnTo>
                  <a:lnTo>
                    <a:pt x="625" y="1028"/>
                  </a:lnTo>
                  <a:lnTo>
                    <a:pt x="623" y="1032"/>
                  </a:lnTo>
                  <a:lnTo>
                    <a:pt x="619" y="1037"/>
                  </a:lnTo>
                  <a:lnTo>
                    <a:pt x="620" y="1049"/>
                  </a:lnTo>
                  <a:lnTo>
                    <a:pt x="622" y="1060"/>
                  </a:lnTo>
                  <a:lnTo>
                    <a:pt x="626" y="1072"/>
                  </a:lnTo>
                  <a:lnTo>
                    <a:pt x="631" y="1083"/>
                  </a:lnTo>
                  <a:lnTo>
                    <a:pt x="643" y="1104"/>
                  </a:lnTo>
                  <a:lnTo>
                    <a:pt x="657" y="1123"/>
                  </a:lnTo>
                  <a:lnTo>
                    <a:pt x="671" y="1143"/>
                  </a:lnTo>
                  <a:lnTo>
                    <a:pt x="684" y="1163"/>
                  </a:lnTo>
                  <a:lnTo>
                    <a:pt x="689" y="1174"/>
                  </a:lnTo>
                  <a:lnTo>
                    <a:pt x="693" y="1186"/>
                  </a:lnTo>
                  <a:lnTo>
                    <a:pt x="698" y="1198"/>
                  </a:lnTo>
                  <a:lnTo>
                    <a:pt x="700" y="1211"/>
                  </a:lnTo>
                  <a:lnTo>
                    <a:pt x="697" y="1232"/>
                  </a:lnTo>
                  <a:lnTo>
                    <a:pt x="693" y="1255"/>
                  </a:lnTo>
                  <a:lnTo>
                    <a:pt x="691" y="1278"/>
                  </a:lnTo>
                  <a:lnTo>
                    <a:pt x="688" y="1300"/>
                  </a:lnTo>
                  <a:lnTo>
                    <a:pt x="686" y="1322"/>
                  </a:lnTo>
                  <a:lnTo>
                    <a:pt x="683" y="1345"/>
                  </a:lnTo>
                  <a:lnTo>
                    <a:pt x="679" y="1367"/>
                  </a:lnTo>
                  <a:lnTo>
                    <a:pt x="677" y="1390"/>
                  </a:lnTo>
                  <a:lnTo>
                    <a:pt x="677" y="1408"/>
                  </a:lnTo>
                  <a:lnTo>
                    <a:pt x="679" y="1426"/>
                  </a:lnTo>
                  <a:lnTo>
                    <a:pt x="682" y="1442"/>
                  </a:lnTo>
                  <a:lnTo>
                    <a:pt x="686" y="1458"/>
                  </a:lnTo>
                  <a:lnTo>
                    <a:pt x="691" y="1473"/>
                  </a:lnTo>
                  <a:lnTo>
                    <a:pt x="700" y="1487"/>
                  </a:lnTo>
                  <a:lnTo>
                    <a:pt x="704" y="1494"/>
                  </a:lnTo>
                  <a:lnTo>
                    <a:pt x="710" y="1500"/>
                  </a:lnTo>
                  <a:lnTo>
                    <a:pt x="715" y="1507"/>
                  </a:lnTo>
                  <a:lnTo>
                    <a:pt x="722" y="1513"/>
                  </a:lnTo>
                  <a:lnTo>
                    <a:pt x="736" y="1522"/>
                  </a:lnTo>
                  <a:lnTo>
                    <a:pt x="751" y="1530"/>
                  </a:lnTo>
                  <a:lnTo>
                    <a:pt x="757" y="1535"/>
                  </a:lnTo>
                  <a:lnTo>
                    <a:pt x="763" y="1540"/>
                  </a:lnTo>
                  <a:lnTo>
                    <a:pt x="764" y="1543"/>
                  </a:lnTo>
                  <a:lnTo>
                    <a:pt x="766" y="1546"/>
                  </a:lnTo>
                  <a:lnTo>
                    <a:pt x="767" y="1551"/>
                  </a:lnTo>
                  <a:lnTo>
                    <a:pt x="767" y="1555"/>
                  </a:lnTo>
                  <a:lnTo>
                    <a:pt x="766" y="1568"/>
                  </a:lnTo>
                  <a:lnTo>
                    <a:pt x="765" y="1579"/>
                  </a:lnTo>
                  <a:lnTo>
                    <a:pt x="761" y="1590"/>
                  </a:lnTo>
                  <a:lnTo>
                    <a:pt x="758" y="1600"/>
                  </a:lnTo>
                  <a:lnTo>
                    <a:pt x="755" y="1610"/>
                  </a:lnTo>
                  <a:lnTo>
                    <a:pt x="753" y="1621"/>
                  </a:lnTo>
                  <a:lnTo>
                    <a:pt x="751" y="1633"/>
                  </a:lnTo>
                  <a:lnTo>
                    <a:pt x="750" y="1646"/>
                  </a:lnTo>
                  <a:lnTo>
                    <a:pt x="751" y="1654"/>
                  </a:lnTo>
                  <a:lnTo>
                    <a:pt x="751" y="1663"/>
                  </a:lnTo>
                  <a:lnTo>
                    <a:pt x="758" y="1660"/>
                  </a:lnTo>
                  <a:lnTo>
                    <a:pt x="767" y="1657"/>
                  </a:lnTo>
                  <a:lnTo>
                    <a:pt x="776" y="1654"/>
                  </a:lnTo>
                  <a:lnTo>
                    <a:pt x="784" y="1653"/>
                  </a:lnTo>
                  <a:lnTo>
                    <a:pt x="791" y="1653"/>
                  </a:lnTo>
                  <a:lnTo>
                    <a:pt x="797" y="1654"/>
                  </a:lnTo>
                  <a:lnTo>
                    <a:pt x="804" y="1657"/>
                  </a:lnTo>
                  <a:lnTo>
                    <a:pt x="809" y="1659"/>
                  </a:lnTo>
                  <a:lnTo>
                    <a:pt x="820" y="1665"/>
                  </a:lnTo>
                  <a:lnTo>
                    <a:pt x="828" y="1673"/>
                  </a:lnTo>
                  <a:lnTo>
                    <a:pt x="838" y="1681"/>
                  </a:lnTo>
                  <a:lnTo>
                    <a:pt x="848" y="1690"/>
                  </a:lnTo>
                  <a:lnTo>
                    <a:pt x="859" y="1699"/>
                  </a:lnTo>
                  <a:lnTo>
                    <a:pt x="871" y="1706"/>
                  </a:lnTo>
                  <a:lnTo>
                    <a:pt x="895" y="1721"/>
                  </a:lnTo>
                  <a:lnTo>
                    <a:pt x="917" y="1737"/>
                  </a:lnTo>
                  <a:lnTo>
                    <a:pt x="927" y="1743"/>
                  </a:lnTo>
                  <a:lnTo>
                    <a:pt x="938" y="1751"/>
                  </a:lnTo>
                  <a:lnTo>
                    <a:pt x="949" y="1758"/>
                  </a:lnTo>
                  <a:lnTo>
                    <a:pt x="963" y="1765"/>
                  </a:lnTo>
                  <a:lnTo>
                    <a:pt x="970" y="1769"/>
                  </a:lnTo>
                  <a:lnTo>
                    <a:pt x="976" y="1773"/>
                  </a:lnTo>
                  <a:lnTo>
                    <a:pt x="981" y="1779"/>
                  </a:lnTo>
                  <a:lnTo>
                    <a:pt x="986" y="1784"/>
                  </a:lnTo>
                  <a:lnTo>
                    <a:pt x="993" y="1796"/>
                  </a:lnTo>
                  <a:lnTo>
                    <a:pt x="998" y="1809"/>
                  </a:lnTo>
                  <a:lnTo>
                    <a:pt x="1002" y="1823"/>
                  </a:lnTo>
                  <a:lnTo>
                    <a:pt x="1007" y="1838"/>
                  </a:lnTo>
                  <a:lnTo>
                    <a:pt x="1010" y="1845"/>
                  </a:lnTo>
                  <a:lnTo>
                    <a:pt x="1013" y="1852"/>
                  </a:lnTo>
                  <a:lnTo>
                    <a:pt x="1017" y="1859"/>
                  </a:lnTo>
                  <a:lnTo>
                    <a:pt x="1022" y="1866"/>
                  </a:lnTo>
                  <a:lnTo>
                    <a:pt x="1026" y="1872"/>
                  </a:lnTo>
                  <a:lnTo>
                    <a:pt x="1030" y="1876"/>
                  </a:lnTo>
                  <a:lnTo>
                    <a:pt x="1036" y="1880"/>
                  </a:lnTo>
                  <a:lnTo>
                    <a:pt x="1041" y="1883"/>
                  </a:lnTo>
                  <a:lnTo>
                    <a:pt x="1051" y="1890"/>
                  </a:lnTo>
                  <a:lnTo>
                    <a:pt x="1063" y="1893"/>
                  </a:lnTo>
                  <a:lnTo>
                    <a:pt x="1088" y="1899"/>
                  </a:lnTo>
                  <a:lnTo>
                    <a:pt x="1115" y="1905"/>
                  </a:lnTo>
                  <a:lnTo>
                    <a:pt x="1124" y="1909"/>
                  </a:lnTo>
                  <a:lnTo>
                    <a:pt x="1134" y="1914"/>
                  </a:lnTo>
                  <a:lnTo>
                    <a:pt x="1143" y="1919"/>
                  </a:lnTo>
                  <a:lnTo>
                    <a:pt x="1150" y="1923"/>
                  </a:lnTo>
                  <a:lnTo>
                    <a:pt x="1158" y="1929"/>
                  </a:lnTo>
                  <a:lnTo>
                    <a:pt x="1167" y="1932"/>
                  </a:lnTo>
                  <a:lnTo>
                    <a:pt x="1176" y="1935"/>
                  </a:lnTo>
                  <a:lnTo>
                    <a:pt x="1187" y="1936"/>
                  </a:lnTo>
                  <a:lnTo>
                    <a:pt x="1196" y="1935"/>
                  </a:lnTo>
                  <a:lnTo>
                    <a:pt x="1203" y="1934"/>
                  </a:lnTo>
                  <a:lnTo>
                    <a:pt x="1211" y="1932"/>
                  </a:lnTo>
                  <a:lnTo>
                    <a:pt x="1217" y="1929"/>
                  </a:lnTo>
                  <a:lnTo>
                    <a:pt x="1231" y="1921"/>
                  </a:lnTo>
                  <a:lnTo>
                    <a:pt x="1246" y="1914"/>
                  </a:lnTo>
                  <a:lnTo>
                    <a:pt x="1252" y="1910"/>
                  </a:lnTo>
                  <a:lnTo>
                    <a:pt x="1258" y="1909"/>
                  </a:lnTo>
                  <a:lnTo>
                    <a:pt x="1264" y="1908"/>
                  </a:lnTo>
                  <a:lnTo>
                    <a:pt x="1269" y="1907"/>
                  </a:lnTo>
                  <a:lnTo>
                    <a:pt x="1281" y="1907"/>
                  </a:lnTo>
                  <a:lnTo>
                    <a:pt x="1294" y="1905"/>
                  </a:lnTo>
                  <a:lnTo>
                    <a:pt x="1311" y="1901"/>
                  </a:lnTo>
                  <a:lnTo>
                    <a:pt x="1325" y="1895"/>
                  </a:lnTo>
                  <a:lnTo>
                    <a:pt x="1333" y="1892"/>
                  </a:lnTo>
                  <a:lnTo>
                    <a:pt x="1340" y="1890"/>
                  </a:lnTo>
                  <a:lnTo>
                    <a:pt x="1349" y="1889"/>
                  </a:lnTo>
                  <a:lnTo>
                    <a:pt x="1359" y="1889"/>
                  </a:lnTo>
                  <a:lnTo>
                    <a:pt x="1368" y="1889"/>
                  </a:lnTo>
                  <a:lnTo>
                    <a:pt x="1378" y="1890"/>
                  </a:lnTo>
                  <a:lnTo>
                    <a:pt x="1387" y="1891"/>
                  </a:lnTo>
                  <a:lnTo>
                    <a:pt x="1395" y="1894"/>
                  </a:lnTo>
                  <a:lnTo>
                    <a:pt x="1412" y="1900"/>
                  </a:lnTo>
                  <a:lnTo>
                    <a:pt x="1427" y="1906"/>
                  </a:lnTo>
                  <a:lnTo>
                    <a:pt x="1442" y="1914"/>
                  </a:lnTo>
                  <a:lnTo>
                    <a:pt x="1458" y="1920"/>
                  </a:lnTo>
                  <a:lnTo>
                    <a:pt x="1467" y="1923"/>
                  </a:lnTo>
                  <a:lnTo>
                    <a:pt x="1475" y="1927"/>
                  </a:lnTo>
                  <a:lnTo>
                    <a:pt x="1485" y="1929"/>
                  </a:lnTo>
                  <a:lnTo>
                    <a:pt x="1496" y="1930"/>
                  </a:lnTo>
                  <a:lnTo>
                    <a:pt x="1508" y="1930"/>
                  </a:lnTo>
                  <a:lnTo>
                    <a:pt x="1518" y="1929"/>
                  </a:lnTo>
                  <a:lnTo>
                    <a:pt x="1528" y="1928"/>
                  </a:lnTo>
                  <a:lnTo>
                    <a:pt x="1540" y="1928"/>
                  </a:lnTo>
                  <a:lnTo>
                    <a:pt x="1545" y="1928"/>
                  </a:lnTo>
                  <a:lnTo>
                    <a:pt x="1549" y="1929"/>
                  </a:lnTo>
                  <a:lnTo>
                    <a:pt x="1553" y="1931"/>
                  </a:lnTo>
                  <a:lnTo>
                    <a:pt x="1556" y="1933"/>
                  </a:lnTo>
                  <a:lnTo>
                    <a:pt x="1563" y="1939"/>
                  </a:lnTo>
                  <a:lnTo>
                    <a:pt x="1568" y="1946"/>
                  </a:lnTo>
                  <a:lnTo>
                    <a:pt x="1573" y="1954"/>
                  </a:lnTo>
                  <a:lnTo>
                    <a:pt x="1578" y="1962"/>
                  </a:lnTo>
                  <a:lnTo>
                    <a:pt x="1584" y="1971"/>
                  </a:lnTo>
                  <a:lnTo>
                    <a:pt x="1591" y="1978"/>
                  </a:lnTo>
                  <a:lnTo>
                    <a:pt x="1609" y="1995"/>
                  </a:lnTo>
                  <a:lnTo>
                    <a:pt x="1627" y="2010"/>
                  </a:lnTo>
                  <a:lnTo>
                    <a:pt x="1643" y="2024"/>
                  </a:lnTo>
                  <a:lnTo>
                    <a:pt x="1660" y="2036"/>
                  </a:lnTo>
                  <a:lnTo>
                    <a:pt x="1677" y="2048"/>
                  </a:lnTo>
                  <a:lnTo>
                    <a:pt x="1695" y="2059"/>
                  </a:lnTo>
                  <a:lnTo>
                    <a:pt x="1715" y="2071"/>
                  </a:lnTo>
                  <a:lnTo>
                    <a:pt x="1737" y="2084"/>
                  </a:lnTo>
                  <a:lnTo>
                    <a:pt x="1809" y="2068"/>
                  </a:lnTo>
                  <a:lnTo>
                    <a:pt x="1825" y="2074"/>
                  </a:lnTo>
                  <a:lnTo>
                    <a:pt x="1839" y="2081"/>
                  </a:lnTo>
                  <a:lnTo>
                    <a:pt x="1852" y="2089"/>
                  </a:lnTo>
                  <a:lnTo>
                    <a:pt x="1865" y="2096"/>
                  </a:lnTo>
                  <a:lnTo>
                    <a:pt x="1877" y="2103"/>
                  </a:lnTo>
                  <a:lnTo>
                    <a:pt x="1890" y="2110"/>
                  </a:lnTo>
                  <a:lnTo>
                    <a:pt x="1905" y="2116"/>
                  </a:lnTo>
                  <a:lnTo>
                    <a:pt x="1921" y="2121"/>
                  </a:lnTo>
                  <a:lnTo>
                    <a:pt x="1945" y="2126"/>
                  </a:lnTo>
                  <a:lnTo>
                    <a:pt x="1966" y="2132"/>
                  </a:lnTo>
                  <a:lnTo>
                    <a:pt x="1975" y="2136"/>
                  </a:lnTo>
                  <a:lnTo>
                    <a:pt x="1984" y="2140"/>
                  </a:lnTo>
                  <a:lnTo>
                    <a:pt x="1994" y="2147"/>
                  </a:lnTo>
                  <a:lnTo>
                    <a:pt x="2002" y="2155"/>
                  </a:lnTo>
                  <a:lnTo>
                    <a:pt x="2023" y="2172"/>
                  </a:lnTo>
                  <a:lnTo>
                    <a:pt x="2041" y="2186"/>
                  </a:lnTo>
                  <a:lnTo>
                    <a:pt x="2050" y="2194"/>
                  </a:lnTo>
                  <a:lnTo>
                    <a:pt x="2058" y="2203"/>
                  </a:lnTo>
                  <a:lnTo>
                    <a:pt x="2064" y="2213"/>
                  </a:lnTo>
                  <a:lnTo>
                    <a:pt x="2071" y="2225"/>
                  </a:lnTo>
                  <a:lnTo>
                    <a:pt x="2078" y="2254"/>
                  </a:lnTo>
                  <a:lnTo>
                    <a:pt x="2085" y="2283"/>
                  </a:lnTo>
                  <a:lnTo>
                    <a:pt x="2087" y="2290"/>
                  </a:lnTo>
                  <a:lnTo>
                    <a:pt x="2090" y="2295"/>
                  </a:lnTo>
                  <a:lnTo>
                    <a:pt x="2092" y="2300"/>
                  </a:lnTo>
                  <a:lnTo>
                    <a:pt x="2096" y="2306"/>
                  </a:lnTo>
                  <a:lnTo>
                    <a:pt x="2100" y="2309"/>
                  </a:lnTo>
                  <a:lnTo>
                    <a:pt x="2105" y="2312"/>
                  </a:lnTo>
                  <a:lnTo>
                    <a:pt x="2110" y="2313"/>
                  </a:lnTo>
                  <a:lnTo>
                    <a:pt x="2118" y="2314"/>
                  </a:lnTo>
                  <a:lnTo>
                    <a:pt x="2126" y="2313"/>
                  </a:lnTo>
                  <a:lnTo>
                    <a:pt x="2133" y="2310"/>
                  </a:lnTo>
                  <a:lnTo>
                    <a:pt x="2140" y="2307"/>
                  </a:lnTo>
                  <a:lnTo>
                    <a:pt x="2146" y="2301"/>
                  </a:lnTo>
                  <a:lnTo>
                    <a:pt x="2152" y="2297"/>
                  </a:lnTo>
                  <a:lnTo>
                    <a:pt x="2158" y="2293"/>
                  </a:lnTo>
                  <a:lnTo>
                    <a:pt x="2166" y="2291"/>
                  </a:lnTo>
                  <a:lnTo>
                    <a:pt x="2174" y="2290"/>
                  </a:lnTo>
                  <a:lnTo>
                    <a:pt x="2186" y="2290"/>
                  </a:lnTo>
                  <a:lnTo>
                    <a:pt x="2196" y="2292"/>
                  </a:lnTo>
                  <a:lnTo>
                    <a:pt x="2207" y="2295"/>
                  </a:lnTo>
                  <a:lnTo>
                    <a:pt x="2218" y="2297"/>
                  </a:lnTo>
                  <a:lnTo>
                    <a:pt x="2229" y="2298"/>
                  </a:lnTo>
                  <a:lnTo>
                    <a:pt x="2240" y="2298"/>
                  </a:lnTo>
                  <a:lnTo>
                    <a:pt x="2250" y="2300"/>
                  </a:lnTo>
                  <a:lnTo>
                    <a:pt x="2260" y="2301"/>
                  </a:lnTo>
                  <a:lnTo>
                    <a:pt x="2277" y="2307"/>
                  </a:lnTo>
                  <a:lnTo>
                    <a:pt x="2294" y="2311"/>
                  </a:lnTo>
                  <a:lnTo>
                    <a:pt x="2311" y="2317"/>
                  </a:lnTo>
                  <a:lnTo>
                    <a:pt x="2330" y="2321"/>
                  </a:lnTo>
                  <a:lnTo>
                    <a:pt x="2339" y="2323"/>
                  </a:lnTo>
                  <a:lnTo>
                    <a:pt x="2349" y="2324"/>
                  </a:lnTo>
                  <a:lnTo>
                    <a:pt x="2359" y="2325"/>
                  </a:lnTo>
                  <a:lnTo>
                    <a:pt x="2370" y="2325"/>
                  </a:lnTo>
                  <a:lnTo>
                    <a:pt x="2393" y="2324"/>
                  </a:lnTo>
                  <a:lnTo>
                    <a:pt x="2414" y="2321"/>
                  </a:lnTo>
                  <a:lnTo>
                    <a:pt x="2433" y="2319"/>
                  </a:lnTo>
                  <a:lnTo>
                    <a:pt x="2457" y="2318"/>
                  </a:lnTo>
                  <a:lnTo>
                    <a:pt x="2465" y="2318"/>
                  </a:lnTo>
                  <a:lnTo>
                    <a:pt x="2471" y="2319"/>
                  </a:lnTo>
                  <a:lnTo>
                    <a:pt x="2478" y="2320"/>
                  </a:lnTo>
                  <a:lnTo>
                    <a:pt x="2484" y="2322"/>
                  </a:lnTo>
                  <a:lnTo>
                    <a:pt x="2496" y="2327"/>
                  </a:lnTo>
                  <a:lnTo>
                    <a:pt x="2507" y="2334"/>
                  </a:lnTo>
                  <a:lnTo>
                    <a:pt x="2507" y="2334"/>
                  </a:lnTo>
                  <a:lnTo>
                    <a:pt x="2513" y="2319"/>
                  </a:lnTo>
                  <a:lnTo>
                    <a:pt x="2520" y="2306"/>
                  </a:lnTo>
                  <a:lnTo>
                    <a:pt x="2527" y="2294"/>
                  </a:lnTo>
                  <a:lnTo>
                    <a:pt x="2536" y="2283"/>
                  </a:lnTo>
                  <a:lnTo>
                    <a:pt x="2554" y="2263"/>
                  </a:lnTo>
                  <a:lnTo>
                    <a:pt x="2575" y="2239"/>
                  </a:lnTo>
                  <a:lnTo>
                    <a:pt x="2598" y="2211"/>
                  </a:lnTo>
                  <a:lnTo>
                    <a:pt x="2618" y="2185"/>
                  </a:lnTo>
                  <a:lnTo>
                    <a:pt x="2639" y="2161"/>
                  </a:lnTo>
                  <a:lnTo>
                    <a:pt x="2658" y="2139"/>
                  </a:lnTo>
                  <a:lnTo>
                    <a:pt x="2679" y="2117"/>
                  </a:lnTo>
                  <a:lnTo>
                    <a:pt x="2700" y="2095"/>
                  </a:lnTo>
                  <a:lnTo>
                    <a:pt x="2723" y="2071"/>
                  </a:lnTo>
                  <a:lnTo>
                    <a:pt x="2749" y="2045"/>
                  </a:lnTo>
                  <a:lnTo>
                    <a:pt x="2757" y="2036"/>
                  </a:lnTo>
                  <a:lnTo>
                    <a:pt x="2765" y="2027"/>
                  </a:lnTo>
                  <a:lnTo>
                    <a:pt x="2773" y="2017"/>
                  </a:lnTo>
                  <a:lnTo>
                    <a:pt x="2778" y="2009"/>
                  </a:lnTo>
                  <a:lnTo>
                    <a:pt x="2784" y="1999"/>
                  </a:lnTo>
                  <a:lnTo>
                    <a:pt x="2789" y="1990"/>
                  </a:lnTo>
                  <a:lnTo>
                    <a:pt x="2794" y="1981"/>
                  </a:lnTo>
                  <a:lnTo>
                    <a:pt x="2798" y="1971"/>
                  </a:lnTo>
                  <a:lnTo>
                    <a:pt x="2805" y="1950"/>
                  </a:lnTo>
                  <a:lnTo>
                    <a:pt x="2810" y="1930"/>
                  </a:lnTo>
                  <a:lnTo>
                    <a:pt x="2816" y="1907"/>
                  </a:lnTo>
                  <a:lnTo>
                    <a:pt x="2821" y="1882"/>
                  </a:lnTo>
                  <a:lnTo>
                    <a:pt x="2824" y="1866"/>
                  </a:lnTo>
                  <a:lnTo>
                    <a:pt x="2829" y="1851"/>
                  </a:lnTo>
                  <a:lnTo>
                    <a:pt x="2834" y="1837"/>
                  </a:lnTo>
                  <a:lnTo>
                    <a:pt x="2838" y="1824"/>
                  </a:lnTo>
                  <a:lnTo>
                    <a:pt x="2851" y="1797"/>
                  </a:lnTo>
                  <a:lnTo>
                    <a:pt x="2867" y="1768"/>
                  </a:lnTo>
                  <a:lnTo>
                    <a:pt x="2875" y="1754"/>
                  </a:lnTo>
                  <a:lnTo>
                    <a:pt x="2886" y="1741"/>
                  </a:lnTo>
                  <a:lnTo>
                    <a:pt x="2890" y="1734"/>
                  </a:lnTo>
                  <a:lnTo>
                    <a:pt x="2894" y="1728"/>
                  </a:lnTo>
                  <a:lnTo>
                    <a:pt x="2896" y="1720"/>
                  </a:lnTo>
                  <a:lnTo>
                    <a:pt x="2897" y="1712"/>
                  </a:lnTo>
                  <a:lnTo>
                    <a:pt x="2897" y="1703"/>
                  </a:lnTo>
                  <a:lnTo>
                    <a:pt x="2896" y="1696"/>
                  </a:lnTo>
                  <a:lnTo>
                    <a:pt x="2894" y="1688"/>
                  </a:lnTo>
                  <a:lnTo>
                    <a:pt x="2891" y="1680"/>
                  </a:lnTo>
                  <a:lnTo>
                    <a:pt x="2889" y="1674"/>
                  </a:lnTo>
                  <a:lnTo>
                    <a:pt x="2887" y="1666"/>
                  </a:lnTo>
                  <a:lnTo>
                    <a:pt x="2886" y="1659"/>
                  </a:lnTo>
                  <a:lnTo>
                    <a:pt x="2886" y="1650"/>
                  </a:lnTo>
                  <a:lnTo>
                    <a:pt x="2878" y="1637"/>
                  </a:lnTo>
                  <a:lnTo>
                    <a:pt x="2870" y="1625"/>
                  </a:lnTo>
                  <a:lnTo>
                    <a:pt x="2862" y="1616"/>
                  </a:lnTo>
                  <a:lnTo>
                    <a:pt x="2854" y="1605"/>
                  </a:lnTo>
                  <a:lnTo>
                    <a:pt x="2846" y="1594"/>
                  </a:lnTo>
                  <a:lnTo>
                    <a:pt x="2841" y="1583"/>
                  </a:lnTo>
                  <a:lnTo>
                    <a:pt x="2838" y="1578"/>
                  </a:lnTo>
                  <a:lnTo>
                    <a:pt x="2836" y="1571"/>
                  </a:lnTo>
                  <a:lnTo>
                    <a:pt x="2835" y="1565"/>
                  </a:lnTo>
                  <a:lnTo>
                    <a:pt x="2835" y="1557"/>
                  </a:lnTo>
                  <a:lnTo>
                    <a:pt x="2836" y="1548"/>
                  </a:lnTo>
                  <a:lnTo>
                    <a:pt x="2837" y="1539"/>
                  </a:lnTo>
                  <a:lnTo>
                    <a:pt x="2841" y="1531"/>
                  </a:lnTo>
                  <a:lnTo>
                    <a:pt x="2845" y="1524"/>
                  </a:lnTo>
                  <a:lnTo>
                    <a:pt x="2854" y="1510"/>
                  </a:lnTo>
                  <a:lnTo>
                    <a:pt x="2864" y="1496"/>
                  </a:lnTo>
                  <a:lnTo>
                    <a:pt x="2875" y="1483"/>
                  </a:lnTo>
                  <a:lnTo>
                    <a:pt x="2885" y="1469"/>
                  </a:lnTo>
                  <a:lnTo>
                    <a:pt x="2889" y="1461"/>
                  </a:lnTo>
                  <a:lnTo>
                    <a:pt x="2891" y="1453"/>
                  </a:lnTo>
                  <a:lnTo>
                    <a:pt x="2894" y="1444"/>
                  </a:lnTo>
                  <a:lnTo>
                    <a:pt x="2895" y="1434"/>
                  </a:lnTo>
                  <a:lnTo>
                    <a:pt x="2894" y="1422"/>
                  </a:lnTo>
                  <a:lnTo>
                    <a:pt x="2891" y="1410"/>
                  </a:lnTo>
                  <a:lnTo>
                    <a:pt x="2888" y="1400"/>
                  </a:lnTo>
                  <a:lnTo>
                    <a:pt x="2884" y="1389"/>
                  </a:lnTo>
                  <a:lnTo>
                    <a:pt x="2878" y="1379"/>
                  </a:lnTo>
                  <a:lnTo>
                    <a:pt x="2873" y="1370"/>
                  </a:lnTo>
                  <a:lnTo>
                    <a:pt x="2865" y="1362"/>
                  </a:lnTo>
                  <a:lnTo>
                    <a:pt x="2858" y="1354"/>
                  </a:lnTo>
                  <a:lnTo>
                    <a:pt x="2849" y="1347"/>
                  </a:lnTo>
                  <a:lnTo>
                    <a:pt x="2840" y="1340"/>
                  </a:lnTo>
                  <a:lnTo>
                    <a:pt x="2830" y="1334"/>
                  </a:lnTo>
                  <a:lnTo>
                    <a:pt x="2819" y="1327"/>
                  </a:lnTo>
                  <a:lnTo>
                    <a:pt x="2797" y="1316"/>
                  </a:lnTo>
                  <a:lnTo>
                    <a:pt x="2774" y="1306"/>
                  </a:lnTo>
                  <a:lnTo>
                    <a:pt x="2742" y="1291"/>
                  </a:lnTo>
                  <a:lnTo>
                    <a:pt x="2714" y="1275"/>
                  </a:lnTo>
                  <a:lnTo>
                    <a:pt x="2700" y="1270"/>
                  </a:lnTo>
                  <a:lnTo>
                    <a:pt x="2686" y="1265"/>
                  </a:lnTo>
                  <a:lnTo>
                    <a:pt x="2679" y="1264"/>
                  </a:lnTo>
                  <a:lnTo>
                    <a:pt x="2670" y="1261"/>
                  </a:lnTo>
                  <a:lnTo>
                    <a:pt x="2661" y="1261"/>
                  </a:lnTo>
                  <a:lnTo>
                    <a:pt x="2653" y="1260"/>
                  </a:lnTo>
                  <a:lnTo>
                    <a:pt x="2638" y="1260"/>
                  </a:lnTo>
                  <a:lnTo>
                    <a:pt x="2624" y="1260"/>
                  </a:lnTo>
                  <a:lnTo>
                    <a:pt x="2611" y="1260"/>
                  </a:lnTo>
                  <a:lnTo>
                    <a:pt x="2595" y="1260"/>
                  </a:lnTo>
                  <a:lnTo>
                    <a:pt x="2571" y="1260"/>
                  </a:lnTo>
                  <a:lnTo>
                    <a:pt x="2549" y="1258"/>
                  </a:lnTo>
                  <a:lnTo>
                    <a:pt x="2538" y="1256"/>
                  </a:lnTo>
                  <a:lnTo>
                    <a:pt x="2528" y="1254"/>
                  </a:lnTo>
                  <a:lnTo>
                    <a:pt x="2518" y="1251"/>
                  </a:lnTo>
                  <a:lnTo>
                    <a:pt x="2508" y="1247"/>
                  </a:lnTo>
                  <a:lnTo>
                    <a:pt x="2498" y="1244"/>
                  </a:lnTo>
                  <a:lnTo>
                    <a:pt x="2490" y="1240"/>
                  </a:lnTo>
                  <a:lnTo>
                    <a:pt x="2481" y="1234"/>
                  </a:lnTo>
                  <a:lnTo>
                    <a:pt x="2471" y="1229"/>
                  </a:lnTo>
                  <a:lnTo>
                    <a:pt x="2463" y="1222"/>
                  </a:lnTo>
                  <a:lnTo>
                    <a:pt x="2454" y="1215"/>
                  </a:lnTo>
                  <a:lnTo>
                    <a:pt x="2445" y="1207"/>
                  </a:lnTo>
                  <a:lnTo>
                    <a:pt x="2438" y="1199"/>
                  </a:lnTo>
                  <a:lnTo>
                    <a:pt x="2423" y="1181"/>
                  </a:lnTo>
                  <a:lnTo>
                    <a:pt x="2410" y="1164"/>
                  </a:lnTo>
                  <a:lnTo>
                    <a:pt x="2400" y="1147"/>
                  </a:lnTo>
                  <a:lnTo>
                    <a:pt x="2391" y="1130"/>
                  </a:lnTo>
                  <a:lnTo>
                    <a:pt x="2376" y="1092"/>
                  </a:lnTo>
                  <a:lnTo>
                    <a:pt x="2359" y="1051"/>
                  </a:lnTo>
                  <a:lnTo>
                    <a:pt x="2341" y="1006"/>
                  </a:lnTo>
                  <a:lnTo>
                    <a:pt x="2323" y="967"/>
                  </a:lnTo>
                  <a:lnTo>
                    <a:pt x="2309" y="929"/>
                  </a:lnTo>
                  <a:lnTo>
                    <a:pt x="2297" y="892"/>
                  </a:lnTo>
                  <a:lnTo>
                    <a:pt x="2292" y="873"/>
                  </a:lnTo>
                  <a:lnTo>
                    <a:pt x="2288" y="854"/>
                  </a:lnTo>
                  <a:lnTo>
                    <a:pt x="2283" y="835"/>
                  </a:lnTo>
                  <a:lnTo>
                    <a:pt x="2280" y="814"/>
                  </a:lnTo>
                  <a:lnTo>
                    <a:pt x="2278" y="794"/>
                  </a:lnTo>
                  <a:lnTo>
                    <a:pt x="2276" y="772"/>
                  </a:lnTo>
                  <a:lnTo>
                    <a:pt x="2275" y="749"/>
                  </a:lnTo>
                  <a:lnTo>
                    <a:pt x="2275" y="726"/>
                  </a:lnTo>
                  <a:lnTo>
                    <a:pt x="2275" y="692"/>
                  </a:lnTo>
                  <a:lnTo>
                    <a:pt x="2275" y="663"/>
                  </a:lnTo>
                  <a:lnTo>
                    <a:pt x="2274" y="635"/>
                  </a:lnTo>
                  <a:lnTo>
                    <a:pt x="2274" y="608"/>
                  </a:lnTo>
                  <a:lnTo>
                    <a:pt x="2273" y="581"/>
                  </a:lnTo>
                  <a:lnTo>
                    <a:pt x="2273" y="553"/>
                  </a:lnTo>
                  <a:lnTo>
                    <a:pt x="2274" y="523"/>
                  </a:lnTo>
                  <a:lnTo>
                    <a:pt x="2275" y="490"/>
                  </a:lnTo>
                  <a:lnTo>
                    <a:pt x="2258" y="464"/>
                  </a:lnTo>
                  <a:lnTo>
                    <a:pt x="2242" y="442"/>
                  </a:lnTo>
                  <a:lnTo>
                    <a:pt x="2225" y="421"/>
                  </a:lnTo>
                  <a:lnTo>
                    <a:pt x="2208" y="402"/>
                  </a:lnTo>
                  <a:lnTo>
                    <a:pt x="2189" y="383"/>
                  </a:lnTo>
                  <a:lnTo>
                    <a:pt x="2171" y="364"/>
                  </a:lnTo>
                  <a:lnTo>
                    <a:pt x="2152" y="344"/>
                  </a:lnTo>
                  <a:lnTo>
                    <a:pt x="2130" y="322"/>
                  </a:lnTo>
                  <a:lnTo>
                    <a:pt x="2130" y="322"/>
                  </a:lnTo>
                  <a:lnTo>
                    <a:pt x="2117" y="322"/>
                  </a:lnTo>
                  <a:lnTo>
                    <a:pt x="2104" y="322"/>
                  </a:lnTo>
                  <a:lnTo>
                    <a:pt x="2091" y="322"/>
                  </a:lnTo>
                  <a:lnTo>
                    <a:pt x="2078" y="322"/>
                  </a:lnTo>
                  <a:lnTo>
                    <a:pt x="2047" y="322"/>
                  </a:lnTo>
                  <a:lnTo>
                    <a:pt x="2020" y="322"/>
                  </a:lnTo>
                  <a:lnTo>
                    <a:pt x="1992" y="322"/>
                  </a:lnTo>
                  <a:lnTo>
                    <a:pt x="1960" y="322"/>
                  </a:lnTo>
                  <a:lnTo>
                    <a:pt x="1774" y="2"/>
                  </a:lnTo>
                  <a:lnTo>
                    <a:pt x="1372" y="0"/>
                  </a:lnTo>
                  <a:lnTo>
                    <a:pt x="1361" y="9"/>
                  </a:lnTo>
                  <a:lnTo>
                    <a:pt x="1351" y="18"/>
                  </a:lnTo>
                  <a:lnTo>
                    <a:pt x="1343" y="28"/>
                  </a:lnTo>
                  <a:lnTo>
                    <a:pt x="1334" y="38"/>
                  </a:lnTo>
                  <a:lnTo>
                    <a:pt x="1319" y="57"/>
                  </a:lnTo>
                  <a:lnTo>
                    <a:pt x="1303" y="81"/>
                  </a:lnTo>
                  <a:lnTo>
                    <a:pt x="1293" y="93"/>
                  </a:lnTo>
                  <a:lnTo>
                    <a:pt x="1283" y="104"/>
                  </a:lnTo>
                  <a:lnTo>
                    <a:pt x="1278" y="109"/>
                  </a:lnTo>
                  <a:lnTo>
                    <a:pt x="1271" y="112"/>
                  </a:lnTo>
                  <a:lnTo>
                    <a:pt x="1265" y="113"/>
                  </a:lnTo>
                  <a:lnTo>
                    <a:pt x="1257" y="114"/>
                  </a:lnTo>
                  <a:lnTo>
                    <a:pt x="1245" y="114"/>
                  </a:lnTo>
                  <a:lnTo>
                    <a:pt x="1233" y="115"/>
                  </a:lnTo>
                  <a:lnTo>
                    <a:pt x="1221" y="118"/>
                  </a:lnTo>
                  <a:lnTo>
                    <a:pt x="1210" y="120"/>
                  </a:lnTo>
                  <a:lnTo>
                    <a:pt x="1198" y="124"/>
                  </a:lnTo>
                  <a:lnTo>
                    <a:pt x="1187" y="128"/>
                  </a:lnTo>
                  <a:lnTo>
                    <a:pt x="1176" y="134"/>
                  </a:lnTo>
                  <a:lnTo>
                    <a:pt x="1167" y="140"/>
                  </a:lnTo>
                  <a:lnTo>
                    <a:pt x="1158" y="147"/>
                  </a:lnTo>
                  <a:lnTo>
                    <a:pt x="1150" y="155"/>
                  </a:lnTo>
                  <a:lnTo>
                    <a:pt x="1143" y="164"/>
                  </a:lnTo>
                  <a:lnTo>
                    <a:pt x="1137" y="173"/>
                  </a:lnTo>
                  <a:lnTo>
                    <a:pt x="1132" y="182"/>
                  </a:lnTo>
                  <a:lnTo>
                    <a:pt x="1129" y="193"/>
                  </a:lnTo>
                  <a:lnTo>
                    <a:pt x="1127" y="205"/>
                  </a:lnTo>
                  <a:lnTo>
                    <a:pt x="1125" y="217"/>
                  </a:lnTo>
                  <a:lnTo>
                    <a:pt x="1127" y="229"/>
                  </a:lnTo>
                  <a:lnTo>
                    <a:pt x="1130" y="240"/>
                  </a:lnTo>
                  <a:lnTo>
                    <a:pt x="1133" y="250"/>
                  </a:lnTo>
                  <a:lnTo>
                    <a:pt x="1134" y="262"/>
                  </a:lnTo>
                  <a:lnTo>
                    <a:pt x="1133" y="273"/>
                  </a:lnTo>
                  <a:lnTo>
                    <a:pt x="1132" y="284"/>
                  </a:lnTo>
                  <a:lnTo>
                    <a:pt x="1130" y="293"/>
                  </a:lnTo>
                  <a:lnTo>
                    <a:pt x="1127" y="301"/>
                  </a:lnTo>
                  <a:lnTo>
                    <a:pt x="1122" y="310"/>
                  </a:lnTo>
                  <a:lnTo>
                    <a:pt x="1118" y="317"/>
                  </a:lnTo>
                  <a:lnTo>
                    <a:pt x="1113" y="325"/>
                  </a:lnTo>
                  <a:lnTo>
                    <a:pt x="1106" y="333"/>
                  </a:lnTo>
                  <a:lnTo>
                    <a:pt x="1098" y="339"/>
                  </a:lnTo>
                  <a:lnTo>
                    <a:pt x="1092" y="346"/>
                  </a:lnTo>
                  <a:lnTo>
                    <a:pt x="1083" y="351"/>
                  </a:lnTo>
                  <a:lnTo>
                    <a:pt x="1076" y="356"/>
                  </a:lnTo>
                  <a:lnTo>
                    <a:pt x="1057" y="367"/>
                  </a:lnTo>
                  <a:lnTo>
                    <a:pt x="1039" y="378"/>
                  </a:lnTo>
                  <a:lnTo>
                    <a:pt x="1004" y="395"/>
                  </a:lnTo>
                  <a:lnTo>
                    <a:pt x="973" y="410"/>
                  </a:lnTo>
                  <a:lnTo>
                    <a:pt x="943" y="424"/>
                  </a:lnTo>
                  <a:lnTo>
                    <a:pt x="907" y="439"/>
                  </a:lnTo>
                  <a:lnTo>
                    <a:pt x="898" y="443"/>
                  </a:lnTo>
                  <a:lnTo>
                    <a:pt x="889" y="446"/>
                  </a:lnTo>
                  <a:lnTo>
                    <a:pt x="879" y="448"/>
                  </a:lnTo>
                  <a:lnTo>
                    <a:pt x="871" y="450"/>
                  </a:lnTo>
                  <a:lnTo>
                    <a:pt x="852" y="454"/>
                  </a:lnTo>
                  <a:lnTo>
                    <a:pt x="835" y="457"/>
                  </a:lnTo>
                  <a:lnTo>
                    <a:pt x="827" y="458"/>
                  </a:lnTo>
                  <a:lnTo>
                    <a:pt x="819" y="460"/>
                  </a:lnTo>
                  <a:lnTo>
                    <a:pt x="811" y="463"/>
                  </a:lnTo>
                  <a:lnTo>
                    <a:pt x="805" y="466"/>
                  </a:lnTo>
                  <a:lnTo>
                    <a:pt x="797" y="471"/>
                  </a:lnTo>
                  <a:lnTo>
                    <a:pt x="791" y="476"/>
                  </a:lnTo>
                  <a:lnTo>
                    <a:pt x="784" y="483"/>
                  </a:lnTo>
                  <a:lnTo>
                    <a:pt x="778" y="490"/>
                  </a:lnTo>
                  <a:lnTo>
                    <a:pt x="776" y="502"/>
                  </a:lnTo>
                  <a:lnTo>
                    <a:pt x="772" y="515"/>
                  </a:lnTo>
                  <a:lnTo>
                    <a:pt x="766" y="523"/>
                  </a:lnTo>
                  <a:lnTo>
                    <a:pt x="758" y="528"/>
                  </a:lnTo>
                  <a:lnTo>
                    <a:pt x="751" y="532"/>
                  </a:lnTo>
                  <a:lnTo>
                    <a:pt x="743" y="536"/>
                  </a:lnTo>
                  <a:lnTo>
                    <a:pt x="725" y="541"/>
                  </a:lnTo>
                  <a:lnTo>
                    <a:pt x="705" y="546"/>
                  </a:lnTo>
                  <a:lnTo>
                    <a:pt x="690" y="552"/>
                  </a:lnTo>
                  <a:lnTo>
                    <a:pt x="677" y="558"/>
                  </a:lnTo>
                  <a:lnTo>
                    <a:pt x="671" y="562"/>
                  </a:lnTo>
                  <a:lnTo>
                    <a:pt x="664" y="564"/>
                  </a:lnTo>
                  <a:lnTo>
                    <a:pt x="657" y="565"/>
                  </a:lnTo>
                  <a:lnTo>
                    <a:pt x="648" y="566"/>
                  </a:lnTo>
                  <a:lnTo>
                    <a:pt x="631" y="566"/>
                  </a:lnTo>
                  <a:lnTo>
                    <a:pt x="616" y="566"/>
                  </a:lnTo>
                  <a:lnTo>
                    <a:pt x="601" y="566"/>
                  </a:lnTo>
                  <a:lnTo>
                    <a:pt x="582" y="566"/>
                  </a:lnTo>
                  <a:lnTo>
                    <a:pt x="578" y="565"/>
                  </a:lnTo>
                  <a:lnTo>
                    <a:pt x="574" y="564"/>
                  </a:lnTo>
                  <a:lnTo>
                    <a:pt x="569" y="563"/>
                  </a:lnTo>
                  <a:lnTo>
                    <a:pt x="565" y="560"/>
                  </a:lnTo>
                  <a:lnTo>
                    <a:pt x="557" y="555"/>
                  </a:lnTo>
                  <a:lnTo>
                    <a:pt x="549" y="552"/>
                  </a:lnTo>
                  <a:lnTo>
                    <a:pt x="512" y="541"/>
                  </a:lnTo>
                  <a:lnTo>
                    <a:pt x="480" y="532"/>
                  </a:lnTo>
                  <a:lnTo>
                    <a:pt x="463" y="530"/>
                  </a:lnTo>
                  <a:lnTo>
                    <a:pt x="446" y="528"/>
                  </a:lnTo>
                  <a:lnTo>
                    <a:pt x="428" y="527"/>
                  </a:lnTo>
                  <a:lnTo>
                    <a:pt x="408" y="526"/>
                  </a:lnTo>
                  <a:lnTo>
                    <a:pt x="403" y="527"/>
                  </a:lnTo>
                  <a:lnTo>
                    <a:pt x="397" y="528"/>
                  </a:lnTo>
                  <a:lnTo>
                    <a:pt x="393" y="529"/>
                  </a:lnTo>
                  <a:lnTo>
                    <a:pt x="389" y="531"/>
                  </a:lnTo>
                  <a:lnTo>
                    <a:pt x="381" y="537"/>
                  </a:lnTo>
                  <a:lnTo>
                    <a:pt x="374" y="543"/>
                  </a:lnTo>
                  <a:lnTo>
                    <a:pt x="367" y="550"/>
                  </a:lnTo>
                  <a:lnTo>
                    <a:pt x="361" y="557"/>
                  </a:lnTo>
                  <a:lnTo>
                    <a:pt x="353" y="565"/>
                  </a:lnTo>
                  <a:lnTo>
                    <a:pt x="343" y="571"/>
                  </a:lnTo>
                  <a:lnTo>
                    <a:pt x="307" y="593"/>
                  </a:lnTo>
                  <a:lnTo>
                    <a:pt x="273" y="610"/>
                  </a:lnTo>
                  <a:lnTo>
                    <a:pt x="257" y="620"/>
                  </a:lnTo>
                  <a:lnTo>
                    <a:pt x="240" y="630"/>
                  </a:lnTo>
                  <a:lnTo>
                    <a:pt x="224" y="641"/>
                  </a:lnTo>
                  <a:lnTo>
                    <a:pt x="206" y="655"/>
                  </a:lnTo>
                  <a:lnTo>
                    <a:pt x="194" y="664"/>
                  </a:lnTo>
                  <a:lnTo>
                    <a:pt x="183" y="671"/>
                  </a:lnTo>
                  <a:lnTo>
                    <a:pt x="171" y="676"/>
                  </a:lnTo>
                  <a:lnTo>
                    <a:pt x="158" y="680"/>
                  </a:lnTo>
                  <a:lnTo>
                    <a:pt x="132" y="686"/>
                  </a:lnTo>
                  <a:lnTo>
                    <a:pt x="103" y="692"/>
                  </a:lnTo>
                  <a:lnTo>
                    <a:pt x="76" y="699"/>
                  </a:lnTo>
                  <a:lnTo>
                    <a:pt x="52" y="705"/>
                  </a:lnTo>
                  <a:lnTo>
                    <a:pt x="28" y="712"/>
                  </a:lnTo>
                  <a:lnTo>
                    <a:pt x="0" y="716"/>
                  </a:lnTo>
                  <a:lnTo>
                    <a:pt x="0" y="716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42">
              <a:extLst>
                <a:ext uri="{FF2B5EF4-FFF2-40B4-BE49-F238E27FC236}">
                  <a16:creationId xmlns:a16="http://schemas.microsoft.com/office/drawing/2014/main" id="{09EF2EE1-FAC5-468F-9B0D-8E39F4005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29300" y="2324101"/>
              <a:ext cx="1149350" cy="927100"/>
            </a:xfrm>
            <a:custGeom>
              <a:avLst/>
              <a:gdLst>
                <a:gd name="T0" fmla="*/ 124 w 2897"/>
                <a:gd name="T1" fmla="*/ 790 h 2334"/>
                <a:gd name="T2" fmla="*/ 231 w 2897"/>
                <a:gd name="T3" fmla="*/ 768 h 2334"/>
                <a:gd name="T4" fmla="*/ 399 w 2897"/>
                <a:gd name="T5" fmla="*/ 727 h 2334"/>
                <a:gd name="T6" fmla="*/ 449 w 2897"/>
                <a:gd name="T7" fmla="*/ 742 h 2334"/>
                <a:gd name="T8" fmla="*/ 571 w 2897"/>
                <a:gd name="T9" fmla="*/ 742 h 2334"/>
                <a:gd name="T10" fmla="*/ 634 w 2897"/>
                <a:gd name="T11" fmla="*/ 758 h 2334"/>
                <a:gd name="T12" fmla="*/ 655 w 2897"/>
                <a:gd name="T13" fmla="*/ 852 h 2334"/>
                <a:gd name="T14" fmla="*/ 637 w 2897"/>
                <a:gd name="T15" fmla="*/ 943 h 2334"/>
                <a:gd name="T16" fmla="*/ 623 w 2897"/>
                <a:gd name="T17" fmla="*/ 1032 h 2334"/>
                <a:gd name="T18" fmla="*/ 684 w 2897"/>
                <a:gd name="T19" fmla="*/ 1163 h 2334"/>
                <a:gd name="T20" fmla="*/ 686 w 2897"/>
                <a:gd name="T21" fmla="*/ 1322 h 2334"/>
                <a:gd name="T22" fmla="*/ 700 w 2897"/>
                <a:gd name="T23" fmla="*/ 1487 h 2334"/>
                <a:gd name="T24" fmla="*/ 764 w 2897"/>
                <a:gd name="T25" fmla="*/ 1543 h 2334"/>
                <a:gd name="T26" fmla="*/ 753 w 2897"/>
                <a:gd name="T27" fmla="*/ 1621 h 2334"/>
                <a:gd name="T28" fmla="*/ 791 w 2897"/>
                <a:gd name="T29" fmla="*/ 1653 h 2334"/>
                <a:gd name="T30" fmla="*/ 871 w 2897"/>
                <a:gd name="T31" fmla="*/ 1706 h 2334"/>
                <a:gd name="T32" fmla="*/ 981 w 2897"/>
                <a:gd name="T33" fmla="*/ 1779 h 2334"/>
                <a:gd name="T34" fmla="*/ 1022 w 2897"/>
                <a:gd name="T35" fmla="*/ 1866 h 2334"/>
                <a:gd name="T36" fmla="*/ 1124 w 2897"/>
                <a:gd name="T37" fmla="*/ 1909 h 2334"/>
                <a:gd name="T38" fmla="*/ 1203 w 2897"/>
                <a:gd name="T39" fmla="*/ 1934 h 2334"/>
                <a:gd name="T40" fmla="*/ 1281 w 2897"/>
                <a:gd name="T41" fmla="*/ 1907 h 2334"/>
                <a:gd name="T42" fmla="*/ 1378 w 2897"/>
                <a:gd name="T43" fmla="*/ 1890 h 2334"/>
                <a:gd name="T44" fmla="*/ 1485 w 2897"/>
                <a:gd name="T45" fmla="*/ 1929 h 2334"/>
                <a:gd name="T46" fmla="*/ 1556 w 2897"/>
                <a:gd name="T47" fmla="*/ 1933 h 2334"/>
                <a:gd name="T48" fmla="*/ 1643 w 2897"/>
                <a:gd name="T49" fmla="*/ 2024 h 2334"/>
                <a:gd name="T50" fmla="*/ 1852 w 2897"/>
                <a:gd name="T51" fmla="*/ 2089 h 2334"/>
                <a:gd name="T52" fmla="*/ 1984 w 2897"/>
                <a:gd name="T53" fmla="*/ 2140 h 2334"/>
                <a:gd name="T54" fmla="*/ 2078 w 2897"/>
                <a:gd name="T55" fmla="*/ 2254 h 2334"/>
                <a:gd name="T56" fmla="*/ 2118 w 2897"/>
                <a:gd name="T57" fmla="*/ 2314 h 2334"/>
                <a:gd name="T58" fmla="*/ 2186 w 2897"/>
                <a:gd name="T59" fmla="*/ 2290 h 2334"/>
                <a:gd name="T60" fmla="*/ 2294 w 2897"/>
                <a:gd name="T61" fmla="*/ 2311 h 2334"/>
                <a:gd name="T62" fmla="*/ 2433 w 2897"/>
                <a:gd name="T63" fmla="*/ 2319 h 2334"/>
                <a:gd name="T64" fmla="*/ 2513 w 2897"/>
                <a:gd name="T65" fmla="*/ 2319 h 2334"/>
                <a:gd name="T66" fmla="*/ 2658 w 2897"/>
                <a:gd name="T67" fmla="*/ 2139 h 2334"/>
                <a:gd name="T68" fmla="*/ 2784 w 2897"/>
                <a:gd name="T69" fmla="*/ 1999 h 2334"/>
                <a:gd name="T70" fmla="*/ 2829 w 2897"/>
                <a:gd name="T71" fmla="*/ 1851 h 2334"/>
                <a:gd name="T72" fmla="*/ 2896 w 2897"/>
                <a:gd name="T73" fmla="*/ 1720 h 2334"/>
                <a:gd name="T74" fmla="*/ 2886 w 2897"/>
                <a:gd name="T75" fmla="*/ 1650 h 2334"/>
                <a:gd name="T76" fmla="*/ 2835 w 2897"/>
                <a:gd name="T77" fmla="*/ 1565 h 2334"/>
                <a:gd name="T78" fmla="*/ 2885 w 2897"/>
                <a:gd name="T79" fmla="*/ 1469 h 2334"/>
                <a:gd name="T80" fmla="*/ 2878 w 2897"/>
                <a:gd name="T81" fmla="*/ 1379 h 2334"/>
                <a:gd name="T82" fmla="*/ 2774 w 2897"/>
                <a:gd name="T83" fmla="*/ 1306 h 2334"/>
                <a:gd name="T84" fmla="*/ 2638 w 2897"/>
                <a:gd name="T85" fmla="*/ 1260 h 2334"/>
                <a:gd name="T86" fmla="*/ 2508 w 2897"/>
                <a:gd name="T87" fmla="*/ 1247 h 2334"/>
                <a:gd name="T88" fmla="*/ 2423 w 2897"/>
                <a:gd name="T89" fmla="*/ 1181 h 2334"/>
                <a:gd name="T90" fmla="*/ 2297 w 2897"/>
                <a:gd name="T91" fmla="*/ 892 h 2334"/>
                <a:gd name="T92" fmla="*/ 2275 w 2897"/>
                <a:gd name="T93" fmla="*/ 692 h 2334"/>
                <a:gd name="T94" fmla="*/ 2242 w 2897"/>
                <a:gd name="T95" fmla="*/ 442 h 2334"/>
                <a:gd name="T96" fmla="*/ 2104 w 2897"/>
                <a:gd name="T97" fmla="*/ 322 h 2334"/>
                <a:gd name="T98" fmla="*/ 1361 w 2897"/>
                <a:gd name="T99" fmla="*/ 9 h 2334"/>
                <a:gd name="T100" fmla="*/ 1271 w 2897"/>
                <a:gd name="T101" fmla="*/ 112 h 2334"/>
                <a:gd name="T102" fmla="*/ 1176 w 2897"/>
                <a:gd name="T103" fmla="*/ 134 h 2334"/>
                <a:gd name="T104" fmla="*/ 1125 w 2897"/>
                <a:gd name="T105" fmla="*/ 217 h 2334"/>
                <a:gd name="T106" fmla="*/ 1122 w 2897"/>
                <a:gd name="T107" fmla="*/ 310 h 2334"/>
                <a:gd name="T108" fmla="*/ 1039 w 2897"/>
                <a:gd name="T109" fmla="*/ 378 h 2334"/>
                <a:gd name="T110" fmla="*/ 852 w 2897"/>
                <a:gd name="T111" fmla="*/ 454 h 2334"/>
                <a:gd name="T112" fmla="*/ 778 w 2897"/>
                <a:gd name="T113" fmla="*/ 490 h 2334"/>
                <a:gd name="T114" fmla="*/ 690 w 2897"/>
                <a:gd name="T115" fmla="*/ 552 h 2334"/>
                <a:gd name="T116" fmla="*/ 582 w 2897"/>
                <a:gd name="T117" fmla="*/ 566 h 2334"/>
                <a:gd name="T118" fmla="*/ 463 w 2897"/>
                <a:gd name="T119" fmla="*/ 530 h 2334"/>
                <a:gd name="T120" fmla="*/ 374 w 2897"/>
                <a:gd name="T121" fmla="*/ 543 h 2334"/>
                <a:gd name="T122" fmla="*/ 224 w 2897"/>
                <a:gd name="T123" fmla="*/ 641 h 2334"/>
                <a:gd name="T124" fmla="*/ 52 w 2897"/>
                <a:gd name="T125" fmla="*/ 705 h 2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97" h="2334">
                  <a:moveTo>
                    <a:pt x="0" y="716"/>
                  </a:moveTo>
                  <a:lnTo>
                    <a:pt x="15" y="729"/>
                  </a:lnTo>
                  <a:lnTo>
                    <a:pt x="30" y="739"/>
                  </a:lnTo>
                  <a:lnTo>
                    <a:pt x="45" y="747"/>
                  </a:lnTo>
                  <a:lnTo>
                    <a:pt x="62" y="755"/>
                  </a:lnTo>
                  <a:lnTo>
                    <a:pt x="77" y="762"/>
                  </a:lnTo>
                  <a:lnTo>
                    <a:pt x="93" y="770"/>
                  </a:lnTo>
                  <a:lnTo>
                    <a:pt x="108" y="780"/>
                  </a:lnTo>
                  <a:lnTo>
                    <a:pt x="124" y="790"/>
                  </a:lnTo>
                  <a:lnTo>
                    <a:pt x="124" y="790"/>
                  </a:lnTo>
                  <a:lnTo>
                    <a:pt x="137" y="787"/>
                  </a:lnTo>
                  <a:lnTo>
                    <a:pt x="150" y="785"/>
                  </a:lnTo>
                  <a:lnTo>
                    <a:pt x="163" y="783"/>
                  </a:lnTo>
                  <a:lnTo>
                    <a:pt x="176" y="782"/>
                  </a:lnTo>
                  <a:lnTo>
                    <a:pt x="190" y="781"/>
                  </a:lnTo>
                  <a:lnTo>
                    <a:pt x="203" y="778"/>
                  </a:lnTo>
                  <a:lnTo>
                    <a:pt x="217" y="773"/>
                  </a:lnTo>
                  <a:lnTo>
                    <a:pt x="231" y="768"/>
                  </a:lnTo>
                  <a:lnTo>
                    <a:pt x="247" y="760"/>
                  </a:lnTo>
                  <a:lnTo>
                    <a:pt x="264" y="755"/>
                  </a:lnTo>
                  <a:lnTo>
                    <a:pt x="278" y="751"/>
                  </a:lnTo>
                  <a:lnTo>
                    <a:pt x="293" y="747"/>
                  </a:lnTo>
                  <a:lnTo>
                    <a:pt x="323" y="744"/>
                  </a:lnTo>
                  <a:lnTo>
                    <a:pt x="358" y="740"/>
                  </a:lnTo>
                  <a:lnTo>
                    <a:pt x="375" y="735"/>
                  </a:lnTo>
                  <a:lnTo>
                    <a:pt x="391" y="729"/>
                  </a:lnTo>
                  <a:lnTo>
                    <a:pt x="399" y="727"/>
                  </a:lnTo>
                  <a:lnTo>
                    <a:pt x="407" y="725"/>
                  </a:lnTo>
                  <a:lnTo>
                    <a:pt x="416" y="724"/>
                  </a:lnTo>
                  <a:lnTo>
                    <a:pt x="424" y="722"/>
                  </a:lnTo>
                  <a:lnTo>
                    <a:pt x="430" y="724"/>
                  </a:lnTo>
                  <a:lnTo>
                    <a:pt x="435" y="726"/>
                  </a:lnTo>
                  <a:lnTo>
                    <a:pt x="439" y="730"/>
                  </a:lnTo>
                  <a:lnTo>
                    <a:pt x="442" y="733"/>
                  </a:lnTo>
                  <a:lnTo>
                    <a:pt x="445" y="738"/>
                  </a:lnTo>
                  <a:lnTo>
                    <a:pt x="449" y="742"/>
                  </a:lnTo>
                  <a:lnTo>
                    <a:pt x="454" y="744"/>
                  </a:lnTo>
                  <a:lnTo>
                    <a:pt x="459" y="745"/>
                  </a:lnTo>
                  <a:lnTo>
                    <a:pt x="478" y="745"/>
                  </a:lnTo>
                  <a:lnTo>
                    <a:pt x="495" y="745"/>
                  </a:lnTo>
                  <a:lnTo>
                    <a:pt x="512" y="745"/>
                  </a:lnTo>
                  <a:lnTo>
                    <a:pt x="530" y="745"/>
                  </a:lnTo>
                  <a:lnTo>
                    <a:pt x="544" y="745"/>
                  </a:lnTo>
                  <a:lnTo>
                    <a:pt x="558" y="744"/>
                  </a:lnTo>
                  <a:lnTo>
                    <a:pt x="571" y="742"/>
                  </a:lnTo>
                  <a:lnTo>
                    <a:pt x="584" y="740"/>
                  </a:lnTo>
                  <a:lnTo>
                    <a:pt x="597" y="735"/>
                  </a:lnTo>
                  <a:lnTo>
                    <a:pt x="609" y="731"/>
                  </a:lnTo>
                  <a:lnTo>
                    <a:pt x="621" y="725"/>
                  </a:lnTo>
                  <a:lnTo>
                    <a:pt x="634" y="718"/>
                  </a:lnTo>
                  <a:lnTo>
                    <a:pt x="634" y="727"/>
                  </a:lnTo>
                  <a:lnTo>
                    <a:pt x="634" y="736"/>
                  </a:lnTo>
                  <a:lnTo>
                    <a:pt x="634" y="747"/>
                  </a:lnTo>
                  <a:lnTo>
                    <a:pt x="634" y="758"/>
                  </a:lnTo>
                  <a:lnTo>
                    <a:pt x="635" y="770"/>
                  </a:lnTo>
                  <a:lnTo>
                    <a:pt x="637" y="780"/>
                  </a:lnTo>
                  <a:lnTo>
                    <a:pt x="641" y="789"/>
                  </a:lnTo>
                  <a:lnTo>
                    <a:pt x="644" y="798"/>
                  </a:lnTo>
                  <a:lnTo>
                    <a:pt x="648" y="807"/>
                  </a:lnTo>
                  <a:lnTo>
                    <a:pt x="651" y="816"/>
                  </a:lnTo>
                  <a:lnTo>
                    <a:pt x="653" y="827"/>
                  </a:lnTo>
                  <a:lnTo>
                    <a:pt x="655" y="838"/>
                  </a:lnTo>
                  <a:lnTo>
                    <a:pt x="655" y="852"/>
                  </a:lnTo>
                  <a:lnTo>
                    <a:pt x="655" y="865"/>
                  </a:lnTo>
                  <a:lnTo>
                    <a:pt x="655" y="878"/>
                  </a:lnTo>
                  <a:lnTo>
                    <a:pt x="655" y="893"/>
                  </a:lnTo>
                  <a:lnTo>
                    <a:pt x="653" y="903"/>
                  </a:lnTo>
                  <a:lnTo>
                    <a:pt x="651" y="911"/>
                  </a:lnTo>
                  <a:lnTo>
                    <a:pt x="648" y="919"/>
                  </a:lnTo>
                  <a:lnTo>
                    <a:pt x="645" y="927"/>
                  </a:lnTo>
                  <a:lnTo>
                    <a:pt x="641" y="934"/>
                  </a:lnTo>
                  <a:lnTo>
                    <a:pt x="637" y="943"/>
                  </a:lnTo>
                  <a:lnTo>
                    <a:pt x="634" y="951"/>
                  </a:lnTo>
                  <a:lnTo>
                    <a:pt x="632" y="961"/>
                  </a:lnTo>
                  <a:lnTo>
                    <a:pt x="632" y="981"/>
                  </a:lnTo>
                  <a:lnTo>
                    <a:pt x="633" y="1001"/>
                  </a:lnTo>
                  <a:lnTo>
                    <a:pt x="632" y="1011"/>
                  </a:lnTo>
                  <a:lnTo>
                    <a:pt x="630" y="1019"/>
                  </a:lnTo>
                  <a:lnTo>
                    <a:pt x="628" y="1024"/>
                  </a:lnTo>
                  <a:lnTo>
                    <a:pt x="625" y="1028"/>
                  </a:lnTo>
                  <a:lnTo>
                    <a:pt x="623" y="1032"/>
                  </a:lnTo>
                  <a:lnTo>
                    <a:pt x="619" y="1037"/>
                  </a:lnTo>
                  <a:lnTo>
                    <a:pt x="620" y="1049"/>
                  </a:lnTo>
                  <a:lnTo>
                    <a:pt x="622" y="1060"/>
                  </a:lnTo>
                  <a:lnTo>
                    <a:pt x="626" y="1072"/>
                  </a:lnTo>
                  <a:lnTo>
                    <a:pt x="631" y="1083"/>
                  </a:lnTo>
                  <a:lnTo>
                    <a:pt x="643" y="1104"/>
                  </a:lnTo>
                  <a:lnTo>
                    <a:pt x="657" y="1123"/>
                  </a:lnTo>
                  <a:lnTo>
                    <a:pt x="671" y="1143"/>
                  </a:lnTo>
                  <a:lnTo>
                    <a:pt x="684" y="1163"/>
                  </a:lnTo>
                  <a:lnTo>
                    <a:pt x="689" y="1174"/>
                  </a:lnTo>
                  <a:lnTo>
                    <a:pt x="693" y="1186"/>
                  </a:lnTo>
                  <a:lnTo>
                    <a:pt x="698" y="1198"/>
                  </a:lnTo>
                  <a:lnTo>
                    <a:pt x="700" y="1211"/>
                  </a:lnTo>
                  <a:lnTo>
                    <a:pt x="697" y="1232"/>
                  </a:lnTo>
                  <a:lnTo>
                    <a:pt x="693" y="1255"/>
                  </a:lnTo>
                  <a:lnTo>
                    <a:pt x="691" y="1278"/>
                  </a:lnTo>
                  <a:lnTo>
                    <a:pt x="688" y="1300"/>
                  </a:lnTo>
                  <a:lnTo>
                    <a:pt x="686" y="1322"/>
                  </a:lnTo>
                  <a:lnTo>
                    <a:pt x="683" y="1345"/>
                  </a:lnTo>
                  <a:lnTo>
                    <a:pt x="679" y="1367"/>
                  </a:lnTo>
                  <a:lnTo>
                    <a:pt x="677" y="1390"/>
                  </a:lnTo>
                  <a:lnTo>
                    <a:pt x="677" y="1408"/>
                  </a:lnTo>
                  <a:lnTo>
                    <a:pt x="679" y="1426"/>
                  </a:lnTo>
                  <a:lnTo>
                    <a:pt x="682" y="1442"/>
                  </a:lnTo>
                  <a:lnTo>
                    <a:pt x="686" y="1458"/>
                  </a:lnTo>
                  <a:lnTo>
                    <a:pt x="691" y="1473"/>
                  </a:lnTo>
                  <a:lnTo>
                    <a:pt x="700" y="1487"/>
                  </a:lnTo>
                  <a:lnTo>
                    <a:pt x="704" y="1494"/>
                  </a:lnTo>
                  <a:lnTo>
                    <a:pt x="710" y="1500"/>
                  </a:lnTo>
                  <a:lnTo>
                    <a:pt x="715" y="1507"/>
                  </a:lnTo>
                  <a:lnTo>
                    <a:pt x="722" y="1513"/>
                  </a:lnTo>
                  <a:lnTo>
                    <a:pt x="736" y="1522"/>
                  </a:lnTo>
                  <a:lnTo>
                    <a:pt x="751" y="1530"/>
                  </a:lnTo>
                  <a:lnTo>
                    <a:pt x="757" y="1535"/>
                  </a:lnTo>
                  <a:lnTo>
                    <a:pt x="763" y="1540"/>
                  </a:lnTo>
                  <a:lnTo>
                    <a:pt x="764" y="1543"/>
                  </a:lnTo>
                  <a:lnTo>
                    <a:pt x="766" y="1546"/>
                  </a:lnTo>
                  <a:lnTo>
                    <a:pt x="767" y="1551"/>
                  </a:lnTo>
                  <a:lnTo>
                    <a:pt x="767" y="1555"/>
                  </a:lnTo>
                  <a:lnTo>
                    <a:pt x="766" y="1568"/>
                  </a:lnTo>
                  <a:lnTo>
                    <a:pt x="765" y="1579"/>
                  </a:lnTo>
                  <a:lnTo>
                    <a:pt x="761" y="1590"/>
                  </a:lnTo>
                  <a:lnTo>
                    <a:pt x="758" y="1600"/>
                  </a:lnTo>
                  <a:lnTo>
                    <a:pt x="755" y="1610"/>
                  </a:lnTo>
                  <a:lnTo>
                    <a:pt x="753" y="1621"/>
                  </a:lnTo>
                  <a:lnTo>
                    <a:pt x="751" y="1633"/>
                  </a:lnTo>
                  <a:lnTo>
                    <a:pt x="750" y="1646"/>
                  </a:lnTo>
                  <a:lnTo>
                    <a:pt x="751" y="1654"/>
                  </a:lnTo>
                  <a:lnTo>
                    <a:pt x="751" y="1663"/>
                  </a:lnTo>
                  <a:lnTo>
                    <a:pt x="758" y="1660"/>
                  </a:lnTo>
                  <a:lnTo>
                    <a:pt x="767" y="1657"/>
                  </a:lnTo>
                  <a:lnTo>
                    <a:pt x="776" y="1654"/>
                  </a:lnTo>
                  <a:lnTo>
                    <a:pt x="784" y="1653"/>
                  </a:lnTo>
                  <a:lnTo>
                    <a:pt x="791" y="1653"/>
                  </a:lnTo>
                  <a:lnTo>
                    <a:pt x="797" y="1654"/>
                  </a:lnTo>
                  <a:lnTo>
                    <a:pt x="804" y="1657"/>
                  </a:lnTo>
                  <a:lnTo>
                    <a:pt x="809" y="1659"/>
                  </a:lnTo>
                  <a:lnTo>
                    <a:pt x="820" y="1665"/>
                  </a:lnTo>
                  <a:lnTo>
                    <a:pt x="828" y="1673"/>
                  </a:lnTo>
                  <a:lnTo>
                    <a:pt x="838" y="1681"/>
                  </a:lnTo>
                  <a:lnTo>
                    <a:pt x="848" y="1690"/>
                  </a:lnTo>
                  <a:lnTo>
                    <a:pt x="859" y="1699"/>
                  </a:lnTo>
                  <a:lnTo>
                    <a:pt x="871" y="1706"/>
                  </a:lnTo>
                  <a:lnTo>
                    <a:pt x="895" y="1721"/>
                  </a:lnTo>
                  <a:lnTo>
                    <a:pt x="917" y="1737"/>
                  </a:lnTo>
                  <a:lnTo>
                    <a:pt x="927" y="1743"/>
                  </a:lnTo>
                  <a:lnTo>
                    <a:pt x="938" y="1751"/>
                  </a:lnTo>
                  <a:lnTo>
                    <a:pt x="949" y="1758"/>
                  </a:lnTo>
                  <a:lnTo>
                    <a:pt x="963" y="1765"/>
                  </a:lnTo>
                  <a:lnTo>
                    <a:pt x="970" y="1769"/>
                  </a:lnTo>
                  <a:lnTo>
                    <a:pt x="976" y="1773"/>
                  </a:lnTo>
                  <a:lnTo>
                    <a:pt x="981" y="1779"/>
                  </a:lnTo>
                  <a:lnTo>
                    <a:pt x="986" y="1784"/>
                  </a:lnTo>
                  <a:lnTo>
                    <a:pt x="993" y="1796"/>
                  </a:lnTo>
                  <a:lnTo>
                    <a:pt x="998" y="1809"/>
                  </a:lnTo>
                  <a:lnTo>
                    <a:pt x="1002" y="1823"/>
                  </a:lnTo>
                  <a:lnTo>
                    <a:pt x="1007" y="1838"/>
                  </a:lnTo>
                  <a:lnTo>
                    <a:pt x="1010" y="1845"/>
                  </a:lnTo>
                  <a:lnTo>
                    <a:pt x="1013" y="1852"/>
                  </a:lnTo>
                  <a:lnTo>
                    <a:pt x="1017" y="1859"/>
                  </a:lnTo>
                  <a:lnTo>
                    <a:pt x="1022" y="1866"/>
                  </a:lnTo>
                  <a:lnTo>
                    <a:pt x="1026" y="1872"/>
                  </a:lnTo>
                  <a:lnTo>
                    <a:pt x="1030" y="1876"/>
                  </a:lnTo>
                  <a:lnTo>
                    <a:pt x="1036" y="1880"/>
                  </a:lnTo>
                  <a:lnTo>
                    <a:pt x="1041" y="1883"/>
                  </a:lnTo>
                  <a:lnTo>
                    <a:pt x="1051" y="1890"/>
                  </a:lnTo>
                  <a:lnTo>
                    <a:pt x="1063" y="1893"/>
                  </a:lnTo>
                  <a:lnTo>
                    <a:pt x="1088" y="1899"/>
                  </a:lnTo>
                  <a:lnTo>
                    <a:pt x="1115" y="1905"/>
                  </a:lnTo>
                  <a:lnTo>
                    <a:pt x="1124" y="1909"/>
                  </a:lnTo>
                  <a:lnTo>
                    <a:pt x="1134" y="1914"/>
                  </a:lnTo>
                  <a:lnTo>
                    <a:pt x="1143" y="1919"/>
                  </a:lnTo>
                  <a:lnTo>
                    <a:pt x="1150" y="1923"/>
                  </a:lnTo>
                  <a:lnTo>
                    <a:pt x="1158" y="1929"/>
                  </a:lnTo>
                  <a:lnTo>
                    <a:pt x="1167" y="1932"/>
                  </a:lnTo>
                  <a:lnTo>
                    <a:pt x="1176" y="1935"/>
                  </a:lnTo>
                  <a:lnTo>
                    <a:pt x="1187" y="1936"/>
                  </a:lnTo>
                  <a:lnTo>
                    <a:pt x="1196" y="1935"/>
                  </a:lnTo>
                  <a:lnTo>
                    <a:pt x="1203" y="1934"/>
                  </a:lnTo>
                  <a:lnTo>
                    <a:pt x="1211" y="1932"/>
                  </a:lnTo>
                  <a:lnTo>
                    <a:pt x="1217" y="1929"/>
                  </a:lnTo>
                  <a:lnTo>
                    <a:pt x="1231" y="1921"/>
                  </a:lnTo>
                  <a:lnTo>
                    <a:pt x="1246" y="1914"/>
                  </a:lnTo>
                  <a:lnTo>
                    <a:pt x="1252" y="1910"/>
                  </a:lnTo>
                  <a:lnTo>
                    <a:pt x="1258" y="1909"/>
                  </a:lnTo>
                  <a:lnTo>
                    <a:pt x="1264" y="1908"/>
                  </a:lnTo>
                  <a:lnTo>
                    <a:pt x="1269" y="1907"/>
                  </a:lnTo>
                  <a:lnTo>
                    <a:pt x="1281" y="1907"/>
                  </a:lnTo>
                  <a:lnTo>
                    <a:pt x="1294" y="1905"/>
                  </a:lnTo>
                  <a:lnTo>
                    <a:pt x="1311" y="1901"/>
                  </a:lnTo>
                  <a:lnTo>
                    <a:pt x="1325" y="1895"/>
                  </a:lnTo>
                  <a:lnTo>
                    <a:pt x="1333" y="1892"/>
                  </a:lnTo>
                  <a:lnTo>
                    <a:pt x="1340" y="1890"/>
                  </a:lnTo>
                  <a:lnTo>
                    <a:pt x="1349" y="1889"/>
                  </a:lnTo>
                  <a:lnTo>
                    <a:pt x="1359" y="1889"/>
                  </a:lnTo>
                  <a:lnTo>
                    <a:pt x="1368" y="1889"/>
                  </a:lnTo>
                  <a:lnTo>
                    <a:pt x="1378" y="1890"/>
                  </a:lnTo>
                  <a:lnTo>
                    <a:pt x="1387" y="1891"/>
                  </a:lnTo>
                  <a:lnTo>
                    <a:pt x="1395" y="1894"/>
                  </a:lnTo>
                  <a:lnTo>
                    <a:pt x="1412" y="1900"/>
                  </a:lnTo>
                  <a:lnTo>
                    <a:pt x="1427" y="1906"/>
                  </a:lnTo>
                  <a:lnTo>
                    <a:pt x="1442" y="1914"/>
                  </a:lnTo>
                  <a:lnTo>
                    <a:pt x="1458" y="1920"/>
                  </a:lnTo>
                  <a:lnTo>
                    <a:pt x="1467" y="1923"/>
                  </a:lnTo>
                  <a:lnTo>
                    <a:pt x="1475" y="1927"/>
                  </a:lnTo>
                  <a:lnTo>
                    <a:pt x="1485" y="1929"/>
                  </a:lnTo>
                  <a:lnTo>
                    <a:pt x="1496" y="1930"/>
                  </a:lnTo>
                  <a:lnTo>
                    <a:pt x="1508" y="1930"/>
                  </a:lnTo>
                  <a:lnTo>
                    <a:pt x="1518" y="1929"/>
                  </a:lnTo>
                  <a:lnTo>
                    <a:pt x="1528" y="1928"/>
                  </a:lnTo>
                  <a:lnTo>
                    <a:pt x="1540" y="1928"/>
                  </a:lnTo>
                  <a:lnTo>
                    <a:pt x="1545" y="1928"/>
                  </a:lnTo>
                  <a:lnTo>
                    <a:pt x="1549" y="1929"/>
                  </a:lnTo>
                  <a:lnTo>
                    <a:pt x="1553" y="1931"/>
                  </a:lnTo>
                  <a:lnTo>
                    <a:pt x="1556" y="1933"/>
                  </a:lnTo>
                  <a:lnTo>
                    <a:pt x="1563" y="1939"/>
                  </a:lnTo>
                  <a:lnTo>
                    <a:pt x="1568" y="1946"/>
                  </a:lnTo>
                  <a:lnTo>
                    <a:pt x="1573" y="1954"/>
                  </a:lnTo>
                  <a:lnTo>
                    <a:pt x="1578" y="1962"/>
                  </a:lnTo>
                  <a:lnTo>
                    <a:pt x="1584" y="1971"/>
                  </a:lnTo>
                  <a:lnTo>
                    <a:pt x="1591" y="1978"/>
                  </a:lnTo>
                  <a:lnTo>
                    <a:pt x="1609" y="1995"/>
                  </a:lnTo>
                  <a:lnTo>
                    <a:pt x="1627" y="2010"/>
                  </a:lnTo>
                  <a:lnTo>
                    <a:pt x="1643" y="2024"/>
                  </a:lnTo>
                  <a:lnTo>
                    <a:pt x="1660" y="2036"/>
                  </a:lnTo>
                  <a:lnTo>
                    <a:pt x="1677" y="2048"/>
                  </a:lnTo>
                  <a:lnTo>
                    <a:pt x="1695" y="2059"/>
                  </a:lnTo>
                  <a:lnTo>
                    <a:pt x="1715" y="2071"/>
                  </a:lnTo>
                  <a:lnTo>
                    <a:pt x="1737" y="2084"/>
                  </a:lnTo>
                  <a:lnTo>
                    <a:pt x="1809" y="2068"/>
                  </a:lnTo>
                  <a:lnTo>
                    <a:pt x="1825" y="2074"/>
                  </a:lnTo>
                  <a:lnTo>
                    <a:pt x="1839" y="2081"/>
                  </a:lnTo>
                  <a:lnTo>
                    <a:pt x="1852" y="2089"/>
                  </a:lnTo>
                  <a:lnTo>
                    <a:pt x="1865" y="2096"/>
                  </a:lnTo>
                  <a:lnTo>
                    <a:pt x="1877" y="2103"/>
                  </a:lnTo>
                  <a:lnTo>
                    <a:pt x="1890" y="2110"/>
                  </a:lnTo>
                  <a:lnTo>
                    <a:pt x="1905" y="2116"/>
                  </a:lnTo>
                  <a:lnTo>
                    <a:pt x="1921" y="2121"/>
                  </a:lnTo>
                  <a:lnTo>
                    <a:pt x="1945" y="2126"/>
                  </a:lnTo>
                  <a:lnTo>
                    <a:pt x="1966" y="2132"/>
                  </a:lnTo>
                  <a:lnTo>
                    <a:pt x="1975" y="2136"/>
                  </a:lnTo>
                  <a:lnTo>
                    <a:pt x="1984" y="2140"/>
                  </a:lnTo>
                  <a:lnTo>
                    <a:pt x="1994" y="2147"/>
                  </a:lnTo>
                  <a:lnTo>
                    <a:pt x="2002" y="2155"/>
                  </a:lnTo>
                  <a:lnTo>
                    <a:pt x="2023" y="2172"/>
                  </a:lnTo>
                  <a:lnTo>
                    <a:pt x="2041" y="2186"/>
                  </a:lnTo>
                  <a:lnTo>
                    <a:pt x="2050" y="2194"/>
                  </a:lnTo>
                  <a:lnTo>
                    <a:pt x="2058" y="2203"/>
                  </a:lnTo>
                  <a:lnTo>
                    <a:pt x="2064" y="2213"/>
                  </a:lnTo>
                  <a:lnTo>
                    <a:pt x="2071" y="2225"/>
                  </a:lnTo>
                  <a:lnTo>
                    <a:pt x="2078" y="2254"/>
                  </a:lnTo>
                  <a:lnTo>
                    <a:pt x="2085" y="2283"/>
                  </a:lnTo>
                  <a:lnTo>
                    <a:pt x="2087" y="2290"/>
                  </a:lnTo>
                  <a:lnTo>
                    <a:pt x="2090" y="2295"/>
                  </a:lnTo>
                  <a:lnTo>
                    <a:pt x="2092" y="2300"/>
                  </a:lnTo>
                  <a:lnTo>
                    <a:pt x="2096" y="2306"/>
                  </a:lnTo>
                  <a:lnTo>
                    <a:pt x="2100" y="2309"/>
                  </a:lnTo>
                  <a:lnTo>
                    <a:pt x="2105" y="2312"/>
                  </a:lnTo>
                  <a:lnTo>
                    <a:pt x="2110" y="2313"/>
                  </a:lnTo>
                  <a:lnTo>
                    <a:pt x="2118" y="2314"/>
                  </a:lnTo>
                  <a:lnTo>
                    <a:pt x="2126" y="2313"/>
                  </a:lnTo>
                  <a:lnTo>
                    <a:pt x="2133" y="2310"/>
                  </a:lnTo>
                  <a:lnTo>
                    <a:pt x="2140" y="2307"/>
                  </a:lnTo>
                  <a:lnTo>
                    <a:pt x="2146" y="2301"/>
                  </a:lnTo>
                  <a:lnTo>
                    <a:pt x="2152" y="2297"/>
                  </a:lnTo>
                  <a:lnTo>
                    <a:pt x="2158" y="2293"/>
                  </a:lnTo>
                  <a:lnTo>
                    <a:pt x="2166" y="2291"/>
                  </a:lnTo>
                  <a:lnTo>
                    <a:pt x="2174" y="2290"/>
                  </a:lnTo>
                  <a:lnTo>
                    <a:pt x="2186" y="2290"/>
                  </a:lnTo>
                  <a:lnTo>
                    <a:pt x="2196" y="2292"/>
                  </a:lnTo>
                  <a:lnTo>
                    <a:pt x="2207" y="2295"/>
                  </a:lnTo>
                  <a:lnTo>
                    <a:pt x="2218" y="2297"/>
                  </a:lnTo>
                  <a:lnTo>
                    <a:pt x="2229" y="2298"/>
                  </a:lnTo>
                  <a:lnTo>
                    <a:pt x="2240" y="2298"/>
                  </a:lnTo>
                  <a:lnTo>
                    <a:pt x="2250" y="2300"/>
                  </a:lnTo>
                  <a:lnTo>
                    <a:pt x="2260" y="2301"/>
                  </a:lnTo>
                  <a:lnTo>
                    <a:pt x="2277" y="2307"/>
                  </a:lnTo>
                  <a:lnTo>
                    <a:pt x="2294" y="2311"/>
                  </a:lnTo>
                  <a:lnTo>
                    <a:pt x="2311" y="2317"/>
                  </a:lnTo>
                  <a:lnTo>
                    <a:pt x="2330" y="2321"/>
                  </a:lnTo>
                  <a:lnTo>
                    <a:pt x="2339" y="2323"/>
                  </a:lnTo>
                  <a:lnTo>
                    <a:pt x="2349" y="2324"/>
                  </a:lnTo>
                  <a:lnTo>
                    <a:pt x="2359" y="2325"/>
                  </a:lnTo>
                  <a:lnTo>
                    <a:pt x="2370" y="2325"/>
                  </a:lnTo>
                  <a:lnTo>
                    <a:pt x="2393" y="2324"/>
                  </a:lnTo>
                  <a:lnTo>
                    <a:pt x="2414" y="2321"/>
                  </a:lnTo>
                  <a:lnTo>
                    <a:pt x="2433" y="2319"/>
                  </a:lnTo>
                  <a:lnTo>
                    <a:pt x="2457" y="2318"/>
                  </a:lnTo>
                  <a:lnTo>
                    <a:pt x="2465" y="2318"/>
                  </a:lnTo>
                  <a:lnTo>
                    <a:pt x="2471" y="2319"/>
                  </a:lnTo>
                  <a:lnTo>
                    <a:pt x="2478" y="2320"/>
                  </a:lnTo>
                  <a:lnTo>
                    <a:pt x="2484" y="2322"/>
                  </a:lnTo>
                  <a:lnTo>
                    <a:pt x="2496" y="2327"/>
                  </a:lnTo>
                  <a:lnTo>
                    <a:pt x="2507" y="2334"/>
                  </a:lnTo>
                  <a:lnTo>
                    <a:pt x="2507" y="2334"/>
                  </a:lnTo>
                  <a:lnTo>
                    <a:pt x="2513" y="2319"/>
                  </a:lnTo>
                  <a:lnTo>
                    <a:pt x="2520" y="2306"/>
                  </a:lnTo>
                  <a:lnTo>
                    <a:pt x="2527" y="2294"/>
                  </a:lnTo>
                  <a:lnTo>
                    <a:pt x="2536" y="2283"/>
                  </a:lnTo>
                  <a:lnTo>
                    <a:pt x="2554" y="2263"/>
                  </a:lnTo>
                  <a:lnTo>
                    <a:pt x="2575" y="2239"/>
                  </a:lnTo>
                  <a:lnTo>
                    <a:pt x="2598" y="2211"/>
                  </a:lnTo>
                  <a:lnTo>
                    <a:pt x="2618" y="2185"/>
                  </a:lnTo>
                  <a:lnTo>
                    <a:pt x="2639" y="2161"/>
                  </a:lnTo>
                  <a:lnTo>
                    <a:pt x="2658" y="2139"/>
                  </a:lnTo>
                  <a:lnTo>
                    <a:pt x="2679" y="2117"/>
                  </a:lnTo>
                  <a:lnTo>
                    <a:pt x="2700" y="2095"/>
                  </a:lnTo>
                  <a:lnTo>
                    <a:pt x="2723" y="2071"/>
                  </a:lnTo>
                  <a:lnTo>
                    <a:pt x="2749" y="2045"/>
                  </a:lnTo>
                  <a:lnTo>
                    <a:pt x="2757" y="2036"/>
                  </a:lnTo>
                  <a:lnTo>
                    <a:pt x="2765" y="2027"/>
                  </a:lnTo>
                  <a:lnTo>
                    <a:pt x="2773" y="2017"/>
                  </a:lnTo>
                  <a:lnTo>
                    <a:pt x="2778" y="2009"/>
                  </a:lnTo>
                  <a:lnTo>
                    <a:pt x="2784" y="1999"/>
                  </a:lnTo>
                  <a:lnTo>
                    <a:pt x="2789" y="1990"/>
                  </a:lnTo>
                  <a:lnTo>
                    <a:pt x="2794" y="1981"/>
                  </a:lnTo>
                  <a:lnTo>
                    <a:pt x="2798" y="1971"/>
                  </a:lnTo>
                  <a:lnTo>
                    <a:pt x="2805" y="1950"/>
                  </a:lnTo>
                  <a:lnTo>
                    <a:pt x="2810" y="1930"/>
                  </a:lnTo>
                  <a:lnTo>
                    <a:pt x="2816" y="1907"/>
                  </a:lnTo>
                  <a:lnTo>
                    <a:pt x="2821" y="1882"/>
                  </a:lnTo>
                  <a:lnTo>
                    <a:pt x="2824" y="1866"/>
                  </a:lnTo>
                  <a:lnTo>
                    <a:pt x="2829" y="1851"/>
                  </a:lnTo>
                  <a:lnTo>
                    <a:pt x="2834" y="1837"/>
                  </a:lnTo>
                  <a:lnTo>
                    <a:pt x="2838" y="1824"/>
                  </a:lnTo>
                  <a:lnTo>
                    <a:pt x="2851" y="1797"/>
                  </a:lnTo>
                  <a:lnTo>
                    <a:pt x="2867" y="1768"/>
                  </a:lnTo>
                  <a:lnTo>
                    <a:pt x="2875" y="1754"/>
                  </a:lnTo>
                  <a:lnTo>
                    <a:pt x="2886" y="1741"/>
                  </a:lnTo>
                  <a:lnTo>
                    <a:pt x="2890" y="1734"/>
                  </a:lnTo>
                  <a:lnTo>
                    <a:pt x="2894" y="1728"/>
                  </a:lnTo>
                  <a:lnTo>
                    <a:pt x="2896" y="1720"/>
                  </a:lnTo>
                  <a:lnTo>
                    <a:pt x="2897" y="1712"/>
                  </a:lnTo>
                  <a:lnTo>
                    <a:pt x="2897" y="1703"/>
                  </a:lnTo>
                  <a:lnTo>
                    <a:pt x="2896" y="1696"/>
                  </a:lnTo>
                  <a:lnTo>
                    <a:pt x="2894" y="1688"/>
                  </a:lnTo>
                  <a:lnTo>
                    <a:pt x="2891" y="1680"/>
                  </a:lnTo>
                  <a:lnTo>
                    <a:pt x="2889" y="1674"/>
                  </a:lnTo>
                  <a:lnTo>
                    <a:pt x="2887" y="1666"/>
                  </a:lnTo>
                  <a:lnTo>
                    <a:pt x="2886" y="1659"/>
                  </a:lnTo>
                  <a:lnTo>
                    <a:pt x="2886" y="1650"/>
                  </a:lnTo>
                  <a:lnTo>
                    <a:pt x="2878" y="1637"/>
                  </a:lnTo>
                  <a:lnTo>
                    <a:pt x="2870" y="1625"/>
                  </a:lnTo>
                  <a:lnTo>
                    <a:pt x="2862" y="1616"/>
                  </a:lnTo>
                  <a:lnTo>
                    <a:pt x="2854" y="1605"/>
                  </a:lnTo>
                  <a:lnTo>
                    <a:pt x="2846" y="1594"/>
                  </a:lnTo>
                  <a:lnTo>
                    <a:pt x="2841" y="1583"/>
                  </a:lnTo>
                  <a:lnTo>
                    <a:pt x="2838" y="1578"/>
                  </a:lnTo>
                  <a:lnTo>
                    <a:pt x="2836" y="1571"/>
                  </a:lnTo>
                  <a:lnTo>
                    <a:pt x="2835" y="1565"/>
                  </a:lnTo>
                  <a:lnTo>
                    <a:pt x="2835" y="1557"/>
                  </a:lnTo>
                  <a:lnTo>
                    <a:pt x="2836" y="1548"/>
                  </a:lnTo>
                  <a:lnTo>
                    <a:pt x="2837" y="1539"/>
                  </a:lnTo>
                  <a:lnTo>
                    <a:pt x="2841" y="1531"/>
                  </a:lnTo>
                  <a:lnTo>
                    <a:pt x="2845" y="1524"/>
                  </a:lnTo>
                  <a:lnTo>
                    <a:pt x="2854" y="1510"/>
                  </a:lnTo>
                  <a:lnTo>
                    <a:pt x="2864" y="1496"/>
                  </a:lnTo>
                  <a:lnTo>
                    <a:pt x="2875" y="1483"/>
                  </a:lnTo>
                  <a:lnTo>
                    <a:pt x="2885" y="1469"/>
                  </a:lnTo>
                  <a:lnTo>
                    <a:pt x="2889" y="1461"/>
                  </a:lnTo>
                  <a:lnTo>
                    <a:pt x="2891" y="1453"/>
                  </a:lnTo>
                  <a:lnTo>
                    <a:pt x="2894" y="1444"/>
                  </a:lnTo>
                  <a:lnTo>
                    <a:pt x="2895" y="1434"/>
                  </a:lnTo>
                  <a:lnTo>
                    <a:pt x="2894" y="1422"/>
                  </a:lnTo>
                  <a:lnTo>
                    <a:pt x="2891" y="1410"/>
                  </a:lnTo>
                  <a:lnTo>
                    <a:pt x="2888" y="1400"/>
                  </a:lnTo>
                  <a:lnTo>
                    <a:pt x="2884" y="1389"/>
                  </a:lnTo>
                  <a:lnTo>
                    <a:pt x="2878" y="1379"/>
                  </a:lnTo>
                  <a:lnTo>
                    <a:pt x="2873" y="1370"/>
                  </a:lnTo>
                  <a:lnTo>
                    <a:pt x="2865" y="1362"/>
                  </a:lnTo>
                  <a:lnTo>
                    <a:pt x="2858" y="1354"/>
                  </a:lnTo>
                  <a:lnTo>
                    <a:pt x="2849" y="1347"/>
                  </a:lnTo>
                  <a:lnTo>
                    <a:pt x="2840" y="1340"/>
                  </a:lnTo>
                  <a:lnTo>
                    <a:pt x="2830" y="1334"/>
                  </a:lnTo>
                  <a:lnTo>
                    <a:pt x="2819" y="1327"/>
                  </a:lnTo>
                  <a:lnTo>
                    <a:pt x="2797" y="1316"/>
                  </a:lnTo>
                  <a:lnTo>
                    <a:pt x="2774" y="1306"/>
                  </a:lnTo>
                  <a:lnTo>
                    <a:pt x="2742" y="1291"/>
                  </a:lnTo>
                  <a:lnTo>
                    <a:pt x="2714" y="1275"/>
                  </a:lnTo>
                  <a:lnTo>
                    <a:pt x="2700" y="1270"/>
                  </a:lnTo>
                  <a:lnTo>
                    <a:pt x="2686" y="1265"/>
                  </a:lnTo>
                  <a:lnTo>
                    <a:pt x="2679" y="1264"/>
                  </a:lnTo>
                  <a:lnTo>
                    <a:pt x="2670" y="1261"/>
                  </a:lnTo>
                  <a:lnTo>
                    <a:pt x="2661" y="1261"/>
                  </a:lnTo>
                  <a:lnTo>
                    <a:pt x="2653" y="1260"/>
                  </a:lnTo>
                  <a:lnTo>
                    <a:pt x="2638" y="1260"/>
                  </a:lnTo>
                  <a:lnTo>
                    <a:pt x="2624" y="1260"/>
                  </a:lnTo>
                  <a:lnTo>
                    <a:pt x="2611" y="1260"/>
                  </a:lnTo>
                  <a:lnTo>
                    <a:pt x="2595" y="1260"/>
                  </a:lnTo>
                  <a:lnTo>
                    <a:pt x="2571" y="1260"/>
                  </a:lnTo>
                  <a:lnTo>
                    <a:pt x="2549" y="1258"/>
                  </a:lnTo>
                  <a:lnTo>
                    <a:pt x="2538" y="1256"/>
                  </a:lnTo>
                  <a:lnTo>
                    <a:pt x="2528" y="1254"/>
                  </a:lnTo>
                  <a:lnTo>
                    <a:pt x="2518" y="1251"/>
                  </a:lnTo>
                  <a:lnTo>
                    <a:pt x="2508" y="1247"/>
                  </a:lnTo>
                  <a:lnTo>
                    <a:pt x="2498" y="1244"/>
                  </a:lnTo>
                  <a:lnTo>
                    <a:pt x="2490" y="1240"/>
                  </a:lnTo>
                  <a:lnTo>
                    <a:pt x="2481" y="1234"/>
                  </a:lnTo>
                  <a:lnTo>
                    <a:pt x="2471" y="1229"/>
                  </a:lnTo>
                  <a:lnTo>
                    <a:pt x="2463" y="1222"/>
                  </a:lnTo>
                  <a:lnTo>
                    <a:pt x="2454" y="1215"/>
                  </a:lnTo>
                  <a:lnTo>
                    <a:pt x="2445" y="1207"/>
                  </a:lnTo>
                  <a:lnTo>
                    <a:pt x="2438" y="1199"/>
                  </a:lnTo>
                  <a:lnTo>
                    <a:pt x="2423" y="1181"/>
                  </a:lnTo>
                  <a:lnTo>
                    <a:pt x="2410" y="1164"/>
                  </a:lnTo>
                  <a:lnTo>
                    <a:pt x="2400" y="1147"/>
                  </a:lnTo>
                  <a:lnTo>
                    <a:pt x="2391" y="1130"/>
                  </a:lnTo>
                  <a:lnTo>
                    <a:pt x="2376" y="1092"/>
                  </a:lnTo>
                  <a:lnTo>
                    <a:pt x="2359" y="1051"/>
                  </a:lnTo>
                  <a:lnTo>
                    <a:pt x="2341" y="1006"/>
                  </a:lnTo>
                  <a:lnTo>
                    <a:pt x="2323" y="967"/>
                  </a:lnTo>
                  <a:lnTo>
                    <a:pt x="2309" y="929"/>
                  </a:lnTo>
                  <a:lnTo>
                    <a:pt x="2297" y="892"/>
                  </a:lnTo>
                  <a:lnTo>
                    <a:pt x="2292" y="873"/>
                  </a:lnTo>
                  <a:lnTo>
                    <a:pt x="2288" y="854"/>
                  </a:lnTo>
                  <a:lnTo>
                    <a:pt x="2283" y="835"/>
                  </a:lnTo>
                  <a:lnTo>
                    <a:pt x="2280" y="814"/>
                  </a:lnTo>
                  <a:lnTo>
                    <a:pt x="2278" y="794"/>
                  </a:lnTo>
                  <a:lnTo>
                    <a:pt x="2276" y="772"/>
                  </a:lnTo>
                  <a:lnTo>
                    <a:pt x="2275" y="749"/>
                  </a:lnTo>
                  <a:lnTo>
                    <a:pt x="2275" y="726"/>
                  </a:lnTo>
                  <a:lnTo>
                    <a:pt x="2275" y="692"/>
                  </a:lnTo>
                  <a:lnTo>
                    <a:pt x="2275" y="663"/>
                  </a:lnTo>
                  <a:lnTo>
                    <a:pt x="2274" y="635"/>
                  </a:lnTo>
                  <a:lnTo>
                    <a:pt x="2274" y="608"/>
                  </a:lnTo>
                  <a:lnTo>
                    <a:pt x="2273" y="581"/>
                  </a:lnTo>
                  <a:lnTo>
                    <a:pt x="2273" y="553"/>
                  </a:lnTo>
                  <a:lnTo>
                    <a:pt x="2274" y="523"/>
                  </a:lnTo>
                  <a:lnTo>
                    <a:pt x="2275" y="490"/>
                  </a:lnTo>
                  <a:lnTo>
                    <a:pt x="2258" y="464"/>
                  </a:lnTo>
                  <a:lnTo>
                    <a:pt x="2242" y="442"/>
                  </a:lnTo>
                  <a:lnTo>
                    <a:pt x="2225" y="421"/>
                  </a:lnTo>
                  <a:lnTo>
                    <a:pt x="2208" y="402"/>
                  </a:lnTo>
                  <a:lnTo>
                    <a:pt x="2189" y="383"/>
                  </a:lnTo>
                  <a:lnTo>
                    <a:pt x="2171" y="364"/>
                  </a:lnTo>
                  <a:lnTo>
                    <a:pt x="2152" y="344"/>
                  </a:lnTo>
                  <a:lnTo>
                    <a:pt x="2130" y="322"/>
                  </a:lnTo>
                  <a:lnTo>
                    <a:pt x="2130" y="322"/>
                  </a:lnTo>
                  <a:lnTo>
                    <a:pt x="2117" y="322"/>
                  </a:lnTo>
                  <a:lnTo>
                    <a:pt x="2104" y="322"/>
                  </a:lnTo>
                  <a:lnTo>
                    <a:pt x="2091" y="322"/>
                  </a:lnTo>
                  <a:lnTo>
                    <a:pt x="2078" y="322"/>
                  </a:lnTo>
                  <a:lnTo>
                    <a:pt x="2047" y="322"/>
                  </a:lnTo>
                  <a:lnTo>
                    <a:pt x="2020" y="322"/>
                  </a:lnTo>
                  <a:lnTo>
                    <a:pt x="1992" y="322"/>
                  </a:lnTo>
                  <a:lnTo>
                    <a:pt x="1960" y="322"/>
                  </a:lnTo>
                  <a:lnTo>
                    <a:pt x="1774" y="2"/>
                  </a:lnTo>
                  <a:lnTo>
                    <a:pt x="1372" y="0"/>
                  </a:lnTo>
                  <a:lnTo>
                    <a:pt x="1361" y="9"/>
                  </a:lnTo>
                  <a:lnTo>
                    <a:pt x="1351" y="18"/>
                  </a:lnTo>
                  <a:lnTo>
                    <a:pt x="1343" y="28"/>
                  </a:lnTo>
                  <a:lnTo>
                    <a:pt x="1334" y="38"/>
                  </a:lnTo>
                  <a:lnTo>
                    <a:pt x="1319" y="57"/>
                  </a:lnTo>
                  <a:lnTo>
                    <a:pt x="1303" y="81"/>
                  </a:lnTo>
                  <a:lnTo>
                    <a:pt x="1293" y="93"/>
                  </a:lnTo>
                  <a:lnTo>
                    <a:pt x="1283" y="104"/>
                  </a:lnTo>
                  <a:lnTo>
                    <a:pt x="1278" y="109"/>
                  </a:lnTo>
                  <a:lnTo>
                    <a:pt x="1271" y="112"/>
                  </a:lnTo>
                  <a:lnTo>
                    <a:pt x="1265" y="113"/>
                  </a:lnTo>
                  <a:lnTo>
                    <a:pt x="1257" y="114"/>
                  </a:lnTo>
                  <a:lnTo>
                    <a:pt x="1245" y="114"/>
                  </a:lnTo>
                  <a:lnTo>
                    <a:pt x="1233" y="115"/>
                  </a:lnTo>
                  <a:lnTo>
                    <a:pt x="1221" y="118"/>
                  </a:lnTo>
                  <a:lnTo>
                    <a:pt x="1210" y="120"/>
                  </a:lnTo>
                  <a:lnTo>
                    <a:pt x="1198" y="124"/>
                  </a:lnTo>
                  <a:lnTo>
                    <a:pt x="1187" y="128"/>
                  </a:lnTo>
                  <a:lnTo>
                    <a:pt x="1176" y="134"/>
                  </a:lnTo>
                  <a:lnTo>
                    <a:pt x="1167" y="140"/>
                  </a:lnTo>
                  <a:lnTo>
                    <a:pt x="1158" y="147"/>
                  </a:lnTo>
                  <a:lnTo>
                    <a:pt x="1150" y="155"/>
                  </a:lnTo>
                  <a:lnTo>
                    <a:pt x="1143" y="164"/>
                  </a:lnTo>
                  <a:lnTo>
                    <a:pt x="1137" y="173"/>
                  </a:lnTo>
                  <a:lnTo>
                    <a:pt x="1132" y="182"/>
                  </a:lnTo>
                  <a:lnTo>
                    <a:pt x="1129" y="193"/>
                  </a:lnTo>
                  <a:lnTo>
                    <a:pt x="1127" y="205"/>
                  </a:lnTo>
                  <a:lnTo>
                    <a:pt x="1125" y="217"/>
                  </a:lnTo>
                  <a:lnTo>
                    <a:pt x="1127" y="229"/>
                  </a:lnTo>
                  <a:lnTo>
                    <a:pt x="1130" y="240"/>
                  </a:lnTo>
                  <a:lnTo>
                    <a:pt x="1133" y="250"/>
                  </a:lnTo>
                  <a:lnTo>
                    <a:pt x="1134" y="262"/>
                  </a:lnTo>
                  <a:lnTo>
                    <a:pt x="1133" y="273"/>
                  </a:lnTo>
                  <a:lnTo>
                    <a:pt x="1132" y="284"/>
                  </a:lnTo>
                  <a:lnTo>
                    <a:pt x="1130" y="293"/>
                  </a:lnTo>
                  <a:lnTo>
                    <a:pt x="1127" y="301"/>
                  </a:lnTo>
                  <a:lnTo>
                    <a:pt x="1122" y="310"/>
                  </a:lnTo>
                  <a:lnTo>
                    <a:pt x="1118" y="317"/>
                  </a:lnTo>
                  <a:lnTo>
                    <a:pt x="1113" y="325"/>
                  </a:lnTo>
                  <a:lnTo>
                    <a:pt x="1106" y="333"/>
                  </a:lnTo>
                  <a:lnTo>
                    <a:pt x="1098" y="339"/>
                  </a:lnTo>
                  <a:lnTo>
                    <a:pt x="1092" y="346"/>
                  </a:lnTo>
                  <a:lnTo>
                    <a:pt x="1083" y="351"/>
                  </a:lnTo>
                  <a:lnTo>
                    <a:pt x="1076" y="356"/>
                  </a:lnTo>
                  <a:lnTo>
                    <a:pt x="1057" y="367"/>
                  </a:lnTo>
                  <a:lnTo>
                    <a:pt x="1039" y="378"/>
                  </a:lnTo>
                  <a:lnTo>
                    <a:pt x="1004" y="395"/>
                  </a:lnTo>
                  <a:lnTo>
                    <a:pt x="973" y="410"/>
                  </a:lnTo>
                  <a:lnTo>
                    <a:pt x="943" y="424"/>
                  </a:lnTo>
                  <a:lnTo>
                    <a:pt x="907" y="439"/>
                  </a:lnTo>
                  <a:lnTo>
                    <a:pt x="898" y="443"/>
                  </a:lnTo>
                  <a:lnTo>
                    <a:pt x="889" y="446"/>
                  </a:lnTo>
                  <a:lnTo>
                    <a:pt x="879" y="448"/>
                  </a:lnTo>
                  <a:lnTo>
                    <a:pt x="871" y="450"/>
                  </a:lnTo>
                  <a:lnTo>
                    <a:pt x="852" y="454"/>
                  </a:lnTo>
                  <a:lnTo>
                    <a:pt x="835" y="457"/>
                  </a:lnTo>
                  <a:lnTo>
                    <a:pt x="827" y="458"/>
                  </a:lnTo>
                  <a:lnTo>
                    <a:pt x="819" y="460"/>
                  </a:lnTo>
                  <a:lnTo>
                    <a:pt x="811" y="463"/>
                  </a:lnTo>
                  <a:lnTo>
                    <a:pt x="805" y="466"/>
                  </a:lnTo>
                  <a:lnTo>
                    <a:pt x="797" y="471"/>
                  </a:lnTo>
                  <a:lnTo>
                    <a:pt x="791" y="476"/>
                  </a:lnTo>
                  <a:lnTo>
                    <a:pt x="784" y="483"/>
                  </a:lnTo>
                  <a:lnTo>
                    <a:pt x="778" y="490"/>
                  </a:lnTo>
                  <a:lnTo>
                    <a:pt x="776" y="502"/>
                  </a:lnTo>
                  <a:lnTo>
                    <a:pt x="772" y="515"/>
                  </a:lnTo>
                  <a:lnTo>
                    <a:pt x="766" y="523"/>
                  </a:lnTo>
                  <a:lnTo>
                    <a:pt x="758" y="528"/>
                  </a:lnTo>
                  <a:lnTo>
                    <a:pt x="751" y="532"/>
                  </a:lnTo>
                  <a:lnTo>
                    <a:pt x="743" y="536"/>
                  </a:lnTo>
                  <a:lnTo>
                    <a:pt x="725" y="541"/>
                  </a:lnTo>
                  <a:lnTo>
                    <a:pt x="705" y="546"/>
                  </a:lnTo>
                  <a:lnTo>
                    <a:pt x="690" y="552"/>
                  </a:lnTo>
                  <a:lnTo>
                    <a:pt x="677" y="558"/>
                  </a:lnTo>
                  <a:lnTo>
                    <a:pt x="671" y="562"/>
                  </a:lnTo>
                  <a:lnTo>
                    <a:pt x="664" y="564"/>
                  </a:lnTo>
                  <a:lnTo>
                    <a:pt x="657" y="565"/>
                  </a:lnTo>
                  <a:lnTo>
                    <a:pt x="648" y="566"/>
                  </a:lnTo>
                  <a:lnTo>
                    <a:pt x="631" y="566"/>
                  </a:lnTo>
                  <a:lnTo>
                    <a:pt x="616" y="566"/>
                  </a:lnTo>
                  <a:lnTo>
                    <a:pt x="601" y="566"/>
                  </a:lnTo>
                  <a:lnTo>
                    <a:pt x="582" y="566"/>
                  </a:lnTo>
                  <a:lnTo>
                    <a:pt x="578" y="565"/>
                  </a:lnTo>
                  <a:lnTo>
                    <a:pt x="574" y="564"/>
                  </a:lnTo>
                  <a:lnTo>
                    <a:pt x="569" y="563"/>
                  </a:lnTo>
                  <a:lnTo>
                    <a:pt x="565" y="560"/>
                  </a:lnTo>
                  <a:lnTo>
                    <a:pt x="557" y="555"/>
                  </a:lnTo>
                  <a:lnTo>
                    <a:pt x="549" y="552"/>
                  </a:lnTo>
                  <a:lnTo>
                    <a:pt x="512" y="541"/>
                  </a:lnTo>
                  <a:lnTo>
                    <a:pt x="480" y="532"/>
                  </a:lnTo>
                  <a:lnTo>
                    <a:pt x="463" y="530"/>
                  </a:lnTo>
                  <a:lnTo>
                    <a:pt x="446" y="528"/>
                  </a:lnTo>
                  <a:lnTo>
                    <a:pt x="428" y="527"/>
                  </a:lnTo>
                  <a:lnTo>
                    <a:pt x="408" y="526"/>
                  </a:lnTo>
                  <a:lnTo>
                    <a:pt x="403" y="527"/>
                  </a:lnTo>
                  <a:lnTo>
                    <a:pt x="397" y="528"/>
                  </a:lnTo>
                  <a:lnTo>
                    <a:pt x="393" y="529"/>
                  </a:lnTo>
                  <a:lnTo>
                    <a:pt x="389" y="531"/>
                  </a:lnTo>
                  <a:lnTo>
                    <a:pt x="381" y="537"/>
                  </a:lnTo>
                  <a:lnTo>
                    <a:pt x="374" y="543"/>
                  </a:lnTo>
                  <a:lnTo>
                    <a:pt x="367" y="550"/>
                  </a:lnTo>
                  <a:lnTo>
                    <a:pt x="361" y="557"/>
                  </a:lnTo>
                  <a:lnTo>
                    <a:pt x="353" y="565"/>
                  </a:lnTo>
                  <a:lnTo>
                    <a:pt x="343" y="571"/>
                  </a:lnTo>
                  <a:lnTo>
                    <a:pt x="307" y="593"/>
                  </a:lnTo>
                  <a:lnTo>
                    <a:pt x="273" y="610"/>
                  </a:lnTo>
                  <a:lnTo>
                    <a:pt x="257" y="620"/>
                  </a:lnTo>
                  <a:lnTo>
                    <a:pt x="240" y="630"/>
                  </a:lnTo>
                  <a:lnTo>
                    <a:pt x="224" y="641"/>
                  </a:lnTo>
                  <a:lnTo>
                    <a:pt x="206" y="655"/>
                  </a:lnTo>
                  <a:lnTo>
                    <a:pt x="194" y="664"/>
                  </a:lnTo>
                  <a:lnTo>
                    <a:pt x="183" y="671"/>
                  </a:lnTo>
                  <a:lnTo>
                    <a:pt x="171" y="676"/>
                  </a:lnTo>
                  <a:lnTo>
                    <a:pt x="158" y="680"/>
                  </a:lnTo>
                  <a:lnTo>
                    <a:pt x="132" y="686"/>
                  </a:lnTo>
                  <a:lnTo>
                    <a:pt x="103" y="692"/>
                  </a:lnTo>
                  <a:lnTo>
                    <a:pt x="76" y="699"/>
                  </a:lnTo>
                  <a:lnTo>
                    <a:pt x="52" y="705"/>
                  </a:lnTo>
                  <a:lnTo>
                    <a:pt x="28" y="712"/>
                  </a:lnTo>
                  <a:lnTo>
                    <a:pt x="0" y="716"/>
                  </a:lnTo>
                  <a:lnTo>
                    <a:pt x="0" y="716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43">
              <a:extLst>
                <a:ext uri="{FF2B5EF4-FFF2-40B4-BE49-F238E27FC236}">
                  <a16:creationId xmlns:a16="http://schemas.microsoft.com/office/drawing/2014/main" id="{4E88DF2C-109C-4F1A-B2C0-7202F46FE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45313" y="642938"/>
              <a:ext cx="2889250" cy="1965325"/>
            </a:xfrm>
            <a:custGeom>
              <a:avLst/>
              <a:gdLst>
                <a:gd name="T0" fmla="*/ 6608 w 7279"/>
                <a:gd name="T1" fmla="*/ 4289 h 4954"/>
                <a:gd name="T2" fmla="*/ 6547 w 7279"/>
                <a:gd name="T3" fmla="*/ 4450 h 4954"/>
                <a:gd name="T4" fmla="*/ 4802 w 7279"/>
                <a:gd name="T5" fmla="*/ 4560 h 4954"/>
                <a:gd name="T6" fmla="*/ 4031 w 7279"/>
                <a:gd name="T7" fmla="*/ 4356 h 4954"/>
                <a:gd name="T8" fmla="*/ 3943 w 7279"/>
                <a:gd name="T9" fmla="*/ 4511 h 4954"/>
                <a:gd name="T10" fmla="*/ 3708 w 7279"/>
                <a:gd name="T11" fmla="*/ 4681 h 4954"/>
                <a:gd name="T12" fmla="*/ 3561 w 7279"/>
                <a:gd name="T13" fmla="*/ 4770 h 4954"/>
                <a:gd name="T14" fmla="*/ 3367 w 7279"/>
                <a:gd name="T15" fmla="*/ 4793 h 4954"/>
                <a:gd name="T16" fmla="*/ 3117 w 7279"/>
                <a:gd name="T17" fmla="*/ 4831 h 4954"/>
                <a:gd name="T18" fmla="*/ 0 w 7279"/>
                <a:gd name="T19" fmla="*/ 3905 h 4954"/>
                <a:gd name="T20" fmla="*/ 85 w 7279"/>
                <a:gd name="T21" fmla="*/ 3743 h 4954"/>
                <a:gd name="T22" fmla="*/ 239 w 7279"/>
                <a:gd name="T23" fmla="*/ 3617 h 4954"/>
                <a:gd name="T24" fmla="*/ 194 w 7279"/>
                <a:gd name="T25" fmla="*/ 3389 h 4954"/>
                <a:gd name="T26" fmla="*/ 316 w 7279"/>
                <a:gd name="T27" fmla="*/ 3144 h 4954"/>
                <a:gd name="T28" fmla="*/ 473 w 7279"/>
                <a:gd name="T29" fmla="*/ 3006 h 4954"/>
                <a:gd name="T30" fmla="*/ 603 w 7279"/>
                <a:gd name="T31" fmla="*/ 2897 h 4954"/>
                <a:gd name="T32" fmla="*/ 731 w 7279"/>
                <a:gd name="T33" fmla="*/ 2857 h 4954"/>
                <a:gd name="T34" fmla="*/ 1042 w 7279"/>
                <a:gd name="T35" fmla="*/ 2743 h 4954"/>
                <a:gd name="T36" fmla="*/ 1223 w 7279"/>
                <a:gd name="T37" fmla="*/ 2601 h 4954"/>
                <a:gd name="T38" fmla="*/ 1455 w 7279"/>
                <a:gd name="T39" fmla="*/ 2650 h 4954"/>
                <a:gd name="T40" fmla="*/ 1625 w 7279"/>
                <a:gd name="T41" fmla="*/ 2218 h 4954"/>
                <a:gd name="T42" fmla="*/ 1765 w 7279"/>
                <a:gd name="T43" fmla="*/ 1548 h 4954"/>
                <a:gd name="T44" fmla="*/ 1729 w 7279"/>
                <a:gd name="T45" fmla="*/ 1352 h 4954"/>
                <a:gd name="T46" fmla="*/ 1636 w 7279"/>
                <a:gd name="T47" fmla="*/ 1227 h 4954"/>
                <a:gd name="T48" fmla="*/ 1574 w 7279"/>
                <a:gd name="T49" fmla="*/ 1043 h 4954"/>
                <a:gd name="T50" fmla="*/ 1445 w 7279"/>
                <a:gd name="T51" fmla="*/ 854 h 4954"/>
                <a:gd name="T52" fmla="*/ 1621 w 7279"/>
                <a:gd name="T53" fmla="*/ 680 h 4954"/>
                <a:gd name="T54" fmla="*/ 1826 w 7279"/>
                <a:gd name="T55" fmla="*/ 657 h 4954"/>
                <a:gd name="T56" fmla="*/ 1789 w 7279"/>
                <a:gd name="T57" fmla="*/ 459 h 4954"/>
                <a:gd name="T58" fmla="*/ 1600 w 7279"/>
                <a:gd name="T59" fmla="*/ 276 h 4954"/>
                <a:gd name="T60" fmla="*/ 1833 w 7279"/>
                <a:gd name="T61" fmla="*/ 90 h 4954"/>
                <a:gd name="T62" fmla="*/ 2184 w 7279"/>
                <a:gd name="T63" fmla="*/ 143 h 4954"/>
                <a:gd name="T64" fmla="*/ 2270 w 7279"/>
                <a:gd name="T65" fmla="*/ 24 h 4954"/>
                <a:gd name="T66" fmla="*/ 2407 w 7279"/>
                <a:gd name="T67" fmla="*/ 80 h 4954"/>
                <a:gd name="T68" fmla="*/ 2530 w 7279"/>
                <a:gd name="T69" fmla="*/ 6 h 4954"/>
                <a:gd name="T70" fmla="*/ 2683 w 7279"/>
                <a:gd name="T71" fmla="*/ 208 h 4954"/>
                <a:gd name="T72" fmla="*/ 2840 w 7279"/>
                <a:gd name="T73" fmla="*/ 338 h 4954"/>
                <a:gd name="T74" fmla="*/ 3166 w 7279"/>
                <a:gd name="T75" fmla="*/ 509 h 4954"/>
                <a:gd name="T76" fmla="*/ 3499 w 7279"/>
                <a:gd name="T77" fmla="*/ 363 h 4954"/>
                <a:gd name="T78" fmla="*/ 3792 w 7279"/>
                <a:gd name="T79" fmla="*/ 240 h 4954"/>
                <a:gd name="T80" fmla="*/ 4182 w 7279"/>
                <a:gd name="T81" fmla="*/ 3 h 4954"/>
                <a:gd name="T82" fmla="*/ 4367 w 7279"/>
                <a:gd name="T83" fmla="*/ 147 h 4954"/>
                <a:gd name="T84" fmla="*/ 4540 w 7279"/>
                <a:gd name="T85" fmla="*/ 395 h 4954"/>
                <a:gd name="T86" fmla="*/ 4653 w 7279"/>
                <a:gd name="T87" fmla="*/ 667 h 4954"/>
                <a:gd name="T88" fmla="*/ 4757 w 7279"/>
                <a:gd name="T89" fmla="*/ 959 h 4954"/>
                <a:gd name="T90" fmla="*/ 4824 w 7279"/>
                <a:gd name="T91" fmla="*/ 1261 h 4954"/>
                <a:gd name="T92" fmla="*/ 4885 w 7279"/>
                <a:gd name="T93" fmla="*/ 1434 h 4954"/>
                <a:gd name="T94" fmla="*/ 5061 w 7279"/>
                <a:gd name="T95" fmla="*/ 1432 h 4954"/>
                <a:gd name="T96" fmla="*/ 5172 w 7279"/>
                <a:gd name="T97" fmla="*/ 1174 h 4954"/>
                <a:gd name="T98" fmla="*/ 5342 w 7279"/>
                <a:gd name="T99" fmla="*/ 1166 h 4954"/>
                <a:gd name="T100" fmla="*/ 5519 w 7279"/>
                <a:gd name="T101" fmla="*/ 1198 h 4954"/>
                <a:gd name="T102" fmla="*/ 5578 w 7279"/>
                <a:gd name="T103" fmla="*/ 1056 h 4954"/>
                <a:gd name="T104" fmla="*/ 5864 w 7279"/>
                <a:gd name="T105" fmla="*/ 855 h 4954"/>
                <a:gd name="T106" fmla="*/ 6063 w 7279"/>
                <a:gd name="T107" fmla="*/ 1003 h 4954"/>
                <a:gd name="T108" fmla="*/ 6181 w 7279"/>
                <a:gd name="T109" fmla="*/ 1202 h 4954"/>
                <a:gd name="T110" fmla="*/ 6334 w 7279"/>
                <a:gd name="T111" fmla="*/ 1334 h 4954"/>
                <a:gd name="T112" fmla="*/ 6449 w 7279"/>
                <a:gd name="T113" fmla="*/ 1517 h 4954"/>
                <a:gd name="T114" fmla="*/ 6629 w 7279"/>
                <a:gd name="T115" fmla="*/ 1614 h 4954"/>
                <a:gd name="T116" fmla="*/ 6910 w 7279"/>
                <a:gd name="T117" fmla="*/ 1663 h 4954"/>
                <a:gd name="T118" fmla="*/ 7109 w 7279"/>
                <a:gd name="T119" fmla="*/ 1783 h 4954"/>
                <a:gd name="T120" fmla="*/ 6779 w 7279"/>
                <a:gd name="T121" fmla="*/ 3667 h 4954"/>
                <a:gd name="T122" fmla="*/ 6681 w 7279"/>
                <a:gd name="T123" fmla="*/ 3861 h 4954"/>
                <a:gd name="T124" fmla="*/ 6689 w 7279"/>
                <a:gd name="T125" fmla="*/ 3995 h 4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79" h="4954">
                  <a:moveTo>
                    <a:pt x="6696" y="4036"/>
                  </a:moveTo>
                  <a:lnTo>
                    <a:pt x="6676" y="4064"/>
                  </a:lnTo>
                  <a:lnTo>
                    <a:pt x="6658" y="4092"/>
                  </a:lnTo>
                  <a:lnTo>
                    <a:pt x="6650" y="4105"/>
                  </a:lnTo>
                  <a:lnTo>
                    <a:pt x="6642" y="4118"/>
                  </a:lnTo>
                  <a:lnTo>
                    <a:pt x="6636" y="4132"/>
                  </a:lnTo>
                  <a:lnTo>
                    <a:pt x="6629" y="4145"/>
                  </a:lnTo>
                  <a:lnTo>
                    <a:pt x="6623" y="4159"/>
                  </a:lnTo>
                  <a:lnTo>
                    <a:pt x="6618" y="4173"/>
                  </a:lnTo>
                  <a:lnTo>
                    <a:pt x="6614" y="4187"/>
                  </a:lnTo>
                  <a:lnTo>
                    <a:pt x="6611" y="4202"/>
                  </a:lnTo>
                  <a:lnTo>
                    <a:pt x="6608" y="4217"/>
                  </a:lnTo>
                  <a:lnTo>
                    <a:pt x="6605" y="4234"/>
                  </a:lnTo>
                  <a:lnTo>
                    <a:pt x="6604" y="4251"/>
                  </a:lnTo>
                  <a:lnTo>
                    <a:pt x="6604" y="4268"/>
                  </a:lnTo>
                  <a:lnTo>
                    <a:pt x="6604" y="4276"/>
                  </a:lnTo>
                  <a:lnTo>
                    <a:pt x="6605" y="4282"/>
                  </a:lnTo>
                  <a:lnTo>
                    <a:pt x="6608" y="4289"/>
                  </a:lnTo>
                  <a:lnTo>
                    <a:pt x="6610" y="4294"/>
                  </a:lnTo>
                  <a:lnTo>
                    <a:pt x="6612" y="4301"/>
                  </a:lnTo>
                  <a:lnTo>
                    <a:pt x="6613" y="4306"/>
                  </a:lnTo>
                  <a:lnTo>
                    <a:pt x="6614" y="4312"/>
                  </a:lnTo>
                  <a:lnTo>
                    <a:pt x="6615" y="4320"/>
                  </a:lnTo>
                  <a:lnTo>
                    <a:pt x="6615" y="4325"/>
                  </a:lnTo>
                  <a:lnTo>
                    <a:pt x="6614" y="4331"/>
                  </a:lnTo>
                  <a:lnTo>
                    <a:pt x="6612" y="4335"/>
                  </a:lnTo>
                  <a:lnTo>
                    <a:pt x="6611" y="4339"/>
                  </a:lnTo>
                  <a:lnTo>
                    <a:pt x="6605" y="4347"/>
                  </a:lnTo>
                  <a:lnTo>
                    <a:pt x="6600" y="4353"/>
                  </a:lnTo>
                  <a:lnTo>
                    <a:pt x="6594" y="4361"/>
                  </a:lnTo>
                  <a:lnTo>
                    <a:pt x="6587" y="4369"/>
                  </a:lnTo>
                  <a:lnTo>
                    <a:pt x="6581" y="4376"/>
                  </a:lnTo>
                  <a:lnTo>
                    <a:pt x="6576" y="4386"/>
                  </a:lnTo>
                  <a:lnTo>
                    <a:pt x="6567" y="4409"/>
                  </a:lnTo>
                  <a:lnTo>
                    <a:pt x="6557" y="4430"/>
                  </a:lnTo>
                  <a:lnTo>
                    <a:pt x="6547" y="4450"/>
                  </a:lnTo>
                  <a:lnTo>
                    <a:pt x="6540" y="4469"/>
                  </a:lnTo>
                  <a:lnTo>
                    <a:pt x="6533" y="4488"/>
                  </a:lnTo>
                  <a:lnTo>
                    <a:pt x="6528" y="4509"/>
                  </a:lnTo>
                  <a:lnTo>
                    <a:pt x="6525" y="4520"/>
                  </a:lnTo>
                  <a:lnTo>
                    <a:pt x="6523" y="4532"/>
                  </a:lnTo>
                  <a:lnTo>
                    <a:pt x="6523" y="4544"/>
                  </a:lnTo>
                  <a:lnTo>
                    <a:pt x="6522" y="4557"/>
                  </a:lnTo>
                  <a:lnTo>
                    <a:pt x="6521" y="4567"/>
                  </a:lnTo>
                  <a:lnTo>
                    <a:pt x="6520" y="4579"/>
                  </a:lnTo>
                  <a:lnTo>
                    <a:pt x="4940" y="4560"/>
                  </a:lnTo>
                  <a:lnTo>
                    <a:pt x="4940" y="4560"/>
                  </a:lnTo>
                  <a:lnTo>
                    <a:pt x="4927" y="4560"/>
                  </a:lnTo>
                  <a:lnTo>
                    <a:pt x="4914" y="4560"/>
                  </a:lnTo>
                  <a:lnTo>
                    <a:pt x="4901" y="4560"/>
                  </a:lnTo>
                  <a:lnTo>
                    <a:pt x="4888" y="4560"/>
                  </a:lnTo>
                  <a:lnTo>
                    <a:pt x="4857" y="4560"/>
                  </a:lnTo>
                  <a:lnTo>
                    <a:pt x="4830" y="4560"/>
                  </a:lnTo>
                  <a:lnTo>
                    <a:pt x="4802" y="4560"/>
                  </a:lnTo>
                  <a:lnTo>
                    <a:pt x="4770" y="4560"/>
                  </a:lnTo>
                  <a:lnTo>
                    <a:pt x="4584" y="4240"/>
                  </a:lnTo>
                  <a:lnTo>
                    <a:pt x="4182" y="4238"/>
                  </a:lnTo>
                  <a:lnTo>
                    <a:pt x="4171" y="4247"/>
                  </a:lnTo>
                  <a:lnTo>
                    <a:pt x="4161" y="4256"/>
                  </a:lnTo>
                  <a:lnTo>
                    <a:pt x="4153" y="4266"/>
                  </a:lnTo>
                  <a:lnTo>
                    <a:pt x="4144" y="4276"/>
                  </a:lnTo>
                  <a:lnTo>
                    <a:pt x="4129" y="4295"/>
                  </a:lnTo>
                  <a:lnTo>
                    <a:pt x="4113" y="4319"/>
                  </a:lnTo>
                  <a:lnTo>
                    <a:pt x="4103" y="4331"/>
                  </a:lnTo>
                  <a:lnTo>
                    <a:pt x="4093" y="4342"/>
                  </a:lnTo>
                  <a:lnTo>
                    <a:pt x="4088" y="4347"/>
                  </a:lnTo>
                  <a:lnTo>
                    <a:pt x="4081" y="4350"/>
                  </a:lnTo>
                  <a:lnTo>
                    <a:pt x="4075" y="4351"/>
                  </a:lnTo>
                  <a:lnTo>
                    <a:pt x="4067" y="4352"/>
                  </a:lnTo>
                  <a:lnTo>
                    <a:pt x="4055" y="4352"/>
                  </a:lnTo>
                  <a:lnTo>
                    <a:pt x="4043" y="4353"/>
                  </a:lnTo>
                  <a:lnTo>
                    <a:pt x="4031" y="4356"/>
                  </a:lnTo>
                  <a:lnTo>
                    <a:pt x="4020" y="4358"/>
                  </a:lnTo>
                  <a:lnTo>
                    <a:pt x="4008" y="4362"/>
                  </a:lnTo>
                  <a:lnTo>
                    <a:pt x="3997" y="4366"/>
                  </a:lnTo>
                  <a:lnTo>
                    <a:pt x="3986" y="4372"/>
                  </a:lnTo>
                  <a:lnTo>
                    <a:pt x="3977" y="4378"/>
                  </a:lnTo>
                  <a:lnTo>
                    <a:pt x="3968" y="4385"/>
                  </a:lnTo>
                  <a:lnTo>
                    <a:pt x="3960" y="4393"/>
                  </a:lnTo>
                  <a:lnTo>
                    <a:pt x="3953" y="4402"/>
                  </a:lnTo>
                  <a:lnTo>
                    <a:pt x="3947" y="4411"/>
                  </a:lnTo>
                  <a:lnTo>
                    <a:pt x="3942" y="4420"/>
                  </a:lnTo>
                  <a:lnTo>
                    <a:pt x="3939" y="4431"/>
                  </a:lnTo>
                  <a:lnTo>
                    <a:pt x="3937" y="4443"/>
                  </a:lnTo>
                  <a:lnTo>
                    <a:pt x="3935" y="4455"/>
                  </a:lnTo>
                  <a:lnTo>
                    <a:pt x="3937" y="4467"/>
                  </a:lnTo>
                  <a:lnTo>
                    <a:pt x="3940" y="4478"/>
                  </a:lnTo>
                  <a:lnTo>
                    <a:pt x="3943" y="4488"/>
                  </a:lnTo>
                  <a:lnTo>
                    <a:pt x="3944" y="4500"/>
                  </a:lnTo>
                  <a:lnTo>
                    <a:pt x="3943" y="4511"/>
                  </a:lnTo>
                  <a:lnTo>
                    <a:pt x="3942" y="4522"/>
                  </a:lnTo>
                  <a:lnTo>
                    <a:pt x="3940" y="4531"/>
                  </a:lnTo>
                  <a:lnTo>
                    <a:pt x="3937" y="4539"/>
                  </a:lnTo>
                  <a:lnTo>
                    <a:pt x="3932" y="4548"/>
                  </a:lnTo>
                  <a:lnTo>
                    <a:pt x="3928" y="4555"/>
                  </a:lnTo>
                  <a:lnTo>
                    <a:pt x="3923" y="4563"/>
                  </a:lnTo>
                  <a:lnTo>
                    <a:pt x="3916" y="4571"/>
                  </a:lnTo>
                  <a:lnTo>
                    <a:pt x="3908" y="4577"/>
                  </a:lnTo>
                  <a:lnTo>
                    <a:pt x="3902" y="4584"/>
                  </a:lnTo>
                  <a:lnTo>
                    <a:pt x="3893" y="4589"/>
                  </a:lnTo>
                  <a:lnTo>
                    <a:pt x="3886" y="4594"/>
                  </a:lnTo>
                  <a:lnTo>
                    <a:pt x="3867" y="4605"/>
                  </a:lnTo>
                  <a:lnTo>
                    <a:pt x="3849" y="4616"/>
                  </a:lnTo>
                  <a:lnTo>
                    <a:pt x="3814" y="4633"/>
                  </a:lnTo>
                  <a:lnTo>
                    <a:pt x="3783" y="4648"/>
                  </a:lnTo>
                  <a:lnTo>
                    <a:pt x="3753" y="4662"/>
                  </a:lnTo>
                  <a:lnTo>
                    <a:pt x="3717" y="4677"/>
                  </a:lnTo>
                  <a:lnTo>
                    <a:pt x="3708" y="4681"/>
                  </a:lnTo>
                  <a:lnTo>
                    <a:pt x="3699" y="4684"/>
                  </a:lnTo>
                  <a:lnTo>
                    <a:pt x="3689" y="4686"/>
                  </a:lnTo>
                  <a:lnTo>
                    <a:pt x="3681" y="4688"/>
                  </a:lnTo>
                  <a:lnTo>
                    <a:pt x="3662" y="4692"/>
                  </a:lnTo>
                  <a:lnTo>
                    <a:pt x="3645" y="4695"/>
                  </a:lnTo>
                  <a:lnTo>
                    <a:pt x="3637" y="4696"/>
                  </a:lnTo>
                  <a:lnTo>
                    <a:pt x="3629" y="4698"/>
                  </a:lnTo>
                  <a:lnTo>
                    <a:pt x="3621" y="4701"/>
                  </a:lnTo>
                  <a:lnTo>
                    <a:pt x="3615" y="4704"/>
                  </a:lnTo>
                  <a:lnTo>
                    <a:pt x="3607" y="4709"/>
                  </a:lnTo>
                  <a:lnTo>
                    <a:pt x="3601" y="4714"/>
                  </a:lnTo>
                  <a:lnTo>
                    <a:pt x="3594" y="4721"/>
                  </a:lnTo>
                  <a:lnTo>
                    <a:pt x="3588" y="4728"/>
                  </a:lnTo>
                  <a:lnTo>
                    <a:pt x="3586" y="4740"/>
                  </a:lnTo>
                  <a:lnTo>
                    <a:pt x="3582" y="4753"/>
                  </a:lnTo>
                  <a:lnTo>
                    <a:pt x="3576" y="4761"/>
                  </a:lnTo>
                  <a:lnTo>
                    <a:pt x="3568" y="4766"/>
                  </a:lnTo>
                  <a:lnTo>
                    <a:pt x="3561" y="4770"/>
                  </a:lnTo>
                  <a:lnTo>
                    <a:pt x="3553" y="4774"/>
                  </a:lnTo>
                  <a:lnTo>
                    <a:pt x="3535" y="4779"/>
                  </a:lnTo>
                  <a:lnTo>
                    <a:pt x="3515" y="4784"/>
                  </a:lnTo>
                  <a:lnTo>
                    <a:pt x="3500" y="4790"/>
                  </a:lnTo>
                  <a:lnTo>
                    <a:pt x="3487" y="4796"/>
                  </a:lnTo>
                  <a:lnTo>
                    <a:pt x="3481" y="4800"/>
                  </a:lnTo>
                  <a:lnTo>
                    <a:pt x="3474" y="4802"/>
                  </a:lnTo>
                  <a:lnTo>
                    <a:pt x="3467" y="4803"/>
                  </a:lnTo>
                  <a:lnTo>
                    <a:pt x="3458" y="4804"/>
                  </a:lnTo>
                  <a:lnTo>
                    <a:pt x="3441" y="4804"/>
                  </a:lnTo>
                  <a:lnTo>
                    <a:pt x="3426" y="4804"/>
                  </a:lnTo>
                  <a:lnTo>
                    <a:pt x="3411" y="4804"/>
                  </a:lnTo>
                  <a:lnTo>
                    <a:pt x="3392" y="4804"/>
                  </a:lnTo>
                  <a:lnTo>
                    <a:pt x="3388" y="4803"/>
                  </a:lnTo>
                  <a:lnTo>
                    <a:pt x="3384" y="4802"/>
                  </a:lnTo>
                  <a:lnTo>
                    <a:pt x="3379" y="4801"/>
                  </a:lnTo>
                  <a:lnTo>
                    <a:pt x="3375" y="4798"/>
                  </a:lnTo>
                  <a:lnTo>
                    <a:pt x="3367" y="4793"/>
                  </a:lnTo>
                  <a:lnTo>
                    <a:pt x="3359" y="4790"/>
                  </a:lnTo>
                  <a:lnTo>
                    <a:pt x="3322" y="4779"/>
                  </a:lnTo>
                  <a:lnTo>
                    <a:pt x="3290" y="4770"/>
                  </a:lnTo>
                  <a:lnTo>
                    <a:pt x="3273" y="4768"/>
                  </a:lnTo>
                  <a:lnTo>
                    <a:pt x="3256" y="4766"/>
                  </a:lnTo>
                  <a:lnTo>
                    <a:pt x="3238" y="4765"/>
                  </a:lnTo>
                  <a:lnTo>
                    <a:pt x="3218" y="4764"/>
                  </a:lnTo>
                  <a:lnTo>
                    <a:pt x="3213" y="4765"/>
                  </a:lnTo>
                  <a:lnTo>
                    <a:pt x="3207" y="4766"/>
                  </a:lnTo>
                  <a:lnTo>
                    <a:pt x="3203" y="4767"/>
                  </a:lnTo>
                  <a:lnTo>
                    <a:pt x="3199" y="4769"/>
                  </a:lnTo>
                  <a:lnTo>
                    <a:pt x="3191" y="4775"/>
                  </a:lnTo>
                  <a:lnTo>
                    <a:pt x="3184" y="4781"/>
                  </a:lnTo>
                  <a:lnTo>
                    <a:pt x="3177" y="4788"/>
                  </a:lnTo>
                  <a:lnTo>
                    <a:pt x="3171" y="4795"/>
                  </a:lnTo>
                  <a:lnTo>
                    <a:pt x="3163" y="4803"/>
                  </a:lnTo>
                  <a:lnTo>
                    <a:pt x="3153" y="4809"/>
                  </a:lnTo>
                  <a:lnTo>
                    <a:pt x="3117" y="4831"/>
                  </a:lnTo>
                  <a:lnTo>
                    <a:pt x="3083" y="4848"/>
                  </a:lnTo>
                  <a:lnTo>
                    <a:pt x="3067" y="4858"/>
                  </a:lnTo>
                  <a:lnTo>
                    <a:pt x="3050" y="4868"/>
                  </a:lnTo>
                  <a:lnTo>
                    <a:pt x="3034" y="4879"/>
                  </a:lnTo>
                  <a:lnTo>
                    <a:pt x="3016" y="4893"/>
                  </a:lnTo>
                  <a:lnTo>
                    <a:pt x="3004" y="4902"/>
                  </a:lnTo>
                  <a:lnTo>
                    <a:pt x="2993" y="4909"/>
                  </a:lnTo>
                  <a:lnTo>
                    <a:pt x="2981" y="4914"/>
                  </a:lnTo>
                  <a:lnTo>
                    <a:pt x="2968" y="4918"/>
                  </a:lnTo>
                  <a:lnTo>
                    <a:pt x="2942" y="4924"/>
                  </a:lnTo>
                  <a:lnTo>
                    <a:pt x="2913" y="4930"/>
                  </a:lnTo>
                  <a:lnTo>
                    <a:pt x="2886" y="4937"/>
                  </a:lnTo>
                  <a:lnTo>
                    <a:pt x="2862" y="4943"/>
                  </a:lnTo>
                  <a:lnTo>
                    <a:pt x="2838" y="4950"/>
                  </a:lnTo>
                  <a:lnTo>
                    <a:pt x="2810" y="4954"/>
                  </a:lnTo>
                  <a:lnTo>
                    <a:pt x="2810" y="4954"/>
                  </a:lnTo>
                  <a:lnTo>
                    <a:pt x="2319" y="4742"/>
                  </a:lnTo>
                  <a:lnTo>
                    <a:pt x="0" y="3905"/>
                  </a:lnTo>
                  <a:lnTo>
                    <a:pt x="0" y="3905"/>
                  </a:lnTo>
                  <a:lnTo>
                    <a:pt x="2" y="3897"/>
                  </a:lnTo>
                  <a:lnTo>
                    <a:pt x="5" y="3888"/>
                  </a:lnTo>
                  <a:lnTo>
                    <a:pt x="8" y="3879"/>
                  </a:lnTo>
                  <a:lnTo>
                    <a:pt x="12" y="3872"/>
                  </a:lnTo>
                  <a:lnTo>
                    <a:pt x="20" y="3856"/>
                  </a:lnTo>
                  <a:lnTo>
                    <a:pt x="29" y="3837"/>
                  </a:lnTo>
                  <a:lnTo>
                    <a:pt x="33" y="3822"/>
                  </a:lnTo>
                  <a:lnTo>
                    <a:pt x="35" y="3808"/>
                  </a:lnTo>
                  <a:lnTo>
                    <a:pt x="37" y="3802"/>
                  </a:lnTo>
                  <a:lnTo>
                    <a:pt x="39" y="3794"/>
                  </a:lnTo>
                  <a:lnTo>
                    <a:pt x="42" y="3788"/>
                  </a:lnTo>
                  <a:lnTo>
                    <a:pt x="45" y="3781"/>
                  </a:lnTo>
                  <a:lnTo>
                    <a:pt x="50" y="3772"/>
                  </a:lnTo>
                  <a:lnTo>
                    <a:pt x="57" y="3765"/>
                  </a:lnTo>
                  <a:lnTo>
                    <a:pt x="63" y="3758"/>
                  </a:lnTo>
                  <a:lnTo>
                    <a:pt x="70" y="3753"/>
                  </a:lnTo>
                  <a:lnTo>
                    <a:pt x="85" y="3743"/>
                  </a:lnTo>
                  <a:lnTo>
                    <a:pt x="101" y="3734"/>
                  </a:lnTo>
                  <a:lnTo>
                    <a:pt x="118" y="3723"/>
                  </a:lnTo>
                  <a:lnTo>
                    <a:pt x="136" y="3715"/>
                  </a:lnTo>
                  <a:lnTo>
                    <a:pt x="152" y="3709"/>
                  </a:lnTo>
                  <a:lnTo>
                    <a:pt x="169" y="3703"/>
                  </a:lnTo>
                  <a:lnTo>
                    <a:pt x="185" y="3698"/>
                  </a:lnTo>
                  <a:lnTo>
                    <a:pt x="203" y="3693"/>
                  </a:lnTo>
                  <a:lnTo>
                    <a:pt x="220" y="3685"/>
                  </a:lnTo>
                  <a:lnTo>
                    <a:pt x="238" y="3677"/>
                  </a:lnTo>
                  <a:lnTo>
                    <a:pt x="243" y="3674"/>
                  </a:lnTo>
                  <a:lnTo>
                    <a:pt x="246" y="3672"/>
                  </a:lnTo>
                  <a:lnTo>
                    <a:pt x="248" y="3669"/>
                  </a:lnTo>
                  <a:lnTo>
                    <a:pt x="249" y="3664"/>
                  </a:lnTo>
                  <a:lnTo>
                    <a:pt x="249" y="3657"/>
                  </a:lnTo>
                  <a:lnTo>
                    <a:pt x="248" y="3647"/>
                  </a:lnTo>
                  <a:lnTo>
                    <a:pt x="245" y="3637"/>
                  </a:lnTo>
                  <a:lnTo>
                    <a:pt x="243" y="3627"/>
                  </a:lnTo>
                  <a:lnTo>
                    <a:pt x="239" y="3617"/>
                  </a:lnTo>
                  <a:lnTo>
                    <a:pt x="238" y="3606"/>
                  </a:lnTo>
                  <a:lnTo>
                    <a:pt x="238" y="3594"/>
                  </a:lnTo>
                  <a:lnTo>
                    <a:pt x="236" y="3583"/>
                  </a:lnTo>
                  <a:lnTo>
                    <a:pt x="234" y="3573"/>
                  </a:lnTo>
                  <a:lnTo>
                    <a:pt x="231" y="3563"/>
                  </a:lnTo>
                  <a:lnTo>
                    <a:pt x="222" y="3545"/>
                  </a:lnTo>
                  <a:lnTo>
                    <a:pt x="212" y="3526"/>
                  </a:lnTo>
                  <a:lnTo>
                    <a:pt x="203" y="3509"/>
                  </a:lnTo>
                  <a:lnTo>
                    <a:pt x="194" y="3491"/>
                  </a:lnTo>
                  <a:lnTo>
                    <a:pt x="191" y="3481"/>
                  </a:lnTo>
                  <a:lnTo>
                    <a:pt x="188" y="3470"/>
                  </a:lnTo>
                  <a:lnTo>
                    <a:pt x="187" y="3459"/>
                  </a:lnTo>
                  <a:lnTo>
                    <a:pt x="185" y="3447"/>
                  </a:lnTo>
                  <a:lnTo>
                    <a:pt x="185" y="3434"/>
                  </a:lnTo>
                  <a:lnTo>
                    <a:pt x="187" y="3423"/>
                  </a:lnTo>
                  <a:lnTo>
                    <a:pt x="188" y="3411"/>
                  </a:lnTo>
                  <a:lnTo>
                    <a:pt x="191" y="3400"/>
                  </a:lnTo>
                  <a:lnTo>
                    <a:pt x="194" y="3389"/>
                  </a:lnTo>
                  <a:lnTo>
                    <a:pt x="199" y="3379"/>
                  </a:lnTo>
                  <a:lnTo>
                    <a:pt x="207" y="3371"/>
                  </a:lnTo>
                  <a:lnTo>
                    <a:pt x="217" y="3363"/>
                  </a:lnTo>
                  <a:lnTo>
                    <a:pt x="234" y="3351"/>
                  </a:lnTo>
                  <a:lnTo>
                    <a:pt x="251" y="3340"/>
                  </a:lnTo>
                  <a:lnTo>
                    <a:pt x="258" y="3335"/>
                  </a:lnTo>
                  <a:lnTo>
                    <a:pt x="265" y="3327"/>
                  </a:lnTo>
                  <a:lnTo>
                    <a:pt x="271" y="3320"/>
                  </a:lnTo>
                  <a:lnTo>
                    <a:pt x="275" y="3310"/>
                  </a:lnTo>
                  <a:lnTo>
                    <a:pt x="280" y="3293"/>
                  </a:lnTo>
                  <a:lnTo>
                    <a:pt x="283" y="3277"/>
                  </a:lnTo>
                  <a:lnTo>
                    <a:pt x="285" y="3261"/>
                  </a:lnTo>
                  <a:lnTo>
                    <a:pt x="289" y="3242"/>
                  </a:lnTo>
                  <a:lnTo>
                    <a:pt x="299" y="3213"/>
                  </a:lnTo>
                  <a:lnTo>
                    <a:pt x="307" y="3186"/>
                  </a:lnTo>
                  <a:lnTo>
                    <a:pt x="312" y="3173"/>
                  </a:lnTo>
                  <a:lnTo>
                    <a:pt x="315" y="3159"/>
                  </a:lnTo>
                  <a:lnTo>
                    <a:pt x="316" y="3144"/>
                  </a:lnTo>
                  <a:lnTo>
                    <a:pt x="317" y="3128"/>
                  </a:lnTo>
                  <a:lnTo>
                    <a:pt x="315" y="3117"/>
                  </a:lnTo>
                  <a:lnTo>
                    <a:pt x="312" y="3106"/>
                  </a:lnTo>
                  <a:lnTo>
                    <a:pt x="311" y="3101"/>
                  </a:lnTo>
                  <a:lnTo>
                    <a:pt x="311" y="3096"/>
                  </a:lnTo>
                  <a:lnTo>
                    <a:pt x="312" y="3092"/>
                  </a:lnTo>
                  <a:lnTo>
                    <a:pt x="316" y="3089"/>
                  </a:lnTo>
                  <a:lnTo>
                    <a:pt x="327" y="3080"/>
                  </a:lnTo>
                  <a:lnTo>
                    <a:pt x="338" y="3074"/>
                  </a:lnTo>
                  <a:lnTo>
                    <a:pt x="349" y="3067"/>
                  </a:lnTo>
                  <a:lnTo>
                    <a:pt x="359" y="3063"/>
                  </a:lnTo>
                  <a:lnTo>
                    <a:pt x="381" y="3053"/>
                  </a:lnTo>
                  <a:lnTo>
                    <a:pt x="403" y="3046"/>
                  </a:lnTo>
                  <a:lnTo>
                    <a:pt x="423" y="3037"/>
                  </a:lnTo>
                  <a:lnTo>
                    <a:pt x="444" y="3027"/>
                  </a:lnTo>
                  <a:lnTo>
                    <a:pt x="453" y="3021"/>
                  </a:lnTo>
                  <a:lnTo>
                    <a:pt x="463" y="3013"/>
                  </a:lnTo>
                  <a:lnTo>
                    <a:pt x="473" y="3006"/>
                  </a:lnTo>
                  <a:lnTo>
                    <a:pt x="482" y="2996"/>
                  </a:lnTo>
                  <a:lnTo>
                    <a:pt x="489" y="2987"/>
                  </a:lnTo>
                  <a:lnTo>
                    <a:pt x="492" y="2978"/>
                  </a:lnTo>
                  <a:lnTo>
                    <a:pt x="494" y="2973"/>
                  </a:lnTo>
                  <a:lnTo>
                    <a:pt x="498" y="2969"/>
                  </a:lnTo>
                  <a:lnTo>
                    <a:pt x="501" y="2966"/>
                  </a:lnTo>
                  <a:lnTo>
                    <a:pt x="505" y="2962"/>
                  </a:lnTo>
                  <a:lnTo>
                    <a:pt x="517" y="2956"/>
                  </a:lnTo>
                  <a:lnTo>
                    <a:pt x="528" y="2948"/>
                  </a:lnTo>
                  <a:lnTo>
                    <a:pt x="538" y="2941"/>
                  </a:lnTo>
                  <a:lnTo>
                    <a:pt x="547" y="2933"/>
                  </a:lnTo>
                  <a:lnTo>
                    <a:pt x="565" y="2916"/>
                  </a:lnTo>
                  <a:lnTo>
                    <a:pt x="586" y="2898"/>
                  </a:lnTo>
                  <a:lnTo>
                    <a:pt x="589" y="2895"/>
                  </a:lnTo>
                  <a:lnTo>
                    <a:pt x="593" y="2894"/>
                  </a:lnTo>
                  <a:lnTo>
                    <a:pt x="595" y="2894"/>
                  </a:lnTo>
                  <a:lnTo>
                    <a:pt x="598" y="2894"/>
                  </a:lnTo>
                  <a:lnTo>
                    <a:pt x="603" y="2897"/>
                  </a:lnTo>
                  <a:lnTo>
                    <a:pt x="610" y="2900"/>
                  </a:lnTo>
                  <a:lnTo>
                    <a:pt x="616" y="2904"/>
                  </a:lnTo>
                  <a:lnTo>
                    <a:pt x="623" y="2908"/>
                  </a:lnTo>
                  <a:lnTo>
                    <a:pt x="629" y="2911"/>
                  </a:lnTo>
                  <a:lnTo>
                    <a:pt x="637" y="2912"/>
                  </a:lnTo>
                  <a:lnTo>
                    <a:pt x="642" y="2912"/>
                  </a:lnTo>
                  <a:lnTo>
                    <a:pt x="647" y="2910"/>
                  </a:lnTo>
                  <a:lnTo>
                    <a:pt x="651" y="2907"/>
                  </a:lnTo>
                  <a:lnTo>
                    <a:pt x="655" y="2904"/>
                  </a:lnTo>
                  <a:lnTo>
                    <a:pt x="663" y="2897"/>
                  </a:lnTo>
                  <a:lnTo>
                    <a:pt x="670" y="2889"/>
                  </a:lnTo>
                  <a:lnTo>
                    <a:pt x="679" y="2883"/>
                  </a:lnTo>
                  <a:lnTo>
                    <a:pt x="688" y="2878"/>
                  </a:lnTo>
                  <a:lnTo>
                    <a:pt x="696" y="2874"/>
                  </a:lnTo>
                  <a:lnTo>
                    <a:pt x="705" y="2870"/>
                  </a:lnTo>
                  <a:lnTo>
                    <a:pt x="714" y="2865"/>
                  </a:lnTo>
                  <a:lnTo>
                    <a:pt x="722" y="2861"/>
                  </a:lnTo>
                  <a:lnTo>
                    <a:pt x="731" y="2857"/>
                  </a:lnTo>
                  <a:lnTo>
                    <a:pt x="741" y="2850"/>
                  </a:lnTo>
                  <a:lnTo>
                    <a:pt x="760" y="2835"/>
                  </a:lnTo>
                  <a:lnTo>
                    <a:pt x="777" y="2822"/>
                  </a:lnTo>
                  <a:lnTo>
                    <a:pt x="786" y="2817"/>
                  </a:lnTo>
                  <a:lnTo>
                    <a:pt x="796" y="2812"/>
                  </a:lnTo>
                  <a:lnTo>
                    <a:pt x="806" y="2808"/>
                  </a:lnTo>
                  <a:lnTo>
                    <a:pt x="818" y="2806"/>
                  </a:lnTo>
                  <a:lnTo>
                    <a:pt x="843" y="2800"/>
                  </a:lnTo>
                  <a:lnTo>
                    <a:pt x="866" y="2796"/>
                  </a:lnTo>
                  <a:lnTo>
                    <a:pt x="886" y="2790"/>
                  </a:lnTo>
                  <a:lnTo>
                    <a:pt x="906" y="2784"/>
                  </a:lnTo>
                  <a:lnTo>
                    <a:pt x="926" y="2778"/>
                  </a:lnTo>
                  <a:lnTo>
                    <a:pt x="947" y="2771"/>
                  </a:lnTo>
                  <a:lnTo>
                    <a:pt x="968" y="2764"/>
                  </a:lnTo>
                  <a:lnTo>
                    <a:pt x="992" y="2758"/>
                  </a:lnTo>
                  <a:lnTo>
                    <a:pt x="1014" y="2753"/>
                  </a:lnTo>
                  <a:lnTo>
                    <a:pt x="1033" y="2746"/>
                  </a:lnTo>
                  <a:lnTo>
                    <a:pt x="1042" y="2743"/>
                  </a:lnTo>
                  <a:lnTo>
                    <a:pt x="1051" y="2739"/>
                  </a:lnTo>
                  <a:lnTo>
                    <a:pt x="1059" y="2733"/>
                  </a:lnTo>
                  <a:lnTo>
                    <a:pt x="1068" y="2727"/>
                  </a:lnTo>
                  <a:lnTo>
                    <a:pt x="1078" y="2722"/>
                  </a:lnTo>
                  <a:lnTo>
                    <a:pt x="1088" y="2718"/>
                  </a:lnTo>
                  <a:lnTo>
                    <a:pt x="1093" y="2716"/>
                  </a:lnTo>
                  <a:lnTo>
                    <a:pt x="1097" y="2714"/>
                  </a:lnTo>
                  <a:lnTo>
                    <a:pt x="1101" y="2712"/>
                  </a:lnTo>
                  <a:lnTo>
                    <a:pt x="1105" y="2708"/>
                  </a:lnTo>
                  <a:lnTo>
                    <a:pt x="1121" y="2683"/>
                  </a:lnTo>
                  <a:lnTo>
                    <a:pt x="1136" y="2661"/>
                  </a:lnTo>
                  <a:lnTo>
                    <a:pt x="1143" y="2650"/>
                  </a:lnTo>
                  <a:lnTo>
                    <a:pt x="1152" y="2642"/>
                  </a:lnTo>
                  <a:lnTo>
                    <a:pt x="1163" y="2632"/>
                  </a:lnTo>
                  <a:lnTo>
                    <a:pt x="1175" y="2623"/>
                  </a:lnTo>
                  <a:lnTo>
                    <a:pt x="1192" y="2614"/>
                  </a:lnTo>
                  <a:lnTo>
                    <a:pt x="1208" y="2606"/>
                  </a:lnTo>
                  <a:lnTo>
                    <a:pt x="1223" y="2601"/>
                  </a:lnTo>
                  <a:lnTo>
                    <a:pt x="1240" y="2598"/>
                  </a:lnTo>
                  <a:lnTo>
                    <a:pt x="1257" y="2596"/>
                  </a:lnTo>
                  <a:lnTo>
                    <a:pt x="1274" y="2595"/>
                  </a:lnTo>
                  <a:lnTo>
                    <a:pt x="1293" y="2595"/>
                  </a:lnTo>
                  <a:lnTo>
                    <a:pt x="1312" y="2595"/>
                  </a:lnTo>
                  <a:lnTo>
                    <a:pt x="1322" y="2596"/>
                  </a:lnTo>
                  <a:lnTo>
                    <a:pt x="1331" y="2597"/>
                  </a:lnTo>
                  <a:lnTo>
                    <a:pt x="1340" y="2601"/>
                  </a:lnTo>
                  <a:lnTo>
                    <a:pt x="1348" y="2604"/>
                  </a:lnTo>
                  <a:lnTo>
                    <a:pt x="1363" y="2613"/>
                  </a:lnTo>
                  <a:lnTo>
                    <a:pt x="1377" y="2623"/>
                  </a:lnTo>
                  <a:lnTo>
                    <a:pt x="1391" y="2633"/>
                  </a:lnTo>
                  <a:lnTo>
                    <a:pt x="1406" y="2643"/>
                  </a:lnTo>
                  <a:lnTo>
                    <a:pt x="1413" y="2646"/>
                  </a:lnTo>
                  <a:lnTo>
                    <a:pt x="1422" y="2649"/>
                  </a:lnTo>
                  <a:lnTo>
                    <a:pt x="1431" y="2650"/>
                  </a:lnTo>
                  <a:lnTo>
                    <a:pt x="1442" y="2651"/>
                  </a:lnTo>
                  <a:lnTo>
                    <a:pt x="1455" y="2650"/>
                  </a:lnTo>
                  <a:lnTo>
                    <a:pt x="1466" y="2648"/>
                  </a:lnTo>
                  <a:lnTo>
                    <a:pt x="1477" y="2646"/>
                  </a:lnTo>
                  <a:lnTo>
                    <a:pt x="1488" y="2643"/>
                  </a:lnTo>
                  <a:lnTo>
                    <a:pt x="1488" y="2643"/>
                  </a:lnTo>
                  <a:lnTo>
                    <a:pt x="1492" y="2620"/>
                  </a:lnTo>
                  <a:lnTo>
                    <a:pt x="1499" y="2601"/>
                  </a:lnTo>
                  <a:lnTo>
                    <a:pt x="1506" y="2583"/>
                  </a:lnTo>
                  <a:lnTo>
                    <a:pt x="1514" y="2567"/>
                  </a:lnTo>
                  <a:lnTo>
                    <a:pt x="1523" y="2551"/>
                  </a:lnTo>
                  <a:lnTo>
                    <a:pt x="1531" y="2535"/>
                  </a:lnTo>
                  <a:lnTo>
                    <a:pt x="1539" y="2516"/>
                  </a:lnTo>
                  <a:lnTo>
                    <a:pt x="1547" y="2495"/>
                  </a:lnTo>
                  <a:lnTo>
                    <a:pt x="1565" y="2443"/>
                  </a:lnTo>
                  <a:lnTo>
                    <a:pt x="1580" y="2395"/>
                  </a:lnTo>
                  <a:lnTo>
                    <a:pt x="1593" y="2351"/>
                  </a:lnTo>
                  <a:lnTo>
                    <a:pt x="1604" y="2307"/>
                  </a:lnTo>
                  <a:lnTo>
                    <a:pt x="1614" y="2264"/>
                  </a:lnTo>
                  <a:lnTo>
                    <a:pt x="1625" y="2218"/>
                  </a:lnTo>
                  <a:lnTo>
                    <a:pt x="1636" y="2170"/>
                  </a:lnTo>
                  <a:lnTo>
                    <a:pt x="1649" y="2116"/>
                  </a:lnTo>
                  <a:lnTo>
                    <a:pt x="1654" y="2093"/>
                  </a:lnTo>
                  <a:lnTo>
                    <a:pt x="1661" y="2073"/>
                  </a:lnTo>
                  <a:lnTo>
                    <a:pt x="1667" y="2053"/>
                  </a:lnTo>
                  <a:lnTo>
                    <a:pt x="1674" y="2035"/>
                  </a:lnTo>
                  <a:lnTo>
                    <a:pt x="1679" y="2015"/>
                  </a:lnTo>
                  <a:lnTo>
                    <a:pt x="1684" y="1996"/>
                  </a:lnTo>
                  <a:lnTo>
                    <a:pt x="1687" y="1974"/>
                  </a:lnTo>
                  <a:lnTo>
                    <a:pt x="1688" y="1952"/>
                  </a:lnTo>
                  <a:lnTo>
                    <a:pt x="1688" y="1932"/>
                  </a:lnTo>
                  <a:lnTo>
                    <a:pt x="1688" y="1916"/>
                  </a:lnTo>
                  <a:lnTo>
                    <a:pt x="1688" y="1900"/>
                  </a:lnTo>
                  <a:lnTo>
                    <a:pt x="1688" y="1880"/>
                  </a:lnTo>
                  <a:lnTo>
                    <a:pt x="1749" y="1592"/>
                  </a:lnTo>
                  <a:lnTo>
                    <a:pt x="1756" y="1574"/>
                  </a:lnTo>
                  <a:lnTo>
                    <a:pt x="1762" y="1556"/>
                  </a:lnTo>
                  <a:lnTo>
                    <a:pt x="1765" y="1548"/>
                  </a:lnTo>
                  <a:lnTo>
                    <a:pt x="1767" y="1539"/>
                  </a:lnTo>
                  <a:lnTo>
                    <a:pt x="1769" y="1530"/>
                  </a:lnTo>
                  <a:lnTo>
                    <a:pt x="1769" y="1520"/>
                  </a:lnTo>
                  <a:lnTo>
                    <a:pt x="1769" y="1504"/>
                  </a:lnTo>
                  <a:lnTo>
                    <a:pt x="1769" y="1491"/>
                  </a:lnTo>
                  <a:lnTo>
                    <a:pt x="1769" y="1477"/>
                  </a:lnTo>
                  <a:lnTo>
                    <a:pt x="1769" y="1462"/>
                  </a:lnTo>
                  <a:lnTo>
                    <a:pt x="1768" y="1452"/>
                  </a:lnTo>
                  <a:lnTo>
                    <a:pt x="1765" y="1442"/>
                  </a:lnTo>
                  <a:lnTo>
                    <a:pt x="1761" y="1433"/>
                  </a:lnTo>
                  <a:lnTo>
                    <a:pt x="1756" y="1426"/>
                  </a:lnTo>
                  <a:lnTo>
                    <a:pt x="1750" y="1418"/>
                  </a:lnTo>
                  <a:lnTo>
                    <a:pt x="1744" y="1409"/>
                  </a:lnTo>
                  <a:lnTo>
                    <a:pt x="1740" y="1401"/>
                  </a:lnTo>
                  <a:lnTo>
                    <a:pt x="1735" y="1390"/>
                  </a:lnTo>
                  <a:lnTo>
                    <a:pt x="1732" y="1377"/>
                  </a:lnTo>
                  <a:lnTo>
                    <a:pt x="1730" y="1364"/>
                  </a:lnTo>
                  <a:lnTo>
                    <a:pt x="1729" y="1352"/>
                  </a:lnTo>
                  <a:lnTo>
                    <a:pt x="1727" y="1340"/>
                  </a:lnTo>
                  <a:lnTo>
                    <a:pt x="1726" y="1329"/>
                  </a:lnTo>
                  <a:lnTo>
                    <a:pt x="1722" y="1318"/>
                  </a:lnTo>
                  <a:lnTo>
                    <a:pt x="1720" y="1312"/>
                  </a:lnTo>
                  <a:lnTo>
                    <a:pt x="1718" y="1307"/>
                  </a:lnTo>
                  <a:lnTo>
                    <a:pt x="1714" y="1300"/>
                  </a:lnTo>
                  <a:lnTo>
                    <a:pt x="1711" y="1295"/>
                  </a:lnTo>
                  <a:lnTo>
                    <a:pt x="1704" y="1288"/>
                  </a:lnTo>
                  <a:lnTo>
                    <a:pt x="1699" y="1282"/>
                  </a:lnTo>
                  <a:lnTo>
                    <a:pt x="1692" y="1277"/>
                  </a:lnTo>
                  <a:lnTo>
                    <a:pt x="1686" y="1271"/>
                  </a:lnTo>
                  <a:lnTo>
                    <a:pt x="1673" y="1263"/>
                  </a:lnTo>
                  <a:lnTo>
                    <a:pt x="1660" y="1253"/>
                  </a:lnTo>
                  <a:lnTo>
                    <a:pt x="1654" y="1248"/>
                  </a:lnTo>
                  <a:lnTo>
                    <a:pt x="1649" y="1243"/>
                  </a:lnTo>
                  <a:lnTo>
                    <a:pt x="1645" y="1239"/>
                  </a:lnTo>
                  <a:lnTo>
                    <a:pt x="1640" y="1232"/>
                  </a:lnTo>
                  <a:lnTo>
                    <a:pt x="1636" y="1227"/>
                  </a:lnTo>
                  <a:lnTo>
                    <a:pt x="1634" y="1219"/>
                  </a:lnTo>
                  <a:lnTo>
                    <a:pt x="1633" y="1212"/>
                  </a:lnTo>
                  <a:lnTo>
                    <a:pt x="1632" y="1204"/>
                  </a:lnTo>
                  <a:lnTo>
                    <a:pt x="1633" y="1184"/>
                  </a:lnTo>
                  <a:lnTo>
                    <a:pt x="1636" y="1166"/>
                  </a:lnTo>
                  <a:lnTo>
                    <a:pt x="1639" y="1148"/>
                  </a:lnTo>
                  <a:lnTo>
                    <a:pt x="1640" y="1129"/>
                  </a:lnTo>
                  <a:lnTo>
                    <a:pt x="1639" y="1119"/>
                  </a:lnTo>
                  <a:lnTo>
                    <a:pt x="1638" y="1111"/>
                  </a:lnTo>
                  <a:lnTo>
                    <a:pt x="1636" y="1104"/>
                  </a:lnTo>
                  <a:lnTo>
                    <a:pt x="1633" y="1096"/>
                  </a:lnTo>
                  <a:lnTo>
                    <a:pt x="1630" y="1090"/>
                  </a:lnTo>
                  <a:lnTo>
                    <a:pt x="1625" y="1084"/>
                  </a:lnTo>
                  <a:lnTo>
                    <a:pt x="1621" y="1078"/>
                  </a:lnTo>
                  <a:lnTo>
                    <a:pt x="1615" y="1072"/>
                  </a:lnTo>
                  <a:lnTo>
                    <a:pt x="1603" y="1063"/>
                  </a:lnTo>
                  <a:lnTo>
                    <a:pt x="1588" y="1053"/>
                  </a:lnTo>
                  <a:lnTo>
                    <a:pt x="1574" y="1043"/>
                  </a:lnTo>
                  <a:lnTo>
                    <a:pt x="1559" y="1035"/>
                  </a:lnTo>
                  <a:lnTo>
                    <a:pt x="1540" y="1022"/>
                  </a:lnTo>
                  <a:lnTo>
                    <a:pt x="1525" y="1009"/>
                  </a:lnTo>
                  <a:lnTo>
                    <a:pt x="1510" y="995"/>
                  </a:lnTo>
                  <a:lnTo>
                    <a:pt x="1491" y="981"/>
                  </a:lnTo>
                  <a:lnTo>
                    <a:pt x="1471" y="969"/>
                  </a:lnTo>
                  <a:lnTo>
                    <a:pt x="1449" y="957"/>
                  </a:lnTo>
                  <a:lnTo>
                    <a:pt x="1440" y="950"/>
                  </a:lnTo>
                  <a:lnTo>
                    <a:pt x="1433" y="943"/>
                  </a:lnTo>
                  <a:lnTo>
                    <a:pt x="1431" y="939"/>
                  </a:lnTo>
                  <a:lnTo>
                    <a:pt x="1429" y="933"/>
                  </a:lnTo>
                  <a:lnTo>
                    <a:pt x="1428" y="928"/>
                  </a:lnTo>
                  <a:lnTo>
                    <a:pt x="1428" y="922"/>
                  </a:lnTo>
                  <a:lnTo>
                    <a:pt x="1428" y="909"/>
                  </a:lnTo>
                  <a:lnTo>
                    <a:pt x="1430" y="897"/>
                  </a:lnTo>
                  <a:lnTo>
                    <a:pt x="1433" y="887"/>
                  </a:lnTo>
                  <a:lnTo>
                    <a:pt x="1436" y="876"/>
                  </a:lnTo>
                  <a:lnTo>
                    <a:pt x="1445" y="854"/>
                  </a:lnTo>
                  <a:lnTo>
                    <a:pt x="1452" y="829"/>
                  </a:lnTo>
                  <a:lnTo>
                    <a:pt x="1457" y="805"/>
                  </a:lnTo>
                  <a:lnTo>
                    <a:pt x="1461" y="781"/>
                  </a:lnTo>
                  <a:lnTo>
                    <a:pt x="1465" y="770"/>
                  </a:lnTo>
                  <a:lnTo>
                    <a:pt x="1470" y="760"/>
                  </a:lnTo>
                  <a:lnTo>
                    <a:pt x="1473" y="756"/>
                  </a:lnTo>
                  <a:lnTo>
                    <a:pt x="1477" y="752"/>
                  </a:lnTo>
                  <a:lnTo>
                    <a:pt x="1482" y="747"/>
                  </a:lnTo>
                  <a:lnTo>
                    <a:pt x="1486" y="743"/>
                  </a:lnTo>
                  <a:lnTo>
                    <a:pt x="1501" y="733"/>
                  </a:lnTo>
                  <a:lnTo>
                    <a:pt x="1515" y="725"/>
                  </a:lnTo>
                  <a:lnTo>
                    <a:pt x="1528" y="717"/>
                  </a:lnTo>
                  <a:lnTo>
                    <a:pt x="1542" y="712"/>
                  </a:lnTo>
                  <a:lnTo>
                    <a:pt x="1571" y="701"/>
                  </a:lnTo>
                  <a:lnTo>
                    <a:pt x="1604" y="689"/>
                  </a:lnTo>
                  <a:lnTo>
                    <a:pt x="1610" y="687"/>
                  </a:lnTo>
                  <a:lnTo>
                    <a:pt x="1615" y="684"/>
                  </a:lnTo>
                  <a:lnTo>
                    <a:pt x="1621" y="680"/>
                  </a:lnTo>
                  <a:lnTo>
                    <a:pt x="1626" y="676"/>
                  </a:lnTo>
                  <a:lnTo>
                    <a:pt x="1636" y="669"/>
                  </a:lnTo>
                  <a:lnTo>
                    <a:pt x="1645" y="660"/>
                  </a:lnTo>
                  <a:lnTo>
                    <a:pt x="1653" y="651"/>
                  </a:lnTo>
                  <a:lnTo>
                    <a:pt x="1664" y="645"/>
                  </a:lnTo>
                  <a:lnTo>
                    <a:pt x="1668" y="643"/>
                  </a:lnTo>
                  <a:lnTo>
                    <a:pt x="1675" y="640"/>
                  </a:lnTo>
                  <a:lnTo>
                    <a:pt x="1681" y="639"/>
                  </a:lnTo>
                  <a:lnTo>
                    <a:pt x="1688" y="639"/>
                  </a:lnTo>
                  <a:lnTo>
                    <a:pt x="1705" y="639"/>
                  </a:lnTo>
                  <a:lnTo>
                    <a:pt x="1721" y="642"/>
                  </a:lnTo>
                  <a:lnTo>
                    <a:pt x="1735" y="645"/>
                  </a:lnTo>
                  <a:lnTo>
                    <a:pt x="1750" y="648"/>
                  </a:lnTo>
                  <a:lnTo>
                    <a:pt x="1765" y="650"/>
                  </a:lnTo>
                  <a:lnTo>
                    <a:pt x="1780" y="653"/>
                  </a:lnTo>
                  <a:lnTo>
                    <a:pt x="1795" y="656"/>
                  </a:lnTo>
                  <a:lnTo>
                    <a:pt x="1812" y="656"/>
                  </a:lnTo>
                  <a:lnTo>
                    <a:pt x="1826" y="657"/>
                  </a:lnTo>
                  <a:lnTo>
                    <a:pt x="1842" y="654"/>
                  </a:lnTo>
                  <a:lnTo>
                    <a:pt x="1850" y="653"/>
                  </a:lnTo>
                  <a:lnTo>
                    <a:pt x="1856" y="651"/>
                  </a:lnTo>
                  <a:lnTo>
                    <a:pt x="1863" y="648"/>
                  </a:lnTo>
                  <a:lnTo>
                    <a:pt x="1867" y="645"/>
                  </a:lnTo>
                  <a:lnTo>
                    <a:pt x="1865" y="620"/>
                  </a:lnTo>
                  <a:lnTo>
                    <a:pt x="1862" y="598"/>
                  </a:lnTo>
                  <a:lnTo>
                    <a:pt x="1858" y="577"/>
                  </a:lnTo>
                  <a:lnTo>
                    <a:pt x="1853" y="552"/>
                  </a:lnTo>
                  <a:lnTo>
                    <a:pt x="1848" y="534"/>
                  </a:lnTo>
                  <a:lnTo>
                    <a:pt x="1840" y="516"/>
                  </a:lnTo>
                  <a:lnTo>
                    <a:pt x="1831" y="501"/>
                  </a:lnTo>
                  <a:lnTo>
                    <a:pt x="1822" y="486"/>
                  </a:lnTo>
                  <a:lnTo>
                    <a:pt x="1816" y="480"/>
                  </a:lnTo>
                  <a:lnTo>
                    <a:pt x="1811" y="474"/>
                  </a:lnTo>
                  <a:lnTo>
                    <a:pt x="1804" y="469"/>
                  </a:lnTo>
                  <a:lnTo>
                    <a:pt x="1797" y="463"/>
                  </a:lnTo>
                  <a:lnTo>
                    <a:pt x="1789" y="459"/>
                  </a:lnTo>
                  <a:lnTo>
                    <a:pt x="1782" y="455"/>
                  </a:lnTo>
                  <a:lnTo>
                    <a:pt x="1773" y="451"/>
                  </a:lnTo>
                  <a:lnTo>
                    <a:pt x="1763" y="448"/>
                  </a:lnTo>
                  <a:lnTo>
                    <a:pt x="1745" y="445"/>
                  </a:lnTo>
                  <a:lnTo>
                    <a:pt x="1729" y="444"/>
                  </a:lnTo>
                  <a:lnTo>
                    <a:pt x="1712" y="443"/>
                  </a:lnTo>
                  <a:lnTo>
                    <a:pt x="1693" y="441"/>
                  </a:lnTo>
                  <a:lnTo>
                    <a:pt x="1680" y="436"/>
                  </a:lnTo>
                  <a:lnTo>
                    <a:pt x="1668" y="432"/>
                  </a:lnTo>
                  <a:lnTo>
                    <a:pt x="1657" y="427"/>
                  </a:lnTo>
                  <a:lnTo>
                    <a:pt x="1646" y="421"/>
                  </a:lnTo>
                  <a:lnTo>
                    <a:pt x="1625" y="411"/>
                  </a:lnTo>
                  <a:lnTo>
                    <a:pt x="1603" y="403"/>
                  </a:lnTo>
                  <a:lnTo>
                    <a:pt x="1601" y="374"/>
                  </a:lnTo>
                  <a:lnTo>
                    <a:pt x="1601" y="349"/>
                  </a:lnTo>
                  <a:lnTo>
                    <a:pt x="1600" y="324"/>
                  </a:lnTo>
                  <a:lnTo>
                    <a:pt x="1600" y="297"/>
                  </a:lnTo>
                  <a:lnTo>
                    <a:pt x="1600" y="276"/>
                  </a:lnTo>
                  <a:lnTo>
                    <a:pt x="1597" y="258"/>
                  </a:lnTo>
                  <a:lnTo>
                    <a:pt x="1594" y="241"/>
                  </a:lnTo>
                  <a:lnTo>
                    <a:pt x="1590" y="225"/>
                  </a:lnTo>
                  <a:lnTo>
                    <a:pt x="1585" y="207"/>
                  </a:lnTo>
                  <a:lnTo>
                    <a:pt x="1582" y="191"/>
                  </a:lnTo>
                  <a:lnTo>
                    <a:pt x="1580" y="173"/>
                  </a:lnTo>
                  <a:lnTo>
                    <a:pt x="1579" y="152"/>
                  </a:lnTo>
                  <a:lnTo>
                    <a:pt x="1579" y="136"/>
                  </a:lnTo>
                  <a:lnTo>
                    <a:pt x="1579" y="121"/>
                  </a:lnTo>
                  <a:lnTo>
                    <a:pt x="1609" y="117"/>
                  </a:lnTo>
                  <a:lnTo>
                    <a:pt x="1638" y="112"/>
                  </a:lnTo>
                  <a:lnTo>
                    <a:pt x="1664" y="107"/>
                  </a:lnTo>
                  <a:lnTo>
                    <a:pt x="1690" y="102"/>
                  </a:lnTo>
                  <a:lnTo>
                    <a:pt x="1715" y="97"/>
                  </a:lnTo>
                  <a:lnTo>
                    <a:pt x="1741" y="93"/>
                  </a:lnTo>
                  <a:lnTo>
                    <a:pt x="1770" y="91"/>
                  </a:lnTo>
                  <a:lnTo>
                    <a:pt x="1800" y="90"/>
                  </a:lnTo>
                  <a:lnTo>
                    <a:pt x="1833" y="90"/>
                  </a:lnTo>
                  <a:lnTo>
                    <a:pt x="1862" y="91"/>
                  </a:lnTo>
                  <a:lnTo>
                    <a:pt x="1890" y="91"/>
                  </a:lnTo>
                  <a:lnTo>
                    <a:pt x="1922" y="91"/>
                  </a:lnTo>
                  <a:lnTo>
                    <a:pt x="1936" y="92"/>
                  </a:lnTo>
                  <a:lnTo>
                    <a:pt x="1949" y="94"/>
                  </a:lnTo>
                  <a:lnTo>
                    <a:pt x="1961" y="97"/>
                  </a:lnTo>
                  <a:lnTo>
                    <a:pt x="1972" y="102"/>
                  </a:lnTo>
                  <a:lnTo>
                    <a:pt x="1984" y="107"/>
                  </a:lnTo>
                  <a:lnTo>
                    <a:pt x="1996" y="112"/>
                  </a:lnTo>
                  <a:lnTo>
                    <a:pt x="2008" y="117"/>
                  </a:lnTo>
                  <a:lnTo>
                    <a:pt x="2022" y="121"/>
                  </a:lnTo>
                  <a:lnTo>
                    <a:pt x="2046" y="127"/>
                  </a:lnTo>
                  <a:lnTo>
                    <a:pt x="2070" y="132"/>
                  </a:lnTo>
                  <a:lnTo>
                    <a:pt x="2093" y="136"/>
                  </a:lnTo>
                  <a:lnTo>
                    <a:pt x="2114" y="139"/>
                  </a:lnTo>
                  <a:lnTo>
                    <a:pt x="2137" y="141"/>
                  </a:lnTo>
                  <a:lnTo>
                    <a:pt x="2160" y="143"/>
                  </a:lnTo>
                  <a:lnTo>
                    <a:pt x="2184" y="143"/>
                  </a:lnTo>
                  <a:lnTo>
                    <a:pt x="2211" y="144"/>
                  </a:lnTo>
                  <a:lnTo>
                    <a:pt x="2214" y="143"/>
                  </a:lnTo>
                  <a:lnTo>
                    <a:pt x="2217" y="141"/>
                  </a:lnTo>
                  <a:lnTo>
                    <a:pt x="2220" y="140"/>
                  </a:lnTo>
                  <a:lnTo>
                    <a:pt x="2222" y="139"/>
                  </a:lnTo>
                  <a:lnTo>
                    <a:pt x="2227" y="134"/>
                  </a:lnTo>
                  <a:lnTo>
                    <a:pt x="2230" y="129"/>
                  </a:lnTo>
                  <a:lnTo>
                    <a:pt x="2234" y="113"/>
                  </a:lnTo>
                  <a:lnTo>
                    <a:pt x="2238" y="98"/>
                  </a:lnTo>
                  <a:lnTo>
                    <a:pt x="2240" y="84"/>
                  </a:lnTo>
                  <a:lnTo>
                    <a:pt x="2243" y="71"/>
                  </a:lnTo>
                  <a:lnTo>
                    <a:pt x="2246" y="57"/>
                  </a:lnTo>
                  <a:lnTo>
                    <a:pt x="2252" y="45"/>
                  </a:lnTo>
                  <a:lnTo>
                    <a:pt x="2254" y="40"/>
                  </a:lnTo>
                  <a:lnTo>
                    <a:pt x="2257" y="36"/>
                  </a:lnTo>
                  <a:lnTo>
                    <a:pt x="2261" y="31"/>
                  </a:lnTo>
                  <a:lnTo>
                    <a:pt x="2266" y="27"/>
                  </a:lnTo>
                  <a:lnTo>
                    <a:pt x="2270" y="24"/>
                  </a:lnTo>
                  <a:lnTo>
                    <a:pt x="2275" y="22"/>
                  </a:lnTo>
                  <a:lnTo>
                    <a:pt x="2281" y="21"/>
                  </a:lnTo>
                  <a:lnTo>
                    <a:pt x="2287" y="19"/>
                  </a:lnTo>
                  <a:lnTo>
                    <a:pt x="2296" y="21"/>
                  </a:lnTo>
                  <a:lnTo>
                    <a:pt x="2302" y="23"/>
                  </a:lnTo>
                  <a:lnTo>
                    <a:pt x="2309" y="26"/>
                  </a:lnTo>
                  <a:lnTo>
                    <a:pt x="2315" y="30"/>
                  </a:lnTo>
                  <a:lnTo>
                    <a:pt x="2326" y="41"/>
                  </a:lnTo>
                  <a:lnTo>
                    <a:pt x="2335" y="53"/>
                  </a:lnTo>
                  <a:lnTo>
                    <a:pt x="2345" y="66"/>
                  </a:lnTo>
                  <a:lnTo>
                    <a:pt x="2355" y="77"/>
                  </a:lnTo>
                  <a:lnTo>
                    <a:pt x="2361" y="81"/>
                  </a:lnTo>
                  <a:lnTo>
                    <a:pt x="2367" y="84"/>
                  </a:lnTo>
                  <a:lnTo>
                    <a:pt x="2375" y="86"/>
                  </a:lnTo>
                  <a:lnTo>
                    <a:pt x="2382" y="87"/>
                  </a:lnTo>
                  <a:lnTo>
                    <a:pt x="2392" y="86"/>
                  </a:lnTo>
                  <a:lnTo>
                    <a:pt x="2401" y="83"/>
                  </a:lnTo>
                  <a:lnTo>
                    <a:pt x="2407" y="80"/>
                  </a:lnTo>
                  <a:lnTo>
                    <a:pt x="2414" y="75"/>
                  </a:lnTo>
                  <a:lnTo>
                    <a:pt x="2427" y="63"/>
                  </a:lnTo>
                  <a:lnTo>
                    <a:pt x="2442" y="51"/>
                  </a:lnTo>
                  <a:lnTo>
                    <a:pt x="2454" y="43"/>
                  </a:lnTo>
                  <a:lnTo>
                    <a:pt x="2465" y="37"/>
                  </a:lnTo>
                  <a:lnTo>
                    <a:pt x="2471" y="33"/>
                  </a:lnTo>
                  <a:lnTo>
                    <a:pt x="2476" y="29"/>
                  </a:lnTo>
                  <a:lnTo>
                    <a:pt x="2482" y="25"/>
                  </a:lnTo>
                  <a:lnTo>
                    <a:pt x="2486" y="19"/>
                  </a:lnTo>
                  <a:lnTo>
                    <a:pt x="2492" y="13"/>
                  </a:lnTo>
                  <a:lnTo>
                    <a:pt x="2499" y="6"/>
                  </a:lnTo>
                  <a:lnTo>
                    <a:pt x="2502" y="4"/>
                  </a:lnTo>
                  <a:lnTo>
                    <a:pt x="2505" y="2"/>
                  </a:lnTo>
                  <a:lnTo>
                    <a:pt x="2510" y="1"/>
                  </a:lnTo>
                  <a:lnTo>
                    <a:pt x="2514" y="0"/>
                  </a:lnTo>
                  <a:lnTo>
                    <a:pt x="2521" y="1"/>
                  </a:lnTo>
                  <a:lnTo>
                    <a:pt x="2526" y="3"/>
                  </a:lnTo>
                  <a:lnTo>
                    <a:pt x="2530" y="6"/>
                  </a:lnTo>
                  <a:lnTo>
                    <a:pt x="2534" y="10"/>
                  </a:lnTo>
                  <a:lnTo>
                    <a:pt x="2541" y="18"/>
                  </a:lnTo>
                  <a:lnTo>
                    <a:pt x="2551" y="26"/>
                  </a:lnTo>
                  <a:lnTo>
                    <a:pt x="2576" y="38"/>
                  </a:lnTo>
                  <a:lnTo>
                    <a:pt x="2598" y="49"/>
                  </a:lnTo>
                  <a:lnTo>
                    <a:pt x="2609" y="54"/>
                  </a:lnTo>
                  <a:lnTo>
                    <a:pt x="2620" y="60"/>
                  </a:lnTo>
                  <a:lnTo>
                    <a:pt x="2631" y="69"/>
                  </a:lnTo>
                  <a:lnTo>
                    <a:pt x="2640" y="79"/>
                  </a:lnTo>
                  <a:lnTo>
                    <a:pt x="2646" y="85"/>
                  </a:lnTo>
                  <a:lnTo>
                    <a:pt x="2651" y="92"/>
                  </a:lnTo>
                  <a:lnTo>
                    <a:pt x="2654" y="97"/>
                  </a:lnTo>
                  <a:lnTo>
                    <a:pt x="2658" y="104"/>
                  </a:lnTo>
                  <a:lnTo>
                    <a:pt x="2663" y="117"/>
                  </a:lnTo>
                  <a:lnTo>
                    <a:pt x="2666" y="131"/>
                  </a:lnTo>
                  <a:lnTo>
                    <a:pt x="2671" y="159"/>
                  </a:lnTo>
                  <a:lnTo>
                    <a:pt x="2677" y="191"/>
                  </a:lnTo>
                  <a:lnTo>
                    <a:pt x="2683" y="208"/>
                  </a:lnTo>
                  <a:lnTo>
                    <a:pt x="2688" y="224"/>
                  </a:lnTo>
                  <a:lnTo>
                    <a:pt x="2693" y="239"/>
                  </a:lnTo>
                  <a:lnTo>
                    <a:pt x="2700" y="253"/>
                  </a:lnTo>
                  <a:lnTo>
                    <a:pt x="2705" y="267"/>
                  </a:lnTo>
                  <a:lnTo>
                    <a:pt x="2710" y="281"/>
                  </a:lnTo>
                  <a:lnTo>
                    <a:pt x="2713" y="297"/>
                  </a:lnTo>
                  <a:lnTo>
                    <a:pt x="2714" y="314"/>
                  </a:lnTo>
                  <a:lnTo>
                    <a:pt x="2729" y="314"/>
                  </a:lnTo>
                  <a:lnTo>
                    <a:pt x="2743" y="314"/>
                  </a:lnTo>
                  <a:lnTo>
                    <a:pt x="2756" y="314"/>
                  </a:lnTo>
                  <a:lnTo>
                    <a:pt x="2772" y="314"/>
                  </a:lnTo>
                  <a:lnTo>
                    <a:pt x="2784" y="313"/>
                  </a:lnTo>
                  <a:lnTo>
                    <a:pt x="2795" y="311"/>
                  </a:lnTo>
                  <a:lnTo>
                    <a:pt x="2806" y="307"/>
                  </a:lnTo>
                  <a:lnTo>
                    <a:pt x="2817" y="301"/>
                  </a:lnTo>
                  <a:lnTo>
                    <a:pt x="2817" y="301"/>
                  </a:lnTo>
                  <a:lnTo>
                    <a:pt x="2828" y="321"/>
                  </a:lnTo>
                  <a:lnTo>
                    <a:pt x="2840" y="338"/>
                  </a:lnTo>
                  <a:lnTo>
                    <a:pt x="2851" y="354"/>
                  </a:lnTo>
                  <a:lnTo>
                    <a:pt x="2863" y="368"/>
                  </a:lnTo>
                  <a:lnTo>
                    <a:pt x="2876" y="381"/>
                  </a:lnTo>
                  <a:lnTo>
                    <a:pt x="2890" y="394"/>
                  </a:lnTo>
                  <a:lnTo>
                    <a:pt x="2905" y="407"/>
                  </a:lnTo>
                  <a:lnTo>
                    <a:pt x="2923" y="420"/>
                  </a:lnTo>
                  <a:lnTo>
                    <a:pt x="2937" y="435"/>
                  </a:lnTo>
                  <a:lnTo>
                    <a:pt x="2952" y="451"/>
                  </a:lnTo>
                  <a:lnTo>
                    <a:pt x="2972" y="467"/>
                  </a:lnTo>
                  <a:lnTo>
                    <a:pt x="2993" y="478"/>
                  </a:lnTo>
                  <a:lnTo>
                    <a:pt x="3013" y="489"/>
                  </a:lnTo>
                  <a:lnTo>
                    <a:pt x="3033" y="497"/>
                  </a:lnTo>
                  <a:lnTo>
                    <a:pt x="3054" y="503"/>
                  </a:lnTo>
                  <a:lnTo>
                    <a:pt x="3076" y="508"/>
                  </a:lnTo>
                  <a:lnTo>
                    <a:pt x="3099" y="510"/>
                  </a:lnTo>
                  <a:lnTo>
                    <a:pt x="3125" y="510"/>
                  </a:lnTo>
                  <a:lnTo>
                    <a:pt x="3147" y="510"/>
                  </a:lnTo>
                  <a:lnTo>
                    <a:pt x="3166" y="509"/>
                  </a:lnTo>
                  <a:lnTo>
                    <a:pt x="3186" y="507"/>
                  </a:lnTo>
                  <a:lnTo>
                    <a:pt x="3204" y="504"/>
                  </a:lnTo>
                  <a:lnTo>
                    <a:pt x="3222" y="501"/>
                  </a:lnTo>
                  <a:lnTo>
                    <a:pt x="3239" y="498"/>
                  </a:lnTo>
                  <a:lnTo>
                    <a:pt x="3255" y="494"/>
                  </a:lnTo>
                  <a:lnTo>
                    <a:pt x="3271" y="489"/>
                  </a:lnTo>
                  <a:lnTo>
                    <a:pt x="3305" y="478"/>
                  </a:lnTo>
                  <a:lnTo>
                    <a:pt x="3338" y="465"/>
                  </a:lnTo>
                  <a:lnTo>
                    <a:pt x="3373" y="450"/>
                  </a:lnTo>
                  <a:lnTo>
                    <a:pt x="3412" y="434"/>
                  </a:lnTo>
                  <a:lnTo>
                    <a:pt x="3421" y="430"/>
                  </a:lnTo>
                  <a:lnTo>
                    <a:pt x="3430" y="426"/>
                  </a:lnTo>
                  <a:lnTo>
                    <a:pt x="3439" y="420"/>
                  </a:lnTo>
                  <a:lnTo>
                    <a:pt x="3446" y="415"/>
                  </a:lnTo>
                  <a:lnTo>
                    <a:pt x="3460" y="402"/>
                  </a:lnTo>
                  <a:lnTo>
                    <a:pt x="3473" y="389"/>
                  </a:lnTo>
                  <a:lnTo>
                    <a:pt x="3486" y="376"/>
                  </a:lnTo>
                  <a:lnTo>
                    <a:pt x="3499" y="363"/>
                  </a:lnTo>
                  <a:lnTo>
                    <a:pt x="3507" y="356"/>
                  </a:lnTo>
                  <a:lnTo>
                    <a:pt x="3514" y="351"/>
                  </a:lnTo>
                  <a:lnTo>
                    <a:pt x="3523" y="345"/>
                  </a:lnTo>
                  <a:lnTo>
                    <a:pt x="3532" y="339"/>
                  </a:lnTo>
                  <a:lnTo>
                    <a:pt x="3548" y="332"/>
                  </a:lnTo>
                  <a:lnTo>
                    <a:pt x="3564" y="326"/>
                  </a:lnTo>
                  <a:lnTo>
                    <a:pt x="3578" y="322"/>
                  </a:lnTo>
                  <a:lnTo>
                    <a:pt x="3593" y="319"/>
                  </a:lnTo>
                  <a:lnTo>
                    <a:pt x="3624" y="315"/>
                  </a:lnTo>
                  <a:lnTo>
                    <a:pt x="3658" y="309"/>
                  </a:lnTo>
                  <a:lnTo>
                    <a:pt x="3678" y="302"/>
                  </a:lnTo>
                  <a:lnTo>
                    <a:pt x="3698" y="296"/>
                  </a:lnTo>
                  <a:lnTo>
                    <a:pt x="3716" y="288"/>
                  </a:lnTo>
                  <a:lnTo>
                    <a:pt x="3732" y="280"/>
                  </a:lnTo>
                  <a:lnTo>
                    <a:pt x="3749" y="271"/>
                  </a:lnTo>
                  <a:lnTo>
                    <a:pt x="3763" y="261"/>
                  </a:lnTo>
                  <a:lnTo>
                    <a:pt x="3778" y="251"/>
                  </a:lnTo>
                  <a:lnTo>
                    <a:pt x="3792" y="240"/>
                  </a:lnTo>
                  <a:lnTo>
                    <a:pt x="3819" y="217"/>
                  </a:lnTo>
                  <a:lnTo>
                    <a:pt x="3848" y="194"/>
                  </a:lnTo>
                  <a:lnTo>
                    <a:pt x="3862" y="181"/>
                  </a:lnTo>
                  <a:lnTo>
                    <a:pt x="3878" y="170"/>
                  </a:lnTo>
                  <a:lnTo>
                    <a:pt x="3895" y="158"/>
                  </a:lnTo>
                  <a:lnTo>
                    <a:pt x="3913" y="146"/>
                  </a:lnTo>
                  <a:lnTo>
                    <a:pt x="3931" y="135"/>
                  </a:lnTo>
                  <a:lnTo>
                    <a:pt x="3950" y="124"/>
                  </a:lnTo>
                  <a:lnTo>
                    <a:pt x="3967" y="116"/>
                  </a:lnTo>
                  <a:lnTo>
                    <a:pt x="3984" y="107"/>
                  </a:lnTo>
                  <a:lnTo>
                    <a:pt x="4018" y="92"/>
                  </a:lnTo>
                  <a:lnTo>
                    <a:pt x="4050" y="77"/>
                  </a:lnTo>
                  <a:lnTo>
                    <a:pt x="4082" y="63"/>
                  </a:lnTo>
                  <a:lnTo>
                    <a:pt x="4115" y="46"/>
                  </a:lnTo>
                  <a:lnTo>
                    <a:pt x="4131" y="37"/>
                  </a:lnTo>
                  <a:lnTo>
                    <a:pt x="4147" y="27"/>
                  </a:lnTo>
                  <a:lnTo>
                    <a:pt x="4164" y="15"/>
                  </a:lnTo>
                  <a:lnTo>
                    <a:pt x="4182" y="3"/>
                  </a:lnTo>
                  <a:lnTo>
                    <a:pt x="4182" y="3"/>
                  </a:lnTo>
                  <a:lnTo>
                    <a:pt x="4198" y="3"/>
                  </a:lnTo>
                  <a:lnTo>
                    <a:pt x="4212" y="4"/>
                  </a:lnTo>
                  <a:lnTo>
                    <a:pt x="4226" y="6"/>
                  </a:lnTo>
                  <a:lnTo>
                    <a:pt x="4240" y="9"/>
                  </a:lnTo>
                  <a:lnTo>
                    <a:pt x="4253" y="13"/>
                  </a:lnTo>
                  <a:lnTo>
                    <a:pt x="4266" y="17"/>
                  </a:lnTo>
                  <a:lnTo>
                    <a:pt x="4279" y="24"/>
                  </a:lnTo>
                  <a:lnTo>
                    <a:pt x="4292" y="31"/>
                  </a:lnTo>
                  <a:lnTo>
                    <a:pt x="4308" y="41"/>
                  </a:lnTo>
                  <a:lnTo>
                    <a:pt x="4324" y="51"/>
                  </a:lnTo>
                  <a:lnTo>
                    <a:pt x="4331" y="56"/>
                  </a:lnTo>
                  <a:lnTo>
                    <a:pt x="4337" y="63"/>
                  </a:lnTo>
                  <a:lnTo>
                    <a:pt x="4342" y="70"/>
                  </a:lnTo>
                  <a:lnTo>
                    <a:pt x="4345" y="79"/>
                  </a:lnTo>
                  <a:lnTo>
                    <a:pt x="4352" y="104"/>
                  </a:lnTo>
                  <a:lnTo>
                    <a:pt x="4360" y="125"/>
                  </a:lnTo>
                  <a:lnTo>
                    <a:pt x="4367" y="147"/>
                  </a:lnTo>
                  <a:lnTo>
                    <a:pt x="4375" y="166"/>
                  </a:lnTo>
                  <a:lnTo>
                    <a:pt x="4383" y="186"/>
                  </a:lnTo>
                  <a:lnTo>
                    <a:pt x="4390" y="206"/>
                  </a:lnTo>
                  <a:lnTo>
                    <a:pt x="4398" y="228"/>
                  </a:lnTo>
                  <a:lnTo>
                    <a:pt x="4406" y="253"/>
                  </a:lnTo>
                  <a:lnTo>
                    <a:pt x="4413" y="269"/>
                  </a:lnTo>
                  <a:lnTo>
                    <a:pt x="4419" y="283"/>
                  </a:lnTo>
                  <a:lnTo>
                    <a:pt x="4428" y="295"/>
                  </a:lnTo>
                  <a:lnTo>
                    <a:pt x="4438" y="307"/>
                  </a:lnTo>
                  <a:lnTo>
                    <a:pt x="4448" y="318"/>
                  </a:lnTo>
                  <a:lnTo>
                    <a:pt x="4460" y="327"/>
                  </a:lnTo>
                  <a:lnTo>
                    <a:pt x="4473" y="338"/>
                  </a:lnTo>
                  <a:lnTo>
                    <a:pt x="4487" y="348"/>
                  </a:lnTo>
                  <a:lnTo>
                    <a:pt x="4498" y="355"/>
                  </a:lnTo>
                  <a:lnTo>
                    <a:pt x="4508" y="364"/>
                  </a:lnTo>
                  <a:lnTo>
                    <a:pt x="4517" y="372"/>
                  </a:lnTo>
                  <a:lnTo>
                    <a:pt x="4524" y="379"/>
                  </a:lnTo>
                  <a:lnTo>
                    <a:pt x="4540" y="395"/>
                  </a:lnTo>
                  <a:lnTo>
                    <a:pt x="4561" y="413"/>
                  </a:lnTo>
                  <a:lnTo>
                    <a:pt x="4578" y="426"/>
                  </a:lnTo>
                  <a:lnTo>
                    <a:pt x="4593" y="438"/>
                  </a:lnTo>
                  <a:lnTo>
                    <a:pt x="4608" y="451"/>
                  </a:lnTo>
                  <a:lnTo>
                    <a:pt x="4620" y="465"/>
                  </a:lnTo>
                  <a:lnTo>
                    <a:pt x="4626" y="473"/>
                  </a:lnTo>
                  <a:lnTo>
                    <a:pt x="4630" y="482"/>
                  </a:lnTo>
                  <a:lnTo>
                    <a:pt x="4634" y="489"/>
                  </a:lnTo>
                  <a:lnTo>
                    <a:pt x="4639" y="498"/>
                  </a:lnTo>
                  <a:lnTo>
                    <a:pt x="4641" y="508"/>
                  </a:lnTo>
                  <a:lnTo>
                    <a:pt x="4643" y="516"/>
                  </a:lnTo>
                  <a:lnTo>
                    <a:pt x="4644" y="527"/>
                  </a:lnTo>
                  <a:lnTo>
                    <a:pt x="4645" y="538"/>
                  </a:lnTo>
                  <a:lnTo>
                    <a:pt x="4645" y="554"/>
                  </a:lnTo>
                  <a:lnTo>
                    <a:pt x="4645" y="569"/>
                  </a:lnTo>
                  <a:lnTo>
                    <a:pt x="4645" y="583"/>
                  </a:lnTo>
                  <a:lnTo>
                    <a:pt x="4645" y="599"/>
                  </a:lnTo>
                  <a:lnTo>
                    <a:pt x="4653" y="667"/>
                  </a:lnTo>
                  <a:lnTo>
                    <a:pt x="4653" y="688"/>
                  </a:lnTo>
                  <a:lnTo>
                    <a:pt x="4653" y="706"/>
                  </a:lnTo>
                  <a:lnTo>
                    <a:pt x="4653" y="726"/>
                  </a:lnTo>
                  <a:lnTo>
                    <a:pt x="4653" y="746"/>
                  </a:lnTo>
                  <a:lnTo>
                    <a:pt x="4654" y="762"/>
                  </a:lnTo>
                  <a:lnTo>
                    <a:pt x="4654" y="779"/>
                  </a:lnTo>
                  <a:lnTo>
                    <a:pt x="4656" y="793"/>
                  </a:lnTo>
                  <a:lnTo>
                    <a:pt x="4658" y="807"/>
                  </a:lnTo>
                  <a:lnTo>
                    <a:pt x="4662" y="821"/>
                  </a:lnTo>
                  <a:lnTo>
                    <a:pt x="4668" y="834"/>
                  </a:lnTo>
                  <a:lnTo>
                    <a:pt x="4675" y="847"/>
                  </a:lnTo>
                  <a:lnTo>
                    <a:pt x="4684" y="861"/>
                  </a:lnTo>
                  <a:lnTo>
                    <a:pt x="4712" y="895"/>
                  </a:lnTo>
                  <a:lnTo>
                    <a:pt x="4738" y="926"/>
                  </a:lnTo>
                  <a:lnTo>
                    <a:pt x="4744" y="933"/>
                  </a:lnTo>
                  <a:lnTo>
                    <a:pt x="4749" y="942"/>
                  </a:lnTo>
                  <a:lnTo>
                    <a:pt x="4754" y="950"/>
                  </a:lnTo>
                  <a:lnTo>
                    <a:pt x="4757" y="959"/>
                  </a:lnTo>
                  <a:lnTo>
                    <a:pt x="4761" y="968"/>
                  </a:lnTo>
                  <a:lnTo>
                    <a:pt x="4763" y="978"/>
                  </a:lnTo>
                  <a:lnTo>
                    <a:pt x="4765" y="988"/>
                  </a:lnTo>
                  <a:lnTo>
                    <a:pt x="4765" y="1000"/>
                  </a:lnTo>
                  <a:lnTo>
                    <a:pt x="4765" y="1016"/>
                  </a:lnTo>
                  <a:lnTo>
                    <a:pt x="4765" y="1030"/>
                  </a:lnTo>
                  <a:lnTo>
                    <a:pt x="4765" y="1044"/>
                  </a:lnTo>
                  <a:lnTo>
                    <a:pt x="4765" y="1061"/>
                  </a:lnTo>
                  <a:lnTo>
                    <a:pt x="4766" y="1075"/>
                  </a:lnTo>
                  <a:lnTo>
                    <a:pt x="4767" y="1089"/>
                  </a:lnTo>
                  <a:lnTo>
                    <a:pt x="4769" y="1103"/>
                  </a:lnTo>
                  <a:lnTo>
                    <a:pt x="4771" y="1115"/>
                  </a:lnTo>
                  <a:lnTo>
                    <a:pt x="4779" y="1138"/>
                  </a:lnTo>
                  <a:lnTo>
                    <a:pt x="4788" y="1161"/>
                  </a:lnTo>
                  <a:lnTo>
                    <a:pt x="4797" y="1184"/>
                  </a:lnTo>
                  <a:lnTo>
                    <a:pt x="4807" y="1207"/>
                  </a:lnTo>
                  <a:lnTo>
                    <a:pt x="4816" y="1233"/>
                  </a:lnTo>
                  <a:lnTo>
                    <a:pt x="4824" y="1261"/>
                  </a:lnTo>
                  <a:lnTo>
                    <a:pt x="4827" y="1273"/>
                  </a:lnTo>
                  <a:lnTo>
                    <a:pt x="4828" y="1283"/>
                  </a:lnTo>
                  <a:lnTo>
                    <a:pt x="4828" y="1294"/>
                  </a:lnTo>
                  <a:lnTo>
                    <a:pt x="4829" y="1304"/>
                  </a:lnTo>
                  <a:lnTo>
                    <a:pt x="4828" y="1323"/>
                  </a:lnTo>
                  <a:lnTo>
                    <a:pt x="4830" y="1346"/>
                  </a:lnTo>
                  <a:lnTo>
                    <a:pt x="4831" y="1355"/>
                  </a:lnTo>
                  <a:lnTo>
                    <a:pt x="4833" y="1364"/>
                  </a:lnTo>
                  <a:lnTo>
                    <a:pt x="4836" y="1374"/>
                  </a:lnTo>
                  <a:lnTo>
                    <a:pt x="4839" y="1382"/>
                  </a:lnTo>
                  <a:lnTo>
                    <a:pt x="4843" y="1390"/>
                  </a:lnTo>
                  <a:lnTo>
                    <a:pt x="4847" y="1398"/>
                  </a:lnTo>
                  <a:lnTo>
                    <a:pt x="4852" y="1405"/>
                  </a:lnTo>
                  <a:lnTo>
                    <a:pt x="4858" y="1413"/>
                  </a:lnTo>
                  <a:lnTo>
                    <a:pt x="4863" y="1419"/>
                  </a:lnTo>
                  <a:lnTo>
                    <a:pt x="4870" y="1425"/>
                  </a:lnTo>
                  <a:lnTo>
                    <a:pt x="4877" y="1430"/>
                  </a:lnTo>
                  <a:lnTo>
                    <a:pt x="4885" y="1434"/>
                  </a:lnTo>
                  <a:lnTo>
                    <a:pt x="4892" y="1439"/>
                  </a:lnTo>
                  <a:lnTo>
                    <a:pt x="4901" y="1442"/>
                  </a:lnTo>
                  <a:lnTo>
                    <a:pt x="4910" y="1444"/>
                  </a:lnTo>
                  <a:lnTo>
                    <a:pt x="4919" y="1446"/>
                  </a:lnTo>
                  <a:lnTo>
                    <a:pt x="4941" y="1449"/>
                  </a:lnTo>
                  <a:lnTo>
                    <a:pt x="4960" y="1453"/>
                  </a:lnTo>
                  <a:lnTo>
                    <a:pt x="4980" y="1458"/>
                  </a:lnTo>
                  <a:lnTo>
                    <a:pt x="5000" y="1463"/>
                  </a:lnTo>
                  <a:lnTo>
                    <a:pt x="5016" y="1468"/>
                  </a:lnTo>
                  <a:lnTo>
                    <a:pt x="5030" y="1472"/>
                  </a:lnTo>
                  <a:lnTo>
                    <a:pt x="5037" y="1472"/>
                  </a:lnTo>
                  <a:lnTo>
                    <a:pt x="5043" y="1471"/>
                  </a:lnTo>
                  <a:lnTo>
                    <a:pt x="5046" y="1470"/>
                  </a:lnTo>
                  <a:lnTo>
                    <a:pt x="5048" y="1469"/>
                  </a:lnTo>
                  <a:lnTo>
                    <a:pt x="5050" y="1467"/>
                  </a:lnTo>
                  <a:lnTo>
                    <a:pt x="5051" y="1463"/>
                  </a:lnTo>
                  <a:lnTo>
                    <a:pt x="5057" y="1447"/>
                  </a:lnTo>
                  <a:lnTo>
                    <a:pt x="5061" y="1432"/>
                  </a:lnTo>
                  <a:lnTo>
                    <a:pt x="5064" y="1417"/>
                  </a:lnTo>
                  <a:lnTo>
                    <a:pt x="5067" y="1403"/>
                  </a:lnTo>
                  <a:lnTo>
                    <a:pt x="5070" y="1389"/>
                  </a:lnTo>
                  <a:lnTo>
                    <a:pt x="5073" y="1374"/>
                  </a:lnTo>
                  <a:lnTo>
                    <a:pt x="5076" y="1359"/>
                  </a:lnTo>
                  <a:lnTo>
                    <a:pt x="5081" y="1342"/>
                  </a:lnTo>
                  <a:lnTo>
                    <a:pt x="5088" y="1328"/>
                  </a:lnTo>
                  <a:lnTo>
                    <a:pt x="5093" y="1315"/>
                  </a:lnTo>
                  <a:lnTo>
                    <a:pt x="5100" y="1305"/>
                  </a:lnTo>
                  <a:lnTo>
                    <a:pt x="5106" y="1293"/>
                  </a:lnTo>
                  <a:lnTo>
                    <a:pt x="5119" y="1271"/>
                  </a:lnTo>
                  <a:lnTo>
                    <a:pt x="5132" y="1244"/>
                  </a:lnTo>
                  <a:lnTo>
                    <a:pt x="5141" y="1225"/>
                  </a:lnTo>
                  <a:lnTo>
                    <a:pt x="5148" y="1207"/>
                  </a:lnTo>
                  <a:lnTo>
                    <a:pt x="5153" y="1199"/>
                  </a:lnTo>
                  <a:lnTo>
                    <a:pt x="5158" y="1190"/>
                  </a:lnTo>
                  <a:lnTo>
                    <a:pt x="5165" y="1183"/>
                  </a:lnTo>
                  <a:lnTo>
                    <a:pt x="5172" y="1174"/>
                  </a:lnTo>
                  <a:lnTo>
                    <a:pt x="5180" y="1166"/>
                  </a:lnTo>
                  <a:lnTo>
                    <a:pt x="5188" y="1160"/>
                  </a:lnTo>
                  <a:lnTo>
                    <a:pt x="5197" y="1155"/>
                  </a:lnTo>
                  <a:lnTo>
                    <a:pt x="5206" y="1150"/>
                  </a:lnTo>
                  <a:lnTo>
                    <a:pt x="5215" y="1147"/>
                  </a:lnTo>
                  <a:lnTo>
                    <a:pt x="5225" y="1144"/>
                  </a:lnTo>
                  <a:lnTo>
                    <a:pt x="5234" y="1143"/>
                  </a:lnTo>
                  <a:lnTo>
                    <a:pt x="5243" y="1142"/>
                  </a:lnTo>
                  <a:lnTo>
                    <a:pt x="5254" y="1140"/>
                  </a:lnTo>
                  <a:lnTo>
                    <a:pt x="5264" y="1142"/>
                  </a:lnTo>
                  <a:lnTo>
                    <a:pt x="5274" y="1143"/>
                  </a:lnTo>
                  <a:lnTo>
                    <a:pt x="5284" y="1144"/>
                  </a:lnTo>
                  <a:lnTo>
                    <a:pt x="5294" y="1147"/>
                  </a:lnTo>
                  <a:lnTo>
                    <a:pt x="5305" y="1150"/>
                  </a:lnTo>
                  <a:lnTo>
                    <a:pt x="5316" y="1153"/>
                  </a:lnTo>
                  <a:lnTo>
                    <a:pt x="5326" y="1158"/>
                  </a:lnTo>
                  <a:lnTo>
                    <a:pt x="5334" y="1162"/>
                  </a:lnTo>
                  <a:lnTo>
                    <a:pt x="5342" y="1166"/>
                  </a:lnTo>
                  <a:lnTo>
                    <a:pt x="5348" y="1172"/>
                  </a:lnTo>
                  <a:lnTo>
                    <a:pt x="5356" y="1177"/>
                  </a:lnTo>
                  <a:lnTo>
                    <a:pt x="5368" y="1188"/>
                  </a:lnTo>
                  <a:lnTo>
                    <a:pt x="5378" y="1200"/>
                  </a:lnTo>
                  <a:lnTo>
                    <a:pt x="5390" y="1211"/>
                  </a:lnTo>
                  <a:lnTo>
                    <a:pt x="5403" y="1219"/>
                  </a:lnTo>
                  <a:lnTo>
                    <a:pt x="5410" y="1223"/>
                  </a:lnTo>
                  <a:lnTo>
                    <a:pt x="5417" y="1226"/>
                  </a:lnTo>
                  <a:lnTo>
                    <a:pt x="5426" y="1227"/>
                  </a:lnTo>
                  <a:lnTo>
                    <a:pt x="5435" y="1228"/>
                  </a:lnTo>
                  <a:lnTo>
                    <a:pt x="5451" y="1227"/>
                  </a:lnTo>
                  <a:lnTo>
                    <a:pt x="5467" y="1225"/>
                  </a:lnTo>
                  <a:lnTo>
                    <a:pt x="5483" y="1220"/>
                  </a:lnTo>
                  <a:lnTo>
                    <a:pt x="5497" y="1215"/>
                  </a:lnTo>
                  <a:lnTo>
                    <a:pt x="5504" y="1212"/>
                  </a:lnTo>
                  <a:lnTo>
                    <a:pt x="5509" y="1207"/>
                  </a:lnTo>
                  <a:lnTo>
                    <a:pt x="5515" y="1203"/>
                  </a:lnTo>
                  <a:lnTo>
                    <a:pt x="5519" y="1198"/>
                  </a:lnTo>
                  <a:lnTo>
                    <a:pt x="5522" y="1191"/>
                  </a:lnTo>
                  <a:lnTo>
                    <a:pt x="5525" y="1186"/>
                  </a:lnTo>
                  <a:lnTo>
                    <a:pt x="5527" y="1178"/>
                  </a:lnTo>
                  <a:lnTo>
                    <a:pt x="5527" y="1171"/>
                  </a:lnTo>
                  <a:lnTo>
                    <a:pt x="5527" y="1153"/>
                  </a:lnTo>
                  <a:lnTo>
                    <a:pt x="5527" y="1138"/>
                  </a:lnTo>
                  <a:lnTo>
                    <a:pt x="5527" y="1122"/>
                  </a:lnTo>
                  <a:lnTo>
                    <a:pt x="5527" y="1105"/>
                  </a:lnTo>
                  <a:lnTo>
                    <a:pt x="5527" y="1101"/>
                  </a:lnTo>
                  <a:lnTo>
                    <a:pt x="5529" y="1095"/>
                  </a:lnTo>
                  <a:lnTo>
                    <a:pt x="5530" y="1091"/>
                  </a:lnTo>
                  <a:lnTo>
                    <a:pt x="5532" y="1088"/>
                  </a:lnTo>
                  <a:lnTo>
                    <a:pt x="5537" y="1080"/>
                  </a:lnTo>
                  <a:lnTo>
                    <a:pt x="5544" y="1074"/>
                  </a:lnTo>
                  <a:lnTo>
                    <a:pt x="5551" y="1069"/>
                  </a:lnTo>
                  <a:lnTo>
                    <a:pt x="5560" y="1064"/>
                  </a:lnTo>
                  <a:lnTo>
                    <a:pt x="5569" y="1061"/>
                  </a:lnTo>
                  <a:lnTo>
                    <a:pt x="5578" y="1056"/>
                  </a:lnTo>
                  <a:lnTo>
                    <a:pt x="5592" y="1051"/>
                  </a:lnTo>
                  <a:lnTo>
                    <a:pt x="5604" y="1045"/>
                  </a:lnTo>
                  <a:lnTo>
                    <a:pt x="5615" y="1039"/>
                  </a:lnTo>
                  <a:lnTo>
                    <a:pt x="5626" y="1032"/>
                  </a:lnTo>
                  <a:lnTo>
                    <a:pt x="5648" y="1020"/>
                  </a:lnTo>
                  <a:lnTo>
                    <a:pt x="5673" y="1007"/>
                  </a:lnTo>
                  <a:lnTo>
                    <a:pt x="5697" y="995"/>
                  </a:lnTo>
                  <a:lnTo>
                    <a:pt x="5717" y="982"/>
                  </a:lnTo>
                  <a:lnTo>
                    <a:pt x="5734" y="969"/>
                  </a:lnTo>
                  <a:lnTo>
                    <a:pt x="5749" y="956"/>
                  </a:lnTo>
                  <a:lnTo>
                    <a:pt x="5765" y="942"/>
                  </a:lnTo>
                  <a:lnTo>
                    <a:pt x="5781" y="928"/>
                  </a:lnTo>
                  <a:lnTo>
                    <a:pt x="5800" y="913"/>
                  </a:lnTo>
                  <a:lnTo>
                    <a:pt x="5822" y="897"/>
                  </a:lnTo>
                  <a:lnTo>
                    <a:pt x="5835" y="880"/>
                  </a:lnTo>
                  <a:lnTo>
                    <a:pt x="5848" y="866"/>
                  </a:lnTo>
                  <a:lnTo>
                    <a:pt x="5856" y="860"/>
                  </a:lnTo>
                  <a:lnTo>
                    <a:pt x="5864" y="855"/>
                  </a:lnTo>
                  <a:lnTo>
                    <a:pt x="5873" y="853"/>
                  </a:lnTo>
                  <a:lnTo>
                    <a:pt x="5884" y="852"/>
                  </a:lnTo>
                  <a:lnTo>
                    <a:pt x="5903" y="852"/>
                  </a:lnTo>
                  <a:lnTo>
                    <a:pt x="5920" y="852"/>
                  </a:lnTo>
                  <a:lnTo>
                    <a:pt x="5937" y="852"/>
                  </a:lnTo>
                  <a:lnTo>
                    <a:pt x="5955" y="852"/>
                  </a:lnTo>
                  <a:lnTo>
                    <a:pt x="5983" y="852"/>
                  </a:lnTo>
                  <a:lnTo>
                    <a:pt x="6007" y="854"/>
                  </a:lnTo>
                  <a:lnTo>
                    <a:pt x="6031" y="858"/>
                  </a:lnTo>
                  <a:lnTo>
                    <a:pt x="6058" y="863"/>
                  </a:lnTo>
                  <a:lnTo>
                    <a:pt x="6033" y="368"/>
                  </a:lnTo>
                  <a:lnTo>
                    <a:pt x="6058" y="863"/>
                  </a:lnTo>
                  <a:lnTo>
                    <a:pt x="6058" y="888"/>
                  </a:lnTo>
                  <a:lnTo>
                    <a:pt x="6060" y="909"/>
                  </a:lnTo>
                  <a:lnTo>
                    <a:pt x="6062" y="931"/>
                  </a:lnTo>
                  <a:lnTo>
                    <a:pt x="6063" y="955"/>
                  </a:lnTo>
                  <a:lnTo>
                    <a:pt x="6063" y="981"/>
                  </a:lnTo>
                  <a:lnTo>
                    <a:pt x="6063" y="1003"/>
                  </a:lnTo>
                  <a:lnTo>
                    <a:pt x="6063" y="1026"/>
                  </a:lnTo>
                  <a:lnTo>
                    <a:pt x="6063" y="1052"/>
                  </a:lnTo>
                  <a:lnTo>
                    <a:pt x="6063" y="1061"/>
                  </a:lnTo>
                  <a:lnTo>
                    <a:pt x="6065" y="1068"/>
                  </a:lnTo>
                  <a:lnTo>
                    <a:pt x="6069" y="1076"/>
                  </a:lnTo>
                  <a:lnTo>
                    <a:pt x="6073" y="1082"/>
                  </a:lnTo>
                  <a:lnTo>
                    <a:pt x="6084" y="1095"/>
                  </a:lnTo>
                  <a:lnTo>
                    <a:pt x="6097" y="1107"/>
                  </a:lnTo>
                  <a:lnTo>
                    <a:pt x="6106" y="1118"/>
                  </a:lnTo>
                  <a:lnTo>
                    <a:pt x="6114" y="1129"/>
                  </a:lnTo>
                  <a:lnTo>
                    <a:pt x="6122" y="1139"/>
                  </a:lnTo>
                  <a:lnTo>
                    <a:pt x="6128" y="1149"/>
                  </a:lnTo>
                  <a:lnTo>
                    <a:pt x="6134" y="1160"/>
                  </a:lnTo>
                  <a:lnTo>
                    <a:pt x="6142" y="1170"/>
                  </a:lnTo>
                  <a:lnTo>
                    <a:pt x="6151" y="1179"/>
                  </a:lnTo>
                  <a:lnTo>
                    <a:pt x="6161" y="1188"/>
                  </a:lnTo>
                  <a:lnTo>
                    <a:pt x="6171" y="1196"/>
                  </a:lnTo>
                  <a:lnTo>
                    <a:pt x="6181" y="1202"/>
                  </a:lnTo>
                  <a:lnTo>
                    <a:pt x="6190" y="1210"/>
                  </a:lnTo>
                  <a:lnTo>
                    <a:pt x="6197" y="1219"/>
                  </a:lnTo>
                  <a:lnTo>
                    <a:pt x="6212" y="1243"/>
                  </a:lnTo>
                  <a:lnTo>
                    <a:pt x="6226" y="1265"/>
                  </a:lnTo>
                  <a:lnTo>
                    <a:pt x="6234" y="1275"/>
                  </a:lnTo>
                  <a:lnTo>
                    <a:pt x="6244" y="1283"/>
                  </a:lnTo>
                  <a:lnTo>
                    <a:pt x="6249" y="1287"/>
                  </a:lnTo>
                  <a:lnTo>
                    <a:pt x="6254" y="1291"/>
                  </a:lnTo>
                  <a:lnTo>
                    <a:pt x="6261" y="1293"/>
                  </a:lnTo>
                  <a:lnTo>
                    <a:pt x="6267" y="1295"/>
                  </a:lnTo>
                  <a:lnTo>
                    <a:pt x="6290" y="1299"/>
                  </a:lnTo>
                  <a:lnTo>
                    <a:pt x="6311" y="1306"/>
                  </a:lnTo>
                  <a:lnTo>
                    <a:pt x="6319" y="1310"/>
                  </a:lnTo>
                  <a:lnTo>
                    <a:pt x="6327" y="1317"/>
                  </a:lnTo>
                  <a:lnTo>
                    <a:pt x="6330" y="1320"/>
                  </a:lnTo>
                  <a:lnTo>
                    <a:pt x="6332" y="1324"/>
                  </a:lnTo>
                  <a:lnTo>
                    <a:pt x="6333" y="1328"/>
                  </a:lnTo>
                  <a:lnTo>
                    <a:pt x="6334" y="1334"/>
                  </a:lnTo>
                  <a:lnTo>
                    <a:pt x="6338" y="1350"/>
                  </a:lnTo>
                  <a:lnTo>
                    <a:pt x="6341" y="1364"/>
                  </a:lnTo>
                  <a:lnTo>
                    <a:pt x="6345" y="1377"/>
                  </a:lnTo>
                  <a:lnTo>
                    <a:pt x="6348" y="1393"/>
                  </a:lnTo>
                  <a:lnTo>
                    <a:pt x="6351" y="1408"/>
                  </a:lnTo>
                  <a:lnTo>
                    <a:pt x="6351" y="1422"/>
                  </a:lnTo>
                  <a:lnTo>
                    <a:pt x="6352" y="1430"/>
                  </a:lnTo>
                  <a:lnTo>
                    <a:pt x="6353" y="1436"/>
                  </a:lnTo>
                  <a:lnTo>
                    <a:pt x="6356" y="1443"/>
                  </a:lnTo>
                  <a:lnTo>
                    <a:pt x="6360" y="1449"/>
                  </a:lnTo>
                  <a:lnTo>
                    <a:pt x="6367" y="1457"/>
                  </a:lnTo>
                  <a:lnTo>
                    <a:pt x="6374" y="1463"/>
                  </a:lnTo>
                  <a:lnTo>
                    <a:pt x="6382" y="1469"/>
                  </a:lnTo>
                  <a:lnTo>
                    <a:pt x="6389" y="1474"/>
                  </a:lnTo>
                  <a:lnTo>
                    <a:pt x="6406" y="1484"/>
                  </a:lnTo>
                  <a:lnTo>
                    <a:pt x="6422" y="1497"/>
                  </a:lnTo>
                  <a:lnTo>
                    <a:pt x="6436" y="1508"/>
                  </a:lnTo>
                  <a:lnTo>
                    <a:pt x="6449" y="1517"/>
                  </a:lnTo>
                  <a:lnTo>
                    <a:pt x="6463" y="1525"/>
                  </a:lnTo>
                  <a:lnTo>
                    <a:pt x="6476" y="1533"/>
                  </a:lnTo>
                  <a:lnTo>
                    <a:pt x="6490" y="1539"/>
                  </a:lnTo>
                  <a:lnTo>
                    <a:pt x="6504" y="1547"/>
                  </a:lnTo>
                  <a:lnTo>
                    <a:pt x="6518" y="1554"/>
                  </a:lnTo>
                  <a:lnTo>
                    <a:pt x="6534" y="1564"/>
                  </a:lnTo>
                  <a:lnTo>
                    <a:pt x="6543" y="1571"/>
                  </a:lnTo>
                  <a:lnTo>
                    <a:pt x="6551" y="1580"/>
                  </a:lnTo>
                  <a:lnTo>
                    <a:pt x="6558" y="1589"/>
                  </a:lnTo>
                  <a:lnTo>
                    <a:pt x="6565" y="1597"/>
                  </a:lnTo>
                  <a:lnTo>
                    <a:pt x="6572" y="1605"/>
                  </a:lnTo>
                  <a:lnTo>
                    <a:pt x="6581" y="1611"/>
                  </a:lnTo>
                  <a:lnTo>
                    <a:pt x="6585" y="1614"/>
                  </a:lnTo>
                  <a:lnTo>
                    <a:pt x="6589" y="1616"/>
                  </a:lnTo>
                  <a:lnTo>
                    <a:pt x="6595" y="1617"/>
                  </a:lnTo>
                  <a:lnTo>
                    <a:pt x="6601" y="1617"/>
                  </a:lnTo>
                  <a:lnTo>
                    <a:pt x="6616" y="1616"/>
                  </a:lnTo>
                  <a:lnTo>
                    <a:pt x="6629" y="1614"/>
                  </a:lnTo>
                  <a:lnTo>
                    <a:pt x="6642" y="1610"/>
                  </a:lnTo>
                  <a:lnTo>
                    <a:pt x="6657" y="1609"/>
                  </a:lnTo>
                  <a:lnTo>
                    <a:pt x="6682" y="1610"/>
                  </a:lnTo>
                  <a:lnTo>
                    <a:pt x="6704" y="1612"/>
                  </a:lnTo>
                  <a:lnTo>
                    <a:pt x="6725" y="1616"/>
                  </a:lnTo>
                  <a:lnTo>
                    <a:pt x="6749" y="1617"/>
                  </a:lnTo>
                  <a:lnTo>
                    <a:pt x="6775" y="1616"/>
                  </a:lnTo>
                  <a:lnTo>
                    <a:pt x="6799" y="1614"/>
                  </a:lnTo>
                  <a:lnTo>
                    <a:pt x="6810" y="1612"/>
                  </a:lnTo>
                  <a:lnTo>
                    <a:pt x="6820" y="1612"/>
                  </a:lnTo>
                  <a:lnTo>
                    <a:pt x="6832" y="1614"/>
                  </a:lnTo>
                  <a:lnTo>
                    <a:pt x="6845" y="1617"/>
                  </a:lnTo>
                  <a:lnTo>
                    <a:pt x="6858" y="1623"/>
                  </a:lnTo>
                  <a:lnTo>
                    <a:pt x="6870" y="1631"/>
                  </a:lnTo>
                  <a:lnTo>
                    <a:pt x="6881" y="1638"/>
                  </a:lnTo>
                  <a:lnTo>
                    <a:pt x="6891" y="1646"/>
                  </a:lnTo>
                  <a:lnTo>
                    <a:pt x="6900" y="1655"/>
                  </a:lnTo>
                  <a:lnTo>
                    <a:pt x="6910" y="1663"/>
                  </a:lnTo>
                  <a:lnTo>
                    <a:pt x="6921" y="1672"/>
                  </a:lnTo>
                  <a:lnTo>
                    <a:pt x="6935" y="1678"/>
                  </a:lnTo>
                  <a:lnTo>
                    <a:pt x="6946" y="1688"/>
                  </a:lnTo>
                  <a:lnTo>
                    <a:pt x="6955" y="1696"/>
                  </a:lnTo>
                  <a:lnTo>
                    <a:pt x="6966" y="1701"/>
                  </a:lnTo>
                  <a:lnTo>
                    <a:pt x="6978" y="1705"/>
                  </a:lnTo>
                  <a:lnTo>
                    <a:pt x="7001" y="1712"/>
                  </a:lnTo>
                  <a:lnTo>
                    <a:pt x="7027" y="1720"/>
                  </a:lnTo>
                  <a:lnTo>
                    <a:pt x="7037" y="1726"/>
                  </a:lnTo>
                  <a:lnTo>
                    <a:pt x="7045" y="1732"/>
                  </a:lnTo>
                  <a:lnTo>
                    <a:pt x="7051" y="1740"/>
                  </a:lnTo>
                  <a:lnTo>
                    <a:pt x="7058" y="1747"/>
                  </a:lnTo>
                  <a:lnTo>
                    <a:pt x="7064" y="1756"/>
                  </a:lnTo>
                  <a:lnTo>
                    <a:pt x="7071" y="1764"/>
                  </a:lnTo>
                  <a:lnTo>
                    <a:pt x="7080" y="1771"/>
                  </a:lnTo>
                  <a:lnTo>
                    <a:pt x="7088" y="1777"/>
                  </a:lnTo>
                  <a:lnTo>
                    <a:pt x="7099" y="1781"/>
                  </a:lnTo>
                  <a:lnTo>
                    <a:pt x="7109" y="1783"/>
                  </a:lnTo>
                  <a:lnTo>
                    <a:pt x="7117" y="1784"/>
                  </a:lnTo>
                  <a:lnTo>
                    <a:pt x="7127" y="1784"/>
                  </a:lnTo>
                  <a:lnTo>
                    <a:pt x="7147" y="1784"/>
                  </a:lnTo>
                  <a:lnTo>
                    <a:pt x="7167" y="1785"/>
                  </a:lnTo>
                  <a:lnTo>
                    <a:pt x="7183" y="1788"/>
                  </a:lnTo>
                  <a:lnTo>
                    <a:pt x="7197" y="1792"/>
                  </a:lnTo>
                  <a:lnTo>
                    <a:pt x="7211" y="1796"/>
                  </a:lnTo>
                  <a:lnTo>
                    <a:pt x="7224" y="1800"/>
                  </a:lnTo>
                  <a:lnTo>
                    <a:pt x="7249" y="1811"/>
                  </a:lnTo>
                  <a:lnTo>
                    <a:pt x="7279" y="1822"/>
                  </a:lnTo>
                  <a:lnTo>
                    <a:pt x="6822" y="3660"/>
                  </a:lnTo>
                  <a:lnTo>
                    <a:pt x="6812" y="3657"/>
                  </a:lnTo>
                  <a:lnTo>
                    <a:pt x="6800" y="3655"/>
                  </a:lnTo>
                  <a:lnTo>
                    <a:pt x="6795" y="3655"/>
                  </a:lnTo>
                  <a:lnTo>
                    <a:pt x="6791" y="3656"/>
                  </a:lnTo>
                  <a:lnTo>
                    <a:pt x="6787" y="3658"/>
                  </a:lnTo>
                  <a:lnTo>
                    <a:pt x="6785" y="3660"/>
                  </a:lnTo>
                  <a:lnTo>
                    <a:pt x="6779" y="3667"/>
                  </a:lnTo>
                  <a:lnTo>
                    <a:pt x="6775" y="3674"/>
                  </a:lnTo>
                  <a:lnTo>
                    <a:pt x="6771" y="3683"/>
                  </a:lnTo>
                  <a:lnTo>
                    <a:pt x="6767" y="3693"/>
                  </a:lnTo>
                  <a:lnTo>
                    <a:pt x="6763" y="3702"/>
                  </a:lnTo>
                  <a:lnTo>
                    <a:pt x="6758" y="3711"/>
                  </a:lnTo>
                  <a:lnTo>
                    <a:pt x="6747" y="3718"/>
                  </a:lnTo>
                  <a:lnTo>
                    <a:pt x="6736" y="3725"/>
                  </a:lnTo>
                  <a:lnTo>
                    <a:pt x="6717" y="3740"/>
                  </a:lnTo>
                  <a:lnTo>
                    <a:pt x="6698" y="3755"/>
                  </a:lnTo>
                  <a:lnTo>
                    <a:pt x="6692" y="3763"/>
                  </a:lnTo>
                  <a:lnTo>
                    <a:pt x="6686" y="3771"/>
                  </a:lnTo>
                  <a:lnTo>
                    <a:pt x="6684" y="3777"/>
                  </a:lnTo>
                  <a:lnTo>
                    <a:pt x="6682" y="3782"/>
                  </a:lnTo>
                  <a:lnTo>
                    <a:pt x="6681" y="3788"/>
                  </a:lnTo>
                  <a:lnTo>
                    <a:pt x="6681" y="3794"/>
                  </a:lnTo>
                  <a:lnTo>
                    <a:pt x="6681" y="3818"/>
                  </a:lnTo>
                  <a:lnTo>
                    <a:pt x="6681" y="3839"/>
                  </a:lnTo>
                  <a:lnTo>
                    <a:pt x="6681" y="3861"/>
                  </a:lnTo>
                  <a:lnTo>
                    <a:pt x="6681" y="3885"/>
                  </a:lnTo>
                  <a:lnTo>
                    <a:pt x="6682" y="3893"/>
                  </a:lnTo>
                  <a:lnTo>
                    <a:pt x="6684" y="3900"/>
                  </a:lnTo>
                  <a:lnTo>
                    <a:pt x="6686" y="3906"/>
                  </a:lnTo>
                  <a:lnTo>
                    <a:pt x="6690" y="3912"/>
                  </a:lnTo>
                  <a:lnTo>
                    <a:pt x="6693" y="3918"/>
                  </a:lnTo>
                  <a:lnTo>
                    <a:pt x="6696" y="3925"/>
                  </a:lnTo>
                  <a:lnTo>
                    <a:pt x="6698" y="3931"/>
                  </a:lnTo>
                  <a:lnTo>
                    <a:pt x="6699" y="3939"/>
                  </a:lnTo>
                  <a:lnTo>
                    <a:pt x="6698" y="3945"/>
                  </a:lnTo>
                  <a:lnTo>
                    <a:pt x="6697" y="3950"/>
                  </a:lnTo>
                  <a:lnTo>
                    <a:pt x="6695" y="3955"/>
                  </a:lnTo>
                  <a:lnTo>
                    <a:pt x="6694" y="3959"/>
                  </a:lnTo>
                  <a:lnTo>
                    <a:pt x="6692" y="3964"/>
                  </a:lnTo>
                  <a:lnTo>
                    <a:pt x="6690" y="3969"/>
                  </a:lnTo>
                  <a:lnTo>
                    <a:pt x="6689" y="3974"/>
                  </a:lnTo>
                  <a:lnTo>
                    <a:pt x="6687" y="3980"/>
                  </a:lnTo>
                  <a:lnTo>
                    <a:pt x="6689" y="3995"/>
                  </a:lnTo>
                  <a:lnTo>
                    <a:pt x="6691" y="4008"/>
                  </a:lnTo>
                  <a:lnTo>
                    <a:pt x="6694" y="4021"/>
                  </a:lnTo>
                  <a:lnTo>
                    <a:pt x="6696" y="4036"/>
                  </a:lnTo>
                  <a:lnTo>
                    <a:pt x="6696" y="4036"/>
                  </a:lnTo>
                  <a:close/>
                </a:path>
              </a:pathLst>
            </a:custGeom>
            <a:solidFill>
              <a:srgbClr val="56EFFD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44">
              <a:extLst>
                <a:ext uri="{FF2B5EF4-FFF2-40B4-BE49-F238E27FC236}">
                  <a16:creationId xmlns:a16="http://schemas.microsoft.com/office/drawing/2014/main" id="{E6FA9CE9-520B-4E9D-AEF5-42B2CF7C0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45313" y="642938"/>
              <a:ext cx="2889250" cy="1965325"/>
            </a:xfrm>
            <a:custGeom>
              <a:avLst/>
              <a:gdLst>
                <a:gd name="T0" fmla="*/ 6608 w 7279"/>
                <a:gd name="T1" fmla="*/ 4289 h 4954"/>
                <a:gd name="T2" fmla="*/ 6547 w 7279"/>
                <a:gd name="T3" fmla="*/ 4450 h 4954"/>
                <a:gd name="T4" fmla="*/ 4802 w 7279"/>
                <a:gd name="T5" fmla="*/ 4560 h 4954"/>
                <a:gd name="T6" fmla="*/ 4031 w 7279"/>
                <a:gd name="T7" fmla="*/ 4356 h 4954"/>
                <a:gd name="T8" fmla="*/ 3943 w 7279"/>
                <a:gd name="T9" fmla="*/ 4511 h 4954"/>
                <a:gd name="T10" fmla="*/ 3708 w 7279"/>
                <a:gd name="T11" fmla="*/ 4681 h 4954"/>
                <a:gd name="T12" fmla="*/ 3561 w 7279"/>
                <a:gd name="T13" fmla="*/ 4770 h 4954"/>
                <a:gd name="T14" fmla="*/ 3367 w 7279"/>
                <a:gd name="T15" fmla="*/ 4793 h 4954"/>
                <a:gd name="T16" fmla="*/ 3117 w 7279"/>
                <a:gd name="T17" fmla="*/ 4831 h 4954"/>
                <a:gd name="T18" fmla="*/ 0 w 7279"/>
                <a:gd name="T19" fmla="*/ 3905 h 4954"/>
                <a:gd name="T20" fmla="*/ 85 w 7279"/>
                <a:gd name="T21" fmla="*/ 3743 h 4954"/>
                <a:gd name="T22" fmla="*/ 239 w 7279"/>
                <a:gd name="T23" fmla="*/ 3617 h 4954"/>
                <a:gd name="T24" fmla="*/ 194 w 7279"/>
                <a:gd name="T25" fmla="*/ 3389 h 4954"/>
                <a:gd name="T26" fmla="*/ 316 w 7279"/>
                <a:gd name="T27" fmla="*/ 3144 h 4954"/>
                <a:gd name="T28" fmla="*/ 473 w 7279"/>
                <a:gd name="T29" fmla="*/ 3006 h 4954"/>
                <a:gd name="T30" fmla="*/ 603 w 7279"/>
                <a:gd name="T31" fmla="*/ 2897 h 4954"/>
                <a:gd name="T32" fmla="*/ 731 w 7279"/>
                <a:gd name="T33" fmla="*/ 2857 h 4954"/>
                <a:gd name="T34" fmla="*/ 1042 w 7279"/>
                <a:gd name="T35" fmla="*/ 2743 h 4954"/>
                <a:gd name="T36" fmla="*/ 1223 w 7279"/>
                <a:gd name="T37" fmla="*/ 2601 h 4954"/>
                <a:gd name="T38" fmla="*/ 1455 w 7279"/>
                <a:gd name="T39" fmla="*/ 2650 h 4954"/>
                <a:gd name="T40" fmla="*/ 1625 w 7279"/>
                <a:gd name="T41" fmla="*/ 2218 h 4954"/>
                <a:gd name="T42" fmla="*/ 1765 w 7279"/>
                <a:gd name="T43" fmla="*/ 1548 h 4954"/>
                <a:gd name="T44" fmla="*/ 1729 w 7279"/>
                <a:gd name="T45" fmla="*/ 1352 h 4954"/>
                <a:gd name="T46" fmla="*/ 1636 w 7279"/>
                <a:gd name="T47" fmla="*/ 1227 h 4954"/>
                <a:gd name="T48" fmla="*/ 1574 w 7279"/>
                <a:gd name="T49" fmla="*/ 1043 h 4954"/>
                <a:gd name="T50" fmla="*/ 1445 w 7279"/>
                <a:gd name="T51" fmla="*/ 854 h 4954"/>
                <a:gd name="T52" fmla="*/ 1621 w 7279"/>
                <a:gd name="T53" fmla="*/ 680 h 4954"/>
                <a:gd name="T54" fmla="*/ 1826 w 7279"/>
                <a:gd name="T55" fmla="*/ 657 h 4954"/>
                <a:gd name="T56" fmla="*/ 1789 w 7279"/>
                <a:gd name="T57" fmla="*/ 459 h 4954"/>
                <a:gd name="T58" fmla="*/ 1600 w 7279"/>
                <a:gd name="T59" fmla="*/ 276 h 4954"/>
                <a:gd name="T60" fmla="*/ 1833 w 7279"/>
                <a:gd name="T61" fmla="*/ 90 h 4954"/>
                <a:gd name="T62" fmla="*/ 2184 w 7279"/>
                <a:gd name="T63" fmla="*/ 143 h 4954"/>
                <a:gd name="T64" fmla="*/ 2270 w 7279"/>
                <a:gd name="T65" fmla="*/ 24 h 4954"/>
                <a:gd name="T66" fmla="*/ 2407 w 7279"/>
                <a:gd name="T67" fmla="*/ 80 h 4954"/>
                <a:gd name="T68" fmla="*/ 2530 w 7279"/>
                <a:gd name="T69" fmla="*/ 6 h 4954"/>
                <a:gd name="T70" fmla="*/ 2683 w 7279"/>
                <a:gd name="T71" fmla="*/ 208 h 4954"/>
                <a:gd name="T72" fmla="*/ 2840 w 7279"/>
                <a:gd name="T73" fmla="*/ 338 h 4954"/>
                <a:gd name="T74" fmla="*/ 3166 w 7279"/>
                <a:gd name="T75" fmla="*/ 509 h 4954"/>
                <a:gd name="T76" fmla="*/ 3499 w 7279"/>
                <a:gd name="T77" fmla="*/ 363 h 4954"/>
                <a:gd name="T78" fmla="*/ 3792 w 7279"/>
                <a:gd name="T79" fmla="*/ 240 h 4954"/>
                <a:gd name="T80" fmla="*/ 4182 w 7279"/>
                <a:gd name="T81" fmla="*/ 3 h 4954"/>
                <a:gd name="T82" fmla="*/ 4367 w 7279"/>
                <a:gd name="T83" fmla="*/ 147 h 4954"/>
                <a:gd name="T84" fmla="*/ 4540 w 7279"/>
                <a:gd name="T85" fmla="*/ 395 h 4954"/>
                <a:gd name="T86" fmla="*/ 4653 w 7279"/>
                <a:gd name="T87" fmla="*/ 667 h 4954"/>
                <a:gd name="T88" fmla="*/ 4757 w 7279"/>
                <a:gd name="T89" fmla="*/ 959 h 4954"/>
                <a:gd name="T90" fmla="*/ 4824 w 7279"/>
                <a:gd name="T91" fmla="*/ 1261 h 4954"/>
                <a:gd name="T92" fmla="*/ 4885 w 7279"/>
                <a:gd name="T93" fmla="*/ 1434 h 4954"/>
                <a:gd name="T94" fmla="*/ 5061 w 7279"/>
                <a:gd name="T95" fmla="*/ 1432 h 4954"/>
                <a:gd name="T96" fmla="*/ 5172 w 7279"/>
                <a:gd name="T97" fmla="*/ 1174 h 4954"/>
                <a:gd name="T98" fmla="*/ 5342 w 7279"/>
                <a:gd name="T99" fmla="*/ 1166 h 4954"/>
                <a:gd name="T100" fmla="*/ 5519 w 7279"/>
                <a:gd name="T101" fmla="*/ 1198 h 4954"/>
                <a:gd name="T102" fmla="*/ 5578 w 7279"/>
                <a:gd name="T103" fmla="*/ 1056 h 4954"/>
                <a:gd name="T104" fmla="*/ 5864 w 7279"/>
                <a:gd name="T105" fmla="*/ 855 h 4954"/>
                <a:gd name="T106" fmla="*/ 6063 w 7279"/>
                <a:gd name="T107" fmla="*/ 1003 h 4954"/>
                <a:gd name="T108" fmla="*/ 6181 w 7279"/>
                <a:gd name="T109" fmla="*/ 1202 h 4954"/>
                <a:gd name="T110" fmla="*/ 6334 w 7279"/>
                <a:gd name="T111" fmla="*/ 1334 h 4954"/>
                <a:gd name="T112" fmla="*/ 6449 w 7279"/>
                <a:gd name="T113" fmla="*/ 1517 h 4954"/>
                <a:gd name="T114" fmla="*/ 6629 w 7279"/>
                <a:gd name="T115" fmla="*/ 1614 h 4954"/>
                <a:gd name="T116" fmla="*/ 6910 w 7279"/>
                <a:gd name="T117" fmla="*/ 1663 h 4954"/>
                <a:gd name="T118" fmla="*/ 7109 w 7279"/>
                <a:gd name="T119" fmla="*/ 1783 h 4954"/>
                <a:gd name="T120" fmla="*/ 6779 w 7279"/>
                <a:gd name="T121" fmla="*/ 3667 h 4954"/>
                <a:gd name="T122" fmla="*/ 6681 w 7279"/>
                <a:gd name="T123" fmla="*/ 3861 h 4954"/>
                <a:gd name="T124" fmla="*/ 6689 w 7279"/>
                <a:gd name="T125" fmla="*/ 3995 h 4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79" h="4954">
                  <a:moveTo>
                    <a:pt x="6696" y="4036"/>
                  </a:moveTo>
                  <a:lnTo>
                    <a:pt x="6676" y="4064"/>
                  </a:lnTo>
                  <a:lnTo>
                    <a:pt x="6658" y="4092"/>
                  </a:lnTo>
                  <a:lnTo>
                    <a:pt x="6650" y="4105"/>
                  </a:lnTo>
                  <a:lnTo>
                    <a:pt x="6642" y="4118"/>
                  </a:lnTo>
                  <a:lnTo>
                    <a:pt x="6636" y="4132"/>
                  </a:lnTo>
                  <a:lnTo>
                    <a:pt x="6629" y="4145"/>
                  </a:lnTo>
                  <a:lnTo>
                    <a:pt x="6623" y="4159"/>
                  </a:lnTo>
                  <a:lnTo>
                    <a:pt x="6618" y="4173"/>
                  </a:lnTo>
                  <a:lnTo>
                    <a:pt x="6614" y="4187"/>
                  </a:lnTo>
                  <a:lnTo>
                    <a:pt x="6611" y="4202"/>
                  </a:lnTo>
                  <a:lnTo>
                    <a:pt x="6608" y="4217"/>
                  </a:lnTo>
                  <a:lnTo>
                    <a:pt x="6605" y="4234"/>
                  </a:lnTo>
                  <a:lnTo>
                    <a:pt x="6604" y="4251"/>
                  </a:lnTo>
                  <a:lnTo>
                    <a:pt x="6604" y="4268"/>
                  </a:lnTo>
                  <a:lnTo>
                    <a:pt x="6604" y="4276"/>
                  </a:lnTo>
                  <a:lnTo>
                    <a:pt x="6605" y="4282"/>
                  </a:lnTo>
                  <a:lnTo>
                    <a:pt x="6608" y="4289"/>
                  </a:lnTo>
                  <a:lnTo>
                    <a:pt x="6610" y="4294"/>
                  </a:lnTo>
                  <a:lnTo>
                    <a:pt x="6612" y="4301"/>
                  </a:lnTo>
                  <a:lnTo>
                    <a:pt x="6613" y="4306"/>
                  </a:lnTo>
                  <a:lnTo>
                    <a:pt x="6614" y="4312"/>
                  </a:lnTo>
                  <a:lnTo>
                    <a:pt x="6615" y="4320"/>
                  </a:lnTo>
                  <a:lnTo>
                    <a:pt x="6615" y="4325"/>
                  </a:lnTo>
                  <a:lnTo>
                    <a:pt x="6614" y="4331"/>
                  </a:lnTo>
                  <a:lnTo>
                    <a:pt x="6612" y="4335"/>
                  </a:lnTo>
                  <a:lnTo>
                    <a:pt x="6611" y="4339"/>
                  </a:lnTo>
                  <a:lnTo>
                    <a:pt x="6605" y="4347"/>
                  </a:lnTo>
                  <a:lnTo>
                    <a:pt x="6600" y="4353"/>
                  </a:lnTo>
                  <a:lnTo>
                    <a:pt x="6594" y="4361"/>
                  </a:lnTo>
                  <a:lnTo>
                    <a:pt x="6587" y="4369"/>
                  </a:lnTo>
                  <a:lnTo>
                    <a:pt x="6581" y="4376"/>
                  </a:lnTo>
                  <a:lnTo>
                    <a:pt x="6576" y="4386"/>
                  </a:lnTo>
                  <a:lnTo>
                    <a:pt x="6567" y="4409"/>
                  </a:lnTo>
                  <a:lnTo>
                    <a:pt x="6557" y="4430"/>
                  </a:lnTo>
                  <a:lnTo>
                    <a:pt x="6547" y="4450"/>
                  </a:lnTo>
                  <a:lnTo>
                    <a:pt x="6540" y="4469"/>
                  </a:lnTo>
                  <a:lnTo>
                    <a:pt x="6533" y="4488"/>
                  </a:lnTo>
                  <a:lnTo>
                    <a:pt x="6528" y="4509"/>
                  </a:lnTo>
                  <a:lnTo>
                    <a:pt x="6525" y="4520"/>
                  </a:lnTo>
                  <a:lnTo>
                    <a:pt x="6523" y="4532"/>
                  </a:lnTo>
                  <a:lnTo>
                    <a:pt x="6523" y="4544"/>
                  </a:lnTo>
                  <a:lnTo>
                    <a:pt x="6522" y="4557"/>
                  </a:lnTo>
                  <a:lnTo>
                    <a:pt x="6521" y="4567"/>
                  </a:lnTo>
                  <a:lnTo>
                    <a:pt x="6520" y="4579"/>
                  </a:lnTo>
                  <a:lnTo>
                    <a:pt x="4940" y="4560"/>
                  </a:lnTo>
                  <a:lnTo>
                    <a:pt x="4940" y="4560"/>
                  </a:lnTo>
                  <a:lnTo>
                    <a:pt x="4927" y="4560"/>
                  </a:lnTo>
                  <a:lnTo>
                    <a:pt x="4914" y="4560"/>
                  </a:lnTo>
                  <a:lnTo>
                    <a:pt x="4901" y="4560"/>
                  </a:lnTo>
                  <a:lnTo>
                    <a:pt x="4888" y="4560"/>
                  </a:lnTo>
                  <a:lnTo>
                    <a:pt x="4857" y="4560"/>
                  </a:lnTo>
                  <a:lnTo>
                    <a:pt x="4830" y="4560"/>
                  </a:lnTo>
                  <a:lnTo>
                    <a:pt x="4802" y="4560"/>
                  </a:lnTo>
                  <a:lnTo>
                    <a:pt x="4770" y="4560"/>
                  </a:lnTo>
                  <a:lnTo>
                    <a:pt x="4584" y="4240"/>
                  </a:lnTo>
                  <a:lnTo>
                    <a:pt x="4182" y="4238"/>
                  </a:lnTo>
                  <a:lnTo>
                    <a:pt x="4171" y="4247"/>
                  </a:lnTo>
                  <a:lnTo>
                    <a:pt x="4161" y="4256"/>
                  </a:lnTo>
                  <a:lnTo>
                    <a:pt x="4153" y="4266"/>
                  </a:lnTo>
                  <a:lnTo>
                    <a:pt x="4144" y="4276"/>
                  </a:lnTo>
                  <a:lnTo>
                    <a:pt x="4129" y="4295"/>
                  </a:lnTo>
                  <a:lnTo>
                    <a:pt x="4113" y="4319"/>
                  </a:lnTo>
                  <a:lnTo>
                    <a:pt x="4103" y="4331"/>
                  </a:lnTo>
                  <a:lnTo>
                    <a:pt x="4093" y="4342"/>
                  </a:lnTo>
                  <a:lnTo>
                    <a:pt x="4088" y="4347"/>
                  </a:lnTo>
                  <a:lnTo>
                    <a:pt x="4081" y="4350"/>
                  </a:lnTo>
                  <a:lnTo>
                    <a:pt x="4075" y="4351"/>
                  </a:lnTo>
                  <a:lnTo>
                    <a:pt x="4067" y="4352"/>
                  </a:lnTo>
                  <a:lnTo>
                    <a:pt x="4055" y="4352"/>
                  </a:lnTo>
                  <a:lnTo>
                    <a:pt x="4043" y="4353"/>
                  </a:lnTo>
                  <a:lnTo>
                    <a:pt x="4031" y="4356"/>
                  </a:lnTo>
                  <a:lnTo>
                    <a:pt x="4020" y="4358"/>
                  </a:lnTo>
                  <a:lnTo>
                    <a:pt x="4008" y="4362"/>
                  </a:lnTo>
                  <a:lnTo>
                    <a:pt x="3997" y="4366"/>
                  </a:lnTo>
                  <a:lnTo>
                    <a:pt x="3986" y="4372"/>
                  </a:lnTo>
                  <a:lnTo>
                    <a:pt x="3977" y="4378"/>
                  </a:lnTo>
                  <a:lnTo>
                    <a:pt x="3968" y="4385"/>
                  </a:lnTo>
                  <a:lnTo>
                    <a:pt x="3960" y="4393"/>
                  </a:lnTo>
                  <a:lnTo>
                    <a:pt x="3953" y="4402"/>
                  </a:lnTo>
                  <a:lnTo>
                    <a:pt x="3947" y="4411"/>
                  </a:lnTo>
                  <a:lnTo>
                    <a:pt x="3942" y="4420"/>
                  </a:lnTo>
                  <a:lnTo>
                    <a:pt x="3939" y="4431"/>
                  </a:lnTo>
                  <a:lnTo>
                    <a:pt x="3937" y="4443"/>
                  </a:lnTo>
                  <a:lnTo>
                    <a:pt x="3935" y="4455"/>
                  </a:lnTo>
                  <a:lnTo>
                    <a:pt x="3937" y="4467"/>
                  </a:lnTo>
                  <a:lnTo>
                    <a:pt x="3940" y="4478"/>
                  </a:lnTo>
                  <a:lnTo>
                    <a:pt x="3943" y="4488"/>
                  </a:lnTo>
                  <a:lnTo>
                    <a:pt x="3944" y="4500"/>
                  </a:lnTo>
                  <a:lnTo>
                    <a:pt x="3943" y="4511"/>
                  </a:lnTo>
                  <a:lnTo>
                    <a:pt x="3942" y="4522"/>
                  </a:lnTo>
                  <a:lnTo>
                    <a:pt x="3940" y="4531"/>
                  </a:lnTo>
                  <a:lnTo>
                    <a:pt x="3937" y="4539"/>
                  </a:lnTo>
                  <a:lnTo>
                    <a:pt x="3932" y="4548"/>
                  </a:lnTo>
                  <a:lnTo>
                    <a:pt x="3928" y="4555"/>
                  </a:lnTo>
                  <a:lnTo>
                    <a:pt x="3923" y="4563"/>
                  </a:lnTo>
                  <a:lnTo>
                    <a:pt x="3916" y="4571"/>
                  </a:lnTo>
                  <a:lnTo>
                    <a:pt x="3908" y="4577"/>
                  </a:lnTo>
                  <a:lnTo>
                    <a:pt x="3902" y="4584"/>
                  </a:lnTo>
                  <a:lnTo>
                    <a:pt x="3893" y="4589"/>
                  </a:lnTo>
                  <a:lnTo>
                    <a:pt x="3886" y="4594"/>
                  </a:lnTo>
                  <a:lnTo>
                    <a:pt x="3867" y="4605"/>
                  </a:lnTo>
                  <a:lnTo>
                    <a:pt x="3849" y="4616"/>
                  </a:lnTo>
                  <a:lnTo>
                    <a:pt x="3814" y="4633"/>
                  </a:lnTo>
                  <a:lnTo>
                    <a:pt x="3783" y="4648"/>
                  </a:lnTo>
                  <a:lnTo>
                    <a:pt x="3753" y="4662"/>
                  </a:lnTo>
                  <a:lnTo>
                    <a:pt x="3717" y="4677"/>
                  </a:lnTo>
                  <a:lnTo>
                    <a:pt x="3708" y="4681"/>
                  </a:lnTo>
                  <a:lnTo>
                    <a:pt x="3699" y="4684"/>
                  </a:lnTo>
                  <a:lnTo>
                    <a:pt x="3689" y="4686"/>
                  </a:lnTo>
                  <a:lnTo>
                    <a:pt x="3681" y="4688"/>
                  </a:lnTo>
                  <a:lnTo>
                    <a:pt x="3662" y="4692"/>
                  </a:lnTo>
                  <a:lnTo>
                    <a:pt x="3645" y="4695"/>
                  </a:lnTo>
                  <a:lnTo>
                    <a:pt x="3637" y="4696"/>
                  </a:lnTo>
                  <a:lnTo>
                    <a:pt x="3629" y="4698"/>
                  </a:lnTo>
                  <a:lnTo>
                    <a:pt x="3621" y="4701"/>
                  </a:lnTo>
                  <a:lnTo>
                    <a:pt x="3615" y="4704"/>
                  </a:lnTo>
                  <a:lnTo>
                    <a:pt x="3607" y="4709"/>
                  </a:lnTo>
                  <a:lnTo>
                    <a:pt x="3601" y="4714"/>
                  </a:lnTo>
                  <a:lnTo>
                    <a:pt x="3594" y="4721"/>
                  </a:lnTo>
                  <a:lnTo>
                    <a:pt x="3588" y="4728"/>
                  </a:lnTo>
                  <a:lnTo>
                    <a:pt x="3586" y="4740"/>
                  </a:lnTo>
                  <a:lnTo>
                    <a:pt x="3582" y="4753"/>
                  </a:lnTo>
                  <a:lnTo>
                    <a:pt x="3576" y="4761"/>
                  </a:lnTo>
                  <a:lnTo>
                    <a:pt x="3568" y="4766"/>
                  </a:lnTo>
                  <a:lnTo>
                    <a:pt x="3561" y="4770"/>
                  </a:lnTo>
                  <a:lnTo>
                    <a:pt x="3553" y="4774"/>
                  </a:lnTo>
                  <a:lnTo>
                    <a:pt x="3535" y="4779"/>
                  </a:lnTo>
                  <a:lnTo>
                    <a:pt x="3515" y="4784"/>
                  </a:lnTo>
                  <a:lnTo>
                    <a:pt x="3500" y="4790"/>
                  </a:lnTo>
                  <a:lnTo>
                    <a:pt x="3487" y="4796"/>
                  </a:lnTo>
                  <a:lnTo>
                    <a:pt x="3481" y="4800"/>
                  </a:lnTo>
                  <a:lnTo>
                    <a:pt x="3474" y="4802"/>
                  </a:lnTo>
                  <a:lnTo>
                    <a:pt x="3467" y="4803"/>
                  </a:lnTo>
                  <a:lnTo>
                    <a:pt x="3458" y="4804"/>
                  </a:lnTo>
                  <a:lnTo>
                    <a:pt x="3441" y="4804"/>
                  </a:lnTo>
                  <a:lnTo>
                    <a:pt x="3426" y="4804"/>
                  </a:lnTo>
                  <a:lnTo>
                    <a:pt x="3411" y="4804"/>
                  </a:lnTo>
                  <a:lnTo>
                    <a:pt x="3392" y="4804"/>
                  </a:lnTo>
                  <a:lnTo>
                    <a:pt x="3388" y="4803"/>
                  </a:lnTo>
                  <a:lnTo>
                    <a:pt x="3384" y="4802"/>
                  </a:lnTo>
                  <a:lnTo>
                    <a:pt x="3379" y="4801"/>
                  </a:lnTo>
                  <a:lnTo>
                    <a:pt x="3375" y="4798"/>
                  </a:lnTo>
                  <a:lnTo>
                    <a:pt x="3367" y="4793"/>
                  </a:lnTo>
                  <a:lnTo>
                    <a:pt x="3359" y="4790"/>
                  </a:lnTo>
                  <a:lnTo>
                    <a:pt x="3322" y="4779"/>
                  </a:lnTo>
                  <a:lnTo>
                    <a:pt x="3290" y="4770"/>
                  </a:lnTo>
                  <a:lnTo>
                    <a:pt x="3273" y="4768"/>
                  </a:lnTo>
                  <a:lnTo>
                    <a:pt x="3256" y="4766"/>
                  </a:lnTo>
                  <a:lnTo>
                    <a:pt x="3238" y="4765"/>
                  </a:lnTo>
                  <a:lnTo>
                    <a:pt x="3218" y="4764"/>
                  </a:lnTo>
                  <a:lnTo>
                    <a:pt x="3213" y="4765"/>
                  </a:lnTo>
                  <a:lnTo>
                    <a:pt x="3207" y="4766"/>
                  </a:lnTo>
                  <a:lnTo>
                    <a:pt x="3203" y="4767"/>
                  </a:lnTo>
                  <a:lnTo>
                    <a:pt x="3199" y="4769"/>
                  </a:lnTo>
                  <a:lnTo>
                    <a:pt x="3191" y="4775"/>
                  </a:lnTo>
                  <a:lnTo>
                    <a:pt x="3184" y="4781"/>
                  </a:lnTo>
                  <a:lnTo>
                    <a:pt x="3177" y="4788"/>
                  </a:lnTo>
                  <a:lnTo>
                    <a:pt x="3171" y="4795"/>
                  </a:lnTo>
                  <a:lnTo>
                    <a:pt x="3163" y="4803"/>
                  </a:lnTo>
                  <a:lnTo>
                    <a:pt x="3153" y="4809"/>
                  </a:lnTo>
                  <a:lnTo>
                    <a:pt x="3117" y="4831"/>
                  </a:lnTo>
                  <a:lnTo>
                    <a:pt x="3083" y="4848"/>
                  </a:lnTo>
                  <a:lnTo>
                    <a:pt x="3067" y="4858"/>
                  </a:lnTo>
                  <a:lnTo>
                    <a:pt x="3050" y="4868"/>
                  </a:lnTo>
                  <a:lnTo>
                    <a:pt x="3034" y="4879"/>
                  </a:lnTo>
                  <a:lnTo>
                    <a:pt x="3016" y="4893"/>
                  </a:lnTo>
                  <a:lnTo>
                    <a:pt x="3004" y="4902"/>
                  </a:lnTo>
                  <a:lnTo>
                    <a:pt x="2993" y="4909"/>
                  </a:lnTo>
                  <a:lnTo>
                    <a:pt x="2981" y="4914"/>
                  </a:lnTo>
                  <a:lnTo>
                    <a:pt x="2968" y="4918"/>
                  </a:lnTo>
                  <a:lnTo>
                    <a:pt x="2942" y="4924"/>
                  </a:lnTo>
                  <a:lnTo>
                    <a:pt x="2913" y="4930"/>
                  </a:lnTo>
                  <a:lnTo>
                    <a:pt x="2886" y="4937"/>
                  </a:lnTo>
                  <a:lnTo>
                    <a:pt x="2862" y="4943"/>
                  </a:lnTo>
                  <a:lnTo>
                    <a:pt x="2838" y="4950"/>
                  </a:lnTo>
                  <a:lnTo>
                    <a:pt x="2810" y="4954"/>
                  </a:lnTo>
                  <a:lnTo>
                    <a:pt x="2810" y="4954"/>
                  </a:lnTo>
                  <a:lnTo>
                    <a:pt x="2319" y="4742"/>
                  </a:lnTo>
                  <a:lnTo>
                    <a:pt x="0" y="3905"/>
                  </a:lnTo>
                  <a:lnTo>
                    <a:pt x="0" y="3905"/>
                  </a:lnTo>
                  <a:lnTo>
                    <a:pt x="2" y="3897"/>
                  </a:lnTo>
                  <a:lnTo>
                    <a:pt x="5" y="3888"/>
                  </a:lnTo>
                  <a:lnTo>
                    <a:pt x="8" y="3879"/>
                  </a:lnTo>
                  <a:lnTo>
                    <a:pt x="12" y="3872"/>
                  </a:lnTo>
                  <a:lnTo>
                    <a:pt x="20" y="3856"/>
                  </a:lnTo>
                  <a:lnTo>
                    <a:pt x="29" y="3837"/>
                  </a:lnTo>
                  <a:lnTo>
                    <a:pt x="33" y="3822"/>
                  </a:lnTo>
                  <a:lnTo>
                    <a:pt x="35" y="3808"/>
                  </a:lnTo>
                  <a:lnTo>
                    <a:pt x="37" y="3802"/>
                  </a:lnTo>
                  <a:lnTo>
                    <a:pt x="39" y="3794"/>
                  </a:lnTo>
                  <a:lnTo>
                    <a:pt x="42" y="3788"/>
                  </a:lnTo>
                  <a:lnTo>
                    <a:pt x="45" y="3781"/>
                  </a:lnTo>
                  <a:lnTo>
                    <a:pt x="50" y="3772"/>
                  </a:lnTo>
                  <a:lnTo>
                    <a:pt x="57" y="3765"/>
                  </a:lnTo>
                  <a:lnTo>
                    <a:pt x="63" y="3758"/>
                  </a:lnTo>
                  <a:lnTo>
                    <a:pt x="70" y="3753"/>
                  </a:lnTo>
                  <a:lnTo>
                    <a:pt x="85" y="3743"/>
                  </a:lnTo>
                  <a:lnTo>
                    <a:pt x="101" y="3734"/>
                  </a:lnTo>
                  <a:lnTo>
                    <a:pt x="118" y="3723"/>
                  </a:lnTo>
                  <a:lnTo>
                    <a:pt x="136" y="3715"/>
                  </a:lnTo>
                  <a:lnTo>
                    <a:pt x="152" y="3709"/>
                  </a:lnTo>
                  <a:lnTo>
                    <a:pt x="169" y="3703"/>
                  </a:lnTo>
                  <a:lnTo>
                    <a:pt x="185" y="3698"/>
                  </a:lnTo>
                  <a:lnTo>
                    <a:pt x="203" y="3693"/>
                  </a:lnTo>
                  <a:lnTo>
                    <a:pt x="220" y="3685"/>
                  </a:lnTo>
                  <a:lnTo>
                    <a:pt x="238" y="3677"/>
                  </a:lnTo>
                  <a:lnTo>
                    <a:pt x="243" y="3674"/>
                  </a:lnTo>
                  <a:lnTo>
                    <a:pt x="246" y="3672"/>
                  </a:lnTo>
                  <a:lnTo>
                    <a:pt x="248" y="3669"/>
                  </a:lnTo>
                  <a:lnTo>
                    <a:pt x="249" y="3664"/>
                  </a:lnTo>
                  <a:lnTo>
                    <a:pt x="249" y="3657"/>
                  </a:lnTo>
                  <a:lnTo>
                    <a:pt x="248" y="3647"/>
                  </a:lnTo>
                  <a:lnTo>
                    <a:pt x="245" y="3637"/>
                  </a:lnTo>
                  <a:lnTo>
                    <a:pt x="243" y="3627"/>
                  </a:lnTo>
                  <a:lnTo>
                    <a:pt x="239" y="3617"/>
                  </a:lnTo>
                  <a:lnTo>
                    <a:pt x="238" y="3606"/>
                  </a:lnTo>
                  <a:lnTo>
                    <a:pt x="238" y="3594"/>
                  </a:lnTo>
                  <a:lnTo>
                    <a:pt x="236" y="3583"/>
                  </a:lnTo>
                  <a:lnTo>
                    <a:pt x="234" y="3573"/>
                  </a:lnTo>
                  <a:lnTo>
                    <a:pt x="231" y="3563"/>
                  </a:lnTo>
                  <a:lnTo>
                    <a:pt x="222" y="3545"/>
                  </a:lnTo>
                  <a:lnTo>
                    <a:pt x="212" y="3526"/>
                  </a:lnTo>
                  <a:lnTo>
                    <a:pt x="203" y="3509"/>
                  </a:lnTo>
                  <a:lnTo>
                    <a:pt x="194" y="3491"/>
                  </a:lnTo>
                  <a:lnTo>
                    <a:pt x="191" y="3481"/>
                  </a:lnTo>
                  <a:lnTo>
                    <a:pt x="188" y="3470"/>
                  </a:lnTo>
                  <a:lnTo>
                    <a:pt x="187" y="3459"/>
                  </a:lnTo>
                  <a:lnTo>
                    <a:pt x="185" y="3447"/>
                  </a:lnTo>
                  <a:lnTo>
                    <a:pt x="185" y="3434"/>
                  </a:lnTo>
                  <a:lnTo>
                    <a:pt x="187" y="3423"/>
                  </a:lnTo>
                  <a:lnTo>
                    <a:pt x="188" y="3411"/>
                  </a:lnTo>
                  <a:lnTo>
                    <a:pt x="191" y="3400"/>
                  </a:lnTo>
                  <a:lnTo>
                    <a:pt x="194" y="3389"/>
                  </a:lnTo>
                  <a:lnTo>
                    <a:pt x="199" y="3379"/>
                  </a:lnTo>
                  <a:lnTo>
                    <a:pt x="207" y="3371"/>
                  </a:lnTo>
                  <a:lnTo>
                    <a:pt x="217" y="3363"/>
                  </a:lnTo>
                  <a:lnTo>
                    <a:pt x="234" y="3351"/>
                  </a:lnTo>
                  <a:lnTo>
                    <a:pt x="251" y="3340"/>
                  </a:lnTo>
                  <a:lnTo>
                    <a:pt x="258" y="3335"/>
                  </a:lnTo>
                  <a:lnTo>
                    <a:pt x="265" y="3327"/>
                  </a:lnTo>
                  <a:lnTo>
                    <a:pt x="271" y="3320"/>
                  </a:lnTo>
                  <a:lnTo>
                    <a:pt x="275" y="3310"/>
                  </a:lnTo>
                  <a:lnTo>
                    <a:pt x="280" y="3293"/>
                  </a:lnTo>
                  <a:lnTo>
                    <a:pt x="283" y="3277"/>
                  </a:lnTo>
                  <a:lnTo>
                    <a:pt x="285" y="3261"/>
                  </a:lnTo>
                  <a:lnTo>
                    <a:pt x="289" y="3242"/>
                  </a:lnTo>
                  <a:lnTo>
                    <a:pt x="299" y="3213"/>
                  </a:lnTo>
                  <a:lnTo>
                    <a:pt x="307" y="3186"/>
                  </a:lnTo>
                  <a:lnTo>
                    <a:pt x="312" y="3173"/>
                  </a:lnTo>
                  <a:lnTo>
                    <a:pt x="315" y="3159"/>
                  </a:lnTo>
                  <a:lnTo>
                    <a:pt x="316" y="3144"/>
                  </a:lnTo>
                  <a:lnTo>
                    <a:pt x="317" y="3128"/>
                  </a:lnTo>
                  <a:lnTo>
                    <a:pt x="315" y="3117"/>
                  </a:lnTo>
                  <a:lnTo>
                    <a:pt x="312" y="3106"/>
                  </a:lnTo>
                  <a:lnTo>
                    <a:pt x="311" y="3101"/>
                  </a:lnTo>
                  <a:lnTo>
                    <a:pt x="311" y="3096"/>
                  </a:lnTo>
                  <a:lnTo>
                    <a:pt x="312" y="3092"/>
                  </a:lnTo>
                  <a:lnTo>
                    <a:pt x="316" y="3089"/>
                  </a:lnTo>
                  <a:lnTo>
                    <a:pt x="327" y="3080"/>
                  </a:lnTo>
                  <a:lnTo>
                    <a:pt x="338" y="3074"/>
                  </a:lnTo>
                  <a:lnTo>
                    <a:pt x="349" y="3067"/>
                  </a:lnTo>
                  <a:lnTo>
                    <a:pt x="359" y="3063"/>
                  </a:lnTo>
                  <a:lnTo>
                    <a:pt x="381" y="3053"/>
                  </a:lnTo>
                  <a:lnTo>
                    <a:pt x="403" y="3046"/>
                  </a:lnTo>
                  <a:lnTo>
                    <a:pt x="423" y="3037"/>
                  </a:lnTo>
                  <a:lnTo>
                    <a:pt x="444" y="3027"/>
                  </a:lnTo>
                  <a:lnTo>
                    <a:pt x="453" y="3021"/>
                  </a:lnTo>
                  <a:lnTo>
                    <a:pt x="463" y="3013"/>
                  </a:lnTo>
                  <a:lnTo>
                    <a:pt x="473" y="3006"/>
                  </a:lnTo>
                  <a:lnTo>
                    <a:pt x="482" y="2996"/>
                  </a:lnTo>
                  <a:lnTo>
                    <a:pt x="489" y="2987"/>
                  </a:lnTo>
                  <a:lnTo>
                    <a:pt x="492" y="2978"/>
                  </a:lnTo>
                  <a:lnTo>
                    <a:pt x="494" y="2973"/>
                  </a:lnTo>
                  <a:lnTo>
                    <a:pt x="498" y="2969"/>
                  </a:lnTo>
                  <a:lnTo>
                    <a:pt x="501" y="2966"/>
                  </a:lnTo>
                  <a:lnTo>
                    <a:pt x="505" y="2962"/>
                  </a:lnTo>
                  <a:lnTo>
                    <a:pt x="517" y="2956"/>
                  </a:lnTo>
                  <a:lnTo>
                    <a:pt x="528" y="2948"/>
                  </a:lnTo>
                  <a:lnTo>
                    <a:pt x="538" y="2941"/>
                  </a:lnTo>
                  <a:lnTo>
                    <a:pt x="547" y="2933"/>
                  </a:lnTo>
                  <a:lnTo>
                    <a:pt x="565" y="2916"/>
                  </a:lnTo>
                  <a:lnTo>
                    <a:pt x="586" y="2898"/>
                  </a:lnTo>
                  <a:lnTo>
                    <a:pt x="589" y="2895"/>
                  </a:lnTo>
                  <a:lnTo>
                    <a:pt x="593" y="2894"/>
                  </a:lnTo>
                  <a:lnTo>
                    <a:pt x="595" y="2894"/>
                  </a:lnTo>
                  <a:lnTo>
                    <a:pt x="598" y="2894"/>
                  </a:lnTo>
                  <a:lnTo>
                    <a:pt x="603" y="2897"/>
                  </a:lnTo>
                  <a:lnTo>
                    <a:pt x="610" y="2900"/>
                  </a:lnTo>
                  <a:lnTo>
                    <a:pt x="616" y="2904"/>
                  </a:lnTo>
                  <a:lnTo>
                    <a:pt x="623" y="2908"/>
                  </a:lnTo>
                  <a:lnTo>
                    <a:pt x="629" y="2911"/>
                  </a:lnTo>
                  <a:lnTo>
                    <a:pt x="637" y="2912"/>
                  </a:lnTo>
                  <a:lnTo>
                    <a:pt x="642" y="2912"/>
                  </a:lnTo>
                  <a:lnTo>
                    <a:pt x="647" y="2910"/>
                  </a:lnTo>
                  <a:lnTo>
                    <a:pt x="651" y="2907"/>
                  </a:lnTo>
                  <a:lnTo>
                    <a:pt x="655" y="2904"/>
                  </a:lnTo>
                  <a:lnTo>
                    <a:pt x="663" y="2897"/>
                  </a:lnTo>
                  <a:lnTo>
                    <a:pt x="670" y="2889"/>
                  </a:lnTo>
                  <a:lnTo>
                    <a:pt x="679" y="2883"/>
                  </a:lnTo>
                  <a:lnTo>
                    <a:pt x="688" y="2878"/>
                  </a:lnTo>
                  <a:lnTo>
                    <a:pt x="696" y="2874"/>
                  </a:lnTo>
                  <a:lnTo>
                    <a:pt x="705" y="2870"/>
                  </a:lnTo>
                  <a:lnTo>
                    <a:pt x="714" y="2865"/>
                  </a:lnTo>
                  <a:lnTo>
                    <a:pt x="722" y="2861"/>
                  </a:lnTo>
                  <a:lnTo>
                    <a:pt x="731" y="2857"/>
                  </a:lnTo>
                  <a:lnTo>
                    <a:pt x="741" y="2850"/>
                  </a:lnTo>
                  <a:lnTo>
                    <a:pt x="760" y="2835"/>
                  </a:lnTo>
                  <a:lnTo>
                    <a:pt x="777" y="2822"/>
                  </a:lnTo>
                  <a:lnTo>
                    <a:pt x="786" y="2817"/>
                  </a:lnTo>
                  <a:lnTo>
                    <a:pt x="796" y="2812"/>
                  </a:lnTo>
                  <a:lnTo>
                    <a:pt x="806" y="2808"/>
                  </a:lnTo>
                  <a:lnTo>
                    <a:pt x="818" y="2806"/>
                  </a:lnTo>
                  <a:lnTo>
                    <a:pt x="843" y="2800"/>
                  </a:lnTo>
                  <a:lnTo>
                    <a:pt x="866" y="2796"/>
                  </a:lnTo>
                  <a:lnTo>
                    <a:pt x="886" y="2790"/>
                  </a:lnTo>
                  <a:lnTo>
                    <a:pt x="906" y="2784"/>
                  </a:lnTo>
                  <a:lnTo>
                    <a:pt x="926" y="2778"/>
                  </a:lnTo>
                  <a:lnTo>
                    <a:pt x="947" y="2771"/>
                  </a:lnTo>
                  <a:lnTo>
                    <a:pt x="968" y="2764"/>
                  </a:lnTo>
                  <a:lnTo>
                    <a:pt x="992" y="2758"/>
                  </a:lnTo>
                  <a:lnTo>
                    <a:pt x="1014" y="2753"/>
                  </a:lnTo>
                  <a:lnTo>
                    <a:pt x="1033" y="2746"/>
                  </a:lnTo>
                  <a:lnTo>
                    <a:pt x="1042" y="2743"/>
                  </a:lnTo>
                  <a:lnTo>
                    <a:pt x="1051" y="2739"/>
                  </a:lnTo>
                  <a:lnTo>
                    <a:pt x="1059" y="2733"/>
                  </a:lnTo>
                  <a:lnTo>
                    <a:pt x="1068" y="2727"/>
                  </a:lnTo>
                  <a:lnTo>
                    <a:pt x="1078" y="2722"/>
                  </a:lnTo>
                  <a:lnTo>
                    <a:pt x="1088" y="2718"/>
                  </a:lnTo>
                  <a:lnTo>
                    <a:pt x="1093" y="2716"/>
                  </a:lnTo>
                  <a:lnTo>
                    <a:pt x="1097" y="2714"/>
                  </a:lnTo>
                  <a:lnTo>
                    <a:pt x="1101" y="2712"/>
                  </a:lnTo>
                  <a:lnTo>
                    <a:pt x="1105" y="2708"/>
                  </a:lnTo>
                  <a:lnTo>
                    <a:pt x="1121" y="2683"/>
                  </a:lnTo>
                  <a:lnTo>
                    <a:pt x="1136" y="2661"/>
                  </a:lnTo>
                  <a:lnTo>
                    <a:pt x="1143" y="2650"/>
                  </a:lnTo>
                  <a:lnTo>
                    <a:pt x="1152" y="2642"/>
                  </a:lnTo>
                  <a:lnTo>
                    <a:pt x="1163" y="2632"/>
                  </a:lnTo>
                  <a:lnTo>
                    <a:pt x="1175" y="2623"/>
                  </a:lnTo>
                  <a:lnTo>
                    <a:pt x="1192" y="2614"/>
                  </a:lnTo>
                  <a:lnTo>
                    <a:pt x="1208" y="2606"/>
                  </a:lnTo>
                  <a:lnTo>
                    <a:pt x="1223" y="2601"/>
                  </a:lnTo>
                  <a:lnTo>
                    <a:pt x="1240" y="2598"/>
                  </a:lnTo>
                  <a:lnTo>
                    <a:pt x="1257" y="2596"/>
                  </a:lnTo>
                  <a:lnTo>
                    <a:pt x="1274" y="2595"/>
                  </a:lnTo>
                  <a:lnTo>
                    <a:pt x="1293" y="2595"/>
                  </a:lnTo>
                  <a:lnTo>
                    <a:pt x="1312" y="2595"/>
                  </a:lnTo>
                  <a:lnTo>
                    <a:pt x="1322" y="2596"/>
                  </a:lnTo>
                  <a:lnTo>
                    <a:pt x="1331" y="2597"/>
                  </a:lnTo>
                  <a:lnTo>
                    <a:pt x="1340" y="2601"/>
                  </a:lnTo>
                  <a:lnTo>
                    <a:pt x="1348" y="2604"/>
                  </a:lnTo>
                  <a:lnTo>
                    <a:pt x="1363" y="2613"/>
                  </a:lnTo>
                  <a:lnTo>
                    <a:pt x="1377" y="2623"/>
                  </a:lnTo>
                  <a:lnTo>
                    <a:pt x="1391" y="2633"/>
                  </a:lnTo>
                  <a:lnTo>
                    <a:pt x="1406" y="2643"/>
                  </a:lnTo>
                  <a:lnTo>
                    <a:pt x="1413" y="2646"/>
                  </a:lnTo>
                  <a:lnTo>
                    <a:pt x="1422" y="2649"/>
                  </a:lnTo>
                  <a:lnTo>
                    <a:pt x="1431" y="2650"/>
                  </a:lnTo>
                  <a:lnTo>
                    <a:pt x="1442" y="2651"/>
                  </a:lnTo>
                  <a:lnTo>
                    <a:pt x="1455" y="2650"/>
                  </a:lnTo>
                  <a:lnTo>
                    <a:pt x="1466" y="2648"/>
                  </a:lnTo>
                  <a:lnTo>
                    <a:pt x="1477" y="2646"/>
                  </a:lnTo>
                  <a:lnTo>
                    <a:pt x="1488" y="2643"/>
                  </a:lnTo>
                  <a:lnTo>
                    <a:pt x="1488" y="2643"/>
                  </a:lnTo>
                  <a:lnTo>
                    <a:pt x="1492" y="2620"/>
                  </a:lnTo>
                  <a:lnTo>
                    <a:pt x="1499" y="2601"/>
                  </a:lnTo>
                  <a:lnTo>
                    <a:pt x="1506" y="2583"/>
                  </a:lnTo>
                  <a:lnTo>
                    <a:pt x="1514" y="2567"/>
                  </a:lnTo>
                  <a:lnTo>
                    <a:pt x="1523" y="2551"/>
                  </a:lnTo>
                  <a:lnTo>
                    <a:pt x="1531" y="2535"/>
                  </a:lnTo>
                  <a:lnTo>
                    <a:pt x="1539" y="2516"/>
                  </a:lnTo>
                  <a:lnTo>
                    <a:pt x="1547" y="2495"/>
                  </a:lnTo>
                  <a:lnTo>
                    <a:pt x="1565" y="2443"/>
                  </a:lnTo>
                  <a:lnTo>
                    <a:pt x="1580" y="2395"/>
                  </a:lnTo>
                  <a:lnTo>
                    <a:pt x="1593" y="2351"/>
                  </a:lnTo>
                  <a:lnTo>
                    <a:pt x="1604" y="2307"/>
                  </a:lnTo>
                  <a:lnTo>
                    <a:pt x="1614" y="2264"/>
                  </a:lnTo>
                  <a:lnTo>
                    <a:pt x="1625" y="2218"/>
                  </a:lnTo>
                  <a:lnTo>
                    <a:pt x="1636" y="2170"/>
                  </a:lnTo>
                  <a:lnTo>
                    <a:pt x="1649" y="2116"/>
                  </a:lnTo>
                  <a:lnTo>
                    <a:pt x="1654" y="2093"/>
                  </a:lnTo>
                  <a:lnTo>
                    <a:pt x="1661" y="2073"/>
                  </a:lnTo>
                  <a:lnTo>
                    <a:pt x="1667" y="2053"/>
                  </a:lnTo>
                  <a:lnTo>
                    <a:pt x="1674" y="2035"/>
                  </a:lnTo>
                  <a:lnTo>
                    <a:pt x="1679" y="2015"/>
                  </a:lnTo>
                  <a:lnTo>
                    <a:pt x="1684" y="1996"/>
                  </a:lnTo>
                  <a:lnTo>
                    <a:pt x="1687" y="1974"/>
                  </a:lnTo>
                  <a:lnTo>
                    <a:pt x="1688" y="1952"/>
                  </a:lnTo>
                  <a:lnTo>
                    <a:pt x="1688" y="1932"/>
                  </a:lnTo>
                  <a:lnTo>
                    <a:pt x="1688" y="1916"/>
                  </a:lnTo>
                  <a:lnTo>
                    <a:pt x="1688" y="1900"/>
                  </a:lnTo>
                  <a:lnTo>
                    <a:pt x="1688" y="1880"/>
                  </a:lnTo>
                  <a:lnTo>
                    <a:pt x="1749" y="1592"/>
                  </a:lnTo>
                  <a:lnTo>
                    <a:pt x="1756" y="1574"/>
                  </a:lnTo>
                  <a:lnTo>
                    <a:pt x="1762" y="1556"/>
                  </a:lnTo>
                  <a:lnTo>
                    <a:pt x="1765" y="1548"/>
                  </a:lnTo>
                  <a:lnTo>
                    <a:pt x="1767" y="1539"/>
                  </a:lnTo>
                  <a:lnTo>
                    <a:pt x="1769" y="1530"/>
                  </a:lnTo>
                  <a:lnTo>
                    <a:pt x="1769" y="1520"/>
                  </a:lnTo>
                  <a:lnTo>
                    <a:pt x="1769" y="1504"/>
                  </a:lnTo>
                  <a:lnTo>
                    <a:pt x="1769" y="1491"/>
                  </a:lnTo>
                  <a:lnTo>
                    <a:pt x="1769" y="1477"/>
                  </a:lnTo>
                  <a:lnTo>
                    <a:pt x="1769" y="1462"/>
                  </a:lnTo>
                  <a:lnTo>
                    <a:pt x="1768" y="1452"/>
                  </a:lnTo>
                  <a:lnTo>
                    <a:pt x="1765" y="1442"/>
                  </a:lnTo>
                  <a:lnTo>
                    <a:pt x="1761" y="1433"/>
                  </a:lnTo>
                  <a:lnTo>
                    <a:pt x="1756" y="1426"/>
                  </a:lnTo>
                  <a:lnTo>
                    <a:pt x="1750" y="1418"/>
                  </a:lnTo>
                  <a:lnTo>
                    <a:pt x="1744" y="1409"/>
                  </a:lnTo>
                  <a:lnTo>
                    <a:pt x="1740" y="1401"/>
                  </a:lnTo>
                  <a:lnTo>
                    <a:pt x="1735" y="1390"/>
                  </a:lnTo>
                  <a:lnTo>
                    <a:pt x="1732" y="1377"/>
                  </a:lnTo>
                  <a:lnTo>
                    <a:pt x="1730" y="1364"/>
                  </a:lnTo>
                  <a:lnTo>
                    <a:pt x="1729" y="1352"/>
                  </a:lnTo>
                  <a:lnTo>
                    <a:pt x="1727" y="1340"/>
                  </a:lnTo>
                  <a:lnTo>
                    <a:pt x="1726" y="1329"/>
                  </a:lnTo>
                  <a:lnTo>
                    <a:pt x="1722" y="1318"/>
                  </a:lnTo>
                  <a:lnTo>
                    <a:pt x="1720" y="1312"/>
                  </a:lnTo>
                  <a:lnTo>
                    <a:pt x="1718" y="1307"/>
                  </a:lnTo>
                  <a:lnTo>
                    <a:pt x="1714" y="1300"/>
                  </a:lnTo>
                  <a:lnTo>
                    <a:pt x="1711" y="1295"/>
                  </a:lnTo>
                  <a:lnTo>
                    <a:pt x="1704" y="1288"/>
                  </a:lnTo>
                  <a:lnTo>
                    <a:pt x="1699" y="1282"/>
                  </a:lnTo>
                  <a:lnTo>
                    <a:pt x="1692" y="1277"/>
                  </a:lnTo>
                  <a:lnTo>
                    <a:pt x="1686" y="1271"/>
                  </a:lnTo>
                  <a:lnTo>
                    <a:pt x="1673" y="1263"/>
                  </a:lnTo>
                  <a:lnTo>
                    <a:pt x="1660" y="1253"/>
                  </a:lnTo>
                  <a:lnTo>
                    <a:pt x="1654" y="1248"/>
                  </a:lnTo>
                  <a:lnTo>
                    <a:pt x="1649" y="1243"/>
                  </a:lnTo>
                  <a:lnTo>
                    <a:pt x="1645" y="1239"/>
                  </a:lnTo>
                  <a:lnTo>
                    <a:pt x="1640" y="1232"/>
                  </a:lnTo>
                  <a:lnTo>
                    <a:pt x="1636" y="1227"/>
                  </a:lnTo>
                  <a:lnTo>
                    <a:pt x="1634" y="1219"/>
                  </a:lnTo>
                  <a:lnTo>
                    <a:pt x="1633" y="1212"/>
                  </a:lnTo>
                  <a:lnTo>
                    <a:pt x="1632" y="1204"/>
                  </a:lnTo>
                  <a:lnTo>
                    <a:pt x="1633" y="1184"/>
                  </a:lnTo>
                  <a:lnTo>
                    <a:pt x="1636" y="1166"/>
                  </a:lnTo>
                  <a:lnTo>
                    <a:pt x="1639" y="1148"/>
                  </a:lnTo>
                  <a:lnTo>
                    <a:pt x="1640" y="1129"/>
                  </a:lnTo>
                  <a:lnTo>
                    <a:pt x="1639" y="1119"/>
                  </a:lnTo>
                  <a:lnTo>
                    <a:pt x="1638" y="1111"/>
                  </a:lnTo>
                  <a:lnTo>
                    <a:pt x="1636" y="1104"/>
                  </a:lnTo>
                  <a:lnTo>
                    <a:pt x="1633" y="1096"/>
                  </a:lnTo>
                  <a:lnTo>
                    <a:pt x="1630" y="1090"/>
                  </a:lnTo>
                  <a:lnTo>
                    <a:pt x="1625" y="1084"/>
                  </a:lnTo>
                  <a:lnTo>
                    <a:pt x="1621" y="1078"/>
                  </a:lnTo>
                  <a:lnTo>
                    <a:pt x="1615" y="1072"/>
                  </a:lnTo>
                  <a:lnTo>
                    <a:pt x="1603" y="1063"/>
                  </a:lnTo>
                  <a:lnTo>
                    <a:pt x="1588" y="1053"/>
                  </a:lnTo>
                  <a:lnTo>
                    <a:pt x="1574" y="1043"/>
                  </a:lnTo>
                  <a:lnTo>
                    <a:pt x="1559" y="1035"/>
                  </a:lnTo>
                  <a:lnTo>
                    <a:pt x="1540" y="1022"/>
                  </a:lnTo>
                  <a:lnTo>
                    <a:pt x="1525" y="1009"/>
                  </a:lnTo>
                  <a:lnTo>
                    <a:pt x="1510" y="995"/>
                  </a:lnTo>
                  <a:lnTo>
                    <a:pt x="1491" y="981"/>
                  </a:lnTo>
                  <a:lnTo>
                    <a:pt x="1471" y="969"/>
                  </a:lnTo>
                  <a:lnTo>
                    <a:pt x="1449" y="957"/>
                  </a:lnTo>
                  <a:lnTo>
                    <a:pt x="1440" y="950"/>
                  </a:lnTo>
                  <a:lnTo>
                    <a:pt x="1433" y="943"/>
                  </a:lnTo>
                  <a:lnTo>
                    <a:pt x="1431" y="939"/>
                  </a:lnTo>
                  <a:lnTo>
                    <a:pt x="1429" y="933"/>
                  </a:lnTo>
                  <a:lnTo>
                    <a:pt x="1428" y="928"/>
                  </a:lnTo>
                  <a:lnTo>
                    <a:pt x="1428" y="922"/>
                  </a:lnTo>
                  <a:lnTo>
                    <a:pt x="1428" y="909"/>
                  </a:lnTo>
                  <a:lnTo>
                    <a:pt x="1430" y="897"/>
                  </a:lnTo>
                  <a:lnTo>
                    <a:pt x="1433" y="887"/>
                  </a:lnTo>
                  <a:lnTo>
                    <a:pt x="1436" y="876"/>
                  </a:lnTo>
                  <a:lnTo>
                    <a:pt x="1445" y="854"/>
                  </a:lnTo>
                  <a:lnTo>
                    <a:pt x="1452" y="829"/>
                  </a:lnTo>
                  <a:lnTo>
                    <a:pt x="1457" y="805"/>
                  </a:lnTo>
                  <a:lnTo>
                    <a:pt x="1461" y="781"/>
                  </a:lnTo>
                  <a:lnTo>
                    <a:pt x="1465" y="770"/>
                  </a:lnTo>
                  <a:lnTo>
                    <a:pt x="1470" y="760"/>
                  </a:lnTo>
                  <a:lnTo>
                    <a:pt x="1473" y="756"/>
                  </a:lnTo>
                  <a:lnTo>
                    <a:pt x="1477" y="752"/>
                  </a:lnTo>
                  <a:lnTo>
                    <a:pt x="1482" y="747"/>
                  </a:lnTo>
                  <a:lnTo>
                    <a:pt x="1486" y="743"/>
                  </a:lnTo>
                  <a:lnTo>
                    <a:pt x="1501" y="733"/>
                  </a:lnTo>
                  <a:lnTo>
                    <a:pt x="1515" y="725"/>
                  </a:lnTo>
                  <a:lnTo>
                    <a:pt x="1528" y="717"/>
                  </a:lnTo>
                  <a:lnTo>
                    <a:pt x="1542" y="712"/>
                  </a:lnTo>
                  <a:lnTo>
                    <a:pt x="1571" y="701"/>
                  </a:lnTo>
                  <a:lnTo>
                    <a:pt x="1604" y="689"/>
                  </a:lnTo>
                  <a:lnTo>
                    <a:pt x="1610" y="687"/>
                  </a:lnTo>
                  <a:lnTo>
                    <a:pt x="1615" y="684"/>
                  </a:lnTo>
                  <a:lnTo>
                    <a:pt x="1621" y="680"/>
                  </a:lnTo>
                  <a:lnTo>
                    <a:pt x="1626" y="676"/>
                  </a:lnTo>
                  <a:lnTo>
                    <a:pt x="1636" y="669"/>
                  </a:lnTo>
                  <a:lnTo>
                    <a:pt x="1645" y="660"/>
                  </a:lnTo>
                  <a:lnTo>
                    <a:pt x="1653" y="651"/>
                  </a:lnTo>
                  <a:lnTo>
                    <a:pt x="1664" y="645"/>
                  </a:lnTo>
                  <a:lnTo>
                    <a:pt x="1668" y="643"/>
                  </a:lnTo>
                  <a:lnTo>
                    <a:pt x="1675" y="640"/>
                  </a:lnTo>
                  <a:lnTo>
                    <a:pt x="1681" y="639"/>
                  </a:lnTo>
                  <a:lnTo>
                    <a:pt x="1688" y="639"/>
                  </a:lnTo>
                  <a:lnTo>
                    <a:pt x="1705" y="639"/>
                  </a:lnTo>
                  <a:lnTo>
                    <a:pt x="1721" y="642"/>
                  </a:lnTo>
                  <a:lnTo>
                    <a:pt x="1735" y="645"/>
                  </a:lnTo>
                  <a:lnTo>
                    <a:pt x="1750" y="648"/>
                  </a:lnTo>
                  <a:lnTo>
                    <a:pt x="1765" y="650"/>
                  </a:lnTo>
                  <a:lnTo>
                    <a:pt x="1780" y="653"/>
                  </a:lnTo>
                  <a:lnTo>
                    <a:pt x="1795" y="656"/>
                  </a:lnTo>
                  <a:lnTo>
                    <a:pt x="1812" y="656"/>
                  </a:lnTo>
                  <a:lnTo>
                    <a:pt x="1826" y="657"/>
                  </a:lnTo>
                  <a:lnTo>
                    <a:pt x="1842" y="654"/>
                  </a:lnTo>
                  <a:lnTo>
                    <a:pt x="1850" y="653"/>
                  </a:lnTo>
                  <a:lnTo>
                    <a:pt x="1856" y="651"/>
                  </a:lnTo>
                  <a:lnTo>
                    <a:pt x="1863" y="648"/>
                  </a:lnTo>
                  <a:lnTo>
                    <a:pt x="1867" y="645"/>
                  </a:lnTo>
                  <a:lnTo>
                    <a:pt x="1865" y="620"/>
                  </a:lnTo>
                  <a:lnTo>
                    <a:pt x="1862" y="598"/>
                  </a:lnTo>
                  <a:lnTo>
                    <a:pt x="1858" y="577"/>
                  </a:lnTo>
                  <a:lnTo>
                    <a:pt x="1853" y="552"/>
                  </a:lnTo>
                  <a:lnTo>
                    <a:pt x="1848" y="534"/>
                  </a:lnTo>
                  <a:lnTo>
                    <a:pt x="1840" y="516"/>
                  </a:lnTo>
                  <a:lnTo>
                    <a:pt x="1831" y="501"/>
                  </a:lnTo>
                  <a:lnTo>
                    <a:pt x="1822" y="486"/>
                  </a:lnTo>
                  <a:lnTo>
                    <a:pt x="1816" y="480"/>
                  </a:lnTo>
                  <a:lnTo>
                    <a:pt x="1811" y="474"/>
                  </a:lnTo>
                  <a:lnTo>
                    <a:pt x="1804" y="469"/>
                  </a:lnTo>
                  <a:lnTo>
                    <a:pt x="1797" y="463"/>
                  </a:lnTo>
                  <a:lnTo>
                    <a:pt x="1789" y="459"/>
                  </a:lnTo>
                  <a:lnTo>
                    <a:pt x="1782" y="455"/>
                  </a:lnTo>
                  <a:lnTo>
                    <a:pt x="1773" y="451"/>
                  </a:lnTo>
                  <a:lnTo>
                    <a:pt x="1763" y="448"/>
                  </a:lnTo>
                  <a:lnTo>
                    <a:pt x="1745" y="445"/>
                  </a:lnTo>
                  <a:lnTo>
                    <a:pt x="1729" y="444"/>
                  </a:lnTo>
                  <a:lnTo>
                    <a:pt x="1712" y="443"/>
                  </a:lnTo>
                  <a:lnTo>
                    <a:pt x="1693" y="441"/>
                  </a:lnTo>
                  <a:lnTo>
                    <a:pt x="1680" y="436"/>
                  </a:lnTo>
                  <a:lnTo>
                    <a:pt x="1668" y="432"/>
                  </a:lnTo>
                  <a:lnTo>
                    <a:pt x="1657" y="427"/>
                  </a:lnTo>
                  <a:lnTo>
                    <a:pt x="1646" y="421"/>
                  </a:lnTo>
                  <a:lnTo>
                    <a:pt x="1625" y="411"/>
                  </a:lnTo>
                  <a:lnTo>
                    <a:pt x="1603" y="403"/>
                  </a:lnTo>
                  <a:lnTo>
                    <a:pt x="1601" y="374"/>
                  </a:lnTo>
                  <a:lnTo>
                    <a:pt x="1601" y="349"/>
                  </a:lnTo>
                  <a:lnTo>
                    <a:pt x="1600" y="324"/>
                  </a:lnTo>
                  <a:lnTo>
                    <a:pt x="1600" y="297"/>
                  </a:lnTo>
                  <a:lnTo>
                    <a:pt x="1600" y="276"/>
                  </a:lnTo>
                  <a:lnTo>
                    <a:pt x="1597" y="258"/>
                  </a:lnTo>
                  <a:lnTo>
                    <a:pt x="1594" y="241"/>
                  </a:lnTo>
                  <a:lnTo>
                    <a:pt x="1590" y="225"/>
                  </a:lnTo>
                  <a:lnTo>
                    <a:pt x="1585" y="207"/>
                  </a:lnTo>
                  <a:lnTo>
                    <a:pt x="1582" y="191"/>
                  </a:lnTo>
                  <a:lnTo>
                    <a:pt x="1580" y="173"/>
                  </a:lnTo>
                  <a:lnTo>
                    <a:pt x="1579" y="152"/>
                  </a:lnTo>
                  <a:lnTo>
                    <a:pt x="1579" y="136"/>
                  </a:lnTo>
                  <a:lnTo>
                    <a:pt x="1579" y="121"/>
                  </a:lnTo>
                  <a:lnTo>
                    <a:pt x="1609" y="117"/>
                  </a:lnTo>
                  <a:lnTo>
                    <a:pt x="1638" y="112"/>
                  </a:lnTo>
                  <a:lnTo>
                    <a:pt x="1664" y="107"/>
                  </a:lnTo>
                  <a:lnTo>
                    <a:pt x="1690" y="102"/>
                  </a:lnTo>
                  <a:lnTo>
                    <a:pt x="1715" y="97"/>
                  </a:lnTo>
                  <a:lnTo>
                    <a:pt x="1741" y="93"/>
                  </a:lnTo>
                  <a:lnTo>
                    <a:pt x="1770" y="91"/>
                  </a:lnTo>
                  <a:lnTo>
                    <a:pt x="1800" y="90"/>
                  </a:lnTo>
                  <a:lnTo>
                    <a:pt x="1833" y="90"/>
                  </a:lnTo>
                  <a:lnTo>
                    <a:pt x="1862" y="91"/>
                  </a:lnTo>
                  <a:lnTo>
                    <a:pt x="1890" y="91"/>
                  </a:lnTo>
                  <a:lnTo>
                    <a:pt x="1922" y="91"/>
                  </a:lnTo>
                  <a:lnTo>
                    <a:pt x="1936" y="92"/>
                  </a:lnTo>
                  <a:lnTo>
                    <a:pt x="1949" y="94"/>
                  </a:lnTo>
                  <a:lnTo>
                    <a:pt x="1961" y="97"/>
                  </a:lnTo>
                  <a:lnTo>
                    <a:pt x="1972" y="102"/>
                  </a:lnTo>
                  <a:lnTo>
                    <a:pt x="1984" y="107"/>
                  </a:lnTo>
                  <a:lnTo>
                    <a:pt x="1996" y="112"/>
                  </a:lnTo>
                  <a:lnTo>
                    <a:pt x="2008" y="117"/>
                  </a:lnTo>
                  <a:lnTo>
                    <a:pt x="2022" y="121"/>
                  </a:lnTo>
                  <a:lnTo>
                    <a:pt x="2046" y="127"/>
                  </a:lnTo>
                  <a:lnTo>
                    <a:pt x="2070" y="132"/>
                  </a:lnTo>
                  <a:lnTo>
                    <a:pt x="2093" y="136"/>
                  </a:lnTo>
                  <a:lnTo>
                    <a:pt x="2114" y="139"/>
                  </a:lnTo>
                  <a:lnTo>
                    <a:pt x="2137" y="141"/>
                  </a:lnTo>
                  <a:lnTo>
                    <a:pt x="2160" y="143"/>
                  </a:lnTo>
                  <a:lnTo>
                    <a:pt x="2184" y="143"/>
                  </a:lnTo>
                  <a:lnTo>
                    <a:pt x="2211" y="144"/>
                  </a:lnTo>
                  <a:lnTo>
                    <a:pt x="2214" y="143"/>
                  </a:lnTo>
                  <a:lnTo>
                    <a:pt x="2217" y="141"/>
                  </a:lnTo>
                  <a:lnTo>
                    <a:pt x="2220" y="140"/>
                  </a:lnTo>
                  <a:lnTo>
                    <a:pt x="2222" y="139"/>
                  </a:lnTo>
                  <a:lnTo>
                    <a:pt x="2227" y="134"/>
                  </a:lnTo>
                  <a:lnTo>
                    <a:pt x="2230" y="129"/>
                  </a:lnTo>
                  <a:lnTo>
                    <a:pt x="2234" y="113"/>
                  </a:lnTo>
                  <a:lnTo>
                    <a:pt x="2238" y="98"/>
                  </a:lnTo>
                  <a:lnTo>
                    <a:pt x="2240" y="84"/>
                  </a:lnTo>
                  <a:lnTo>
                    <a:pt x="2243" y="71"/>
                  </a:lnTo>
                  <a:lnTo>
                    <a:pt x="2246" y="57"/>
                  </a:lnTo>
                  <a:lnTo>
                    <a:pt x="2252" y="45"/>
                  </a:lnTo>
                  <a:lnTo>
                    <a:pt x="2254" y="40"/>
                  </a:lnTo>
                  <a:lnTo>
                    <a:pt x="2257" y="36"/>
                  </a:lnTo>
                  <a:lnTo>
                    <a:pt x="2261" y="31"/>
                  </a:lnTo>
                  <a:lnTo>
                    <a:pt x="2266" y="27"/>
                  </a:lnTo>
                  <a:lnTo>
                    <a:pt x="2270" y="24"/>
                  </a:lnTo>
                  <a:lnTo>
                    <a:pt x="2275" y="22"/>
                  </a:lnTo>
                  <a:lnTo>
                    <a:pt x="2281" y="21"/>
                  </a:lnTo>
                  <a:lnTo>
                    <a:pt x="2287" y="19"/>
                  </a:lnTo>
                  <a:lnTo>
                    <a:pt x="2296" y="21"/>
                  </a:lnTo>
                  <a:lnTo>
                    <a:pt x="2302" y="23"/>
                  </a:lnTo>
                  <a:lnTo>
                    <a:pt x="2309" y="26"/>
                  </a:lnTo>
                  <a:lnTo>
                    <a:pt x="2315" y="30"/>
                  </a:lnTo>
                  <a:lnTo>
                    <a:pt x="2326" y="41"/>
                  </a:lnTo>
                  <a:lnTo>
                    <a:pt x="2335" y="53"/>
                  </a:lnTo>
                  <a:lnTo>
                    <a:pt x="2345" y="66"/>
                  </a:lnTo>
                  <a:lnTo>
                    <a:pt x="2355" y="77"/>
                  </a:lnTo>
                  <a:lnTo>
                    <a:pt x="2361" y="81"/>
                  </a:lnTo>
                  <a:lnTo>
                    <a:pt x="2367" y="84"/>
                  </a:lnTo>
                  <a:lnTo>
                    <a:pt x="2375" y="86"/>
                  </a:lnTo>
                  <a:lnTo>
                    <a:pt x="2382" y="87"/>
                  </a:lnTo>
                  <a:lnTo>
                    <a:pt x="2392" y="86"/>
                  </a:lnTo>
                  <a:lnTo>
                    <a:pt x="2401" y="83"/>
                  </a:lnTo>
                  <a:lnTo>
                    <a:pt x="2407" y="80"/>
                  </a:lnTo>
                  <a:lnTo>
                    <a:pt x="2414" y="75"/>
                  </a:lnTo>
                  <a:lnTo>
                    <a:pt x="2427" y="63"/>
                  </a:lnTo>
                  <a:lnTo>
                    <a:pt x="2442" y="51"/>
                  </a:lnTo>
                  <a:lnTo>
                    <a:pt x="2454" y="43"/>
                  </a:lnTo>
                  <a:lnTo>
                    <a:pt x="2465" y="37"/>
                  </a:lnTo>
                  <a:lnTo>
                    <a:pt x="2471" y="33"/>
                  </a:lnTo>
                  <a:lnTo>
                    <a:pt x="2476" y="29"/>
                  </a:lnTo>
                  <a:lnTo>
                    <a:pt x="2482" y="25"/>
                  </a:lnTo>
                  <a:lnTo>
                    <a:pt x="2486" y="19"/>
                  </a:lnTo>
                  <a:lnTo>
                    <a:pt x="2492" y="13"/>
                  </a:lnTo>
                  <a:lnTo>
                    <a:pt x="2499" y="6"/>
                  </a:lnTo>
                  <a:lnTo>
                    <a:pt x="2502" y="4"/>
                  </a:lnTo>
                  <a:lnTo>
                    <a:pt x="2505" y="2"/>
                  </a:lnTo>
                  <a:lnTo>
                    <a:pt x="2510" y="1"/>
                  </a:lnTo>
                  <a:lnTo>
                    <a:pt x="2514" y="0"/>
                  </a:lnTo>
                  <a:lnTo>
                    <a:pt x="2521" y="1"/>
                  </a:lnTo>
                  <a:lnTo>
                    <a:pt x="2526" y="3"/>
                  </a:lnTo>
                  <a:lnTo>
                    <a:pt x="2530" y="6"/>
                  </a:lnTo>
                  <a:lnTo>
                    <a:pt x="2534" y="10"/>
                  </a:lnTo>
                  <a:lnTo>
                    <a:pt x="2541" y="18"/>
                  </a:lnTo>
                  <a:lnTo>
                    <a:pt x="2551" y="26"/>
                  </a:lnTo>
                  <a:lnTo>
                    <a:pt x="2576" y="38"/>
                  </a:lnTo>
                  <a:lnTo>
                    <a:pt x="2598" y="49"/>
                  </a:lnTo>
                  <a:lnTo>
                    <a:pt x="2609" y="54"/>
                  </a:lnTo>
                  <a:lnTo>
                    <a:pt x="2620" y="60"/>
                  </a:lnTo>
                  <a:lnTo>
                    <a:pt x="2631" y="69"/>
                  </a:lnTo>
                  <a:lnTo>
                    <a:pt x="2640" y="79"/>
                  </a:lnTo>
                  <a:lnTo>
                    <a:pt x="2646" y="85"/>
                  </a:lnTo>
                  <a:lnTo>
                    <a:pt x="2651" y="92"/>
                  </a:lnTo>
                  <a:lnTo>
                    <a:pt x="2654" y="97"/>
                  </a:lnTo>
                  <a:lnTo>
                    <a:pt x="2658" y="104"/>
                  </a:lnTo>
                  <a:lnTo>
                    <a:pt x="2663" y="117"/>
                  </a:lnTo>
                  <a:lnTo>
                    <a:pt x="2666" y="131"/>
                  </a:lnTo>
                  <a:lnTo>
                    <a:pt x="2671" y="159"/>
                  </a:lnTo>
                  <a:lnTo>
                    <a:pt x="2677" y="191"/>
                  </a:lnTo>
                  <a:lnTo>
                    <a:pt x="2683" y="208"/>
                  </a:lnTo>
                  <a:lnTo>
                    <a:pt x="2688" y="224"/>
                  </a:lnTo>
                  <a:lnTo>
                    <a:pt x="2693" y="239"/>
                  </a:lnTo>
                  <a:lnTo>
                    <a:pt x="2700" y="253"/>
                  </a:lnTo>
                  <a:lnTo>
                    <a:pt x="2705" y="267"/>
                  </a:lnTo>
                  <a:lnTo>
                    <a:pt x="2710" y="281"/>
                  </a:lnTo>
                  <a:lnTo>
                    <a:pt x="2713" y="297"/>
                  </a:lnTo>
                  <a:lnTo>
                    <a:pt x="2714" y="314"/>
                  </a:lnTo>
                  <a:lnTo>
                    <a:pt x="2729" y="314"/>
                  </a:lnTo>
                  <a:lnTo>
                    <a:pt x="2743" y="314"/>
                  </a:lnTo>
                  <a:lnTo>
                    <a:pt x="2756" y="314"/>
                  </a:lnTo>
                  <a:lnTo>
                    <a:pt x="2772" y="314"/>
                  </a:lnTo>
                  <a:lnTo>
                    <a:pt x="2784" y="313"/>
                  </a:lnTo>
                  <a:lnTo>
                    <a:pt x="2795" y="311"/>
                  </a:lnTo>
                  <a:lnTo>
                    <a:pt x="2806" y="307"/>
                  </a:lnTo>
                  <a:lnTo>
                    <a:pt x="2817" y="301"/>
                  </a:lnTo>
                  <a:lnTo>
                    <a:pt x="2817" y="301"/>
                  </a:lnTo>
                  <a:lnTo>
                    <a:pt x="2828" y="321"/>
                  </a:lnTo>
                  <a:lnTo>
                    <a:pt x="2840" y="338"/>
                  </a:lnTo>
                  <a:lnTo>
                    <a:pt x="2851" y="354"/>
                  </a:lnTo>
                  <a:lnTo>
                    <a:pt x="2863" y="368"/>
                  </a:lnTo>
                  <a:lnTo>
                    <a:pt x="2876" y="381"/>
                  </a:lnTo>
                  <a:lnTo>
                    <a:pt x="2890" y="394"/>
                  </a:lnTo>
                  <a:lnTo>
                    <a:pt x="2905" y="407"/>
                  </a:lnTo>
                  <a:lnTo>
                    <a:pt x="2923" y="420"/>
                  </a:lnTo>
                  <a:lnTo>
                    <a:pt x="2937" y="435"/>
                  </a:lnTo>
                  <a:lnTo>
                    <a:pt x="2952" y="451"/>
                  </a:lnTo>
                  <a:lnTo>
                    <a:pt x="2972" y="467"/>
                  </a:lnTo>
                  <a:lnTo>
                    <a:pt x="2993" y="478"/>
                  </a:lnTo>
                  <a:lnTo>
                    <a:pt x="3013" y="489"/>
                  </a:lnTo>
                  <a:lnTo>
                    <a:pt x="3033" y="497"/>
                  </a:lnTo>
                  <a:lnTo>
                    <a:pt x="3054" y="503"/>
                  </a:lnTo>
                  <a:lnTo>
                    <a:pt x="3076" y="508"/>
                  </a:lnTo>
                  <a:lnTo>
                    <a:pt x="3099" y="510"/>
                  </a:lnTo>
                  <a:lnTo>
                    <a:pt x="3125" y="510"/>
                  </a:lnTo>
                  <a:lnTo>
                    <a:pt x="3147" y="510"/>
                  </a:lnTo>
                  <a:lnTo>
                    <a:pt x="3166" y="509"/>
                  </a:lnTo>
                  <a:lnTo>
                    <a:pt x="3186" y="507"/>
                  </a:lnTo>
                  <a:lnTo>
                    <a:pt x="3204" y="504"/>
                  </a:lnTo>
                  <a:lnTo>
                    <a:pt x="3222" y="501"/>
                  </a:lnTo>
                  <a:lnTo>
                    <a:pt x="3239" y="498"/>
                  </a:lnTo>
                  <a:lnTo>
                    <a:pt x="3255" y="494"/>
                  </a:lnTo>
                  <a:lnTo>
                    <a:pt x="3271" y="489"/>
                  </a:lnTo>
                  <a:lnTo>
                    <a:pt x="3305" y="478"/>
                  </a:lnTo>
                  <a:lnTo>
                    <a:pt x="3338" y="465"/>
                  </a:lnTo>
                  <a:lnTo>
                    <a:pt x="3373" y="450"/>
                  </a:lnTo>
                  <a:lnTo>
                    <a:pt x="3412" y="434"/>
                  </a:lnTo>
                  <a:lnTo>
                    <a:pt x="3421" y="430"/>
                  </a:lnTo>
                  <a:lnTo>
                    <a:pt x="3430" y="426"/>
                  </a:lnTo>
                  <a:lnTo>
                    <a:pt x="3439" y="420"/>
                  </a:lnTo>
                  <a:lnTo>
                    <a:pt x="3446" y="415"/>
                  </a:lnTo>
                  <a:lnTo>
                    <a:pt x="3460" y="402"/>
                  </a:lnTo>
                  <a:lnTo>
                    <a:pt x="3473" y="389"/>
                  </a:lnTo>
                  <a:lnTo>
                    <a:pt x="3486" y="376"/>
                  </a:lnTo>
                  <a:lnTo>
                    <a:pt x="3499" y="363"/>
                  </a:lnTo>
                  <a:lnTo>
                    <a:pt x="3507" y="356"/>
                  </a:lnTo>
                  <a:lnTo>
                    <a:pt x="3514" y="351"/>
                  </a:lnTo>
                  <a:lnTo>
                    <a:pt x="3523" y="345"/>
                  </a:lnTo>
                  <a:lnTo>
                    <a:pt x="3532" y="339"/>
                  </a:lnTo>
                  <a:lnTo>
                    <a:pt x="3548" y="332"/>
                  </a:lnTo>
                  <a:lnTo>
                    <a:pt x="3564" y="326"/>
                  </a:lnTo>
                  <a:lnTo>
                    <a:pt x="3578" y="322"/>
                  </a:lnTo>
                  <a:lnTo>
                    <a:pt x="3593" y="319"/>
                  </a:lnTo>
                  <a:lnTo>
                    <a:pt x="3624" y="315"/>
                  </a:lnTo>
                  <a:lnTo>
                    <a:pt x="3658" y="309"/>
                  </a:lnTo>
                  <a:lnTo>
                    <a:pt x="3678" y="302"/>
                  </a:lnTo>
                  <a:lnTo>
                    <a:pt x="3698" y="296"/>
                  </a:lnTo>
                  <a:lnTo>
                    <a:pt x="3716" y="288"/>
                  </a:lnTo>
                  <a:lnTo>
                    <a:pt x="3732" y="280"/>
                  </a:lnTo>
                  <a:lnTo>
                    <a:pt x="3749" y="271"/>
                  </a:lnTo>
                  <a:lnTo>
                    <a:pt x="3763" y="261"/>
                  </a:lnTo>
                  <a:lnTo>
                    <a:pt x="3778" y="251"/>
                  </a:lnTo>
                  <a:lnTo>
                    <a:pt x="3792" y="240"/>
                  </a:lnTo>
                  <a:lnTo>
                    <a:pt x="3819" y="217"/>
                  </a:lnTo>
                  <a:lnTo>
                    <a:pt x="3848" y="194"/>
                  </a:lnTo>
                  <a:lnTo>
                    <a:pt x="3862" y="181"/>
                  </a:lnTo>
                  <a:lnTo>
                    <a:pt x="3878" y="170"/>
                  </a:lnTo>
                  <a:lnTo>
                    <a:pt x="3895" y="158"/>
                  </a:lnTo>
                  <a:lnTo>
                    <a:pt x="3913" y="146"/>
                  </a:lnTo>
                  <a:lnTo>
                    <a:pt x="3931" y="135"/>
                  </a:lnTo>
                  <a:lnTo>
                    <a:pt x="3950" y="124"/>
                  </a:lnTo>
                  <a:lnTo>
                    <a:pt x="3967" y="116"/>
                  </a:lnTo>
                  <a:lnTo>
                    <a:pt x="3984" y="107"/>
                  </a:lnTo>
                  <a:lnTo>
                    <a:pt x="4018" y="92"/>
                  </a:lnTo>
                  <a:lnTo>
                    <a:pt x="4050" y="77"/>
                  </a:lnTo>
                  <a:lnTo>
                    <a:pt x="4082" y="63"/>
                  </a:lnTo>
                  <a:lnTo>
                    <a:pt x="4115" y="46"/>
                  </a:lnTo>
                  <a:lnTo>
                    <a:pt x="4131" y="37"/>
                  </a:lnTo>
                  <a:lnTo>
                    <a:pt x="4147" y="27"/>
                  </a:lnTo>
                  <a:lnTo>
                    <a:pt x="4164" y="15"/>
                  </a:lnTo>
                  <a:lnTo>
                    <a:pt x="4182" y="3"/>
                  </a:lnTo>
                  <a:lnTo>
                    <a:pt x="4182" y="3"/>
                  </a:lnTo>
                  <a:lnTo>
                    <a:pt x="4198" y="3"/>
                  </a:lnTo>
                  <a:lnTo>
                    <a:pt x="4212" y="4"/>
                  </a:lnTo>
                  <a:lnTo>
                    <a:pt x="4226" y="6"/>
                  </a:lnTo>
                  <a:lnTo>
                    <a:pt x="4240" y="9"/>
                  </a:lnTo>
                  <a:lnTo>
                    <a:pt x="4253" y="13"/>
                  </a:lnTo>
                  <a:lnTo>
                    <a:pt x="4266" y="17"/>
                  </a:lnTo>
                  <a:lnTo>
                    <a:pt x="4279" y="24"/>
                  </a:lnTo>
                  <a:lnTo>
                    <a:pt x="4292" y="31"/>
                  </a:lnTo>
                  <a:lnTo>
                    <a:pt x="4308" y="41"/>
                  </a:lnTo>
                  <a:lnTo>
                    <a:pt x="4324" y="51"/>
                  </a:lnTo>
                  <a:lnTo>
                    <a:pt x="4331" y="56"/>
                  </a:lnTo>
                  <a:lnTo>
                    <a:pt x="4337" y="63"/>
                  </a:lnTo>
                  <a:lnTo>
                    <a:pt x="4342" y="70"/>
                  </a:lnTo>
                  <a:lnTo>
                    <a:pt x="4345" y="79"/>
                  </a:lnTo>
                  <a:lnTo>
                    <a:pt x="4352" y="104"/>
                  </a:lnTo>
                  <a:lnTo>
                    <a:pt x="4360" y="125"/>
                  </a:lnTo>
                  <a:lnTo>
                    <a:pt x="4367" y="147"/>
                  </a:lnTo>
                  <a:lnTo>
                    <a:pt x="4375" y="166"/>
                  </a:lnTo>
                  <a:lnTo>
                    <a:pt x="4383" y="186"/>
                  </a:lnTo>
                  <a:lnTo>
                    <a:pt x="4390" y="206"/>
                  </a:lnTo>
                  <a:lnTo>
                    <a:pt x="4398" y="228"/>
                  </a:lnTo>
                  <a:lnTo>
                    <a:pt x="4406" y="253"/>
                  </a:lnTo>
                  <a:lnTo>
                    <a:pt x="4413" y="269"/>
                  </a:lnTo>
                  <a:lnTo>
                    <a:pt x="4419" y="283"/>
                  </a:lnTo>
                  <a:lnTo>
                    <a:pt x="4428" y="295"/>
                  </a:lnTo>
                  <a:lnTo>
                    <a:pt x="4438" y="307"/>
                  </a:lnTo>
                  <a:lnTo>
                    <a:pt x="4448" y="318"/>
                  </a:lnTo>
                  <a:lnTo>
                    <a:pt x="4460" y="327"/>
                  </a:lnTo>
                  <a:lnTo>
                    <a:pt x="4473" y="338"/>
                  </a:lnTo>
                  <a:lnTo>
                    <a:pt x="4487" y="348"/>
                  </a:lnTo>
                  <a:lnTo>
                    <a:pt x="4498" y="355"/>
                  </a:lnTo>
                  <a:lnTo>
                    <a:pt x="4508" y="364"/>
                  </a:lnTo>
                  <a:lnTo>
                    <a:pt x="4517" y="372"/>
                  </a:lnTo>
                  <a:lnTo>
                    <a:pt x="4524" y="379"/>
                  </a:lnTo>
                  <a:lnTo>
                    <a:pt x="4540" y="395"/>
                  </a:lnTo>
                  <a:lnTo>
                    <a:pt x="4561" y="413"/>
                  </a:lnTo>
                  <a:lnTo>
                    <a:pt x="4578" y="426"/>
                  </a:lnTo>
                  <a:lnTo>
                    <a:pt x="4593" y="438"/>
                  </a:lnTo>
                  <a:lnTo>
                    <a:pt x="4608" y="451"/>
                  </a:lnTo>
                  <a:lnTo>
                    <a:pt x="4620" y="465"/>
                  </a:lnTo>
                  <a:lnTo>
                    <a:pt x="4626" y="473"/>
                  </a:lnTo>
                  <a:lnTo>
                    <a:pt x="4630" y="482"/>
                  </a:lnTo>
                  <a:lnTo>
                    <a:pt x="4634" y="489"/>
                  </a:lnTo>
                  <a:lnTo>
                    <a:pt x="4639" y="498"/>
                  </a:lnTo>
                  <a:lnTo>
                    <a:pt x="4641" y="508"/>
                  </a:lnTo>
                  <a:lnTo>
                    <a:pt x="4643" y="516"/>
                  </a:lnTo>
                  <a:lnTo>
                    <a:pt x="4644" y="527"/>
                  </a:lnTo>
                  <a:lnTo>
                    <a:pt x="4645" y="538"/>
                  </a:lnTo>
                  <a:lnTo>
                    <a:pt x="4645" y="554"/>
                  </a:lnTo>
                  <a:lnTo>
                    <a:pt x="4645" y="569"/>
                  </a:lnTo>
                  <a:lnTo>
                    <a:pt x="4645" y="583"/>
                  </a:lnTo>
                  <a:lnTo>
                    <a:pt x="4645" y="599"/>
                  </a:lnTo>
                  <a:lnTo>
                    <a:pt x="4653" y="667"/>
                  </a:lnTo>
                  <a:lnTo>
                    <a:pt x="4653" y="688"/>
                  </a:lnTo>
                  <a:lnTo>
                    <a:pt x="4653" y="706"/>
                  </a:lnTo>
                  <a:lnTo>
                    <a:pt x="4653" y="726"/>
                  </a:lnTo>
                  <a:lnTo>
                    <a:pt x="4653" y="746"/>
                  </a:lnTo>
                  <a:lnTo>
                    <a:pt x="4654" y="762"/>
                  </a:lnTo>
                  <a:lnTo>
                    <a:pt x="4654" y="779"/>
                  </a:lnTo>
                  <a:lnTo>
                    <a:pt x="4656" y="793"/>
                  </a:lnTo>
                  <a:lnTo>
                    <a:pt x="4658" y="807"/>
                  </a:lnTo>
                  <a:lnTo>
                    <a:pt x="4662" y="821"/>
                  </a:lnTo>
                  <a:lnTo>
                    <a:pt x="4668" y="834"/>
                  </a:lnTo>
                  <a:lnTo>
                    <a:pt x="4675" y="847"/>
                  </a:lnTo>
                  <a:lnTo>
                    <a:pt x="4684" y="861"/>
                  </a:lnTo>
                  <a:lnTo>
                    <a:pt x="4712" y="895"/>
                  </a:lnTo>
                  <a:lnTo>
                    <a:pt x="4738" y="926"/>
                  </a:lnTo>
                  <a:lnTo>
                    <a:pt x="4744" y="933"/>
                  </a:lnTo>
                  <a:lnTo>
                    <a:pt x="4749" y="942"/>
                  </a:lnTo>
                  <a:lnTo>
                    <a:pt x="4754" y="950"/>
                  </a:lnTo>
                  <a:lnTo>
                    <a:pt x="4757" y="959"/>
                  </a:lnTo>
                  <a:lnTo>
                    <a:pt x="4761" y="968"/>
                  </a:lnTo>
                  <a:lnTo>
                    <a:pt x="4763" y="978"/>
                  </a:lnTo>
                  <a:lnTo>
                    <a:pt x="4765" y="988"/>
                  </a:lnTo>
                  <a:lnTo>
                    <a:pt x="4765" y="1000"/>
                  </a:lnTo>
                  <a:lnTo>
                    <a:pt x="4765" y="1016"/>
                  </a:lnTo>
                  <a:lnTo>
                    <a:pt x="4765" y="1030"/>
                  </a:lnTo>
                  <a:lnTo>
                    <a:pt x="4765" y="1044"/>
                  </a:lnTo>
                  <a:lnTo>
                    <a:pt x="4765" y="1061"/>
                  </a:lnTo>
                  <a:lnTo>
                    <a:pt x="4766" y="1075"/>
                  </a:lnTo>
                  <a:lnTo>
                    <a:pt x="4767" y="1089"/>
                  </a:lnTo>
                  <a:lnTo>
                    <a:pt x="4769" y="1103"/>
                  </a:lnTo>
                  <a:lnTo>
                    <a:pt x="4771" y="1115"/>
                  </a:lnTo>
                  <a:lnTo>
                    <a:pt x="4779" y="1138"/>
                  </a:lnTo>
                  <a:lnTo>
                    <a:pt x="4788" y="1161"/>
                  </a:lnTo>
                  <a:lnTo>
                    <a:pt x="4797" y="1184"/>
                  </a:lnTo>
                  <a:lnTo>
                    <a:pt x="4807" y="1207"/>
                  </a:lnTo>
                  <a:lnTo>
                    <a:pt x="4816" y="1233"/>
                  </a:lnTo>
                  <a:lnTo>
                    <a:pt x="4824" y="1261"/>
                  </a:lnTo>
                  <a:lnTo>
                    <a:pt x="4827" y="1273"/>
                  </a:lnTo>
                  <a:lnTo>
                    <a:pt x="4828" y="1283"/>
                  </a:lnTo>
                  <a:lnTo>
                    <a:pt x="4828" y="1294"/>
                  </a:lnTo>
                  <a:lnTo>
                    <a:pt x="4829" y="1304"/>
                  </a:lnTo>
                  <a:lnTo>
                    <a:pt x="4828" y="1323"/>
                  </a:lnTo>
                  <a:lnTo>
                    <a:pt x="4830" y="1346"/>
                  </a:lnTo>
                  <a:lnTo>
                    <a:pt x="4831" y="1355"/>
                  </a:lnTo>
                  <a:lnTo>
                    <a:pt x="4833" y="1364"/>
                  </a:lnTo>
                  <a:lnTo>
                    <a:pt x="4836" y="1374"/>
                  </a:lnTo>
                  <a:lnTo>
                    <a:pt x="4839" y="1382"/>
                  </a:lnTo>
                  <a:lnTo>
                    <a:pt x="4843" y="1390"/>
                  </a:lnTo>
                  <a:lnTo>
                    <a:pt x="4847" y="1398"/>
                  </a:lnTo>
                  <a:lnTo>
                    <a:pt x="4852" y="1405"/>
                  </a:lnTo>
                  <a:lnTo>
                    <a:pt x="4858" y="1413"/>
                  </a:lnTo>
                  <a:lnTo>
                    <a:pt x="4863" y="1419"/>
                  </a:lnTo>
                  <a:lnTo>
                    <a:pt x="4870" y="1425"/>
                  </a:lnTo>
                  <a:lnTo>
                    <a:pt x="4877" y="1430"/>
                  </a:lnTo>
                  <a:lnTo>
                    <a:pt x="4885" y="1434"/>
                  </a:lnTo>
                  <a:lnTo>
                    <a:pt x="4892" y="1439"/>
                  </a:lnTo>
                  <a:lnTo>
                    <a:pt x="4901" y="1442"/>
                  </a:lnTo>
                  <a:lnTo>
                    <a:pt x="4910" y="1444"/>
                  </a:lnTo>
                  <a:lnTo>
                    <a:pt x="4919" y="1446"/>
                  </a:lnTo>
                  <a:lnTo>
                    <a:pt x="4941" y="1449"/>
                  </a:lnTo>
                  <a:lnTo>
                    <a:pt x="4960" y="1453"/>
                  </a:lnTo>
                  <a:lnTo>
                    <a:pt x="4980" y="1458"/>
                  </a:lnTo>
                  <a:lnTo>
                    <a:pt x="5000" y="1463"/>
                  </a:lnTo>
                  <a:lnTo>
                    <a:pt x="5016" y="1468"/>
                  </a:lnTo>
                  <a:lnTo>
                    <a:pt x="5030" y="1472"/>
                  </a:lnTo>
                  <a:lnTo>
                    <a:pt x="5037" y="1472"/>
                  </a:lnTo>
                  <a:lnTo>
                    <a:pt x="5043" y="1471"/>
                  </a:lnTo>
                  <a:lnTo>
                    <a:pt x="5046" y="1470"/>
                  </a:lnTo>
                  <a:lnTo>
                    <a:pt x="5048" y="1469"/>
                  </a:lnTo>
                  <a:lnTo>
                    <a:pt x="5050" y="1467"/>
                  </a:lnTo>
                  <a:lnTo>
                    <a:pt x="5051" y="1463"/>
                  </a:lnTo>
                  <a:lnTo>
                    <a:pt x="5057" y="1447"/>
                  </a:lnTo>
                  <a:lnTo>
                    <a:pt x="5061" y="1432"/>
                  </a:lnTo>
                  <a:lnTo>
                    <a:pt x="5064" y="1417"/>
                  </a:lnTo>
                  <a:lnTo>
                    <a:pt x="5067" y="1403"/>
                  </a:lnTo>
                  <a:lnTo>
                    <a:pt x="5070" y="1389"/>
                  </a:lnTo>
                  <a:lnTo>
                    <a:pt x="5073" y="1374"/>
                  </a:lnTo>
                  <a:lnTo>
                    <a:pt x="5076" y="1359"/>
                  </a:lnTo>
                  <a:lnTo>
                    <a:pt x="5081" y="1342"/>
                  </a:lnTo>
                  <a:lnTo>
                    <a:pt x="5088" y="1328"/>
                  </a:lnTo>
                  <a:lnTo>
                    <a:pt x="5093" y="1315"/>
                  </a:lnTo>
                  <a:lnTo>
                    <a:pt x="5100" y="1305"/>
                  </a:lnTo>
                  <a:lnTo>
                    <a:pt x="5106" y="1293"/>
                  </a:lnTo>
                  <a:lnTo>
                    <a:pt x="5119" y="1271"/>
                  </a:lnTo>
                  <a:lnTo>
                    <a:pt x="5132" y="1244"/>
                  </a:lnTo>
                  <a:lnTo>
                    <a:pt x="5141" y="1225"/>
                  </a:lnTo>
                  <a:lnTo>
                    <a:pt x="5148" y="1207"/>
                  </a:lnTo>
                  <a:lnTo>
                    <a:pt x="5153" y="1199"/>
                  </a:lnTo>
                  <a:lnTo>
                    <a:pt x="5158" y="1190"/>
                  </a:lnTo>
                  <a:lnTo>
                    <a:pt x="5165" y="1183"/>
                  </a:lnTo>
                  <a:lnTo>
                    <a:pt x="5172" y="1174"/>
                  </a:lnTo>
                  <a:lnTo>
                    <a:pt x="5180" y="1166"/>
                  </a:lnTo>
                  <a:lnTo>
                    <a:pt x="5188" y="1160"/>
                  </a:lnTo>
                  <a:lnTo>
                    <a:pt x="5197" y="1155"/>
                  </a:lnTo>
                  <a:lnTo>
                    <a:pt x="5206" y="1150"/>
                  </a:lnTo>
                  <a:lnTo>
                    <a:pt x="5215" y="1147"/>
                  </a:lnTo>
                  <a:lnTo>
                    <a:pt x="5225" y="1144"/>
                  </a:lnTo>
                  <a:lnTo>
                    <a:pt x="5234" y="1143"/>
                  </a:lnTo>
                  <a:lnTo>
                    <a:pt x="5243" y="1142"/>
                  </a:lnTo>
                  <a:lnTo>
                    <a:pt x="5254" y="1140"/>
                  </a:lnTo>
                  <a:lnTo>
                    <a:pt x="5264" y="1142"/>
                  </a:lnTo>
                  <a:lnTo>
                    <a:pt x="5274" y="1143"/>
                  </a:lnTo>
                  <a:lnTo>
                    <a:pt x="5284" y="1144"/>
                  </a:lnTo>
                  <a:lnTo>
                    <a:pt x="5294" y="1147"/>
                  </a:lnTo>
                  <a:lnTo>
                    <a:pt x="5305" y="1150"/>
                  </a:lnTo>
                  <a:lnTo>
                    <a:pt x="5316" y="1153"/>
                  </a:lnTo>
                  <a:lnTo>
                    <a:pt x="5326" y="1158"/>
                  </a:lnTo>
                  <a:lnTo>
                    <a:pt x="5334" y="1162"/>
                  </a:lnTo>
                  <a:lnTo>
                    <a:pt x="5342" y="1166"/>
                  </a:lnTo>
                  <a:lnTo>
                    <a:pt x="5348" y="1172"/>
                  </a:lnTo>
                  <a:lnTo>
                    <a:pt x="5356" y="1177"/>
                  </a:lnTo>
                  <a:lnTo>
                    <a:pt x="5368" y="1188"/>
                  </a:lnTo>
                  <a:lnTo>
                    <a:pt x="5378" y="1200"/>
                  </a:lnTo>
                  <a:lnTo>
                    <a:pt x="5390" y="1211"/>
                  </a:lnTo>
                  <a:lnTo>
                    <a:pt x="5403" y="1219"/>
                  </a:lnTo>
                  <a:lnTo>
                    <a:pt x="5410" y="1223"/>
                  </a:lnTo>
                  <a:lnTo>
                    <a:pt x="5417" y="1226"/>
                  </a:lnTo>
                  <a:lnTo>
                    <a:pt x="5426" y="1227"/>
                  </a:lnTo>
                  <a:lnTo>
                    <a:pt x="5435" y="1228"/>
                  </a:lnTo>
                  <a:lnTo>
                    <a:pt x="5451" y="1227"/>
                  </a:lnTo>
                  <a:lnTo>
                    <a:pt x="5467" y="1225"/>
                  </a:lnTo>
                  <a:lnTo>
                    <a:pt x="5483" y="1220"/>
                  </a:lnTo>
                  <a:lnTo>
                    <a:pt x="5497" y="1215"/>
                  </a:lnTo>
                  <a:lnTo>
                    <a:pt x="5504" y="1212"/>
                  </a:lnTo>
                  <a:lnTo>
                    <a:pt x="5509" y="1207"/>
                  </a:lnTo>
                  <a:lnTo>
                    <a:pt x="5515" y="1203"/>
                  </a:lnTo>
                  <a:lnTo>
                    <a:pt x="5519" y="1198"/>
                  </a:lnTo>
                  <a:lnTo>
                    <a:pt x="5522" y="1191"/>
                  </a:lnTo>
                  <a:lnTo>
                    <a:pt x="5525" y="1186"/>
                  </a:lnTo>
                  <a:lnTo>
                    <a:pt x="5527" y="1178"/>
                  </a:lnTo>
                  <a:lnTo>
                    <a:pt x="5527" y="1171"/>
                  </a:lnTo>
                  <a:lnTo>
                    <a:pt x="5527" y="1153"/>
                  </a:lnTo>
                  <a:lnTo>
                    <a:pt x="5527" y="1138"/>
                  </a:lnTo>
                  <a:lnTo>
                    <a:pt x="5527" y="1122"/>
                  </a:lnTo>
                  <a:lnTo>
                    <a:pt x="5527" y="1105"/>
                  </a:lnTo>
                  <a:lnTo>
                    <a:pt x="5527" y="1101"/>
                  </a:lnTo>
                  <a:lnTo>
                    <a:pt x="5529" y="1095"/>
                  </a:lnTo>
                  <a:lnTo>
                    <a:pt x="5530" y="1091"/>
                  </a:lnTo>
                  <a:lnTo>
                    <a:pt x="5532" y="1088"/>
                  </a:lnTo>
                  <a:lnTo>
                    <a:pt x="5537" y="1080"/>
                  </a:lnTo>
                  <a:lnTo>
                    <a:pt x="5544" y="1074"/>
                  </a:lnTo>
                  <a:lnTo>
                    <a:pt x="5551" y="1069"/>
                  </a:lnTo>
                  <a:lnTo>
                    <a:pt x="5560" y="1064"/>
                  </a:lnTo>
                  <a:lnTo>
                    <a:pt x="5569" y="1061"/>
                  </a:lnTo>
                  <a:lnTo>
                    <a:pt x="5578" y="1056"/>
                  </a:lnTo>
                  <a:lnTo>
                    <a:pt x="5592" y="1051"/>
                  </a:lnTo>
                  <a:lnTo>
                    <a:pt x="5604" y="1045"/>
                  </a:lnTo>
                  <a:lnTo>
                    <a:pt x="5615" y="1039"/>
                  </a:lnTo>
                  <a:lnTo>
                    <a:pt x="5626" y="1032"/>
                  </a:lnTo>
                  <a:lnTo>
                    <a:pt x="5648" y="1020"/>
                  </a:lnTo>
                  <a:lnTo>
                    <a:pt x="5673" y="1007"/>
                  </a:lnTo>
                  <a:lnTo>
                    <a:pt x="5697" y="995"/>
                  </a:lnTo>
                  <a:lnTo>
                    <a:pt x="5717" y="982"/>
                  </a:lnTo>
                  <a:lnTo>
                    <a:pt x="5734" y="969"/>
                  </a:lnTo>
                  <a:lnTo>
                    <a:pt x="5749" y="956"/>
                  </a:lnTo>
                  <a:lnTo>
                    <a:pt x="5765" y="942"/>
                  </a:lnTo>
                  <a:lnTo>
                    <a:pt x="5781" y="928"/>
                  </a:lnTo>
                  <a:lnTo>
                    <a:pt x="5800" y="913"/>
                  </a:lnTo>
                  <a:lnTo>
                    <a:pt x="5822" y="897"/>
                  </a:lnTo>
                  <a:lnTo>
                    <a:pt x="5835" y="880"/>
                  </a:lnTo>
                  <a:lnTo>
                    <a:pt x="5848" y="866"/>
                  </a:lnTo>
                  <a:lnTo>
                    <a:pt x="5856" y="860"/>
                  </a:lnTo>
                  <a:lnTo>
                    <a:pt x="5864" y="855"/>
                  </a:lnTo>
                  <a:lnTo>
                    <a:pt x="5873" y="853"/>
                  </a:lnTo>
                  <a:lnTo>
                    <a:pt x="5884" y="852"/>
                  </a:lnTo>
                  <a:lnTo>
                    <a:pt x="5903" y="852"/>
                  </a:lnTo>
                  <a:lnTo>
                    <a:pt x="5920" y="852"/>
                  </a:lnTo>
                  <a:lnTo>
                    <a:pt x="5937" y="852"/>
                  </a:lnTo>
                  <a:lnTo>
                    <a:pt x="5955" y="852"/>
                  </a:lnTo>
                  <a:lnTo>
                    <a:pt x="5983" y="852"/>
                  </a:lnTo>
                  <a:lnTo>
                    <a:pt x="6007" y="854"/>
                  </a:lnTo>
                  <a:lnTo>
                    <a:pt x="6031" y="858"/>
                  </a:lnTo>
                  <a:lnTo>
                    <a:pt x="6058" y="863"/>
                  </a:lnTo>
                  <a:lnTo>
                    <a:pt x="6033" y="368"/>
                  </a:lnTo>
                  <a:lnTo>
                    <a:pt x="6058" y="863"/>
                  </a:lnTo>
                  <a:lnTo>
                    <a:pt x="6058" y="888"/>
                  </a:lnTo>
                  <a:lnTo>
                    <a:pt x="6060" y="909"/>
                  </a:lnTo>
                  <a:lnTo>
                    <a:pt x="6062" y="931"/>
                  </a:lnTo>
                  <a:lnTo>
                    <a:pt x="6063" y="955"/>
                  </a:lnTo>
                  <a:lnTo>
                    <a:pt x="6063" y="981"/>
                  </a:lnTo>
                  <a:lnTo>
                    <a:pt x="6063" y="1003"/>
                  </a:lnTo>
                  <a:lnTo>
                    <a:pt x="6063" y="1026"/>
                  </a:lnTo>
                  <a:lnTo>
                    <a:pt x="6063" y="1052"/>
                  </a:lnTo>
                  <a:lnTo>
                    <a:pt x="6063" y="1061"/>
                  </a:lnTo>
                  <a:lnTo>
                    <a:pt x="6065" y="1068"/>
                  </a:lnTo>
                  <a:lnTo>
                    <a:pt x="6069" y="1076"/>
                  </a:lnTo>
                  <a:lnTo>
                    <a:pt x="6073" y="1082"/>
                  </a:lnTo>
                  <a:lnTo>
                    <a:pt x="6084" y="1095"/>
                  </a:lnTo>
                  <a:lnTo>
                    <a:pt x="6097" y="1107"/>
                  </a:lnTo>
                  <a:lnTo>
                    <a:pt x="6106" y="1118"/>
                  </a:lnTo>
                  <a:lnTo>
                    <a:pt x="6114" y="1129"/>
                  </a:lnTo>
                  <a:lnTo>
                    <a:pt x="6122" y="1139"/>
                  </a:lnTo>
                  <a:lnTo>
                    <a:pt x="6128" y="1149"/>
                  </a:lnTo>
                  <a:lnTo>
                    <a:pt x="6134" y="1160"/>
                  </a:lnTo>
                  <a:lnTo>
                    <a:pt x="6142" y="1170"/>
                  </a:lnTo>
                  <a:lnTo>
                    <a:pt x="6151" y="1179"/>
                  </a:lnTo>
                  <a:lnTo>
                    <a:pt x="6161" y="1188"/>
                  </a:lnTo>
                  <a:lnTo>
                    <a:pt x="6171" y="1196"/>
                  </a:lnTo>
                  <a:lnTo>
                    <a:pt x="6181" y="1202"/>
                  </a:lnTo>
                  <a:lnTo>
                    <a:pt x="6190" y="1210"/>
                  </a:lnTo>
                  <a:lnTo>
                    <a:pt x="6197" y="1219"/>
                  </a:lnTo>
                  <a:lnTo>
                    <a:pt x="6212" y="1243"/>
                  </a:lnTo>
                  <a:lnTo>
                    <a:pt x="6226" y="1265"/>
                  </a:lnTo>
                  <a:lnTo>
                    <a:pt x="6234" y="1275"/>
                  </a:lnTo>
                  <a:lnTo>
                    <a:pt x="6244" y="1283"/>
                  </a:lnTo>
                  <a:lnTo>
                    <a:pt x="6249" y="1287"/>
                  </a:lnTo>
                  <a:lnTo>
                    <a:pt x="6254" y="1291"/>
                  </a:lnTo>
                  <a:lnTo>
                    <a:pt x="6261" y="1293"/>
                  </a:lnTo>
                  <a:lnTo>
                    <a:pt x="6267" y="1295"/>
                  </a:lnTo>
                  <a:lnTo>
                    <a:pt x="6290" y="1299"/>
                  </a:lnTo>
                  <a:lnTo>
                    <a:pt x="6311" y="1306"/>
                  </a:lnTo>
                  <a:lnTo>
                    <a:pt x="6319" y="1310"/>
                  </a:lnTo>
                  <a:lnTo>
                    <a:pt x="6327" y="1317"/>
                  </a:lnTo>
                  <a:lnTo>
                    <a:pt x="6330" y="1320"/>
                  </a:lnTo>
                  <a:lnTo>
                    <a:pt x="6332" y="1324"/>
                  </a:lnTo>
                  <a:lnTo>
                    <a:pt x="6333" y="1328"/>
                  </a:lnTo>
                  <a:lnTo>
                    <a:pt x="6334" y="1334"/>
                  </a:lnTo>
                  <a:lnTo>
                    <a:pt x="6338" y="1350"/>
                  </a:lnTo>
                  <a:lnTo>
                    <a:pt x="6341" y="1364"/>
                  </a:lnTo>
                  <a:lnTo>
                    <a:pt x="6345" y="1377"/>
                  </a:lnTo>
                  <a:lnTo>
                    <a:pt x="6348" y="1393"/>
                  </a:lnTo>
                  <a:lnTo>
                    <a:pt x="6351" y="1408"/>
                  </a:lnTo>
                  <a:lnTo>
                    <a:pt x="6351" y="1422"/>
                  </a:lnTo>
                  <a:lnTo>
                    <a:pt x="6352" y="1430"/>
                  </a:lnTo>
                  <a:lnTo>
                    <a:pt x="6353" y="1436"/>
                  </a:lnTo>
                  <a:lnTo>
                    <a:pt x="6356" y="1443"/>
                  </a:lnTo>
                  <a:lnTo>
                    <a:pt x="6360" y="1449"/>
                  </a:lnTo>
                  <a:lnTo>
                    <a:pt x="6367" y="1457"/>
                  </a:lnTo>
                  <a:lnTo>
                    <a:pt x="6374" y="1463"/>
                  </a:lnTo>
                  <a:lnTo>
                    <a:pt x="6382" y="1469"/>
                  </a:lnTo>
                  <a:lnTo>
                    <a:pt x="6389" y="1474"/>
                  </a:lnTo>
                  <a:lnTo>
                    <a:pt x="6406" y="1484"/>
                  </a:lnTo>
                  <a:lnTo>
                    <a:pt x="6422" y="1497"/>
                  </a:lnTo>
                  <a:lnTo>
                    <a:pt x="6436" y="1508"/>
                  </a:lnTo>
                  <a:lnTo>
                    <a:pt x="6449" y="1517"/>
                  </a:lnTo>
                  <a:lnTo>
                    <a:pt x="6463" y="1525"/>
                  </a:lnTo>
                  <a:lnTo>
                    <a:pt x="6476" y="1533"/>
                  </a:lnTo>
                  <a:lnTo>
                    <a:pt x="6490" y="1539"/>
                  </a:lnTo>
                  <a:lnTo>
                    <a:pt x="6504" y="1547"/>
                  </a:lnTo>
                  <a:lnTo>
                    <a:pt x="6518" y="1554"/>
                  </a:lnTo>
                  <a:lnTo>
                    <a:pt x="6534" y="1564"/>
                  </a:lnTo>
                  <a:lnTo>
                    <a:pt x="6543" y="1571"/>
                  </a:lnTo>
                  <a:lnTo>
                    <a:pt x="6551" y="1580"/>
                  </a:lnTo>
                  <a:lnTo>
                    <a:pt x="6558" y="1589"/>
                  </a:lnTo>
                  <a:lnTo>
                    <a:pt x="6565" y="1597"/>
                  </a:lnTo>
                  <a:lnTo>
                    <a:pt x="6572" y="1605"/>
                  </a:lnTo>
                  <a:lnTo>
                    <a:pt x="6581" y="1611"/>
                  </a:lnTo>
                  <a:lnTo>
                    <a:pt x="6585" y="1614"/>
                  </a:lnTo>
                  <a:lnTo>
                    <a:pt x="6589" y="1616"/>
                  </a:lnTo>
                  <a:lnTo>
                    <a:pt x="6595" y="1617"/>
                  </a:lnTo>
                  <a:lnTo>
                    <a:pt x="6601" y="1617"/>
                  </a:lnTo>
                  <a:lnTo>
                    <a:pt x="6616" y="1616"/>
                  </a:lnTo>
                  <a:lnTo>
                    <a:pt x="6629" y="1614"/>
                  </a:lnTo>
                  <a:lnTo>
                    <a:pt x="6642" y="1610"/>
                  </a:lnTo>
                  <a:lnTo>
                    <a:pt x="6657" y="1609"/>
                  </a:lnTo>
                  <a:lnTo>
                    <a:pt x="6682" y="1610"/>
                  </a:lnTo>
                  <a:lnTo>
                    <a:pt x="6704" y="1612"/>
                  </a:lnTo>
                  <a:lnTo>
                    <a:pt x="6725" y="1616"/>
                  </a:lnTo>
                  <a:lnTo>
                    <a:pt x="6749" y="1617"/>
                  </a:lnTo>
                  <a:lnTo>
                    <a:pt x="6775" y="1616"/>
                  </a:lnTo>
                  <a:lnTo>
                    <a:pt x="6799" y="1614"/>
                  </a:lnTo>
                  <a:lnTo>
                    <a:pt x="6810" y="1612"/>
                  </a:lnTo>
                  <a:lnTo>
                    <a:pt x="6820" y="1612"/>
                  </a:lnTo>
                  <a:lnTo>
                    <a:pt x="6832" y="1614"/>
                  </a:lnTo>
                  <a:lnTo>
                    <a:pt x="6845" y="1617"/>
                  </a:lnTo>
                  <a:lnTo>
                    <a:pt x="6858" y="1623"/>
                  </a:lnTo>
                  <a:lnTo>
                    <a:pt x="6870" y="1631"/>
                  </a:lnTo>
                  <a:lnTo>
                    <a:pt x="6881" y="1638"/>
                  </a:lnTo>
                  <a:lnTo>
                    <a:pt x="6891" y="1646"/>
                  </a:lnTo>
                  <a:lnTo>
                    <a:pt x="6900" y="1655"/>
                  </a:lnTo>
                  <a:lnTo>
                    <a:pt x="6910" y="1663"/>
                  </a:lnTo>
                  <a:lnTo>
                    <a:pt x="6921" y="1672"/>
                  </a:lnTo>
                  <a:lnTo>
                    <a:pt x="6935" y="1678"/>
                  </a:lnTo>
                  <a:lnTo>
                    <a:pt x="6946" y="1688"/>
                  </a:lnTo>
                  <a:lnTo>
                    <a:pt x="6955" y="1696"/>
                  </a:lnTo>
                  <a:lnTo>
                    <a:pt x="6966" y="1701"/>
                  </a:lnTo>
                  <a:lnTo>
                    <a:pt x="6978" y="1705"/>
                  </a:lnTo>
                  <a:lnTo>
                    <a:pt x="7001" y="1712"/>
                  </a:lnTo>
                  <a:lnTo>
                    <a:pt x="7027" y="1720"/>
                  </a:lnTo>
                  <a:lnTo>
                    <a:pt x="7037" y="1726"/>
                  </a:lnTo>
                  <a:lnTo>
                    <a:pt x="7045" y="1732"/>
                  </a:lnTo>
                  <a:lnTo>
                    <a:pt x="7051" y="1740"/>
                  </a:lnTo>
                  <a:lnTo>
                    <a:pt x="7058" y="1747"/>
                  </a:lnTo>
                  <a:lnTo>
                    <a:pt x="7064" y="1756"/>
                  </a:lnTo>
                  <a:lnTo>
                    <a:pt x="7071" y="1764"/>
                  </a:lnTo>
                  <a:lnTo>
                    <a:pt x="7080" y="1771"/>
                  </a:lnTo>
                  <a:lnTo>
                    <a:pt x="7088" y="1777"/>
                  </a:lnTo>
                  <a:lnTo>
                    <a:pt x="7099" y="1781"/>
                  </a:lnTo>
                  <a:lnTo>
                    <a:pt x="7109" y="1783"/>
                  </a:lnTo>
                  <a:lnTo>
                    <a:pt x="7117" y="1784"/>
                  </a:lnTo>
                  <a:lnTo>
                    <a:pt x="7127" y="1784"/>
                  </a:lnTo>
                  <a:lnTo>
                    <a:pt x="7147" y="1784"/>
                  </a:lnTo>
                  <a:lnTo>
                    <a:pt x="7167" y="1785"/>
                  </a:lnTo>
                  <a:lnTo>
                    <a:pt x="7183" y="1788"/>
                  </a:lnTo>
                  <a:lnTo>
                    <a:pt x="7197" y="1792"/>
                  </a:lnTo>
                  <a:lnTo>
                    <a:pt x="7211" y="1796"/>
                  </a:lnTo>
                  <a:lnTo>
                    <a:pt x="7224" y="1800"/>
                  </a:lnTo>
                  <a:lnTo>
                    <a:pt x="7249" y="1811"/>
                  </a:lnTo>
                  <a:lnTo>
                    <a:pt x="7279" y="1822"/>
                  </a:lnTo>
                  <a:lnTo>
                    <a:pt x="6822" y="3660"/>
                  </a:lnTo>
                  <a:lnTo>
                    <a:pt x="6812" y="3657"/>
                  </a:lnTo>
                  <a:lnTo>
                    <a:pt x="6800" y="3655"/>
                  </a:lnTo>
                  <a:lnTo>
                    <a:pt x="6795" y="3655"/>
                  </a:lnTo>
                  <a:lnTo>
                    <a:pt x="6791" y="3656"/>
                  </a:lnTo>
                  <a:lnTo>
                    <a:pt x="6787" y="3658"/>
                  </a:lnTo>
                  <a:lnTo>
                    <a:pt x="6785" y="3660"/>
                  </a:lnTo>
                  <a:lnTo>
                    <a:pt x="6779" y="3667"/>
                  </a:lnTo>
                  <a:lnTo>
                    <a:pt x="6775" y="3674"/>
                  </a:lnTo>
                  <a:lnTo>
                    <a:pt x="6771" y="3683"/>
                  </a:lnTo>
                  <a:lnTo>
                    <a:pt x="6767" y="3693"/>
                  </a:lnTo>
                  <a:lnTo>
                    <a:pt x="6763" y="3702"/>
                  </a:lnTo>
                  <a:lnTo>
                    <a:pt x="6758" y="3711"/>
                  </a:lnTo>
                  <a:lnTo>
                    <a:pt x="6747" y="3718"/>
                  </a:lnTo>
                  <a:lnTo>
                    <a:pt x="6736" y="3725"/>
                  </a:lnTo>
                  <a:lnTo>
                    <a:pt x="6717" y="3740"/>
                  </a:lnTo>
                  <a:lnTo>
                    <a:pt x="6698" y="3755"/>
                  </a:lnTo>
                  <a:lnTo>
                    <a:pt x="6692" y="3763"/>
                  </a:lnTo>
                  <a:lnTo>
                    <a:pt x="6686" y="3771"/>
                  </a:lnTo>
                  <a:lnTo>
                    <a:pt x="6684" y="3777"/>
                  </a:lnTo>
                  <a:lnTo>
                    <a:pt x="6682" y="3782"/>
                  </a:lnTo>
                  <a:lnTo>
                    <a:pt x="6681" y="3788"/>
                  </a:lnTo>
                  <a:lnTo>
                    <a:pt x="6681" y="3794"/>
                  </a:lnTo>
                  <a:lnTo>
                    <a:pt x="6681" y="3818"/>
                  </a:lnTo>
                  <a:lnTo>
                    <a:pt x="6681" y="3839"/>
                  </a:lnTo>
                  <a:lnTo>
                    <a:pt x="6681" y="3861"/>
                  </a:lnTo>
                  <a:lnTo>
                    <a:pt x="6681" y="3885"/>
                  </a:lnTo>
                  <a:lnTo>
                    <a:pt x="6682" y="3893"/>
                  </a:lnTo>
                  <a:lnTo>
                    <a:pt x="6684" y="3900"/>
                  </a:lnTo>
                  <a:lnTo>
                    <a:pt x="6686" y="3906"/>
                  </a:lnTo>
                  <a:lnTo>
                    <a:pt x="6690" y="3912"/>
                  </a:lnTo>
                  <a:lnTo>
                    <a:pt x="6693" y="3918"/>
                  </a:lnTo>
                  <a:lnTo>
                    <a:pt x="6696" y="3925"/>
                  </a:lnTo>
                  <a:lnTo>
                    <a:pt x="6698" y="3931"/>
                  </a:lnTo>
                  <a:lnTo>
                    <a:pt x="6699" y="3939"/>
                  </a:lnTo>
                  <a:lnTo>
                    <a:pt x="6698" y="3945"/>
                  </a:lnTo>
                  <a:lnTo>
                    <a:pt x="6697" y="3950"/>
                  </a:lnTo>
                  <a:lnTo>
                    <a:pt x="6695" y="3955"/>
                  </a:lnTo>
                  <a:lnTo>
                    <a:pt x="6694" y="3959"/>
                  </a:lnTo>
                  <a:lnTo>
                    <a:pt x="6692" y="3964"/>
                  </a:lnTo>
                  <a:lnTo>
                    <a:pt x="6690" y="3969"/>
                  </a:lnTo>
                  <a:lnTo>
                    <a:pt x="6689" y="3974"/>
                  </a:lnTo>
                  <a:lnTo>
                    <a:pt x="6687" y="3980"/>
                  </a:lnTo>
                  <a:lnTo>
                    <a:pt x="6689" y="3995"/>
                  </a:lnTo>
                  <a:lnTo>
                    <a:pt x="6691" y="4008"/>
                  </a:lnTo>
                  <a:lnTo>
                    <a:pt x="6694" y="4021"/>
                  </a:lnTo>
                  <a:lnTo>
                    <a:pt x="6696" y="4036"/>
                  </a:lnTo>
                  <a:lnTo>
                    <a:pt x="6696" y="4036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45">
              <a:extLst>
                <a:ext uri="{FF2B5EF4-FFF2-40B4-BE49-F238E27FC236}">
                  <a16:creationId xmlns:a16="http://schemas.microsoft.com/office/drawing/2014/main" id="{A7E67DE3-3366-451D-BD9D-2234EB787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7600" y="3114676"/>
              <a:ext cx="1201738" cy="1193800"/>
            </a:xfrm>
            <a:custGeom>
              <a:avLst/>
              <a:gdLst>
                <a:gd name="T0" fmla="*/ 2400 w 3026"/>
                <a:gd name="T1" fmla="*/ 1836 h 3006"/>
                <a:gd name="T2" fmla="*/ 2434 w 3026"/>
                <a:gd name="T3" fmla="*/ 1995 h 3006"/>
                <a:gd name="T4" fmla="*/ 2339 w 3026"/>
                <a:gd name="T5" fmla="*/ 2184 h 3006"/>
                <a:gd name="T6" fmla="*/ 2389 w 3026"/>
                <a:gd name="T7" fmla="*/ 2316 h 3006"/>
                <a:gd name="T8" fmla="*/ 2320 w 3026"/>
                <a:gd name="T9" fmla="*/ 2526 h 3006"/>
                <a:gd name="T10" fmla="*/ 2119 w 3026"/>
                <a:gd name="T11" fmla="*/ 2666 h 3006"/>
                <a:gd name="T12" fmla="*/ 1931 w 3026"/>
                <a:gd name="T13" fmla="*/ 2642 h 3006"/>
                <a:gd name="T14" fmla="*/ 1705 w 3026"/>
                <a:gd name="T15" fmla="*/ 2631 h 3006"/>
                <a:gd name="T16" fmla="*/ 1608 w 3026"/>
                <a:gd name="T17" fmla="*/ 2630 h 3006"/>
                <a:gd name="T18" fmla="*/ 1484 w 3026"/>
                <a:gd name="T19" fmla="*/ 2683 h 3006"/>
                <a:gd name="T20" fmla="*/ 1415 w 3026"/>
                <a:gd name="T21" fmla="*/ 2679 h 3006"/>
                <a:gd name="T22" fmla="*/ 1093 w 3026"/>
                <a:gd name="T23" fmla="*/ 2764 h 3006"/>
                <a:gd name="T24" fmla="*/ 1009 w 3026"/>
                <a:gd name="T25" fmla="*/ 2886 h 3006"/>
                <a:gd name="T26" fmla="*/ 918 w 3026"/>
                <a:gd name="T27" fmla="*/ 2948 h 3006"/>
                <a:gd name="T28" fmla="*/ 746 w 3026"/>
                <a:gd name="T29" fmla="*/ 2931 h 3006"/>
                <a:gd name="T30" fmla="*/ 585 w 3026"/>
                <a:gd name="T31" fmla="*/ 2802 h 3006"/>
                <a:gd name="T32" fmla="*/ 225 w 3026"/>
                <a:gd name="T33" fmla="*/ 2544 h 3006"/>
                <a:gd name="T34" fmla="*/ 25 w 3026"/>
                <a:gd name="T35" fmla="*/ 2423 h 3006"/>
                <a:gd name="T36" fmla="*/ 53 w 3026"/>
                <a:gd name="T37" fmla="*/ 2206 h 3006"/>
                <a:gd name="T38" fmla="*/ 0 w 3026"/>
                <a:gd name="T39" fmla="*/ 2016 h 3006"/>
                <a:gd name="T40" fmla="*/ 207 w 3026"/>
                <a:gd name="T41" fmla="*/ 1815 h 3006"/>
                <a:gd name="T42" fmla="*/ 283 w 3026"/>
                <a:gd name="T43" fmla="*/ 1605 h 3006"/>
                <a:gd name="T44" fmla="*/ 383 w 3026"/>
                <a:gd name="T45" fmla="*/ 1524 h 3006"/>
                <a:gd name="T46" fmla="*/ 568 w 3026"/>
                <a:gd name="T47" fmla="*/ 1481 h 3006"/>
                <a:gd name="T48" fmla="*/ 663 w 3026"/>
                <a:gd name="T49" fmla="*/ 1378 h 3006"/>
                <a:gd name="T50" fmla="*/ 700 w 3026"/>
                <a:gd name="T51" fmla="*/ 1211 h 3006"/>
                <a:gd name="T52" fmla="*/ 829 w 3026"/>
                <a:gd name="T53" fmla="*/ 1144 h 3006"/>
                <a:gd name="T54" fmla="*/ 920 w 3026"/>
                <a:gd name="T55" fmla="*/ 1056 h 3006"/>
                <a:gd name="T56" fmla="*/ 989 w 3026"/>
                <a:gd name="T57" fmla="*/ 918 h 3006"/>
                <a:gd name="T58" fmla="*/ 1041 w 3026"/>
                <a:gd name="T59" fmla="*/ 719 h 3006"/>
                <a:gd name="T60" fmla="*/ 1090 w 3026"/>
                <a:gd name="T61" fmla="*/ 543 h 3006"/>
                <a:gd name="T62" fmla="*/ 1190 w 3026"/>
                <a:gd name="T63" fmla="*/ 282 h 3006"/>
                <a:gd name="T64" fmla="*/ 1306 w 3026"/>
                <a:gd name="T65" fmla="*/ 23 h 3006"/>
                <a:gd name="T66" fmla="*/ 1358 w 3026"/>
                <a:gd name="T67" fmla="*/ 179 h 3006"/>
                <a:gd name="T68" fmla="*/ 1434 w 3026"/>
                <a:gd name="T69" fmla="*/ 296 h 3006"/>
                <a:gd name="T70" fmla="*/ 1645 w 3026"/>
                <a:gd name="T71" fmla="*/ 297 h 3006"/>
                <a:gd name="T72" fmla="*/ 1754 w 3026"/>
                <a:gd name="T73" fmla="*/ 173 h 3006"/>
                <a:gd name="T74" fmla="*/ 1844 w 3026"/>
                <a:gd name="T75" fmla="*/ 279 h 3006"/>
                <a:gd name="T76" fmla="*/ 1840 w 3026"/>
                <a:gd name="T77" fmla="*/ 454 h 3006"/>
                <a:gd name="T78" fmla="*/ 1918 w 3026"/>
                <a:gd name="T79" fmla="*/ 371 h 3006"/>
                <a:gd name="T80" fmla="*/ 2018 w 3026"/>
                <a:gd name="T81" fmla="*/ 412 h 3006"/>
                <a:gd name="T82" fmla="*/ 2132 w 3026"/>
                <a:gd name="T83" fmla="*/ 444 h 3006"/>
                <a:gd name="T84" fmla="*/ 2315 w 3026"/>
                <a:gd name="T85" fmla="*/ 537 h 3006"/>
                <a:gd name="T86" fmla="*/ 2419 w 3026"/>
                <a:gd name="T87" fmla="*/ 490 h 3006"/>
                <a:gd name="T88" fmla="*/ 2589 w 3026"/>
                <a:gd name="T89" fmla="*/ 517 h 3006"/>
                <a:gd name="T90" fmla="*/ 2784 w 3026"/>
                <a:gd name="T91" fmla="*/ 424 h 3006"/>
                <a:gd name="T92" fmla="*/ 2898 w 3026"/>
                <a:gd name="T93" fmla="*/ 358 h 3006"/>
                <a:gd name="T94" fmla="*/ 2996 w 3026"/>
                <a:gd name="T95" fmla="*/ 452 h 3006"/>
                <a:gd name="T96" fmla="*/ 2944 w 3026"/>
                <a:gd name="T97" fmla="*/ 648 h 3006"/>
                <a:gd name="T98" fmla="*/ 2995 w 3026"/>
                <a:gd name="T99" fmla="*/ 960 h 3006"/>
                <a:gd name="T100" fmla="*/ 2877 w 3026"/>
                <a:gd name="T101" fmla="*/ 1198 h 3006"/>
                <a:gd name="T102" fmla="*/ 2699 w 3026"/>
                <a:gd name="T103" fmla="*/ 1222 h 3006"/>
                <a:gd name="T104" fmla="*/ 2562 w 3026"/>
                <a:gd name="T105" fmla="*/ 1484 h 3006"/>
                <a:gd name="T106" fmla="*/ 2473 w 3026"/>
                <a:gd name="T107" fmla="*/ 1666 h 3006"/>
                <a:gd name="T108" fmla="*/ 2466 w 3026"/>
                <a:gd name="T109" fmla="*/ 1510 h 3006"/>
                <a:gd name="T110" fmla="*/ 2423 w 3026"/>
                <a:gd name="T111" fmla="*/ 1323 h 3006"/>
                <a:gd name="T112" fmla="*/ 2046 w 3026"/>
                <a:gd name="T113" fmla="*/ 1283 h 3006"/>
                <a:gd name="T114" fmla="*/ 1818 w 3026"/>
                <a:gd name="T115" fmla="*/ 1284 h 3006"/>
                <a:gd name="T116" fmla="*/ 1785 w 3026"/>
                <a:gd name="T117" fmla="*/ 1518 h 3006"/>
                <a:gd name="T118" fmla="*/ 1852 w 3026"/>
                <a:gd name="T119" fmla="*/ 1696 h 3006"/>
                <a:gd name="T120" fmla="*/ 2222 w 3026"/>
                <a:gd name="T121" fmla="*/ 1760 h 3006"/>
                <a:gd name="T122" fmla="*/ 2452 w 3026"/>
                <a:gd name="T123" fmla="*/ 1686 h 3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26" h="3006">
                  <a:moveTo>
                    <a:pt x="2473" y="1666"/>
                  </a:moveTo>
                  <a:lnTo>
                    <a:pt x="2471" y="1678"/>
                  </a:lnTo>
                  <a:lnTo>
                    <a:pt x="2468" y="1688"/>
                  </a:lnTo>
                  <a:lnTo>
                    <a:pt x="2465" y="1698"/>
                  </a:lnTo>
                  <a:lnTo>
                    <a:pt x="2459" y="1708"/>
                  </a:lnTo>
                  <a:lnTo>
                    <a:pt x="2447" y="1726"/>
                  </a:lnTo>
                  <a:lnTo>
                    <a:pt x="2433" y="1743"/>
                  </a:lnTo>
                  <a:lnTo>
                    <a:pt x="2420" y="1761"/>
                  </a:lnTo>
                  <a:lnTo>
                    <a:pt x="2410" y="1778"/>
                  </a:lnTo>
                  <a:lnTo>
                    <a:pt x="2405" y="1788"/>
                  </a:lnTo>
                  <a:lnTo>
                    <a:pt x="2402" y="1799"/>
                  </a:lnTo>
                  <a:lnTo>
                    <a:pt x="2400" y="1809"/>
                  </a:lnTo>
                  <a:lnTo>
                    <a:pt x="2399" y="1821"/>
                  </a:lnTo>
                  <a:lnTo>
                    <a:pt x="2399" y="1829"/>
                  </a:lnTo>
                  <a:lnTo>
                    <a:pt x="2400" y="1836"/>
                  </a:lnTo>
                  <a:lnTo>
                    <a:pt x="2402" y="1844"/>
                  </a:lnTo>
                  <a:lnTo>
                    <a:pt x="2404" y="1851"/>
                  </a:lnTo>
                  <a:lnTo>
                    <a:pt x="2411" y="1864"/>
                  </a:lnTo>
                  <a:lnTo>
                    <a:pt x="2417" y="1876"/>
                  </a:lnTo>
                  <a:lnTo>
                    <a:pt x="2424" y="1889"/>
                  </a:lnTo>
                  <a:lnTo>
                    <a:pt x="2429" y="1902"/>
                  </a:lnTo>
                  <a:lnTo>
                    <a:pt x="2431" y="1909"/>
                  </a:lnTo>
                  <a:lnTo>
                    <a:pt x="2433" y="1916"/>
                  </a:lnTo>
                  <a:lnTo>
                    <a:pt x="2434" y="1924"/>
                  </a:lnTo>
                  <a:lnTo>
                    <a:pt x="2436" y="1932"/>
                  </a:lnTo>
                  <a:lnTo>
                    <a:pt x="2436" y="1948"/>
                  </a:lnTo>
                  <a:lnTo>
                    <a:pt x="2436" y="1961"/>
                  </a:lnTo>
                  <a:lnTo>
                    <a:pt x="2436" y="1975"/>
                  </a:lnTo>
                  <a:lnTo>
                    <a:pt x="2436" y="1990"/>
                  </a:lnTo>
                  <a:lnTo>
                    <a:pt x="2434" y="1995"/>
                  </a:lnTo>
                  <a:lnTo>
                    <a:pt x="2434" y="1999"/>
                  </a:lnTo>
                  <a:lnTo>
                    <a:pt x="2432" y="2004"/>
                  </a:lnTo>
                  <a:lnTo>
                    <a:pt x="2431" y="2008"/>
                  </a:lnTo>
                  <a:lnTo>
                    <a:pt x="2427" y="2016"/>
                  </a:lnTo>
                  <a:lnTo>
                    <a:pt x="2422" y="2022"/>
                  </a:lnTo>
                  <a:lnTo>
                    <a:pt x="2415" y="2030"/>
                  </a:lnTo>
                  <a:lnTo>
                    <a:pt x="2410" y="2036"/>
                  </a:lnTo>
                  <a:lnTo>
                    <a:pt x="2403" y="2045"/>
                  </a:lnTo>
                  <a:lnTo>
                    <a:pt x="2399" y="2053"/>
                  </a:lnTo>
                  <a:lnTo>
                    <a:pt x="2387" y="2080"/>
                  </a:lnTo>
                  <a:lnTo>
                    <a:pt x="2376" y="2105"/>
                  </a:lnTo>
                  <a:lnTo>
                    <a:pt x="2365" y="2129"/>
                  </a:lnTo>
                  <a:lnTo>
                    <a:pt x="2353" y="2157"/>
                  </a:lnTo>
                  <a:lnTo>
                    <a:pt x="2347" y="2171"/>
                  </a:lnTo>
                  <a:lnTo>
                    <a:pt x="2339" y="2184"/>
                  </a:lnTo>
                  <a:lnTo>
                    <a:pt x="2336" y="2191"/>
                  </a:lnTo>
                  <a:lnTo>
                    <a:pt x="2334" y="2197"/>
                  </a:lnTo>
                  <a:lnTo>
                    <a:pt x="2332" y="2205"/>
                  </a:lnTo>
                  <a:lnTo>
                    <a:pt x="2332" y="2213"/>
                  </a:lnTo>
                  <a:lnTo>
                    <a:pt x="2332" y="2223"/>
                  </a:lnTo>
                  <a:lnTo>
                    <a:pt x="2334" y="2231"/>
                  </a:lnTo>
                  <a:lnTo>
                    <a:pt x="2338" y="2238"/>
                  </a:lnTo>
                  <a:lnTo>
                    <a:pt x="2343" y="2245"/>
                  </a:lnTo>
                  <a:lnTo>
                    <a:pt x="2353" y="2256"/>
                  </a:lnTo>
                  <a:lnTo>
                    <a:pt x="2365" y="2272"/>
                  </a:lnTo>
                  <a:lnTo>
                    <a:pt x="2372" y="2286"/>
                  </a:lnTo>
                  <a:lnTo>
                    <a:pt x="2380" y="2298"/>
                  </a:lnTo>
                  <a:lnTo>
                    <a:pt x="2385" y="2303"/>
                  </a:lnTo>
                  <a:lnTo>
                    <a:pt x="2387" y="2309"/>
                  </a:lnTo>
                  <a:lnTo>
                    <a:pt x="2389" y="2316"/>
                  </a:lnTo>
                  <a:lnTo>
                    <a:pt x="2390" y="2323"/>
                  </a:lnTo>
                  <a:lnTo>
                    <a:pt x="2389" y="2335"/>
                  </a:lnTo>
                  <a:lnTo>
                    <a:pt x="2387" y="2346"/>
                  </a:lnTo>
                  <a:lnTo>
                    <a:pt x="2384" y="2356"/>
                  </a:lnTo>
                  <a:lnTo>
                    <a:pt x="2379" y="2366"/>
                  </a:lnTo>
                  <a:lnTo>
                    <a:pt x="2369" y="2383"/>
                  </a:lnTo>
                  <a:lnTo>
                    <a:pt x="2356" y="2398"/>
                  </a:lnTo>
                  <a:lnTo>
                    <a:pt x="2343" y="2414"/>
                  </a:lnTo>
                  <a:lnTo>
                    <a:pt x="2331" y="2431"/>
                  </a:lnTo>
                  <a:lnTo>
                    <a:pt x="2326" y="2441"/>
                  </a:lnTo>
                  <a:lnTo>
                    <a:pt x="2323" y="2451"/>
                  </a:lnTo>
                  <a:lnTo>
                    <a:pt x="2321" y="2462"/>
                  </a:lnTo>
                  <a:lnTo>
                    <a:pt x="2320" y="2474"/>
                  </a:lnTo>
                  <a:lnTo>
                    <a:pt x="2320" y="2502"/>
                  </a:lnTo>
                  <a:lnTo>
                    <a:pt x="2320" y="2526"/>
                  </a:lnTo>
                  <a:lnTo>
                    <a:pt x="2320" y="2551"/>
                  </a:lnTo>
                  <a:lnTo>
                    <a:pt x="2320" y="2580"/>
                  </a:lnTo>
                  <a:lnTo>
                    <a:pt x="2308" y="2580"/>
                  </a:lnTo>
                  <a:lnTo>
                    <a:pt x="2296" y="2582"/>
                  </a:lnTo>
                  <a:lnTo>
                    <a:pt x="2285" y="2583"/>
                  </a:lnTo>
                  <a:lnTo>
                    <a:pt x="2275" y="2585"/>
                  </a:lnTo>
                  <a:lnTo>
                    <a:pt x="2254" y="2591"/>
                  </a:lnTo>
                  <a:lnTo>
                    <a:pt x="2236" y="2599"/>
                  </a:lnTo>
                  <a:lnTo>
                    <a:pt x="2217" y="2607"/>
                  </a:lnTo>
                  <a:lnTo>
                    <a:pt x="2199" y="2618"/>
                  </a:lnTo>
                  <a:lnTo>
                    <a:pt x="2179" y="2630"/>
                  </a:lnTo>
                  <a:lnTo>
                    <a:pt x="2158" y="2642"/>
                  </a:lnTo>
                  <a:lnTo>
                    <a:pt x="2142" y="2652"/>
                  </a:lnTo>
                  <a:lnTo>
                    <a:pt x="2127" y="2663"/>
                  </a:lnTo>
                  <a:lnTo>
                    <a:pt x="2119" y="2666"/>
                  </a:lnTo>
                  <a:lnTo>
                    <a:pt x="2112" y="2670"/>
                  </a:lnTo>
                  <a:lnTo>
                    <a:pt x="2103" y="2672"/>
                  </a:lnTo>
                  <a:lnTo>
                    <a:pt x="2093" y="2672"/>
                  </a:lnTo>
                  <a:lnTo>
                    <a:pt x="2086" y="2672"/>
                  </a:lnTo>
                  <a:lnTo>
                    <a:pt x="2079" y="2670"/>
                  </a:lnTo>
                  <a:lnTo>
                    <a:pt x="2074" y="2667"/>
                  </a:lnTo>
                  <a:lnTo>
                    <a:pt x="2067" y="2663"/>
                  </a:lnTo>
                  <a:lnTo>
                    <a:pt x="2062" y="2659"/>
                  </a:lnTo>
                  <a:lnTo>
                    <a:pt x="2056" y="2655"/>
                  </a:lnTo>
                  <a:lnTo>
                    <a:pt x="2050" y="2652"/>
                  </a:lnTo>
                  <a:lnTo>
                    <a:pt x="2042" y="2651"/>
                  </a:lnTo>
                  <a:lnTo>
                    <a:pt x="2013" y="2645"/>
                  </a:lnTo>
                  <a:lnTo>
                    <a:pt x="1987" y="2643"/>
                  </a:lnTo>
                  <a:lnTo>
                    <a:pt x="1960" y="2642"/>
                  </a:lnTo>
                  <a:lnTo>
                    <a:pt x="1931" y="2642"/>
                  </a:lnTo>
                  <a:lnTo>
                    <a:pt x="1908" y="2643"/>
                  </a:lnTo>
                  <a:lnTo>
                    <a:pt x="1888" y="2646"/>
                  </a:lnTo>
                  <a:lnTo>
                    <a:pt x="1869" y="2649"/>
                  </a:lnTo>
                  <a:lnTo>
                    <a:pt x="1846" y="2651"/>
                  </a:lnTo>
                  <a:lnTo>
                    <a:pt x="1827" y="2651"/>
                  </a:lnTo>
                  <a:lnTo>
                    <a:pt x="1811" y="2651"/>
                  </a:lnTo>
                  <a:lnTo>
                    <a:pt x="1795" y="2651"/>
                  </a:lnTo>
                  <a:lnTo>
                    <a:pt x="1777" y="2651"/>
                  </a:lnTo>
                  <a:lnTo>
                    <a:pt x="1759" y="2650"/>
                  </a:lnTo>
                  <a:lnTo>
                    <a:pt x="1743" y="2647"/>
                  </a:lnTo>
                  <a:lnTo>
                    <a:pt x="1736" y="2646"/>
                  </a:lnTo>
                  <a:lnTo>
                    <a:pt x="1728" y="2643"/>
                  </a:lnTo>
                  <a:lnTo>
                    <a:pt x="1721" y="2640"/>
                  </a:lnTo>
                  <a:lnTo>
                    <a:pt x="1712" y="2637"/>
                  </a:lnTo>
                  <a:lnTo>
                    <a:pt x="1705" y="2631"/>
                  </a:lnTo>
                  <a:lnTo>
                    <a:pt x="1699" y="2626"/>
                  </a:lnTo>
                  <a:lnTo>
                    <a:pt x="1694" y="2619"/>
                  </a:lnTo>
                  <a:lnTo>
                    <a:pt x="1689" y="2614"/>
                  </a:lnTo>
                  <a:lnTo>
                    <a:pt x="1684" y="2609"/>
                  </a:lnTo>
                  <a:lnTo>
                    <a:pt x="1677" y="2604"/>
                  </a:lnTo>
                  <a:lnTo>
                    <a:pt x="1674" y="2602"/>
                  </a:lnTo>
                  <a:lnTo>
                    <a:pt x="1671" y="2601"/>
                  </a:lnTo>
                  <a:lnTo>
                    <a:pt x="1668" y="2600"/>
                  </a:lnTo>
                  <a:lnTo>
                    <a:pt x="1663" y="2600"/>
                  </a:lnTo>
                  <a:lnTo>
                    <a:pt x="1655" y="2601"/>
                  </a:lnTo>
                  <a:lnTo>
                    <a:pt x="1647" y="2603"/>
                  </a:lnTo>
                  <a:lnTo>
                    <a:pt x="1641" y="2606"/>
                  </a:lnTo>
                  <a:lnTo>
                    <a:pt x="1634" y="2611"/>
                  </a:lnTo>
                  <a:lnTo>
                    <a:pt x="1622" y="2622"/>
                  </a:lnTo>
                  <a:lnTo>
                    <a:pt x="1608" y="2630"/>
                  </a:lnTo>
                  <a:lnTo>
                    <a:pt x="1591" y="2639"/>
                  </a:lnTo>
                  <a:lnTo>
                    <a:pt x="1575" y="2646"/>
                  </a:lnTo>
                  <a:lnTo>
                    <a:pt x="1559" y="2653"/>
                  </a:lnTo>
                  <a:lnTo>
                    <a:pt x="1541" y="2661"/>
                  </a:lnTo>
                  <a:lnTo>
                    <a:pt x="1533" y="2667"/>
                  </a:lnTo>
                  <a:lnTo>
                    <a:pt x="1526" y="2673"/>
                  </a:lnTo>
                  <a:lnTo>
                    <a:pt x="1521" y="2680"/>
                  </a:lnTo>
                  <a:lnTo>
                    <a:pt x="1515" y="2686"/>
                  </a:lnTo>
                  <a:lnTo>
                    <a:pt x="1510" y="2694"/>
                  </a:lnTo>
                  <a:lnTo>
                    <a:pt x="1505" y="2700"/>
                  </a:lnTo>
                  <a:lnTo>
                    <a:pt x="1498" y="2707"/>
                  </a:lnTo>
                  <a:lnTo>
                    <a:pt x="1491" y="2712"/>
                  </a:lnTo>
                  <a:lnTo>
                    <a:pt x="1489" y="2703"/>
                  </a:lnTo>
                  <a:lnTo>
                    <a:pt x="1487" y="2693"/>
                  </a:lnTo>
                  <a:lnTo>
                    <a:pt x="1484" y="2683"/>
                  </a:lnTo>
                  <a:lnTo>
                    <a:pt x="1481" y="2674"/>
                  </a:lnTo>
                  <a:lnTo>
                    <a:pt x="1476" y="2667"/>
                  </a:lnTo>
                  <a:lnTo>
                    <a:pt x="1470" y="2661"/>
                  </a:lnTo>
                  <a:lnTo>
                    <a:pt x="1467" y="2659"/>
                  </a:lnTo>
                  <a:lnTo>
                    <a:pt x="1464" y="2657"/>
                  </a:lnTo>
                  <a:lnTo>
                    <a:pt x="1459" y="2656"/>
                  </a:lnTo>
                  <a:lnTo>
                    <a:pt x="1454" y="2656"/>
                  </a:lnTo>
                  <a:lnTo>
                    <a:pt x="1448" y="2657"/>
                  </a:lnTo>
                  <a:lnTo>
                    <a:pt x="1443" y="2658"/>
                  </a:lnTo>
                  <a:lnTo>
                    <a:pt x="1439" y="2661"/>
                  </a:lnTo>
                  <a:lnTo>
                    <a:pt x="1434" y="2665"/>
                  </a:lnTo>
                  <a:lnTo>
                    <a:pt x="1430" y="2669"/>
                  </a:lnTo>
                  <a:lnTo>
                    <a:pt x="1426" y="2672"/>
                  </a:lnTo>
                  <a:lnTo>
                    <a:pt x="1420" y="2676"/>
                  </a:lnTo>
                  <a:lnTo>
                    <a:pt x="1415" y="2679"/>
                  </a:lnTo>
                  <a:lnTo>
                    <a:pt x="1377" y="2692"/>
                  </a:lnTo>
                  <a:lnTo>
                    <a:pt x="1343" y="2704"/>
                  </a:lnTo>
                  <a:lnTo>
                    <a:pt x="1309" y="2717"/>
                  </a:lnTo>
                  <a:lnTo>
                    <a:pt x="1272" y="2732"/>
                  </a:lnTo>
                  <a:lnTo>
                    <a:pt x="1239" y="2733"/>
                  </a:lnTo>
                  <a:lnTo>
                    <a:pt x="1210" y="2734"/>
                  </a:lnTo>
                  <a:lnTo>
                    <a:pt x="1182" y="2738"/>
                  </a:lnTo>
                  <a:lnTo>
                    <a:pt x="1149" y="2742"/>
                  </a:lnTo>
                  <a:lnTo>
                    <a:pt x="1136" y="2745"/>
                  </a:lnTo>
                  <a:lnTo>
                    <a:pt x="1125" y="2747"/>
                  </a:lnTo>
                  <a:lnTo>
                    <a:pt x="1115" y="2750"/>
                  </a:lnTo>
                  <a:lnTo>
                    <a:pt x="1104" y="2754"/>
                  </a:lnTo>
                  <a:lnTo>
                    <a:pt x="1100" y="2757"/>
                  </a:lnTo>
                  <a:lnTo>
                    <a:pt x="1095" y="2760"/>
                  </a:lnTo>
                  <a:lnTo>
                    <a:pt x="1093" y="2764"/>
                  </a:lnTo>
                  <a:lnTo>
                    <a:pt x="1090" y="2768"/>
                  </a:lnTo>
                  <a:lnTo>
                    <a:pt x="1087" y="2778"/>
                  </a:lnTo>
                  <a:lnTo>
                    <a:pt x="1081" y="2788"/>
                  </a:lnTo>
                  <a:lnTo>
                    <a:pt x="1075" y="2800"/>
                  </a:lnTo>
                  <a:lnTo>
                    <a:pt x="1068" y="2811"/>
                  </a:lnTo>
                  <a:lnTo>
                    <a:pt x="1061" y="2821"/>
                  </a:lnTo>
                  <a:lnTo>
                    <a:pt x="1053" y="2832"/>
                  </a:lnTo>
                  <a:lnTo>
                    <a:pt x="1049" y="2842"/>
                  </a:lnTo>
                  <a:lnTo>
                    <a:pt x="1044" y="2849"/>
                  </a:lnTo>
                  <a:lnTo>
                    <a:pt x="1040" y="2857"/>
                  </a:lnTo>
                  <a:lnTo>
                    <a:pt x="1036" y="2863"/>
                  </a:lnTo>
                  <a:lnTo>
                    <a:pt x="1030" y="2869"/>
                  </a:lnTo>
                  <a:lnTo>
                    <a:pt x="1024" y="2875"/>
                  </a:lnTo>
                  <a:lnTo>
                    <a:pt x="1016" y="2881"/>
                  </a:lnTo>
                  <a:lnTo>
                    <a:pt x="1009" y="2886"/>
                  </a:lnTo>
                  <a:lnTo>
                    <a:pt x="999" y="2893"/>
                  </a:lnTo>
                  <a:lnTo>
                    <a:pt x="993" y="2901"/>
                  </a:lnTo>
                  <a:lnTo>
                    <a:pt x="988" y="2906"/>
                  </a:lnTo>
                  <a:lnTo>
                    <a:pt x="985" y="2909"/>
                  </a:lnTo>
                  <a:lnTo>
                    <a:pt x="981" y="2912"/>
                  </a:lnTo>
                  <a:lnTo>
                    <a:pt x="975" y="2914"/>
                  </a:lnTo>
                  <a:lnTo>
                    <a:pt x="966" y="2915"/>
                  </a:lnTo>
                  <a:lnTo>
                    <a:pt x="957" y="2915"/>
                  </a:lnTo>
                  <a:lnTo>
                    <a:pt x="953" y="2915"/>
                  </a:lnTo>
                  <a:lnTo>
                    <a:pt x="949" y="2915"/>
                  </a:lnTo>
                  <a:lnTo>
                    <a:pt x="945" y="2917"/>
                  </a:lnTo>
                  <a:lnTo>
                    <a:pt x="941" y="2920"/>
                  </a:lnTo>
                  <a:lnTo>
                    <a:pt x="932" y="2928"/>
                  </a:lnTo>
                  <a:lnTo>
                    <a:pt x="923" y="2938"/>
                  </a:lnTo>
                  <a:lnTo>
                    <a:pt x="918" y="2948"/>
                  </a:lnTo>
                  <a:lnTo>
                    <a:pt x="913" y="2958"/>
                  </a:lnTo>
                  <a:lnTo>
                    <a:pt x="905" y="2980"/>
                  </a:lnTo>
                  <a:lnTo>
                    <a:pt x="900" y="3006"/>
                  </a:lnTo>
                  <a:lnTo>
                    <a:pt x="900" y="3006"/>
                  </a:lnTo>
                  <a:lnTo>
                    <a:pt x="892" y="3001"/>
                  </a:lnTo>
                  <a:lnTo>
                    <a:pt x="886" y="2995"/>
                  </a:lnTo>
                  <a:lnTo>
                    <a:pt x="879" y="2991"/>
                  </a:lnTo>
                  <a:lnTo>
                    <a:pt x="872" y="2988"/>
                  </a:lnTo>
                  <a:lnTo>
                    <a:pt x="856" y="2982"/>
                  </a:lnTo>
                  <a:lnTo>
                    <a:pt x="840" y="2976"/>
                  </a:lnTo>
                  <a:lnTo>
                    <a:pt x="817" y="2965"/>
                  </a:lnTo>
                  <a:lnTo>
                    <a:pt x="795" y="2956"/>
                  </a:lnTo>
                  <a:lnTo>
                    <a:pt x="774" y="2947"/>
                  </a:lnTo>
                  <a:lnTo>
                    <a:pt x="756" y="2937"/>
                  </a:lnTo>
                  <a:lnTo>
                    <a:pt x="746" y="2931"/>
                  </a:lnTo>
                  <a:lnTo>
                    <a:pt x="738" y="2925"/>
                  </a:lnTo>
                  <a:lnTo>
                    <a:pt x="730" y="2919"/>
                  </a:lnTo>
                  <a:lnTo>
                    <a:pt x="721" y="2911"/>
                  </a:lnTo>
                  <a:lnTo>
                    <a:pt x="714" y="2903"/>
                  </a:lnTo>
                  <a:lnTo>
                    <a:pt x="706" y="2895"/>
                  </a:lnTo>
                  <a:lnTo>
                    <a:pt x="699" y="2885"/>
                  </a:lnTo>
                  <a:lnTo>
                    <a:pt x="692" y="2874"/>
                  </a:lnTo>
                  <a:lnTo>
                    <a:pt x="687" y="2867"/>
                  </a:lnTo>
                  <a:lnTo>
                    <a:pt x="682" y="2860"/>
                  </a:lnTo>
                  <a:lnTo>
                    <a:pt x="676" y="2854"/>
                  </a:lnTo>
                  <a:lnTo>
                    <a:pt x="670" y="2848"/>
                  </a:lnTo>
                  <a:lnTo>
                    <a:pt x="658" y="2840"/>
                  </a:lnTo>
                  <a:lnTo>
                    <a:pt x="645" y="2831"/>
                  </a:lnTo>
                  <a:lnTo>
                    <a:pt x="617" y="2818"/>
                  </a:lnTo>
                  <a:lnTo>
                    <a:pt x="585" y="2802"/>
                  </a:lnTo>
                  <a:lnTo>
                    <a:pt x="551" y="2780"/>
                  </a:lnTo>
                  <a:lnTo>
                    <a:pt x="521" y="2760"/>
                  </a:lnTo>
                  <a:lnTo>
                    <a:pt x="490" y="2739"/>
                  </a:lnTo>
                  <a:lnTo>
                    <a:pt x="457" y="2718"/>
                  </a:lnTo>
                  <a:lnTo>
                    <a:pt x="430" y="2700"/>
                  </a:lnTo>
                  <a:lnTo>
                    <a:pt x="405" y="2683"/>
                  </a:lnTo>
                  <a:lnTo>
                    <a:pt x="383" y="2666"/>
                  </a:lnTo>
                  <a:lnTo>
                    <a:pt x="363" y="2650"/>
                  </a:lnTo>
                  <a:lnTo>
                    <a:pt x="342" y="2632"/>
                  </a:lnTo>
                  <a:lnTo>
                    <a:pt x="322" y="2615"/>
                  </a:lnTo>
                  <a:lnTo>
                    <a:pt x="299" y="2597"/>
                  </a:lnTo>
                  <a:lnTo>
                    <a:pt x="274" y="2577"/>
                  </a:lnTo>
                  <a:lnTo>
                    <a:pt x="254" y="2563"/>
                  </a:lnTo>
                  <a:lnTo>
                    <a:pt x="234" y="2550"/>
                  </a:lnTo>
                  <a:lnTo>
                    <a:pt x="225" y="2544"/>
                  </a:lnTo>
                  <a:lnTo>
                    <a:pt x="216" y="2536"/>
                  </a:lnTo>
                  <a:lnTo>
                    <a:pt x="207" y="2529"/>
                  </a:lnTo>
                  <a:lnTo>
                    <a:pt x="199" y="2519"/>
                  </a:lnTo>
                  <a:lnTo>
                    <a:pt x="176" y="2492"/>
                  </a:lnTo>
                  <a:lnTo>
                    <a:pt x="157" y="2468"/>
                  </a:lnTo>
                  <a:lnTo>
                    <a:pt x="145" y="2458"/>
                  </a:lnTo>
                  <a:lnTo>
                    <a:pt x="133" y="2450"/>
                  </a:lnTo>
                  <a:lnTo>
                    <a:pt x="119" y="2441"/>
                  </a:lnTo>
                  <a:lnTo>
                    <a:pt x="104" y="2435"/>
                  </a:lnTo>
                  <a:lnTo>
                    <a:pt x="93" y="2431"/>
                  </a:lnTo>
                  <a:lnTo>
                    <a:pt x="83" y="2429"/>
                  </a:lnTo>
                  <a:lnTo>
                    <a:pt x="73" y="2428"/>
                  </a:lnTo>
                  <a:lnTo>
                    <a:pt x="65" y="2427"/>
                  </a:lnTo>
                  <a:lnTo>
                    <a:pt x="45" y="2426"/>
                  </a:lnTo>
                  <a:lnTo>
                    <a:pt x="25" y="2423"/>
                  </a:lnTo>
                  <a:lnTo>
                    <a:pt x="25" y="2412"/>
                  </a:lnTo>
                  <a:lnTo>
                    <a:pt x="25" y="2400"/>
                  </a:lnTo>
                  <a:lnTo>
                    <a:pt x="26" y="2387"/>
                  </a:lnTo>
                  <a:lnTo>
                    <a:pt x="27" y="2375"/>
                  </a:lnTo>
                  <a:lnTo>
                    <a:pt x="30" y="2364"/>
                  </a:lnTo>
                  <a:lnTo>
                    <a:pt x="33" y="2355"/>
                  </a:lnTo>
                  <a:lnTo>
                    <a:pt x="37" y="2344"/>
                  </a:lnTo>
                  <a:lnTo>
                    <a:pt x="40" y="2333"/>
                  </a:lnTo>
                  <a:lnTo>
                    <a:pt x="43" y="2321"/>
                  </a:lnTo>
                  <a:lnTo>
                    <a:pt x="44" y="2308"/>
                  </a:lnTo>
                  <a:lnTo>
                    <a:pt x="46" y="2278"/>
                  </a:lnTo>
                  <a:lnTo>
                    <a:pt x="48" y="2249"/>
                  </a:lnTo>
                  <a:lnTo>
                    <a:pt x="49" y="2235"/>
                  </a:lnTo>
                  <a:lnTo>
                    <a:pt x="51" y="2221"/>
                  </a:lnTo>
                  <a:lnTo>
                    <a:pt x="53" y="2206"/>
                  </a:lnTo>
                  <a:lnTo>
                    <a:pt x="55" y="2191"/>
                  </a:lnTo>
                  <a:lnTo>
                    <a:pt x="55" y="2191"/>
                  </a:lnTo>
                  <a:lnTo>
                    <a:pt x="53" y="2174"/>
                  </a:lnTo>
                  <a:lnTo>
                    <a:pt x="50" y="2159"/>
                  </a:lnTo>
                  <a:lnTo>
                    <a:pt x="45" y="2144"/>
                  </a:lnTo>
                  <a:lnTo>
                    <a:pt x="41" y="2130"/>
                  </a:lnTo>
                  <a:lnTo>
                    <a:pt x="32" y="2101"/>
                  </a:lnTo>
                  <a:lnTo>
                    <a:pt x="22" y="2071"/>
                  </a:lnTo>
                  <a:lnTo>
                    <a:pt x="14" y="2059"/>
                  </a:lnTo>
                  <a:lnTo>
                    <a:pt x="6" y="2048"/>
                  </a:lnTo>
                  <a:lnTo>
                    <a:pt x="4" y="2042"/>
                  </a:lnTo>
                  <a:lnTo>
                    <a:pt x="1" y="2036"/>
                  </a:lnTo>
                  <a:lnTo>
                    <a:pt x="0" y="2030"/>
                  </a:lnTo>
                  <a:lnTo>
                    <a:pt x="0" y="2022"/>
                  </a:lnTo>
                  <a:lnTo>
                    <a:pt x="0" y="2016"/>
                  </a:lnTo>
                  <a:lnTo>
                    <a:pt x="1" y="2008"/>
                  </a:lnTo>
                  <a:lnTo>
                    <a:pt x="2" y="2003"/>
                  </a:lnTo>
                  <a:lnTo>
                    <a:pt x="4" y="1996"/>
                  </a:lnTo>
                  <a:lnTo>
                    <a:pt x="10" y="1985"/>
                  </a:lnTo>
                  <a:lnTo>
                    <a:pt x="16" y="1975"/>
                  </a:lnTo>
                  <a:lnTo>
                    <a:pt x="32" y="1955"/>
                  </a:lnTo>
                  <a:lnTo>
                    <a:pt x="50" y="1932"/>
                  </a:lnTo>
                  <a:lnTo>
                    <a:pt x="58" y="1922"/>
                  </a:lnTo>
                  <a:lnTo>
                    <a:pt x="66" y="1912"/>
                  </a:lnTo>
                  <a:lnTo>
                    <a:pt x="75" y="1902"/>
                  </a:lnTo>
                  <a:lnTo>
                    <a:pt x="83" y="1894"/>
                  </a:lnTo>
                  <a:lnTo>
                    <a:pt x="102" y="1880"/>
                  </a:lnTo>
                  <a:lnTo>
                    <a:pt x="121" y="1867"/>
                  </a:lnTo>
                  <a:lnTo>
                    <a:pt x="162" y="1843"/>
                  </a:lnTo>
                  <a:lnTo>
                    <a:pt x="207" y="1815"/>
                  </a:lnTo>
                  <a:lnTo>
                    <a:pt x="216" y="1808"/>
                  </a:lnTo>
                  <a:lnTo>
                    <a:pt x="224" y="1800"/>
                  </a:lnTo>
                  <a:lnTo>
                    <a:pt x="230" y="1791"/>
                  </a:lnTo>
                  <a:lnTo>
                    <a:pt x="235" y="1782"/>
                  </a:lnTo>
                  <a:lnTo>
                    <a:pt x="244" y="1762"/>
                  </a:lnTo>
                  <a:lnTo>
                    <a:pt x="252" y="1739"/>
                  </a:lnTo>
                  <a:lnTo>
                    <a:pt x="261" y="1715"/>
                  </a:lnTo>
                  <a:lnTo>
                    <a:pt x="272" y="1695"/>
                  </a:lnTo>
                  <a:lnTo>
                    <a:pt x="276" y="1684"/>
                  </a:lnTo>
                  <a:lnTo>
                    <a:pt x="280" y="1673"/>
                  </a:lnTo>
                  <a:lnTo>
                    <a:pt x="282" y="1661"/>
                  </a:lnTo>
                  <a:lnTo>
                    <a:pt x="283" y="1647"/>
                  </a:lnTo>
                  <a:lnTo>
                    <a:pt x="283" y="1632"/>
                  </a:lnTo>
                  <a:lnTo>
                    <a:pt x="283" y="1619"/>
                  </a:lnTo>
                  <a:lnTo>
                    <a:pt x="283" y="1605"/>
                  </a:lnTo>
                  <a:lnTo>
                    <a:pt x="283" y="1590"/>
                  </a:lnTo>
                  <a:lnTo>
                    <a:pt x="283" y="1586"/>
                  </a:lnTo>
                  <a:lnTo>
                    <a:pt x="284" y="1581"/>
                  </a:lnTo>
                  <a:lnTo>
                    <a:pt x="285" y="1577"/>
                  </a:lnTo>
                  <a:lnTo>
                    <a:pt x="287" y="1574"/>
                  </a:lnTo>
                  <a:lnTo>
                    <a:pt x="294" y="1569"/>
                  </a:lnTo>
                  <a:lnTo>
                    <a:pt x="301" y="1564"/>
                  </a:lnTo>
                  <a:lnTo>
                    <a:pt x="320" y="1558"/>
                  </a:lnTo>
                  <a:lnTo>
                    <a:pt x="339" y="1551"/>
                  </a:lnTo>
                  <a:lnTo>
                    <a:pt x="346" y="1549"/>
                  </a:lnTo>
                  <a:lnTo>
                    <a:pt x="351" y="1547"/>
                  </a:lnTo>
                  <a:lnTo>
                    <a:pt x="356" y="1544"/>
                  </a:lnTo>
                  <a:lnTo>
                    <a:pt x="362" y="1540"/>
                  </a:lnTo>
                  <a:lnTo>
                    <a:pt x="373" y="1532"/>
                  </a:lnTo>
                  <a:lnTo>
                    <a:pt x="383" y="1524"/>
                  </a:lnTo>
                  <a:lnTo>
                    <a:pt x="389" y="1519"/>
                  </a:lnTo>
                  <a:lnTo>
                    <a:pt x="394" y="1512"/>
                  </a:lnTo>
                  <a:lnTo>
                    <a:pt x="399" y="1506"/>
                  </a:lnTo>
                  <a:lnTo>
                    <a:pt x="402" y="1500"/>
                  </a:lnTo>
                  <a:lnTo>
                    <a:pt x="406" y="1494"/>
                  </a:lnTo>
                  <a:lnTo>
                    <a:pt x="410" y="1489"/>
                  </a:lnTo>
                  <a:lnTo>
                    <a:pt x="416" y="1484"/>
                  </a:lnTo>
                  <a:lnTo>
                    <a:pt x="422" y="1482"/>
                  </a:lnTo>
                  <a:lnTo>
                    <a:pt x="442" y="1478"/>
                  </a:lnTo>
                  <a:lnTo>
                    <a:pt x="459" y="1477"/>
                  </a:lnTo>
                  <a:lnTo>
                    <a:pt x="476" y="1476"/>
                  </a:lnTo>
                  <a:lnTo>
                    <a:pt x="496" y="1476"/>
                  </a:lnTo>
                  <a:lnTo>
                    <a:pt x="526" y="1478"/>
                  </a:lnTo>
                  <a:lnTo>
                    <a:pt x="555" y="1481"/>
                  </a:lnTo>
                  <a:lnTo>
                    <a:pt x="568" y="1481"/>
                  </a:lnTo>
                  <a:lnTo>
                    <a:pt x="581" y="1479"/>
                  </a:lnTo>
                  <a:lnTo>
                    <a:pt x="588" y="1478"/>
                  </a:lnTo>
                  <a:lnTo>
                    <a:pt x="595" y="1475"/>
                  </a:lnTo>
                  <a:lnTo>
                    <a:pt x="602" y="1471"/>
                  </a:lnTo>
                  <a:lnTo>
                    <a:pt x="608" y="1468"/>
                  </a:lnTo>
                  <a:lnTo>
                    <a:pt x="616" y="1462"/>
                  </a:lnTo>
                  <a:lnTo>
                    <a:pt x="623" y="1455"/>
                  </a:lnTo>
                  <a:lnTo>
                    <a:pt x="630" y="1449"/>
                  </a:lnTo>
                  <a:lnTo>
                    <a:pt x="636" y="1442"/>
                  </a:lnTo>
                  <a:lnTo>
                    <a:pt x="642" y="1436"/>
                  </a:lnTo>
                  <a:lnTo>
                    <a:pt x="646" y="1428"/>
                  </a:lnTo>
                  <a:lnTo>
                    <a:pt x="650" y="1421"/>
                  </a:lnTo>
                  <a:lnTo>
                    <a:pt x="653" y="1413"/>
                  </a:lnTo>
                  <a:lnTo>
                    <a:pt x="660" y="1397"/>
                  </a:lnTo>
                  <a:lnTo>
                    <a:pt x="663" y="1378"/>
                  </a:lnTo>
                  <a:lnTo>
                    <a:pt x="666" y="1360"/>
                  </a:lnTo>
                  <a:lnTo>
                    <a:pt x="666" y="1341"/>
                  </a:lnTo>
                  <a:lnTo>
                    <a:pt x="665" y="1329"/>
                  </a:lnTo>
                  <a:lnTo>
                    <a:pt x="662" y="1320"/>
                  </a:lnTo>
                  <a:lnTo>
                    <a:pt x="660" y="1310"/>
                  </a:lnTo>
                  <a:lnTo>
                    <a:pt x="658" y="1300"/>
                  </a:lnTo>
                  <a:lnTo>
                    <a:pt x="659" y="1290"/>
                  </a:lnTo>
                  <a:lnTo>
                    <a:pt x="660" y="1281"/>
                  </a:lnTo>
                  <a:lnTo>
                    <a:pt x="661" y="1273"/>
                  </a:lnTo>
                  <a:lnTo>
                    <a:pt x="664" y="1265"/>
                  </a:lnTo>
                  <a:lnTo>
                    <a:pt x="666" y="1257"/>
                  </a:lnTo>
                  <a:lnTo>
                    <a:pt x="671" y="1250"/>
                  </a:lnTo>
                  <a:lnTo>
                    <a:pt x="674" y="1243"/>
                  </a:lnTo>
                  <a:lnTo>
                    <a:pt x="678" y="1237"/>
                  </a:lnTo>
                  <a:lnTo>
                    <a:pt x="700" y="1211"/>
                  </a:lnTo>
                  <a:lnTo>
                    <a:pt x="726" y="1185"/>
                  </a:lnTo>
                  <a:lnTo>
                    <a:pt x="739" y="1168"/>
                  </a:lnTo>
                  <a:lnTo>
                    <a:pt x="751" y="1152"/>
                  </a:lnTo>
                  <a:lnTo>
                    <a:pt x="757" y="1144"/>
                  </a:lnTo>
                  <a:lnTo>
                    <a:pt x="765" y="1139"/>
                  </a:lnTo>
                  <a:lnTo>
                    <a:pt x="769" y="1137"/>
                  </a:lnTo>
                  <a:lnTo>
                    <a:pt x="774" y="1135"/>
                  </a:lnTo>
                  <a:lnTo>
                    <a:pt x="779" y="1134"/>
                  </a:lnTo>
                  <a:lnTo>
                    <a:pt x="784" y="1134"/>
                  </a:lnTo>
                  <a:lnTo>
                    <a:pt x="793" y="1134"/>
                  </a:lnTo>
                  <a:lnTo>
                    <a:pt x="800" y="1135"/>
                  </a:lnTo>
                  <a:lnTo>
                    <a:pt x="808" y="1138"/>
                  </a:lnTo>
                  <a:lnTo>
                    <a:pt x="815" y="1140"/>
                  </a:lnTo>
                  <a:lnTo>
                    <a:pt x="822" y="1142"/>
                  </a:lnTo>
                  <a:lnTo>
                    <a:pt x="829" y="1144"/>
                  </a:lnTo>
                  <a:lnTo>
                    <a:pt x="837" y="1145"/>
                  </a:lnTo>
                  <a:lnTo>
                    <a:pt x="846" y="1145"/>
                  </a:lnTo>
                  <a:lnTo>
                    <a:pt x="853" y="1145"/>
                  </a:lnTo>
                  <a:lnTo>
                    <a:pt x="861" y="1143"/>
                  </a:lnTo>
                  <a:lnTo>
                    <a:pt x="866" y="1141"/>
                  </a:lnTo>
                  <a:lnTo>
                    <a:pt x="873" y="1138"/>
                  </a:lnTo>
                  <a:lnTo>
                    <a:pt x="878" y="1134"/>
                  </a:lnTo>
                  <a:lnTo>
                    <a:pt x="882" y="1130"/>
                  </a:lnTo>
                  <a:lnTo>
                    <a:pt x="887" y="1125"/>
                  </a:lnTo>
                  <a:lnTo>
                    <a:pt x="891" y="1119"/>
                  </a:lnTo>
                  <a:lnTo>
                    <a:pt x="899" y="1106"/>
                  </a:lnTo>
                  <a:lnTo>
                    <a:pt x="904" y="1093"/>
                  </a:lnTo>
                  <a:lnTo>
                    <a:pt x="911" y="1078"/>
                  </a:lnTo>
                  <a:lnTo>
                    <a:pt x="916" y="1064"/>
                  </a:lnTo>
                  <a:lnTo>
                    <a:pt x="920" y="1056"/>
                  </a:lnTo>
                  <a:lnTo>
                    <a:pt x="925" y="1048"/>
                  </a:lnTo>
                  <a:lnTo>
                    <a:pt x="930" y="1040"/>
                  </a:lnTo>
                  <a:lnTo>
                    <a:pt x="935" y="1034"/>
                  </a:lnTo>
                  <a:lnTo>
                    <a:pt x="947" y="1022"/>
                  </a:lnTo>
                  <a:lnTo>
                    <a:pt x="960" y="1011"/>
                  </a:lnTo>
                  <a:lnTo>
                    <a:pt x="966" y="1006"/>
                  </a:lnTo>
                  <a:lnTo>
                    <a:pt x="971" y="999"/>
                  </a:lnTo>
                  <a:lnTo>
                    <a:pt x="976" y="994"/>
                  </a:lnTo>
                  <a:lnTo>
                    <a:pt x="981" y="987"/>
                  </a:lnTo>
                  <a:lnTo>
                    <a:pt x="984" y="981"/>
                  </a:lnTo>
                  <a:lnTo>
                    <a:pt x="986" y="973"/>
                  </a:lnTo>
                  <a:lnTo>
                    <a:pt x="988" y="965"/>
                  </a:lnTo>
                  <a:lnTo>
                    <a:pt x="989" y="955"/>
                  </a:lnTo>
                  <a:lnTo>
                    <a:pt x="989" y="936"/>
                  </a:lnTo>
                  <a:lnTo>
                    <a:pt x="989" y="918"/>
                  </a:lnTo>
                  <a:lnTo>
                    <a:pt x="989" y="901"/>
                  </a:lnTo>
                  <a:lnTo>
                    <a:pt x="989" y="882"/>
                  </a:lnTo>
                  <a:lnTo>
                    <a:pt x="989" y="870"/>
                  </a:lnTo>
                  <a:lnTo>
                    <a:pt x="990" y="860"/>
                  </a:lnTo>
                  <a:lnTo>
                    <a:pt x="993" y="850"/>
                  </a:lnTo>
                  <a:lnTo>
                    <a:pt x="995" y="841"/>
                  </a:lnTo>
                  <a:lnTo>
                    <a:pt x="1001" y="823"/>
                  </a:lnTo>
                  <a:lnTo>
                    <a:pt x="1010" y="807"/>
                  </a:lnTo>
                  <a:lnTo>
                    <a:pt x="1019" y="791"/>
                  </a:lnTo>
                  <a:lnTo>
                    <a:pt x="1026" y="774"/>
                  </a:lnTo>
                  <a:lnTo>
                    <a:pt x="1030" y="764"/>
                  </a:lnTo>
                  <a:lnTo>
                    <a:pt x="1034" y="754"/>
                  </a:lnTo>
                  <a:lnTo>
                    <a:pt x="1037" y="744"/>
                  </a:lnTo>
                  <a:lnTo>
                    <a:pt x="1039" y="734"/>
                  </a:lnTo>
                  <a:lnTo>
                    <a:pt x="1041" y="719"/>
                  </a:lnTo>
                  <a:lnTo>
                    <a:pt x="1042" y="706"/>
                  </a:lnTo>
                  <a:lnTo>
                    <a:pt x="1043" y="693"/>
                  </a:lnTo>
                  <a:lnTo>
                    <a:pt x="1043" y="680"/>
                  </a:lnTo>
                  <a:lnTo>
                    <a:pt x="1042" y="668"/>
                  </a:lnTo>
                  <a:lnTo>
                    <a:pt x="1042" y="655"/>
                  </a:lnTo>
                  <a:lnTo>
                    <a:pt x="1043" y="642"/>
                  </a:lnTo>
                  <a:lnTo>
                    <a:pt x="1044" y="627"/>
                  </a:lnTo>
                  <a:lnTo>
                    <a:pt x="1048" y="614"/>
                  </a:lnTo>
                  <a:lnTo>
                    <a:pt x="1052" y="603"/>
                  </a:lnTo>
                  <a:lnTo>
                    <a:pt x="1058" y="593"/>
                  </a:lnTo>
                  <a:lnTo>
                    <a:pt x="1065" y="585"/>
                  </a:lnTo>
                  <a:lnTo>
                    <a:pt x="1071" y="575"/>
                  </a:lnTo>
                  <a:lnTo>
                    <a:pt x="1078" y="565"/>
                  </a:lnTo>
                  <a:lnTo>
                    <a:pt x="1084" y="554"/>
                  </a:lnTo>
                  <a:lnTo>
                    <a:pt x="1090" y="543"/>
                  </a:lnTo>
                  <a:lnTo>
                    <a:pt x="1100" y="514"/>
                  </a:lnTo>
                  <a:lnTo>
                    <a:pt x="1107" y="490"/>
                  </a:lnTo>
                  <a:lnTo>
                    <a:pt x="1111" y="478"/>
                  </a:lnTo>
                  <a:lnTo>
                    <a:pt x="1117" y="466"/>
                  </a:lnTo>
                  <a:lnTo>
                    <a:pt x="1122" y="453"/>
                  </a:lnTo>
                  <a:lnTo>
                    <a:pt x="1129" y="439"/>
                  </a:lnTo>
                  <a:lnTo>
                    <a:pt x="1135" y="426"/>
                  </a:lnTo>
                  <a:lnTo>
                    <a:pt x="1141" y="413"/>
                  </a:lnTo>
                  <a:lnTo>
                    <a:pt x="1145" y="401"/>
                  </a:lnTo>
                  <a:lnTo>
                    <a:pt x="1148" y="388"/>
                  </a:lnTo>
                  <a:lnTo>
                    <a:pt x="1154" y="363"/>
                  </a:lnTo>
                  <a:lnTo>
                    <a:pt x="1162" y="335"/>
                  </a:lnTo>
                  <a:lnTo>
                    <a:pt x="1171" y="316"/>
                  </a:lnTo>
                  <a:lnTo>
                    <a:pt x="1181" y="298"/>
                  </a:lnTo>
                  <a:lnTo>
                    <a:pt x="1190" y="282"/>
                  </a:lnTo>
                  <a:lnTo>
                    <a:pt x="1200" y="267"/>
                  </a:lnTo>
                  <a:lnTo>
                    <a:pt x="1209" y="252"/>
                  </a:lnTo>
                  <a:lnTo>
                    <a:pt x="1218" y="236"/>
                  </a:lnTo>
                  <a:lnTo>
                    <a:pt x="1226" y="219"/>
                  </a:lnTo>
                  <a:lnTo>
                    <a:pt x="1232" y="198"/>
                  </a:lnTo>
                  <a:lnTo>
                    <a:pt x="1241" y="169"/>
                  </a:lnTo>
                  <a:lnTo>
                    <a:pt x="1249" y="142"/>
                  </a:lnTo>
                  <a:lnTo>
                    <a:pt x="1257" y="116"/>
                  </a:lnTo>
                  <a:lnTo>
                    <a:pt x="1266" y="91"/>
                  </a:lnTo>
                  <a:lnTo>
                    <a:pt x="1271" y="80"/>
                  </a:lnTo>
                  <a:lnTo>
                    <a:pt x="1277" y="68"/>
                  </a:lnTo>
                  <a:lnTo>
                    <a:pt x="1283" y="57"/>
                  </a:lnTo>
                  <a:lnTo>
                    <a:pt x="1290" y="46"/>
                  </a:lnTo>
                  <a:lnTo>
                    <a:pt x="1297" y="34"/>
                  </a:lnTo>
                  <a:lnTo>
                    <a:pt x="1306" y="23"/>
                  </a:lnTo>
                  <a:lnTo>
                    <a:pt x="1316" y="12"/>
                  </a:lnTo>
                  <a:lnTo>
                    <a:pt x="1327" y="0"/>
                  </a:lnTo>
                  <a:lnTo>
                    <a:pt x="1327" y="0"/>
                  </a:lnTo>
                  <a:lnTo>
                    <a:pt x="1434" y="47"/>
                  </a:lnTo>
                  <a:lnTo>
                    <a:pt x="1432" y="60"/>
                  </a:lnTo>
                  <a:lnTo>
                    <a:pt x="1428" y="72"/>
                  </a:lnTo>
                  <a:lnTo>
                    <a:pt x="1422" y="84"/>
                  </a:lnTo>
                  <a:lnTo>
                    <a:pt x="1417" y="94"/>
                  </a:lnTo>
                  <a:lnTo>
                    <a:pt x="1403" y="113"/>
                  </a:lnTo>
                  <a:lnTo>
                    <a:pt x="1388" y="131"/>
                  </a:lnTo>
                  <a:lnTo>
                    <a:pt x="1381" y="140"/>
                  </a:lnTo>
                  <a:lnTo>
                    <a:pt x="1374" y="148"/>
                  </a:lnTo>
                  <a:lnTo>
                    <a:pt x="1367" y="158"/>
                  </a:lnTo>
                  <a:lnTo>
                    <a:pt x="1362" y="168"/>
                  </a:lnTo>
                  <a:lnTo>
                    <a:pt x="1358" y="179"/>
                  </a:lnTo>
                  <a:lnTo>
                    <a:pt x="1353" y="189"/>
                  </a:lnTo>
                  <a:lnTo>
                    <a:pt x="1351" y="202"/>
                  </a:lnTo>
                  <a:lnTo>
                    <a:pt x="1350" y="215"/>
                  </a:lnTo>
                  <a:lnTo>
                    <a:pt x="1351" y="223"/>
                  </a:lnTo>
                  <a:lnTo>
                    <a:pt x="1352" y="230"/>
                  </a:lnTo>
                  <a:lnTo>
                    <a:pt x="1354" y="238"/>
                  </a:lnTo>
                  <a:lnTo>
                    <a:pt x="1358" y="244"/>
                  </a:lnTo>
                  <a:lnTo>
                    <a:pt x="1361" y="251"/>
                  </a:lnTo>
                  <a:lnTo>
                    <a:pt x="1366" y="256"/>
                  </a:lnTo>
                  <a:lnTo>
                    <a:pt x="1371" y="262"/>
                  </a:lnTo>
                  <a:lnTo>
                    <a:pt x="1376" y="267"/>
                  </a:lnTo>
                  <a:lnTo>
                    <a:pt x="1389" y="276"/>
                  </a:lnTo>
                  <a:lnTo>
                    <a:pt x="1403" y="283"/>
                  </a:lnTo>
                  <a:lnTo>
                    <a:pt x="1418" y="290"/>
                  </a:lnTo>
                  <a:lnTo>
                    <a:pt x="1434" y="296"/>
                  </a:lnTo>
                  <a:lnTo>
                    <a:pt x="1473" y="311"/>
                  </a:lnTo>
                  <a:lnTo>
                    <a:pt x="1508" y="323"/>
                  </a:lnTo>
                  <a:lnTo>
                    <a:pt x="1525" y="329"/>
                  </a:lnTo>
                  <a:lnTo>
                    <a:pt x="1542" y="332"/>
                  </a:lnTo>
                  <a:lnTo>
                    <a:pt x="1562" y="335"/>
                  </a:lnTo>
                  <a:lnTo>
                    <a:pt x="1583" y="335"/>
                  </a:lnTo>
                  <a:lnTo>
                    <a:pt x="1591" y="335"/>
                  </a:lnTo>
                  <a:lnTo>
                    <a:pt x="1600" y="334"/>
                  </a:lnTo>
                  <a:lnTo>
                    <a:pt x="1606" y="332"/>
                  </a:lnTo>
                  <a:lnTo>
                    <a:pt x="1613" y="329"/>
                  </a:lnTo>
                  <a:lnTo>
                    <a:pt x="1619" y="324"/>
                  </a:lnTo>
                  <a:lnTo>
                    <a:pt x="1626" y="320"/>
                  </a:lnTo>
                  <a:lnTo>
                    <a:pt x="1631" y="316"/>
                  </a:lnTo>
                  <a:lnTo>
                    <a:pt x="1635" y="310"/>
                  </a:lnTo>
                  <a:lnTo>
                    <a:pt x="1645" y="297"/>
                  </a:lnTo>
                  <a:lnTo>
                    <a:pt x="1654" y="284"/>
                  </a:lnTo>
                  <a:lnTo>
                    <a:pt x="1661" y="269"/>
                  </a:lnTo>
                  <a:lnTo>
                    <a:pt x="1669" y="254"/>
                  </a:lnTo>
                  <a:lnTo>
                    <a:pt x="1676" y="239"/>
                  </a:lnTo>
                  <a:lnTo>
                    <a:pt x="1684" y="224"/>
                  </a:lnTo>
                  <a:lnTo>
                    <a:pt x="1692" y="211"/>
                  </a:lnTo>
                  <a:lnTo>
                    <a:pt x="1701" y="198"/>
                  </a:lnTo>
                  <a:lnTo>
                    <a:pt x="1707" y="193"/>
                  </a:lnTo>
                  <a:lnTo>
                    <a:pt x="1712" y="188"/>
                  </a:lnTo>
                  <a:lnTo>
                    <a:pt x="1718" y="184"/>
                  </a:lnTo>
                  <a:lnTo>
                    <a:pt x="1724" y="180"/>
                  </a:lnTo>
                  <a:lnTo>
                    <a:pt x="1731" y="177"/>
                  </a:lnTo>
                  <a:lnTo>
                    <a:pt x="1738" y="174"/>
                  </a:lnTo>
                  <a:lnTo>
                    <a:pt x="1745" y="173"/>
                  </a:lnTo>
                  <a:lnTo>
                    <a:pt x="1754" y="173"/>
                  </a:lnTo>
                  <a:lnTo>
                    <a:pt x="1765" y="173"/>
                  </a:lnTo>
                  <a:lnTo>
                    <a:pt x="1775" y="175"/>
                  </a:lnTo>
                  <a:lnTo>
                    <a:pt x="1783" y="179"/>
                  </a:lnTo>
                  <a:lnTo>
                    <a:pt x="1792" y="183"/>
                  </a:lnTo>
                  <a:lnTo>
                    <a:pt x="1800" y="188"/>
                  </a:lnTo>
                  <a:lnTo>
                    <a:pt x="1808" y="195"/>
                  </a:lnTo>
                  <a:lnTo>
                    <a:pt x="1815" y="201"/>
                  </a:lnTo>
                  <a:lnTo>
                    <a:pt x="1820" y="210"/>
                  </a:lnTo>
                  <a:lnTo>
                    <a:pt x="1825" y="219"/>
                  </a:lnTo>
                  <a:lnTo>
                    <a:pt x="1831" y="227"/>
                  </a:lnTo>
                  <a:lnTo>
                    <a:pt x="1835" y="237"/>
                  </a:lnTo>
                  <a:lnTo>
                    <a:pt x="1838" y="247"/>
                  </a:lnTo>
                  <a:lnTo>
                    <a:pt x="1840" y="257"/>
                  </a:lnTo>
                  <a:lnTo>
                    <a:pt x="1843" y="268"/>
                  </a:lnTo>
                  <a:lnTo>
                    <a:pt x="1844" y="279"/>
                  </a:lnTo>
                  <a:lnTo>
                    <a:pt x="1844" y="289"/>
                  </a:lnTo>
                  <a:lnTo>
                    <a:pt x="1843" y="306"/>
                  </a:lnTo>
                  <a:lnTo>
                    <a:pt x="1840" y="320"/>
                  </a:lnTo>
                  <a:lnTo>
                    <a:pt x="1837" y="334"/>
                  </a:lnTo>
                  <a:lnTo>
                    <a:pt x="1834" y="347"/>
                  </a:lnTo>
                  <a:lnTo>
                    <a:pt x="1831" y="361"/>
                  </a:lnTo>
                  <a:lnTo>
                    <a:pt x="1827" y="374"/>
                  </a:lnTo>
                  <a:lnTo>
                    <a:pt x="1825" y="389"/>
                  </a:lnTo>
                  <a:lnTo>
                    <a:pt x="1824" y="405"/>
                  </a:lnTo>
                  <a:lnTo>
                    <a:pt x="1824" y="415"/>
                  </a:lnTo>
                  <a:lnTo>
                    <a:pt x="1825" y="424"/>
                  </a:lnTo>
                  <a:lnTo>
                    <a:pt x="1827" y="432"/>
                  </a:lnTo>
                  <a:lnTo>
                    <a:pt x="1831" y="441"/>
                  </a:lnTo>
                  <a:lnTo>
                    <a:pt x="1835" y="449"/>
                  </a:lnTo>
                  <a:lnTo>
                    <a:pt x="1840" y="454"/>
                  </a:lnTo>
                  <a:lnTo>
                    <a:pt x="1844" y="456"/>
                  </a:lnTo>
                  <a:lnTo>
                    <a:pt x="1847" y="457"/>
                  </a:lnTo>
                  <a:lnTo>
                    <a:pt x="1850" y="458"/>
                  </a:lnTo>
                  <a:lnTo>
                    <a:pt x="1854" y="458"/>
                  </a:lnTo>
                  <a:lnTo>
                    <a:pt x="1861" y="458"/>
                  </a:lnTo>
                  <a:lnTo>
                    <a:pt x="1865" y="456"/>
                  </a:lnTo>
                  <a:lnTo>
                    <a:pt x="1870" y="452"/>
                  </a:lnTo>
                  <a:lnTo>
                    <a:pt x="1873" y="447"/>
                  </a:lnTo>
                  <a:lnTo>
                    <a:pt x="1878" y="437"/>
                  </a:lnTo>
                  <a:lnTo>
                    <a:pt x="1883" y="425"/>
                  </a:lnTo>
                  <a:lnTo>
                    <a:pt x="1890" y="411"/>
                  </a:lnTo>
                  <a:lnTo>
                    <a:pt x="1898" y="398"/>
                  </a:lnTo>
                  <a:lnTo>
                    <a:pt x="1904" y="384"/>
                  </a:lnTo>
                  <a:lnTo>
                    <a:pt x="1911" y="369"/>
                  </a:lnTo>
                  <a:lnTo>
                    <a:pt x="1918" y="371"/>
                  </a:lnTo>
                  <a:lnTo>
                    <a:pt x="1925" y="374"/>
                  </a:lnTo>
                  <a:lnTo>
                    <a:pt x="1931" y="377"/>
                  </a:lnTo>
                  <a:lnTo>
                    <a:pt x="1937" y="381"/>
                  </a:lnTo>
                  <a:lnTo>
                    <a:pt x="1946" y="388"/>
                  </a:lnTo>
                  <a:lnTo>
                    <a:pt x="1957" y="397"/>
                  </a:lnTo>
                  <a:lnTo>
                    <a:pt x="1967" y="404"/>
                  </a:lnTo>
                  <a:lnTo>
                    <a:pt x="1978" y="411"/>
                  </a:lnTo>
                  <a:lnTo>
                    <a:pt x="1983" y="413"/>
                  </a:lnTo>
                  <a:lnTo>
                    <a:pt x="1989" y="415"/>
                  </a:lnTo>
                  <a:lnTo>
                    <a:pt x="1996" y="416"/>
                  </a:lnTo>
                  <a:lnTo>
                    <a:pt x="2004" y="417"/>
                  </a:lnTo>
                  <a:lnTo>
                    <a:pt x="2008" y="416"/>
                  </a:lnTo>
                  <a:lnTo>
                    <a:pt x="2011" y="415"/>
                  </a:lnTo>
                  <a:lnTo>
                    <a:pt x="2014" y="414"/>
                  </a:lnTo>
                  <a:lnTo>
                    <a:pt x="2018" y="412"/>
                  </a:lnTo>
                  <a:lnTo>
                    <a:pt x="2024" y="408"/>
                  </a:lnTo>
                  <a:lnTo>
                    <a:pt x="2028" y="401"/>
                  </a:lnTo>
                  <a:lnTo>
                    <a:pt x="2034" y="396"/>
                  </a:lnTo>
                  <a:lnTo>
                    <a:pt x="2039" y="390"/>
                  </a:lnTo>
                  <a:lnTo>
                    <a:pt x="2042" y="389"/>
                  </a:lnTo>
                  <a:lnTo>
                    <a:pt x="2046" y="387"/>
                  </a:lnTo>
                  <a:lnTo>
                    <a:pt x="2050" y="386"/>
                  </a:lnTo>
                  <a:lnTo>
                    <a:pt x="2054" y="386"/>
                  </a:lnTo>
                  <a:lnTo>
                    <a:pt x="2065" y="387"/>
                  </a:lnTo>
                  <a:lnTo>
                    <a:pt x="2074" y="390"/>
                  </a:lnTo>
                  <a:lnTo>
                    <a:pt x="2082" y="395"/>
                  </a:lnTo>
                  <a:lnTo>
                    <a:pt x="2090" y="400"/>
                  </a:lnTo>
                  <a:lnTo>
                    <a:pt x="2104" y="415"/>
                  </a:lnTo>
                  <a:lnTo>
                    <a:pt x="2118" y="431"/>
                  </a:lnTo>
                  <a:lnTo>
                    <a:pt x="2132" y="444"/>
                  </a:lnTo>
                  <a:lnTo>
                    <a:pt x="2145" y="455"/>
                  </a:lnTo>
                  <a:lnTo>
                    <a:pt x="2159" y="465"/>
                  </a:lnTo>
                  <a:lnTo>
                    <a:pt x="2172" y="473"/>
                  </a:lnTo>
                  <a:lnTo>
                    <a:pt x="2198" y="491"/>
                  </a:lnTo>
                  <a:lnTo>
                    <a:pt x="2228" y="512"/>
                  </a:lnTo>
                  <a:lnTo>
                    <a:pt x="2245" y="526"/>
                  </a:lnTo>
                  <a:lnTo>
                    <a:pt x="2262" y="537"/>
                  </a:lnTo>
                  <a:lnTo>
                    <a:pt x="2270" y="543"/>
                  </a:lnTo>
                  <a:lnTo>
                    <a:pt x="2279" y="546"/>
                  </a:lnTo>
                  <a:lnTo>
                    <a:pt x="2290" y="548"/>
                  </a:lnTo>
                  <a:lnTo>
                    <a:pt x="2301" y="549"/>
                  </a:lnTo>
                  <a:lnTo>
                    <a:pt x="2306" y="548"/>
                  </a:lnTo>
                  <a:lnTo>
                    <a:pt x="2309" y="546"/>
                  </a:lnTo>
                  <a:lnTo>
                    <a:pt x="2312" y="541"/>
                  </a:lnTo>
                  <a:lnTo>
                    <a:pt x="2315" y="537"/>
                  </a:lnTo>
                  <a:lnTo>
                    <a:pt x="2319" y="527"/>
                  </a:lnTo>
                  <a:lnTo>
                    <a:pt x="2323" y="518"/>
                  </a:lnTo>
                  <a:lnTo>
                    <a:pt x="2329" y="509"/>
                  </a:lnTo>
                  <a:lnTo>
                    <a:pt x="2334" y="500"/>
                  </a:lnTo>
                  <a:lnTo>
                    <a:pt x="2341" y="493"/>
                  </a:lnTo>
                  <a:lnTo>
                    <a:pt x="2347" y="486"/>
                  </a:lnTo>
                  <a:lnTo>
                    <a:pt x="2355" y="481"/>
                  </a:lnTo>
                  <a:lnTo>
                    <a:pt x="2362" y="477"/>
                  </a:lnTo>
                  <a:lnTo>
                    <a:pt x="2372" y="473"/>
                  </a:lnTo>
                  <a:lnTo>
                    <a:pt x="2382" y="472"/>
                  </a:lnTo>
                  <a:lnTo>
                    <a:pt x="2389" y="473"/>
                  </a:lnTo>
                  <a:lnTo>
                    <a:pt x="2397" y="476"/>
                  </a:lnTo>
                  <a:lnTo>
                    <a:pt x="2403" y="478"/>
                  </a:lnTo>
                  <a:lnTo>
                    <a:pt x="2409" y="481"/>
                  </a:lnTo>
                  <a:lnTo>
                    <a:pt x="2419" y="490"/>
                  </a:lnTo>
                  <a:lnTo>
                    <a:pt x="2430" y="499"/>
                  </a:lnTo>
                  <a:lnTo>
                    <a:pt x="2440" y="509"/>
                  </a:lnTo>
                  <a:lnTo>
                    <a:pt x="2451" y="518"/>
                  </a:lnTo>
                  <a:lnTo>
                    <a:pt x="2457" y="521"/>
                  </a:lnTo>
                  <a:lnTo>
                    <a:pt x="2464" y="524"/>
                  </a:lnTo>
                  <a:lnTo>
                    <a:pt x="2470" y="525"/>
                  </a:lnTo>
                  <a:lnTo>
                    <a:pt x="2478" y="526"/>
                  </a:lnTo>
                  <a:lnTo>
                    <a:pt x="2492" y="526"/>
                  </a:lnTo>
                  <a:lnTo>
                    <a:pt x="2504" y="526"/>
                  </a:lnTo>
                  <a:lnTo>
                    <a:pt x="2515" y="526"/>
                  </a:lnTo>
                  <a:lnTo>
                    <a:pt x="2530" y="526"/>
                  </a:lnTo>
                  <a:lnTo>
                    <a:pt x="2546" y="525"/>
                  </a:lnTo>
                  <a:lnTo>
                    <a:pt x="2561" y="523"/>
                  </a:lnTo>
                  <a:lnTo>
                    <a:pt x="2575" y="520"/>
                  </a:lnTo>
                  <a:lnTo>
                    <a:pt x="2589" y="517"/>
                  </a:lnTo>
                  <a:lnTo>
                    <a:pt x="2616" y="506"/>
                  </a:lnTo>
                  <a:lnTo>
                    <a:pt x="2645" y="495"/>
                  </a:lnTo>
                  <a:lnTo>
                    <a:pt x="2680" y="485"/>
                  </a:lnTo>
                  <a:lnTo>
                    <a:pt x="2710" y="479"/>
                  </a:lnTo>
                  <a:lnTo>
                    <a:pt x="2725" y="474"/>
                  </a:lnTo>
                  <a:lnTo>
                    <a:pt x="2739" y="468"/>
                  </a:lnTo>
                  <a:lnTo>
                    <a:pt x="2747" y="465"/>
                  </a:lnTo>
                  <a:lnTo>
                    <a:pt x="2754" y="460"/>
                  </a:lnTo>
                  <a:lnTo>
                    <a:pt x="2762" y="456"/>
                  </a:lnTo>
                  <a:lnTo>
                    <a:pt x="2768" y="451"/>
                  </a:lnTo>
                  <a:lnTo>
                    <a:pt x="2773" y="446"/>
                  </a:lnTo>
                  <a:lnTo>
                    <a:pt x="2777" y="442"/>
                  </a:lnTo>
                  <a:lnTo>
                    <a:pt x="2779" y="438"/>
                  </a:lnTo>
                  <a:lnTo>
                    <a:pt x="2781" y="433"/>
                  </a:lnTo>
                  <a:lnTo>
                    <a:pt x="2784" y="424"/>
                  </a:lnTo>
                  <a:lnTo>
                    <a:pt x="2788" y="414"/>
                  </a:lnTo>
                  <a:lnTo>
                    <a:pt x="2790" y="404"/>
                  </a:lnTo>
                  <a:lnTo>
                    <a:pt x="2793" y="395"/>
                  </a:lnTo>
                  <a:lnTo>
                    <a:pt x="2795" y="390"/>
                  </a:lnTo>
                  <a:lnTo>
                    <a:pt x="2797" y="386"/>
                  </a:lnTo>
                  <a:lnTo>
                    <a:pt x="2801" y="382"/>
                  </a:lnTo>
                  <a:lnTo>
                    <a:pt x="2805" y="377"/>
                  </a:lnTo>
                  <a:lnTo>
                    <a:pt x="2810" y="373"/>
                  </a:lnTo>
                  <a:lnTo>
                    <a:pt x="2816" y="370"/>
                  </a:lnTo>
                  <a:lnTo>
                    <a:pt x="2821" y="368"/>
                  </a:lnTo>
                  <a:lnTo>
                    <a:pt x="2827" y="365"/>
                  </a:lnTo>
                  <a:lnTo>
                    <a:pt x="2837" y="363"/>
                  </a:lnTo>
                  <a:lnTo>
                    <a:pt x="2848" y="362"/>
                  </a:lnTo>
                  <a:lnTo>
                    <a:pt x="2872" y="361"/>
                  </a:lnTo>
                  <a:lnTo>
                    <a:pt x="2898" y="358"/>
                  </a:lnTo>
                  <a:lnTo>
                    <a:pt x="3026" y="352"/>
                  </a:lnTo>
                  <a:lnTo>
                    <a:pt x="3026" y="352"/>
                  </a:lnTo>
                  <a:lnTo>
                    <a:pt x="3026" y="358"/>
                  </a:lnTo>
                  <a:lnTo>
                    <a:pt x="3025" y="363"/>
                  </a:lnTo>
                  <a:lnTo>
                    <a:pt x="3023" y="369"/>
                  </a:lnTo>
                  <a:lnTo>
                    <a:pt x="3022" y="374"/>
                  </a:lnTo>
                  <a:lnTo>
                    <a:pt x="3017" y="384"/>
                  </a:lnTo>
                  <a:lnTo>
                    <a:pt x="3011" y="392"/>
                  </a:lnTo>
                  <a:lnTo>
                    <a:pt x="3006" y="402"/>
                  </a:lnTo>
                  <a:lnTo>
                    <a:pt x="3000" y="411"/>
                  </a:lnTo>
                  <a:lnTo>
                    <a:pt x="2998" y="416"/>
                  </a:lnTo>
                  <a:lnTo>
                    <a:pt x="2997" y="422"/>
                  </a:lnTo>
                  <a:lnTo>
                    <a:pt x="2996" y="427"/>
                  </a:lnTo>
                  <a:lnTo>
                    <a:pt x="2996" y="432"/>
                  </a:lnTo>
                  <a:lnTo>
                    <a:pt x="2996" y="452"/>
                  </a:lnTo>
                  <a:lnTo>
                    <a:pt x="2996" y="469"/>
                  </a:lnTo>
                  <a:lnTo>
                    <a:pt x="2996" y="485"/>
                  </a:lnTo>
                  <a:lnTo>
                    <a:pt x="2996" y="505"/>
                  </a:lnTo>
                  <a:lnTo>
                    <a:pt x="2995" y="516"/>
                  </a:lnTo>
                  <a:lnTo>
                    <a:pt x="2994" y="525"/>
                  </a:lnTo>
                  <a:lnTo>
                    <a:pt x="2991" y="535"/>
                  </a:lnTo>
                  <a:lnTo>
                    <a:pt x="2987" y="544"/>
                  </a:lnTo>
                  <a:lnTo>
                    <a:pt x="2979" y="561"/>
                  </a:lnTo>
                  <a:lnTo>
                    <a:pt x="2970" y="576"/>
                  </a:lnTo>
                  <a:lnTo>
                    <a:pt x="2960" y="592"/>
                  </a:lnTo>
                  <a:lnTo>
                    <a:pt x="2952" y="609"/>
                  </a:lnTo>
                  <a:lnTo>
                    <a:pt x="2949" y="618"/>
                  </a:lnTo>
                  <a:lnTo>
                    <a:pt x="2946" y="628"/>
                  </a:lnTo>
                  <a:lnTo>
                    <a:pt x="2944" y="638"/>
                  </a:lnTo>
                  <a:lnTo>
                    <a:pt x="2944" y="648"/>
                  </a:lnTo>
                  <a:lnTo>
                    <a:pt x="2944" y="683"/>
                  </a:lnTo>
                  <a:lnTo>
                    <a:pt x="2944" y="713"/>
                  </a:lnTo>
                  <a:lnTo>
                    <a:pt x="2944" y="743"/>
                  </a:lnTo>
                  <a:lnTo>
                    <a:pt x="2944" y="778"/>
                  </a:lnTo>
                  <a:lnTo>
                    <a:pt x="2944" y="792"/>
                  </a:lnTo>
                  <a:lnTo>
                    <a:pt x="2946" y="806"/>
                  </a:lnTo>
                  <a:lnTo>
                    <a:pt x="2949" y="818"/>
                  </a:lnTo>
                  <a:lnTo>
                    <a:pt x="2952" y="831"/>
                  </a:lnTo>
                  <a:lnTo>
                    <a:pt x="2960" y="854"/>
                  </a:lnTo>
                  <a:lnTo>
                    <a:pt x="2970" y="876"/>
                  </a:lnTo>
                  <a:lnTo>
                    <a:pt x="2979" y="898"/>
                  </a:lnTo>
                  <a:lnTo>
                    <a:pt x="2987" y="922"/>
                  </a:lnTo>
                  <a:lnTo>
                    <a:pt x="2991" y="933"/>
                  </a:lnTo>
                  <a:lnTo>
                    <a:pt x="2994" y="946"/>
                  </a:lnTo>
                  <a:lnTo>
                    <a:pt x="2995" y="960"/>
                  </a:lnTo>
                  <a:lnTo>
                    <a:pt x="2996" y="975"/>
                  </a:lnTo>
                  <a:lnTo>
                    <a:pt x="2995" y="992"/>
                  </a:lnTo>
                  <a:lnTo>
                    <a:pt x="2994" y="1007"/>
                  </a:lnTo>
                  <a:lnTo>
                    <a:pt x="2993" y="1023"/>
                  </a:lnTo>
                  <a:lnTo>
                    <a:pt x="2991" y="1037"/>
                  </a:lnTo>
                  <a:lnTo>
                    <a:pt x="2985" y="1064"/>
                  </a:lnTo>
                  <a:lnTo>
                    <a:pt x="2978" y="1091"/>
                  </a:lnTo>
                  <a:lnTo>
                    <a:pt x="2968" y="1117"/>
                  </a:lnTo>
                  <a:lnTo>
                    <a:pt x="2958" y="1144"/>
                  </a:lnTo>
                  <a:lnTo>
                    <a:pt x="2948" y="1172"/>
                  </a:lnTo>
                  <a:lnTo>
                    <a:pt x="2937" y="1205"/>
                  </a:lnTo>
                  <a:lnTo>
                    <a:pt x="2937" y="1205"/>
                  </a:lnTo>
                  <a:lnTo>
                    <a:pt x="2915" y="1203"/>
                  </a:lnTo>
                  <a:lnTo>
                    <a:pt x="2896" y="1201"/>
                  </a:lnTo>
                  <a:lnTo>
                    <a:pt x="2877" y="1198"/>
                  </a:lnTo>
                  <a:lnTo>
                    <a:pt x="2859" y="1195"/>
                  </a:lnTo>
                  <a:lnTo>
                    <a:pt x="2842" y="1191"/>
                  </a:lnTo>
                  <a:lnTo>
                    <a:pt x="2822" y="1187"/>
                  </a:lnTo>
                  <a:lnTo>
                    <a:pt x="2803" y="1185"/>
                  </a:lnTo>
                  <a:lnTo>
                    <a:pt x="2781" y="1185"/>
                  </a:lnTo>
                  <a:lnTo>
                    <a:pt x="2771" y="1185"/>
                  </a:lnTo>
                  <a:lnTo>
                    <a:pt x="2761" y="1186"/>
                  </a:lnTo>
                  <a:lnTo>
                    <a:pt x="2752" y="1188"/>
                  </a:lnTo>
                  <a:lnTo>
                    <a:pt x="2743" y="1192"/>
                  </a:lnTo>
                  <a:lnTo>
                    <a:pt x="2735" y="1195"/>
                  </a:lnTo>
                  <a:lnTo>
                    <a:pt x="2727" y="1199"/>
                  </a:lnTo>
                  <a:lnTo>
                    <a:pt x="2720" y="1203"/>
                  </a:lnTo>
                  <a:lnTo>
                    <a:pt x="2712" y="1209"/>
                  </a:lnTo>
                  <a:lnTo>
                    <a:pt x="2706" y="1215"/>
                  </a:lnTo>
                  <a:lnTo>
                    <a:pt x="2699" y="1222"/>
                  </a:lnTo>
                  <a:lnTo>
                    <a:pt x="2693" y="1229"/>
                  </a:lnTo>
                  <a:lnTo>
                    <a:pt x="2687" y="1237"/>
                  </a:lnTo>
                  <a:lnTo>
                    <a:pt x="2675" y="1253"/>
                  </a:lnTo>
                  <a:lnTo>
                    <a:pt x="2665" y="1272"/>
                  </a:lnTo>
                  <a:lnTo>
                    <a:pt x="2645" y="1304"/>
                  </a:lnTo>
                  <a:lnTo>
                    <a:pt x="2626" y="1333"/>
                  </a:lnTo>
                  <a:lnTo>
                    <a:pt x="2617" y="1347"/>
                  </a:lnTo>
                  <a:lnTo>
                    <a:pt x="2608" y="1362"/>
                  </a:lnTo>
                  <a:lnTo>
                    <a:pt x="2601" y="1378"/>
                  </a:lnTo>
                  <a:lnTo>
                    <a:pt x="2595" y="1398"/>
                  </a:lnTo>
                  <a:lnTo>
                    <a:pt x="2587" y="1409"/>
                  </a:lnTo>
                  <a:lnTo>
                    <a:pt x="2578" y="1421"/>
                  </a:lnTo>
                  <a:lnTo>
                    <a:pt x="2572" y="1443"/>
                  </a:lnTo>
                  <a:lnTo>
                    <a:pt x="2566" y="1464"/>
                  </a:lnTo>
                  <a:lnTo>
                    <a:pt x="2562" y="1484"/>
                  </a:lnTo>
                  <a:lnTo>
                    <a:pt x="2559" y="1503"/>
                  </a:lnTo>
                  <a:lnTo>
                    <a:pt x="2554" y="1522"/>
                  </a:lnTo>
                  <a:lnTo>
                    <a:pt x="2549" y="1542"/>
                  </a:lnTo>
                  <a:lnTo>
                    <a:pt x="2542" y="1561"/>
                  </a:lnTo>
                  <a:lnTo>
                    <a:pt x="2533" y="1583"/>
                  </a:lnTo>
                  <a:lnTo>
                    <a:pt x="2526" y="1596"/>
                  </a:lnTo>
                  <a:lnTo>
                    <a:pt x="2519" y="1605"/>
                  </a:lnTo>
                  <a:lnTo>
                    <a:pt x="2510" y="1616"/>
                  </a:lnTo>
                  <a:lnTo>
                    <a:pt x="2503" y="1628"/>
                  </a:lnTo>
                  <a:lnTo>
                    <a:pt x="2496" y="1640"/>
                  </a:lnTo>
                  <a:lnTo>
                    <a:pt x="2491" y="1651"/>
                  </a:lnTo>
                  <a:lnTo>
                    <a:pt x="2487" y="1656"/>
                  </a:lnTo>
                  <a:lnTo>
                    <a:pt x="2484" y="1660"/>
                  </a:lnTo>
                  <a:lnTo>
                    <a:pt x="2479" y="1664"/>
                  </a:lnTo>
                  <a:lnTo>
                    <a:pt x="2473" y="1666"/>
                  </a:lnTo>
                  <a:lnTo>
                    <a:pt x="2473" y="1666"/>
                  </a:lnTo>
                  <a:lnTo>
                    <a:pt x="2468" y="1660"/>
                  </a:lnTo>
                  <a:lnTo>
                    <a:pt x="2464" y="1655"/>
                  </a:lnTo>
                  <a:lnTo>
                    <a:pt x="2459" y="1650"/>
                  </a:lnTo>
                  <a:lnTo>
                    <a:pt x="2457" y="1643"/>
                  </a:lnTo>
                  <a:lnTo>
                    <a:pt x="2453" y="1632"/>
                  </a:lnTo>
                  <a:lnTo>
                    <a:pt x="2450" y="1620"/>
                  </a:lnTo>
                  <a:lnTo>
                    <a:pt x="2449" y="1594"/>
                  </a:lnTo>
                  <a:lnTo>
                    <a:pt x="2450" y="1565"/>
                  </a:lnTo>
                  <a:lnTo>
                    <a:pt x="2450" y="1558"/>
                  </a:lnTo>
                  <a:lnTo>
                    <a:pt x="2451" y="1550"/>
                  </a:lnTo>
                  <a:lnTo>
                    <a:pt x="2453" y="1544"/>
                  </a:lnTo>
                  <a:lnTo>
                    <a:pt x="2456" y="1537"/>
                  </a:lnTo>
                  <a:lnTo>
                    <a:pt x="2461" y="1524"/>
                  </a:lnTo>
                  <a:lnTo>
                    <a:pt x="2466" y="1510"/>
                  </a:lnTo>
                  <a:lnTo>
                    <a:pt x="2472" y="1478"/>
                  </a:lnTo>
                  <a:lnTo>
                    <a:pt x="2477" y="1450"/>
                  </a:lnTo>
                  <a:lnTo>
                    <a:pt x="2479" y="1422"/>
                  </a:lnTo>
                  <a:lnTo>
                    <a:pt x="2480" y="1389"/>
                  </a:lnTo>
                  <a:lnTo>
                    <a:pt x="2480" y="1374"/>
                  </a:lnTo>
                  <a:lnTo>
                    <a:pt x="2479" y="1361"/>
                  </a:lnTo>
                  <a:lnTo>
                    <a:pt x="2478" y="1355"/>
                  </a:lnTo>
                  <a:lnTo>
                    <a:pt x="2474" y="1349"/>
                  </a:lnTo>
                  <a:lnTo>
                    <a:pt x="2471" y="1344"/>
                  </a:lnTo>
                  <a:lnTo>
                    <a:pt x="2466" y="1338"/>
                  </a:lnTo>
                  <a:lnTo>
                    <a:pt x="2459" y="1334"/>
                  </a:lnTo>
                  <a:lnTo>
                    <a:pt x="2452" y="1331"/>
                  </a:lnTo>
                  <a:lnTo>
                    <a:pt x="2445" y="1329"/>
                  </a:lnTo>
                  <a:lnTo>
                    <a:pt x="2438" y="1327"/>
                  </a:lnTo>
                  <a:lnTo>
                    <a:pt x="2423" y="1323"/>
                  </a:lnTo>
                  <a:lnTo>
                    <a:pt x="2407" y="1319"/>
                  </a:lnTo>
                  <a:lnTo>
                    <a:pt x="2388" y="1311"/>
                  </a:lnTo>
                  <a:lnTo>
                    <a:pt x="2370" y="1305"/>
                  </a:lnTo>
                  <a:lnTo>
                    <a:pt x="2352" y="1300"/>
                  </a:lnTo>
                  <a:lnTo>
                    <a:pt x="2335" y="1294"/>
                  </a:lnTo>
                  <a:lnTo>
                    <a:pt x="2318" y="1291"/>
                  </a:lnTo>
                  <a:lnTo>
                    <a:pt x="2301" y="1288"/>
                  </a:lnTo>
                  <a:lnTo>
                    <a:pt x="2281" y="1286"/>
                  </a:lnTo>
                  <a:lnTo>
                    <a:pt x="2261" y="1286"/>
                  </a:lnTo>
                  <a:lnTo>
                    <a:pt x="2217" y="1286"/>
                  </a:lnTo>
                  <a:lnTo>
                    <a:pt x="2180" y="1286"/>
                  </a:lnTo>
                  <a:lnTo>
                    <a:pt x="2143" y="1286"/>
                  </a:lnTo>
                  <a:lnTo>
                    <a:pt x="2100" y="1286"/>
                  </a:lnTo>
                  <a:lnTo>
                    <a:pt x="2072" y="1284"/>
                  </a:lnTo>
                  <a:lnTo>
                    <a:pt x="2046" y="1283"/>
                  </a:lnTo>
                  <a:lnTo>
                    <a:pt x="2022" y="1280"/>
                  </a:lnTo>
                  <a:lnTo>
                    <a:pt x="1999" y="1277"/>
                  </a:lnTo>
                  <a:lnTo>
                    <a:pt x="1975" y="1274"/>
                  </a:lnTo>
                  <a:lnTo>
                    <a:pt x="1952" y="1272"/>
                  </a:lnTo>
                  <a:lnTo>
                    <a:pt x="1927" y="1269"/>
                  </a:lnTo>
                  <a:lnTo>
                    <a:pt x="1899" y="1268"/>
                  </a:lnTo>
                  <a:lnTo>
                    <a:pt x="1880" y="1267"/>
                  </a:lnTo>
                  <a:lnTo>
                    <a:pt x="1864" y="1264"/>
                  </a:lnTo>
                  <a:lnTo>
                    <a:pt x="1857" y="1264"/>
                  </a:lnTo>
                  <a:lnTo>
                    <a:pt x="1849" y="1264"/>
                  </a:lnTo>
                  <a:lnTo>
                    <a:pt x="1840" y="1265"/>
                  </a:lnTo>
                  <a:lnTo>
                    <a:pt x="1833" y="1268"/>
                  </a:lnTo>
                  <a:lnTo>
                    <a:pt x="1826" y="1274"/>
                  </a:lnTo>
                  <a:lnTo>
                    <a:pt x="1821" y="1279"/>
                  </a:lnTo>
                  <a:lnTo>
                    <a:pt x="1818" y="1284"/>
                  </a:lnTo>
                  <a:lnTo>
                    <a:pt x="1816" y="1292"/>
                  </a:lnTo>
                  <a:lnTo>
                    <a:pt x="1813" y="1308"/>
                  </a:lnTo>
                  <a:lnTo>
                    <a:pt x="1810" y="1324"/>
                  </a:lnTo>
                  <a:lnTo>
                    <a:pt x="1803" y="1354"/>
                  </a:lnTo>
                  <a:lnTo>
                    <a:pt x="1797" y="1378"/>
                  </a:lnTo>
                  <a:lnTo>
                    <a:pt x="1796" y="1391"/>
                  </a:lnTo>
                  <a:lnTo>
                    <a:pt x="1794" y="1404"/>
                  </a:lnTo>
                  <a:lnTo>
                    <a:pt x="1794" y="1418"/>
                  </a:lnTo>
                  <a:lnTo>
                    <a:pt x="1793" y="1434"/>
                  </a:lnTo>
                  <a:lnTo>
                    <a:pt x="1793" y="1450"/>
                  </a:lnTo>
                  <a:lnTo>
                    <a:pt x="1793" y="1464"/>
                  </a:lnTo>
                  <a:lnTo>
                    <a:pt x="1793" y="1478"/>
                  </a:lnTo>
                  <a:lnTo>
                    <a:pt x="1793" y="1494"/>
                  </a:lnTo>
                  <a:lnTo>
                    <a:pt x="1789" y="1506"/>
                  </a:lnTo>
                  <a:lnTo>
                    <a:pt x="1785" y="1518"/>
                  </a:lnTo>
                  <a:lnTo>
                    <a:pt x="1785" y="1551"/>
                  </a:lnTo>
                  <a:lnTo>
                    <a:pt x="1785" y="1581"/>
                  </a:lnTo>
                  <a:lnTo>
                    <a:pt x="1785" y="1612"/>
                  </a:lnTo>
                  <a:lnTo>
                    <a:pt x="1785" y="1646"/>
                  </a:lnTo>
                  <a:lnTo>
                    <a:pt x="1785" y="1653"/>
                  </a:lnTo>
                  <a:lnTo>
                    <a:pt x="1786" y="1659"/>
                  </a:lnTo>
                  <a:lnTo>
                    <a:pt x="1790" y="1665"/>
                  </a:lnTo>
                  <a:lnTo>
                    <a:pt x="1792" y="1669"/>
                  </a:lnTo>
                  <a:lnTo>
                    <a:pt x="1796" y="1673"/>
                  </a:lnTo>
                  <a:lnTo>
                    <a:pt x="1800" y="1678"/>
                  </a:lnTo>
                  <a:lnTo>
                    <a:pt x="1806" y="1681"/>
                  </a:lnTo>
                  <a:lnTo>
                    <a:pt x="1811" y="1684"/>
                  </a:lnTo>
                  <a:lnTo>
                    <a:pt x="1824" y="1689"/>
                  </a:lnTo>
                  <a:lnTo>
                    <a:pt x="1838" y="1693"/>
                  </a:lnTo>
                  <a:lnTo>
                    <a:pt x="1852" y="1696"/>
                  </a:lnTo>
                  <a:lnTo>
                    <a:pt x="1866" y="1697"/>
                  </a:lnTo>
                  <a:lnTo>
                    <a:pt x="1899" y="1702"/>
                  </a:lnTo>
                  <a:lnTo>
                    <a:pt x="1928" y="1708"/>
                  </a:lnTo>
                  <a:lnTo>
                    <a:pt x="1957" y="1714"/>
                  </a:lnTo>
                  <a:lnTo>
                    <a:pt x="1989" y="1720"/>
                  </a:lnTo>
                  <a:lnTo>
                    <a:pt x="2022" y="1725"/>
                  </a:lnTo>
                  <a:lnTo>
                    <a:pt x="2051" y="1732"/>
                  </a:lnTo>
                  <a:lnTo>
                    <a:pt x="2079" y="1738"/>
                  </a:lnTo>
                  <a:lnTo>
                    <a:pt x="2105" y="1745"/>
                  </a:lnTo>
                  <a:lnTo>
                    <a:pt x="2132" y="1750"/>
                  </a:lnTo>
                  <a:lnTo>
                    <a:pt x="2160" y="1755"/>
                  </a:lnTo>
                  <a:lnTo>
                    <a:pt x="2174" y="1756"/>
                  </a:lnTo>
                  <a:lnTo>
                    <a:pt x="2189" y="1758"/>
                  </a:lnTo>
                  <a:lnTo>
                    <a:pt x="2206" y="1759"/>
                  </a:lnTo>
                  <a:lnTo>
                    <a:pt x="2222" y="1760"/>
                  </a:lnTo>
                  <a:lnTo>
                    <a:pt x="2250" y="1758"/>
                  </a:lnTo>
                  <a:lnTo>
                    <a:pt x="2274" y="1754"/>
                  </a:lnTo>
                  <a:lnTo>
                    <a:pt x="2298" y="1751"/>
                  </a:lnTo>
                  <a:lnTo>
                    <a:pt x="2325" y="1748"/>
                  </a:lnTo>
                  <a:lnTo>
                    <a:pt x="2339" y="1747"/>
                  </a:lnTo>
                  <a:lnTo>
                    <a:pt x="2352" y="1746"/>
                  </a:lnTo>
                  <a:lnTo>
                    <a:pt x="2364" y="1743"/>
                  </a:lnTo>
                  <a:lnTo>
                    <a:pt x="2375" y="1741"/>
                  </a:lnTo>
                  <a:lnTo>
                    <a:pt x="2386" y="1738"/>
                  </a:lnTo>
                  <a:lnTo>
                    <a:pt x="2397" y="1733"/>
                  </a:lnTo>
                  <a:lnTo>
                    <a:pt x="2406" y="1726"/>
                  </a:lnTo>
                  <a:lnTo>
                    <a:pt x="2415" y="1718"/>
                  </a:lnTo>
                  <a:lnTo>
                    <a:pt x="2430" y="1704"/>
                  </a:lnTo>
                  <a:lnTo>
                    <a:pt x="2445" y="1693"/>
                  </a:lnTo>
                  <a:lnTo>
                    <a:pt x="2452" y="1686"/>
                  </a:lnTo>
                  <a:lnTo>
                    <a:pt x="2459" y="1681"/>
                  </a:lnTo>
                  <a:lnTo>
                    <a:pt x="2466" y="1673"/>
                  </a:lnTo>
                  <a:lnTo>
                    <a:pt x="2473" y="1666"/>
                  </a:lnTo>
                  <a:lnTo>
                    <a:pt x="2473" y="1666"/>
                  </a:lnTo>
                  <a:close/>
                </a:path>
              </a:pathLst>
            </a:custGeom>
            <a:solidFill>
              <a:srgbClr val="FEFEFE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46">
              <a:extLst>
                <a:ext uri="{FF2B5EF4-FFF2-40B4-BE49-F238E27FC236}">
                  <a16:creationId xmlns:a16="http://schemas.microsoft.com/office/drawing/2014/main" id="{265DE2A7-5CAF-4FC2-B1CB-A8E3F8215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7600" y="3114676"/>
              <a:ext cx="1201738" cy="1193800"/>
            </a:xfrm>
            <a:custGeom>
              <a:avLst/>
              <a:gdLst>
                <a:gd name="T0" fmla="*/ 2400 w 3026"/>
                <a:gd name="T1" fmla="*/ 1836 h 3006"/>
                <a:gd name="T2" fmla="*/ 2434 w 3026"/>
                <a:gd name="T3" fmla="*/ 1995 h 3006"/>
                <a:gd name="T4" fmla="*/ 2339 w 3026"/>
                <a:gd name="T5" fmla="*/ 2184 h 3006"/>
                <a:gd name="T6" fmla="*/ 2389 w 3026"/>
                <a:gd name="T7" fmla="*/ 2316 h 3006"/>
                <a:gd name="T8" fmla="*/ 2320 w 3026"/>
                <a:gd name="T9" fmla="*/ 2526 h 3006"/>
                <a:gd name="T10" fmla="*/ 2119 w 3026"/>
                <a:gd name="T11" fmla="*/ 2666 h 3006"/>
                <a:gd name="T12" fmla="*/ 1931 w 3026"/>
                <a:gd name="T13" fmla="*/ 2642 h 3006"/>
                <a:gd name="T14" fmla="*/ 1705 w 3026"/>
                <a:gd name="T15" fmla="*/ 2631 h 3006"/>
                <a:gd name="T16" fmla="*/ 1608 w 3026"/>
                <a:gd name="T17" fmla="*/ 2630 h 3006"/>
                <a:gd name="T18" fmla="*/ 1484 w 3026"/>
                <a:gd name="T19" fmla="*/ 2683 h 3006"/>
                <a:gd name="T20" fmla="*/ 1415 w 3026"/>
                <a:gd name="T21" fmla="*/ 2679 h 3006"/>
                <a:gd name="T22" fmla="*/ 1093 w 3026"/>
                <a:gd name="T23" fmla="*/ 2764 h 3006"/>
                <a:gd name="T24" fmla="*/ 1009 w 3026"/>
                <a:gd name="T25" fmla="*/ 2886 h 3006"/>
                <a:gd name="T26" fmla="*/ 918 w 3026"/>
                <a:gd name="T27" fmla="*/ 2948 h 3006"/>
                <a:gd name="T28" fmla="*/ 746 w 3026"/>
                <a:gd name="T29" fmla="*/ 2931 h 3006"/>
                <a:gd name="T30" fmla="*/ 585 w 3026"/>
                <a:gd name="T31" fmla="*/ 2802 h 3006"/>
                <a:gd name="T32" fmla="*/ 225 w 3026"/>
                <a:gd name="T33" fmla="*/ 2544 h 3006"/>
                <a:gd name="T34" fmla="*/ 25 w 3026"/>
                <a:gd name="T35" fmla="*/ 2423 h 3006"/>
                <a:gd name="T36" fmla="*/ 53 w 3026"/>
                <a:gd name="T37" fmla="*/ 2206 h 3006"/>
                <a:gd name="T38" fmla="*/ 0 w 3026"/>
                <a:gd name="T39" fmla="*/ 2016 h 3006"/>
                <a:gd name="T40" fmla="*/ 207 w 3026"/>
                <a:gd name="T41" fmla="*/ 1815 h 3006"/>
                <a:gd name="T42" fmla="*/ 283 w 3026"/>
                <a:gd name="T43" fmla="*/ 1605 h 3006"/>
                <a:gd name="T44" fmla="*/ 383 w 3026"/>
                <a:gd name="T45" fmla="*/ 1524 h 3006"/>
                <a:gd name="T46" fmla="*/ 568 w 3026"/>
                <a:gd name="T47" fmla="*/ 1481 h 3006"/>
                <a:gd name="T48" fmla="*/ 663 w 3026"/>
                <a:gd name="T49" fmla="*/ 1378 h 3006"/>
                <a:gd name="T50" fmla="*/ 700 w 3026"/>
                <a:gd name="T51" fmla="*/ 1211 h 3006"/>
                <a:gd name="T52" fmla="*/ 829 w 3026"/>
                <a:gd name="T53" fmla="*/ 1144 h 3006"/>
                <a:gd name="T54" fmla="*/ 920 w 3026"/>
                <a:gd name="T55" fmla="*/ 1056 h 3006"/>
                <a:gd name="T56" fmla="*/ 989 w 3026"/>
                <a:gd name="T57" fmla="*/ 918 h 3006"/>
                <a:gd name="T58" fmla="*/ 1041 w 3026"/>
                <a:gd name="T59" fmla="*/ 719 h 3006"/>
                <a:gd name="T60" fmla="*/ 1090 w 3026"/>
                <a:gd name="T61" fmla="*/ 543 h 3006"/>
                <a:gd name="T62" fmla="*/ 1190 w 3026"/>
                <a:gd name="T63" fmla="*/ 282 h 3006"/>
                <a:gd name="T64" fmla="*/ 1306 w 3026"/>
                <a:gd name="T65" fmla="*/ 23 h 3006"/>
                <a:gd name="T66" fmla="*/ 1358 w 3026"/>
                <a:gd name="T67" fmla="*/ 179 h 3006"/>
                <a:gd name="T68" fmla="*/ 1434 w 3026"/>
                <a:gd name="T69" fmla="*/ 296 h 3006"/>
                <a:gd name="T70" fmla="*/ 1645 w 3026"/>
                <a:gd name="T71" fmla="*/ 297 h 3006"/>
                <a:gd name="T72" fmla="*/ 1754 w 3026"/>
                <a:gd name="T73" fmla="*/ 173 h 3006"/>
                <a:gd name="T74" fmla="*/ 1844 w 3026"/>
                <a:gd name="T75" fmla="*/ 279 h 3006"/>
                <a:gd name="T76" fmla="*/ 1840 w 3026"/>
                <a:gd name="T77" fmla="*/ 454 h 3006"/>
                <a:gd name="T78" fmla="*/ 1918 w 3026"/>
                <a:gd name="T79" fmla="*/ 371 h 3006"/>
                <a:gd name="T80" fmla="*/ 2018 w 3026"/>
                <a:gd name="T81" fmla="*/ 412 h 3006"/>
                <a:gd name="T82" fmla="*/ 2132 w 3026"/>
                <a:gd name="T83" fmla="*/ 444 h 3006"/>
                <a:gd name="T84" fmla="*/ 2315 w 3026"/>
                <a:gd name="T85" fmla="*/ 537 h 3006"/>
                <a:gd name="T86" fmla="*/ 2419 w 3026"/>
                <a:gd name="T87" fmla="*/ 490 h 3006"/>
                <a:gd name="T88" fmla="*/ 2589 w 3026"/>
                <a:gd name="T89" fmla="*/ 517 h 3006"/>
                <a:gd name="T90" fmla="*/ 2784 w 3026"/>
                <a:gd name="T91" fmla="*/ 424 h 3006"/>
                <a:gd name="T92" fmla="*/ 2898 w 3026"/>
                <a:gd name="T93" fmla="*/ 358 h 3006"/>
                <a:gd name="T94" fmla="*/ 2996 w 3026"/>
                <a:gd name="T95" fmla="*/ 452 h 3006"/>
                <a:gd name="T96" fmla="*/ 2944 w 3026"/>
                <a:gd name="T97" fmla="*/ 648 h 3006"/>
                <a:gd name="T98" fmla="*/ 2995 w 3026"/>
                <a:gd name="T99" fmla="*/ 960 h 3006"/>
                <a:gd name="T100" fmla="*/ 2877 w 3026"/>
                <a:gd name="T101" fmla="*/ 1198 h 3006"/>
                <a:gd name="T102" fmla="*/ 2699 w 3026"/>
                <a:gd name="T103" fmla="*/ 1222 h 3006"/>
                <a:gd name="T104" fmla="*/ 2562 w 3026"/>
                <a:gd name="T105" fmla="*/ 1484 h 3006"/>
                <a:gd name="T106" fmla="*/ 2473 w 3026"/>
                <a:gd name="T107" fmla="*/ 1666 h 3006"/>
                <a:gd name="T108" fmla="*/ 2466 w 3026"/>
                <a:gd name="T109" fmla="*/ 1510 h 3006"/>
                <a:gd name="T110" fmla="*/ 2423 w 3026"/>
                <a:gd name="T111" fmla="*/ 1323 h 3006"/>
                <a:gd name="T112" fmla="*/ 2046 w 3026"/>
                <a:gd name="T113" fmla="*/ 1283 h 3006"/>
                <a:gd name="T114" fmla="*/ 1818 w 3026"/>
                <a:gd name="T115" fmla="*/ 1284 h 3006"/>
                <a:gd name="T116" fmla="*/ 1785 w 3026"/>
                <a:gd name="T117" fmla="*/ 1518 h 3006"/>
                <a:gd name="T118" fmla="*/ 1852 w 3026"/>
                <a:gd name="T119" fmla="*/ 1696 h 3006"/>
                <a:gd name="T120" fmla="*/ 2222 w 3026"/>
                <a:gd name="T121" fmla="*/ 1760 h 3006"/>
                <a:gd name="T122" fmla="*/ 2452 w 3026"/>
                <a:gd name="T123" fmla="*/ 1686 h 3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26" h="3006">
                  <a:moveTo>
                    <a:pt x="2473" y="1666"/>
                  </a:moveTo>
                  <a:lnTo>
                    <a:pt x="2471" y="1678"/>
                  </a:lnTo>
                  <a:lnTo>
                    <a:pt x="2468" y="1688"/>
                  </a:lnTo>
                  <a:lnTo>
                    <a:pt x="2465" y="1698"/>
                  </a:lnTo>
                  <a:lnTo>
                    <a:pt x="2459" y="1708"/>
                  </a:lnTo>
                  <a:lnTo>
                    <a:pt x="2447" y="1726"/>
                  </a:lnTo>
                  <a:lnTo>
                    <a:pt x="2433" y="1743"/>
                  </a:lnTo>
                  <a:lnTo>
                    <a:pt x="2420" y="1761"/>
                  </a:lnTo>
                  <a:lnTo>
                    <a:pt x="2410" y="1778"/>
                  </a:lnTo>
                  <a:lnTo>
                    <a:pt x="2405" y="1788"/>
                  </a:lnTo>
                  <a:lnTo>
                    <a:pt x="2402" y="1799"/>
                  </a:lnTo>
                  <a:lnTo>
                    <a:pt x="2400" y="1809"/>
                  </a:lnTo>
                  <a:lnTo>
                    <a:pt x="2399" y="1821"/>
                  </a:lnTo>
                  <a:lnTo>
                    <a:pt x="2399" y="1829"/>
                  </a:lnTo>
                  <a:lnTo>
                    <a:pt x="2400" y="1836"/>
                  </a:lnTo>
                  <a:lnTo>
                    <a:pt x="2402" y="1844"/>
                  </a:lnTo>
                  <a:lnTo>
                    <a:pt x="2404" y="1851"/>
                  </a:lnTo>
                  <a:lnTo>
                    <a:pt x="2411" y="1864"/>
                  </a:lnTo>
                  <a:lnTo>
                    <a:pt x="2417" y="1876"/>
                  </a:lnTo>
                  <a:lnTo>
                    <a:pt x="2424" y="1889"/>
                  </a:lnTo>
                  <a:lnTo>
                    <a:pt x="2429" y="1902"/>
                  </a:lnTo>
                  <a:lnTo>
                    <a:pt x="2431" y="1909"/>
                  </a:lnTo>
                  <a:lnTo>
                    <a:pt x="2433" y="1916"/>
                  </a:lnTo>
                  <a:lnTo>
                    <a:pt x="2434" y="1924"/>
                  </a:lnTo>
                  <a:lnTo>
                    <a:pt x="2436" y="1932"/>
                  </a:lnTo>
                  <a:lnTo>
                    <a:pt x="2436" y="1948"/>
                  </a:lnTo>
                  <a:lnTo>
                    <a:pt x="2436" y="1961"/>
                  </a:lnTo>
                  <a:lnTo>
                    <a:pt x="2436" y="1975"/>
                  </a:lnTo>
                  <a:lnTo>
                    <a:pt x="2436" y="1990"/>
                  </a:lnTo>
                  <a:lnTo>
                    <a:pt x="2434" y="1995"/>
                  </a:lnTo>
                  <a:lnTo>
                    <a:pt x="2434" y="1999"/>
                  </a:lnTo>
                  <a:lnTo>
                    <a:pt x="2432" y="2004"/>
                  </a:lnTo>
                  <a:lnTo>
                    <a:pt x="2431" y="2008"/>
                  </a:lnTo>
                  <a:lnTo>
                    <a:pt x="2427" y="2016"/>
                  </a:lnTo>
                  <a:lnTo>
                    <a:pt x="2422" y="2022"/>
                  </a:lnTo>
                  <a:lnTo>
                    <a:pt x="2415" y="2030"/>
                  </a:lnTo>
                  <a:lnTo>
                    <a:pt x="2410" y="2036"/>
                  </a:lnTo>
                  <a:lnTo>
                    <a:pt x="2403" y="2045"/>
                  </a:lnTo>
                  <a:lnTo>
                    <a:pt x="2399" y="2053"/>
                  </a:lnTo>
                  <a:lnTo>
                    <a:pt x="2387" y="2080"/>
                  </a:lnTo>
                  <a:lnTo>
                    <a:pt x="2376" y="2105"/>
                  </a:lnTo>
                  <a:lnTo>
                    <a:pt x="2365" y="2129"/>
                  </a:lnTo>
                  <a:lnTo>
                    <a:pt x="2353" y="2157"/>
                  </a:lnTo>
                  <a:lnTo>
                    <a:pt x="2347" y="2171"/>
                  </a:lnTo>
                  <a:lnTo>
                    <a:pt x="2339" y="2184"/>
                  </a:lnTo>
                  <a:lnTo>
                    <a:pt x="2336" y="2191"/>
                  </a:lnTo>
                  <a:lnTo>
                    <a:pt x="2334" y="2197"/>
                  </a:lnTo>
                  <a:lnTo>
                    <a:pt x="2332" y="2205"/>
                  </a:lnTo>
                  <a:lnTo>
                    <a:pt x="2332" y="2213"/>
                  </a:lnTo>
                  <a:lnTo>
                    <a:pt x="2332" y="2223"/>
                  </a:lnTo>
                  <a:lnTo>
                    <a:pt x="2334" y="2231"/>
                  </a:lnTo>
                  <a:lnTo>
                    <a:pt x="2338" y="2238"/>
                  </a:lnTo>
                  <a:lnTo>
                    <a:pt x="2343" y="2245"/>
                  </a:lnTo>
                  <a:lnTo>
                    <a:pt x="2353" y="2256"/>
                  </a:lnTo>
                  <a:lnTo>
                    <a:pt x="2365" y="2272"/>
                  </a:lnTo>
                  <a:lnTo>
                    <a:pt x="2372" y="2286"/>
                  </a:lnTo>
                  <a:lnTo>
                    <a:pt x="2380" y="2298"/>
                  </a:lnTo>
                  <a:lnTo>
                    <a:pt x="2385" y="2303"/>
                  </a:lnTo>
                  <a:lnTo>
                    <a:pt x="2387" y="2309"/>
                  </a:lnTo>
                  <a:lnTo>
                    <a:pt x="2389" y="2316"/>
                  </a:lnTo>
                  <a:lnTo>
                    <a:pt x="2390" y="2323"/>
                  </a:lnTo>
                  <a:lnTo>
                    <a:pt x="2389" y="2335"/>
                  </a:lnTo>
                  <a:lnTo>
                    <a:pt x="2387" y="2346"/>
                  </a:lnTo>
                  <a:lnTo>
                    <a:pt x="2384" y="2356"/>
                  </a:lnTo>
                  <a:lnTo>
                    <a:pt x="2379" y="2366"/>
                  </a:lnTo>
                  <a:lnTo>
                    <a:pt x="2369" y="2383"/>
                  </a:lnTo>
                  <a:lnTo>
                    <a:pt x="2356" y="2398"/>
                  </a:lnTo>
                  <a:lnTo>
                    <a:pt x="2343" y="2414"/>
                  </a:lnTo>
                  <a:lnTo>
                    <a:pt x="2331" y="2431"/>
                  </a:lnTo>
                  <a:lnTo>
                    <a:pt x="2326" y="2441"/>
                  </a:lnTo>
                  <a:lnTo>
                    <a:pt x="2323" y="2451"/>
                  </a:lnTo>
                  <a:lnTo>
                    <a:pt x="2321" y="2462"/>
                  </a:lnTo>
                  <a:lnTo>
                    <a:pt x="2320" y="2474"/>
                  </a:lnTo>
                  <a:lnTo>
                    <a:pt x="2320" y="2502"/>
                  </a:lnTo>
                  <a:lnTo>
                    <a:pt x="2320" y="2526"/>
                  </a:lnTo>
                  <a:lnTo>
                    <a:pt x="2320" y="2551"/>
                  </a:lnTo>
                  <a:lnTo>
                    <a:pt x="2320" y="2580"/>
                  </a:lnTo>
                  <a:lnTo>
                    <a:pt x="2308" y="2580"/>
                  </a:lnTo>
                  <a:lnTo>
                    <a:pt x="2296" y="2582"/>
                  </a:lnTo>
                  <a:lnTo>
                    <a:pt x="2285" y="2583"/>
                  </a:lnTo>
                  <a:lnTo>
                    <a:pt x="2275" y="2585"/>
                  </a:lnTo>
                  <a:lnTo>
                    <a:pt x="2254" y="2591"/>
                  </a:lnTo>
                  <a:lnTo>
                    <a:pt x="2236" y="2599"/>
                  </a:lnTo>
                  <a:lnTo>
                    <a:pt x="2217" y="2607"/>
                  </a:lnTo>
                  <a:lnTo>
                    <a:pt x="2199" y="2618"/>
                  </a:lnTo>
                  <a:lnTo>
                    <a:pt x="2179" y="2630"/>
                  </a:lnTo>
                  <a:lnTo>
                    <a:pt x="2158" y="2642"/>
                  </a:lnTo>
                  <a:lnTo>
                    <a:pt x="2142" y="2652"/>
                  </a:lnTo>
                  <a:lnTo>
                    <a:pt x="2127" y="2663"/>
                  </a:lnTo>
                  <a:lnTo>
                    <a:pt x="2119" y="2666"/>
                  </a:lnTo>
                  <a:lnTo>
                    <a:pt x="2112" y="2670"/>
                  </a:lnTo>
                  <a:lnTo>
                    <a:pt x="2103" y="2672"/>
                  </a:lnTo>
                  <a:lnTo>
                    <a:pt x="2093" y="2672"/>
                  </a:lnTo>
                  <a:lnTo>
                    <a:pt x="2086" y="2672"/>
                  </a:lnTo>
                  <a:lnTo>
                    <a:pt x="2079" y="2670"/>
                  </a:lnTo>
                  <a:lnTo>
                    <a:pt x="2074" y="2667"/>
                  </a:lnTo>
                  <a:lnTo>
                    <a:pt x="2067" y="2663"/>
                  </a:lnTo>
                  <a:lnTo>
                    <a:pt x="2062" y="2659"/>
                  </a:lnTo>
                  <a:lnTo>
                    <a:pt x="2056" y="2655"/>
                  </a:lnTo>
                  <a:lnTo>
                    <a:pt x="2050" y="2652"/>
                  </a:lnTo>
                  <a:lnTo>
                    <a:pt x="2042" y="2651"/>
                  </a:lnTo>
                  <a:lnTo>
                    <a:pt x="2013" y="2645"/>
                  </a:lnTo>
                  <a:lnTo>
                    <a:pt x="1987" y="2643"/>
                  </a:lnTo>
                  <a:lnTo>
                    <a:pt x="1960" y="2642"/>
                  </a:lnTo>
                  <a:lnTo>
                    <a:pt x="1931" y="2642"/>
                  </a:lnTo>
                  <a:lnTo>
                    <a:pt x="1908" y="2643"/>
                  </a:lnTo>
                  <a:lnTo>
                    <a:pt x="1888" y="2646"/>
                  </a:lnTo>
                  <a:lnTo>
                    <a:pt x="1869" y="2649"/>
                  </a:lnTo>
                  <a:lnTo>
                    <a:pt x="1846" y="2651"/>
                  </a:lnTo>
                  <a:lnTo>
                    <a:pt x="1827" y="2651"/>
                  </a:lnTo>
                  <a:lnTo>
                    <a:pt x="1811" y="2651"/>
                  </a:lnTo>
                  <a:lnTo>
                    <a:pt x="1795" y="2651"/>
                  </a:lnTo>
                  <a:lnTo>
                    <a:pt x="1777" y="2651"/>
                  </a:lnTo>
                  <a:lnTo>
                    <a:pt x="1759" y="2650"/>
                  </a:lnTo>
                  <a:lnTo>
                    <a:pt x="1743" y="2647"/>
                  </a:lnTo>
                  <a:lnTo>
                    <a:pt x="1736" y="2646"/>
                  </a:lnTo>
                  <a:lnTo>
                    <a:pt x="1728" y="2643"/>
                  </a:lnTo>
                  <a:lnTo>
                    <a:pt x="1721" y="2640"/>
                  </a:lnTo>
                  <a:lnTo>
                    <a:pt x="1712" y="2637"/>
                  </a:lnTo>
                  <a:lnTo>
                    <a:pt x="1705" y="2631"/>
                  </a:lnTo>
                  <a:lnTo>
                    <a:pt x="1699" y="2626"/>
                  </a:lnTo>
                  <a:lnTo>
                    <a:pt x="1694" y="2619"/>
                  </a:lnTo>
                  <a:lnTo>
                    <a:pt x="1689" y="2614"/>
                  </a:lnTo>
                  <a:lnTo>
                    <a:pt x="1684" y="2609"/>
                  </a:lnTo>
                  <a:lnTo>
                    <a:pt x="1677" y="2604"/>
                  </a:lnTo>
                  <a:lnTo>
                    <a:pt x="1674" y="2602"/>
                  </a:lnTo>
                  <a:lnTo>
                    <a:pt x="1671" y="2601"/>
                  </a:lnTo>
                  <a:lnTo>
                    <a:pt x="1668" y="2600"/>
                  </a:lnTo>
                  <a:lnTo>
                    <a:pt x="1663" y="2600"/>
                  </a:lnTo>
                  <a:lnTo>
                    <a:pt x="1655" y="2601"/>
                  </a:lnTo>
                  <a:lnTo>
                    <a:pt x="1647" y="2603"/>
                  </a:lnTo>
                  <a:lnTo>
                    <a:pt x="1641" y="2606"/>
                  </a:lnTo>
                  <a:lnTo>
                    <a:pt x="1634" y="2611"/>
                  </a:lnTo>
                  <a:lnTo>
                    <a:pt x="1622" y="2622"/>
                  </a:lnTo>
                  <a:lnTo>
                    <a:pt x="1608" y="2630"/>
                  </a:lnTo>
                  <a:lnTo>
                    <a:pt x="1591" y="2639"/>
                  </a:lnTo>
                  <a:lnTo>
                    <a:pt x="1575" y="2646"/>
                  </a:lnTo>
                  <a:lnTo>
                    <a:pt x="1559" y="2653"/>
                  </a:lnTo>
                  <a:lnTo>
                    <a:pt x="1541" y="2661"/>
                  </a:lnTo>
                  <a:lnTo>
                    <a:pt x="1533" y="2667"/>
                  </a:lnTo>
                  <a:lnTo>
                    <a:pt x="1526" y="2673"/>
                  </a:lnTo>
                  <a:lnTo>
                    <a:pt x="1521" y="2680"/>
                  </a:lnTo>
                  <a:lnTo>
                    <a:pt x="1515" y="2686"/>
                  </a:lnTo>
                  <a:lnTo>
                    <a:pt x="1510" y="2694"/>
                  </a:lnTo>
                  <a:lnTo>
                    <a:pt x="1505" y="2700"/>
                  </a:lnTo>
                  <a:lnTo>
                    <a:pt x="1498" y="2707"/>
                  </a:lnTo>
                  <a:lnTo>
                    <a:pt x="1491" y="2712"/>
                  </a:lnTo>
                  <a:lnTo>
                    <a:pt x="1489" y="2703"/>
                  </a:lnTo>
                  <a:lnTo>
                    <a:pt x="1487" y="2693"/>
                  </a:lnTo>
                  <a:lnTo>
                    <a:pt x="1484" y="2683"/>
                  </a:lnTo>
                  <a:lnTo>
                    <a:pt x="1481" y="2674"/>
                  </a:lnTo>
                  <a:lnTo>
                    <a:pt x="1476" y="2667"/>
                  </a:lnTo>
                  <a:lnTo>
                    <a:pt x="1470" y="2661"/>
                  </a:lnTo>
                  <a:lnTo>
                    <a:pt x="1467" y="2659"/>
                  </a:lnTo>
                  <a:lnTo>
                    <a:pt x="1464" y="2657"/>
                  </a:lnTo>
                  <a:lnTo>
                    <a:pt x="1459" y="2656"/>
                  </a:lnTo>
                  <a:lnTo>
                    <a:pt x="1454" y="2656"/>
                  </a:lnTo>
                  <a:lnTo>
                    <a:pt x="1448" y="2657"/>
                  </a:lnTo>
                  <a:lnTo>
                    <a:pt x="1443" y="2658"/>
                  </a:lnTo>
                  <a:lnTo>
                    <a:pt x="1439" y="2661"/>
                  </a:lnTo>
                  <a:lnTo>
                    <a:pt x="1434" y="2665"/>
                  </a:lnTo>
                  <a:lnTo>
                    <a:pt x="1430" y="2669"/>
                  </a:lnTo>
                  <a:lnTo>
                    <a:pt x="1426" y="2672"/>
                  </a:lnTo>
                  <a:lnTo>
                    <a:pt x="1420" y="2676"/>
                  </a:lnTo>
                  <a:lnTo>
                    <a:pt x="1415" y="2679"/>
                  </a:lnTo>
                  <a:lnTo>
                    <a:pt x="1377" y="2692"/>
                  </a:lnTo>
                  <a:lnTo>
                    <a:pt x="1343" y="2704"/>
                  </a:lnTo>
                  <a:lnTo>
                    <a:pt x="1309" y="2717"/>
                  </a:lnTo>
                  <a:lnTo>
                    <a:pt x="1272" y="2732"/>
                  </a:lnTo>
                  <a:lnTo>
                    <a:pt x="1239" y="2733"/>
                  </a:lnTo>
                  <a:lnTo>
                    <a:pt x="1210" y="2734"/>
                  </a:lnTo>
                  <a:lnTo>
                    <a:pt x="1182" y="2738"/>
                  </a:lnTo>
                  <a:lnTo>
                    <a:pt x="1149" y="2742"/>
                  </a:lnTo>
                  <a:lnTo>
                    <a:pt x="1136" y="2745"/>
                  </a:lnTo>
                  <a:lnTo>
                    <a:pt x="1125" y="2747"/>
                  </a:lnTo>
                  <a:lnTo>
                    <a:pt x="1115" y="2750"/>
                  </a:lnTo>
                  <a:lnTo>
                    <a:pt x="1104" y="2754"/>
                  </a:lnTo>
                  <a:lnTo>
                    <a:pt x="1100" y="2757"/>
                  </a:lnTo>
                  <a:lnTo>
                    <a:pt x="1095" y="2760"/>
                  </a:lnTo>
                  <a:lnTo>
                    <a:pt x="1093" y="2764"/>
                  </a:lnTo>
                  <a:lnTo>
                    <a:pt x="1090" y="2768"/>
                  </a:lnTo>
                  <a:lnTo>
                    <a:pt x="1087" y="2778"/>
                  </a:lnTo>
                  <a:lnTo>
                    <a:pt x="1081" y="2788"/>
                  </a:lnTo>
                  <a:lnTo>
                    <a:pt x="1075" y="2800"/>
                  </a:lnTo>
                  <a:lnTo>
                    <a:pt x="1068" y="2811"/>
                  </a:lnTo>
                  <a:lnTo>
                    <a:pt x="1061" y="2821"/>
                  </a:lnTo>
                  <a:lnTo>
                    <a:pt x="1053" y="2832"/>
                  </a:lnTo>
                  <a:lnTo>
                    <a:pt x="1049" y="2842"/>
                  </a:lnTo>
                  <a:lnTo>
                    <a:pt x="1044" y="2849"/>
                  </a:lnTo>
                  <a:lnTo>
                    <a:pt x="1040" y="2857"/>
                  </a:lnTo>
                  <a:lnTo>
                    <a:pt x="1036" y="2863"/>
                  </a:lnTo>
                  <a:lnTo>
                    <a:pt x="1030" y="2869"/>
                  </a:lnTo>
                  <a:lnTo>
                    <a:pt x="1024" y="2875"/>
                  </a:lnTo>
                  <a:lnTo>
                    <a:pt x="1016" y="2881"/>
                  </a:lnTo>
                  <a:lnTo>
                    <a:pt x="1009" y="2886"/>
                  </a:lnTo>
                  <a:lnTo>
                    <a:pt x="999" y="2893"/>
                  </a:lnTo>
                  <a:lnTo>
                    <a:pt x="993" y="2901"/>
                  </a:lnTo>
                  <a:lnTo>
                    <a:pt x="988" y="2906"/>
                  </a:lnTo>
                  <a:lnTo>
                    <a:pt x="985" y="2909"/>
                  </a:lnTo>
                  <a:lnTo>
                    <a:pt x="981" y="2912"/>
                  </a:lnTo>
                  <a:lnTo>
                    <a:pt x="975" y="2914"/>
                  </a:lnTo>
                  <a:lnTo>
                    <a:pt x="966" y="2915"/>
                  </a:lnTo>
                  <a:lnTo>
                    <a:pt x="957" y="2915"/>
                  </a:lnTo>
                  <a:lnTo>
                    <a:pt x="953" y="2915"/>
                  </a:lnTo>
                  <a:lnTo>
                    <a:pt x="949" y="2915"/>
                  </a:lnTo>
                  <a:lnTo>
                    <a:pt x="945" y="2917"/>
                  </a:lnTo>
                  <a:lnTo>
                    <a:pt x="941" y="2920"/>
                  </a:lnTo>
                  <a:lnTo>
                    <a:pt x="932" y="2928"/>
                  </a:lnTo>
                  <a:lnTo>
                    <a:pt x="923" y="2938"/>
                  </a:lnTo>
                  <a:lnTo>
                    <a:pt x="918" y="2948"/>
                  </a:lnTo>
                  <a:lnTo>
                    <a:pt x="913" y="2958"/>
                  </a:lnTo>
                  <a:lnTo>
                    <a:pt x="905" y="2980"/>
                  </a:lnTo>
                  <a:lnTo>
                    <a:pt x="900" y="3006"/>
                  </a:lnTo>
                  <a:lnTo>
                    <a:pt x="900" y="3006"/>
                  </a:lnTo>
                  <a:lnTo>
                    <a:pt x="892" y="3001"/>
                  </a:lnTo>
                  <a:lnTo>
                    <a:pt x="886" y="2995"/>
                  </a:lnTo>
                  <a:lnTo>
                    <a:pt x="879" y="2991"/>
                  </a:lnTo>
                  <a:lnTo>
                    <a:pt x="872" y="2988"/>
                  </a:lnTo>
                  <a:lnTo>
                    <a:pt x="856" y="2982"/>
                  </a:lnTo>
                  <a:lnTo>
                    <a:pt x="840" y="2976"/>
                  </a:lnTo>
                  <a:lnTo>
                    <a:pt x="817" y="2965"/>
                  </a:lnTo>
                  <a:lnTo>
                    <a:pt x="795" y="2956"/>
                  </a:lnTo>
                  <a:lnTo>
                    <a:pt x="774" y="2947"/>
                  </a:lnTo>
                  <a:lnTo>
                    <a:pt x="756" y="2937"/>
                  </a:lnTo>
                  <a:lnTo>
                    <a:pt x="746" y="2931"/>
                  </a:lnTo>
                  <a:lnTo>
                    <a:pt x="738" y="2925"/>
                  </a:lnTo>
                  <a:lnTo>
                    <a:pt x="730" y="2919"/>
                  </a:lnTo>
                  <a:lnTo>
                    <a:pt x="721" y="2911"/>
                  </a:lnTo>
                  <a:lnTo>
                    <a:pt x="714" y="2903"/>
                  </a:lnTo>
                  <a:lnTo>
                    <a:pt x="706" y="2895"/>
                  </a:lnTo>
                  <a:lnTo>
                    <a:pt x="699" y="2885"/>
                  </a:lnTo>
                  <a:lnTo>
                    <a:pt x="692" y="2874"/>
                  </a:lnTo>
                  <a:lnTo>
                    <a:pt x="687" y="2867"/>
                  </a:lnTo>
                  <a:lnTo>
                    <a:pt x="682" y="2860"/>
                  </a:lnTo>
                  <a:lnTo>
                    <a:pt x="676" y="2854"/>
                  </a:lnTo>
                  <a:lnTo>
                    <a:pt x="670" y="2848"/>
                  </a:lnTo>
                  <a:lnTo>
                    <a:pt x="658" y="2840"/>
                  </a:lnTo>
                  <a:lnTo>
                    <a:pt x="645" y="2831"/>
                  </a:lnTo>
                  <a:lnTo>
                    <a:pt x="617" y="2818"/>
                  </a:lnTo>
                  <a:lnTo>
                    <a:pt x="585" y="2802"/>
                  </a:lnTo>
                  <a:lnTo>
                    <a:pt x="551" y="2780"/>
                  </a:lnTo>
                  <a:lnTo>
                    <a:pt x="521" y="2760"/>
                  </a:lnTo>
                  <a:lnTo>
                    <a:pt x="490" y="2739"/>
                  </a:lnTo>
                  <a:lnTo>
                    <a:pt x="457" y="2718"/>
                  </a:lnTo>
                  <a:lnTo>
                    <a:pt x="430" y="2700"/>
                  </a:lnTo>
                  <a:lnTo>
                    <a:pt x="405" y="2683"/>
                  </a:lnTo>
                  <a:lnTo>
                    <a:pt x="383" y="2666"/>
                  </a:lnTo>
                  <a:lnTo>
                    <a:pt x="363" y="2650"/>
                  </a:lnTo>
                  <a:lnTo>
                    <a:pt x="342" y="2632"/>
                  </a:lnTo>
                  <a:lnTo>
                    <a:pt x="322" y="2615"/>
                  </a:lnTo>
                  <a:lnTo>
                    <a:pt x="299" y="2597"/>
                  </a:lnTo>
                  <a:lnTo>
                    <a:pt x="274" y="2577"/>
                  </a:lnTo>
                  <a:lnTo>
                    <a:pt x="254" y="2563"/>
                  </a:lnTo>
                  <a:lnTo>
                    <a:pt x="234" y="2550"/>
                  </a:lnTo>
                  <a:lnTo>
                    <a:pt x="225" y="2544"/>
                  </a:lnTo>
                  <a:lnTo>
                    <a:pt x="216" y="2536"/>
                  </a:lnTo>
                  <a:lnTo>
                    <a:pt x="207" y="2529"/>
                  </a:lnTo>
                  <a:lnTo>
                    <a:pt x="199" y="2519"/>
                  </a:lnTo>
                  <a:lnTo>
                    <a:pt x="176" y="2492"/>
                  </a:lnTo>
                  <a:lnTo>
                    <a:pt x="157" y="2468"/>
                  </a:lnTo>
                  <a:lnTo>
                    <a:pt x="145" y="2458"/>
                  </a:lnTo>
                  <a:lnTo>
                    <a:pt x="133" y="2450"/>
                  </a:lnTo>
                  <a:lnTo>
                    <a:pt x="119" y="2441"/>
                  </a:lnTo>
                  <a:lnTo>
                    <a:pt x="104" y="2435"/>
                  </a:lnTo>
                  <a:lnTo>
                    <a:pt x="93" y="2431"/>
                  </a:lnTo>
                  <a:lnTo>
                    <a:pt x="83" y="2429"/>
                  </a:lnTo>
                  <a:lnTo>
                    <a:pt x="73" y="2428"/>
                  </a:lnTo>
                  <a:lnTo>
                    <a:pt x="65" y="2427"/>
                  </a:lnTo>
                  <a:lnTo>
                    <a:pt x="45" y="2426"/>
                  </a:lnTo>
                  <a:lnTo>
                    <a:pt x="25" y="2423"/>
                  </a:lnTo>
                  <a:lnTo>
                    <a:pt x="25" y="2412"/>
                  </a:lnTo>
                  <a:lnTo>
                    <a:pt x="25" y="2400"/>
                  </a:lnTo>
                  <a:lnTo>
                    <a:pt x="26" y="2387"/>
                  </a:lnTo>
                  <a:lnTo>
                    <a:pt x="27" y="2375"/>
                  </a:lnTo>
                  <a:lnTo>
                    <a:pt x="30" y="2364"/>
                  </a:lnTo>
                  <a:lnTo>
                    <a:pt x="33" y="2355"/>
                  </a:lnTo>
                  <a:lnTo>
                    <a:pt x="37" y="2344"/>
                  </a:lnTo>
                  <a:lnTo>
                    <a:pt x="40" y="2333"/>
                  </a:lnTo>
                  <a:lnTo>
                    <a:pt x="43" y="2321"/>
                  </a:lnTo>
                  <a:lnTo>
                    <a:pt x="44" y="2308"/>
                  </a:lnTo>
                  <a:lnTo>
                    <a:pt x="46" y="2278"/>
                  </a:lnTo>
                  <a:lnTo>
                    <a:pt x="48" y="2249"/>
                  </a:lnTo>
                  <a:lnTo>
                    <a:pt x="49" y="2235"/>
                  </a:lnTo>
                  <a:lnTo>
                    <a:pt x="51" y="2221"/>
                  </a:lnTo>
                  <a:lnTo>
                    <a:pt x="53" y="2206"/>
                  </a:lnTo>
                  <a:lnTo>
                    <a:pt x="55" y="2191"/>
                  </a:lnTo>
                  <a:lnTo>
                    <a:pt x="55" y="2191"/>
                  </a:lnTo>
                  <a:lnTo>
                    <a:pt x="53" y="2174"/>
                  </a:lnTo>
                  <a:lnTo>
                    <a:pt x="50" y="2159"/>
                  </a:lnTo>
                  <a:lnTo>
                    <a:pt x="45" y="2144"/>
                  </a:lnTo>
                  <a:lnTo>
                    <a:pt x="41" y="2130"/>
                  </a:lnTo>
                  <a:lnTo>
                    <a:pt x="32" y="2101"/>
                  </a:lnTo>
                  <a:lnTo>
                    <a:pt x="22" y="2071"/>
                  </a:lnTo>
                  <a:lnTo>
                    <a:pt x="14" y="2059"/>
                  </a:lnTo>
                  <a:lnTo>
                    <a:pt x="6" y="2048"/>
                  </a:lnTo>
                  <a:lnTo>
                    <a:pt x="4" y="2042"/>
                  </a:lnTo>
                  <a:lnTo>
                    <a:pt x="1" y="2036"/>
                  </a:lnTo>
                  <a:lnTo>
                    <a:pt x="0" y="2030"/>
                  </a:lnTo>
                  <a:lnTo>
                    <a:pt x="0" y="2022"/>
                  </a:lnTo>
                  <a:lnTo>
                    <a:pt x="0" y="2016"/>
                  </a:lnTo>
                  <a:lnTo>
                    <a:pt x="1" y="2008"/>
                  </a:lnTo>
                  <a:lnTo>
                    <a:pt x="2" y="2003"/>
                  </a:lnTo>
                  <a:lnTo>
                    <a:pt x="4" y="1996"/>
                  </a:lnTo>
                  <a:lnTo>
                    <a:pt x="10" y="1985"/>
                  </a:lnTo>
                  <a:lnTo>
                    <a:pt x="16" y="1975"/>
                  </a:lnTo>
                  <a:lnTo>
                    <a:pt x="32" y="1955"/>
                  </a:lnTo>
                  <a:lnTo>
                    <a:pt x="50" y="1932"/>
                  </a:lnTo>
                  <a:lnTo>
                    <a:pt x="58" y="1922"/>
                  </a:lnTo>
                  <a:lnTo>
                    <a:pt x="66" y="1912"/>
                  </a:lnTo>
                  <a:lnTo>
                    <a:pt x="75" y="1902"/>
                  </a:lnTo>
                  <a:lnTo>
                    <a:pt x="83" y="1894"/>
                  </a:lnTo>
                  <a:lnTo>
                    <a:pt x="102" y="1880"/>
                  </a:lnTo>
                  <a:lnTo>
                    <a:pt x="121" y="1867"/>
                  </a:lnTo>
                  <a:lnTo>
                    <a:pt x="162" y="1843"/>
                  </a:lnTo>
                  <a:lnTo>
                    <a:pt x="207" y="1815"/>
                  </a:lnTo>
                  <a:lnTo>
                    <a:pt x="216" y="1808"/>
                  </a:lnTo>
                  <a:lnTo>
                    <a:pt x="224" y="1800"/>
                  </a:lnTo>
                  <a:lnTo>
                    <a:pt x="230" y="1791"/>
                  </a:lnTo>
                  <a:lnTo>
                    <a:pt x="235" y="1782"/>
                  </a:lnTo>
                  <a:lnTo>
                    <a:pt x="244" y="1762"/>
                  </a:lnTo>
                  <a:lnTo>
                    <a:pt x="252" y="1739"/>
                  </a:lnTo>
                  <a:lnTo>
                    <a:pt x="261" y="1715"/>
                  </a:lnTo>
                  <a:lnTo>
                    <a:pt x="272" y="1695"/>
                  </a:lnTo>
                  <a:lnTo>
                    <a:pt x="276" y="1684"/>
                  </a:lnTo>
                  <a:lnTo>
                    <a:pt x="280" y="1673"/>
                  </a:lnTo>
                  <a:lnTo>
                    <a:pt x="282" y="1661"/>
                  </a:lnTo>
                  <a:lnTo>
                    <a:pt x="283" y="1647"/>
                  </a:lnTo>
                  <a:lnTo>
                    <a:pt x="283" y="1632"/>
                  </a:lnTo>
                  <a:lnTo>
                    <a:pt x="283" y="1619"/>
                  </a:lnTo>
                  <a:lnTo>
                    <a:pt x="283" y="1605"/>
                  </a:lnTo>
                  <a:lnTo>
                    <a:pt x="283" y="1590"/>
                  </a:lnTo>
                  <a:lnTo>
                    <a:pt x="283" y="1586"/>
                  </a:lnTo>
                  <a:lnTo>
                    <a:pt x="284" y="1581"/>
                  </a:lnTo>
                  <a:lnTo>
                    <a:pt x="285" y="1577"/>
                  </a:lnTo>
                  <a:lnTo>
                    <a:pt x="287" y="1574"/>
                  </a:lnTo>
                  <a:lnTo>
                    <a:pt x="294" y="1569"/>
                  </a:lnTo>
                  <a:lnTo>
                    <a:pt x="301" y="1564"/>
                  </a:lnTo>
                  <a:lnTo>
                    <a:pt x="320" y="1558"/>
                  </a:lnTo>
                  <a:lnTo>
                    <a:pt x="339" y="1551"/>
                  </a:lnTo>
                  <a:lnTo>
                    <a:pt x="346" y="1549"/>
                  </a:lnTo>
                  <a:lnTo>
                    <a:pt x="351" y="1547"/>
                  </a:lnTo>
                  <a:lnTo>
                    <a:pt x="356" y="1544"/>
                  </a:lnTo>
                  <a:lnTo>
                    <a:pt x="362" y="1540"/>
                  </a:lnTo>
                  <a:lnTo>
                    <a:pt x="373" y="1532"/>
                  </a:lnTo>
                  <a:lnTo>
                    <a:pt x="383" y="1524"/>
                  </a:lnTo>
                  <a:lnTo>
                    <a:pt x="389" y="1519"/>
                  </a:lnTo>
                  <a:lnTo>
                    <a:pt x="394" y="1512"/>
                  </a:lnTo>
                  <a:lnTo>
                    <a:pt x="399" y="1506"/>
                  </a:lnTo>
                  <a:lnTo>
                    <a:pt x="402" y="1500"/>
                  </a:lnTo>
                  <a:lnTo>
                    <a:pt x="406" y="1494"/>
                  </a:lnTo>
                  <a:lnTo>
                    <a:pt x="410" y="1489"/>
                  </a:lnTo>
                  <a:lnTo>
                    <a:pt x="416" y="1484"/>
                  </a:lnTo>
                  <a:lnTo>
                    <a:pt x="422" y="1482"/>
                  </a:lnTo>
                  <a:lnTo>
                    <a:pt x="442" y="1478"/>
                  </a:lnTo>
                  <a:lnTo>
                    <a:pt x="459" y="1477"/>
                  </a:lnTo>
                  <a:lnTo>
                    <a:pt x="476" y="1476"/>
                  </a:lnTo>
                  <a:lnTo>
                    <a:pt x="496" y="1476"/>
                  </a:lnTo>
                  <a:lnTo>
                    <a:pt x="526" y="1478"/>
                  </a:lnTo>
                  <a:lnTo>
                    <a:pt x="555" y="1481"/>
                  </a:lnTo>
                  <a:lnTo>
                    <a:pt x="568" y="1481"/>
                  </a:lnTo>
                  <a:lnTo>
                    <a:pt x="581" y="1479"/>
                  </a:lnTo>
                  <a:lnTo>
                    <a:pt x="588" y="1478"/>
                  </a:lnTo>
                  <a:lnTo>
                    <a:pt x="595" y="1475"/>
                  </a:lnTo>
                  <a:lnTo>
                    <a:pt x="602" y="1471"/>
                  </a:lnTo>
                  <a:lnTo>
                    <a:pt x="608" y="1468"/>
                  </a:lnTo>
                  <a:lnTo>
                    <a:pt x="616" y="1462"/>
                  </a:lnTo>
                  <a:lnTo>
                    <a:pt x="623" y="1455"/>
                  </a:lnTo>
                  <a:lnTo>
                    <a:pt x="630" y="1449"/>
                  </a:lnTo>
                  <a:lnTo>
                    <a:pt x="636" y="1442"/>
                  </a:lnTo>
                  <a:lnTo>
                    <a:pt x="642" y="1436"/>
                  </a:lnTo>
                  <a:lnTo>
                    <a:pt x="646" y="1428"/>
                  </a:lnTo>
                  <a:lnTo>
                    <a:pt x="650" y="1421"/>
                  </a:lnTo>
                  <a:lnTo>
                    <a:pt x="653" y="1413"/>
                  </a:lnTo>
                  <a:lnTo>
                    <a:pt x="660" y="1397"/>
                  </a:lnTo>
                  <a:lnTo>
                    <a:pt x="663" y="1378"/>
                  </a:lnTo>
                  <a:lnTo>
                    <a:pt x="666" y="1360"/>
                  </a:lnTo>
                  <a:lnTo>
                    <a:pt x="666" y="1341"/>
                  </a:lnTo>
                  <a:lnTo>
                    <a:pt x="665" y="1329"/>
                  </a:lnTo>
                  <a:lnTo>
                    <a:pt x="662" y="1320"/>
                  </a:lnTo>
                  <a:lnTo>
                    <a:pt x="660" y="1310"/>
                  </a:lnTo>
                  <a:lnTo>
                    <a:pt x="658" y="1300"/>
                  </a:lnTo>
                  <a:lnTo>
                    <a:pt x="659" y="1290"/>
                  </a:lnTo>
                  <a:lnTo>
                    <a:pt x="660" y="1281"/>
                  </a:lnTo>
                  <a:lnTo>
                    <a:pt x="661" y="1273"/>
                  </a:lnTo>
                  <a:lnTo>
                    <a:pt x="664" y="1265"/>
                  </a:lnTo>
                  <a:lnTo>
                    <a:pt x="666" y="1257"/>
                  </a:lnTo>
                  <a:lnTo>
                    <a:pt x="671" y="1250"/>
                  </a:lnTo>
                  <a:lnTo>
                    <a:pt x="674" y="1243"/>
                  </a:lnTo>
                  <a:lnTo>
                    <a:pt x="678" y="1237"/>
                  </a:lnTo>
                  <a:lnTo>
                    <a:pt x="700" y="1211"/>
                  </a:lnTo>
                  <a:lnTo>
                    <a:pt x="726" y="1185"/>
                  </a:lnTo>
                  <a:lnTo>
                    <a:pt x="739" y="1168"/>
                  </a:lnTo>
                  <a:lnTo>
                    <a:pt x="751" y="1152"/>
                  </a:lnTo>
                  <a:lnTo>
                    <a:pt x="757" y="1144"/>
                  </a:lnTo>
                  <a:lnTo>
                    <a:pt x="765" y="1139"/>
                  </a:lnTo>
                  <a:lnTo>
                    <a:pt x="769" y="1137"/>
                  </a:lnTo>
                  <a:lnTo>
                    <a:pt x="774" y="1135"/>
                  </a:lnTo>
                  <a:lnTo>
                    <a:pt x="779" y="1134"/>
                  </a:lnTo>
                  <a:lnTo>
                    <a:pt x="784" y="1134"/>
                  </a:lnTo>
                  <a:lnTo>
                    <a:pt x="793" y="1134"/>
                  </a:lnTo>
                  <a:lnTo>
                    <a:pt x="800" y="1135"/>
                  </a:lnTo>
                  <a:lnTo>
                    <a:pt x="808" y="1138"/>
                  </a:lnTo>
                  <a:lnTo>
                    <a:pt x="815" y="1140"/>
                  </a:lnTo>
                  <a:lnTo>
                    <a:pt x="822" y="1142"/>
                  </a:lnTo>
                  <a:lnTo>
                    <a:pt x="829" y="1144"/>
                  </a:lnTo>
                  <a:lnTo>
                    <a:pt x="837" y="1145"/>
                  </a:lnTo>
                  <a:lnTo>
                    <a:pt x="846" y="1145"/>
                  </a:lnTo>
                  <a:lnTo>
                    <a:pt x="853" y="1145"/>
                  </a:lnTo>
                  <a:lnTo>
                    <a:pt x="861" y="1143"/>
                  </a:lnTo>
                  <a:lnTo>
                    <a:pt x="866" y="1141"/>
                  </a:lnTo>
                  <a:lnTo>
                    <a:pt x="873" y="1138"/>
                  </a:lnTo>
                  <a:lnTo>
                    <a:pt x="878" y="1134"/>
                  </a:lnTo>
                  <a:lnTo>
                    <a:pt x="882" y="1130"/>
                  </a:lnTo>
                  <a:lnTo>
                    <a:pt x="887" y="1125"/>
                  </a:lnTo>
                  <a:lnTo>
                    <a:pt x="891" y="1119"/>
                  </a:lnTo>
                  <a:lnTo>
                    <a:pt x="899" y="1106"/>
                  </a:lnTo>
                  <a:lnTo>
                    <a:pt x="904" y="1093"/>
                  </a:lnTo>
                  <a:lnTo>
                    <a:pt x="911" y="1078"/>
                  </a:lnTo>
                  <a:lnTo>
                    <a:pt x="916" y="1064"/>
                  </a:lnTo>
                  <a:lnTo>
                    <a:pt x="920" y="1056"/>
                  </a:lnTo>
                  <a:lnTo>
                    <a:pt x="925" y="1048"/>
                  </a:lnTo>
                  <a:lnTo>
                    <a:pt x="930" y="1040"/>
                  </a:lnTo>
                  <a:lnTo>
                    <a:pt x="935" y="1034"/>
                  </a:lnTo>
                  <a:lnTo>
                    <a:pt x="947" y="1022"/>
                  </a:lnTo>
                  <a:lnTo>
                    <a:pt x="960" y="1011"/>
                  </a:lnTo>
                  <a:lnTo>
                    <a:pt x="966" y="1006"/>
                  </a:lnTo>
                  <a:lnTo>
                    <a:pt x="971" y="999"/>
                  </a:lnTo>
                  <a:lnTo>
                    <a:pt x="976" y="994"/>
                  </a:lnTo>
                  <a:lnTo>
                    <a:pt x="981" y="987"/>
                  </a:lnTo>
                  <a:lnTo>
                    <a:pt x="984" y="981"/>
                  </a:lnTo>
                  <a:lnTo>
                    <a:pt x="986" y="973"/>
                  </a:lnTo>
                  <a:lnTo>
                    <a:pt x="988" y="965"/>
                  </a:lnTo>
                  <a:lnTo>
                    <a:pt x="989" y="955"/>
                  </a:lnTo>
                  <a:lnTo>
                    <a:pt x="989" y="936"/>
                  </a:lnTo>
                  <a:lnTo>
                    <a:pt x="989" y="918"/>
                  </a:lnTo>
                  <a:lnTo>
                    <a:pt x="989" y="901"/>
                  </a:lnTo>
                  <a:lnTo>
                    <a:pt x="989" y="882"/>
                  </a:lnTo>
                  <a:lnTo>
                    <a:pt x="989" y="870"/>
                  </a:lnTo>
                  <a:lnTo>
                    <a:pt x="990" y="860"/>
                  </a:lnTo>
                  <a:lnTo>
                    <a:pt x="993" y="850"/>
                  </a:lnTo>
                  <a:lnTo>
                    <a:pt x="995" y="841"/>
                  </a:lnTo>
                  <a:lnTo>
                    <a:pt x="1001" y="823"/>
                  </a:lnTo>
                  <a:lnTo>
                    <a:pt x="1010" y="807"/>
                  </a:lnTo>
                  <a:lnTo>
                    <a:pt x="1019" y="791"/>
                  </a:lnTo>
                  <a:lnTo>
                    <a:pt x="1026" y="774"/>
                  </a:lnTo>
                  <a:lnTo>
                    <a:pt x="1030" y="764"/>
                  </a:lnTo>
                  <a:lnTo>
                    <a:pt x="1034" y="754"/>
                  </a:lnTo>
                  <a:lnTo>
                    <a:pt x="1037" y="744"/>
                  </a:lnTo>
                  <a:lnTo>
                    <a:pt x="1039" y="734"/>
                  </a:lnTo>
                  <a:lnTo>
                    <a:pt x="1041" y="719"/>
                  </a:lnTo>
                  <a:lnTo>
                    <a:pt x="1042" y="706"/>
                  </a:lnTo>
                  <a:lnTo>
                    <a:pt x="1043" y="693"/>
                  </a:lnTo>
                  <a:lnTo>
                    <a:pt x="1043" y="680"/>
                  </a:lnTo>
                  <a:lnTo>
                    <a:pt x="1042" y="668"/>
                  </a:lnTo>
                  <a:lnTo>
                    <a:pt x="1042" y="655"/>
                  </a:lnTo>
                  <a:lnTo>
                    <a:pt x="1043" y="642"/>
                  </a:lnTo>
                  <a:lnTo>
                    <a:pt x="1044" y="627"/>
                  </a:lnTo>
                  <a:lnTo>
                    <a:pt x="1048" y="614"/>
                  </a:lnTo>
                  <a:lnTo>
                    <a:pt x="1052" y="603"/>
                  </a:lnTo>
                  <a:lnTo>
                    <a:pt x="1058" y="593"/>
                  </a:lnTo>
                  <a:lnTo>
                    <a:pt x="1065" y="585"/>
                  </a:lnTo>
                  <a:lnTo>
                    <a:pt x="1071" y="575"/>
                  </a:lnTo>
                  <a:lnTo>
                    <a:pt x="1078" y="565"/>
                  </a:lnTo>
                  <a:lnTo>
                    <a:pt x="1084" y="554"/>
                  </a:lnTo>
                  <a:lnTo>
                    <a:pt x="1090" y="543"/>
                  </a:lnTo>
                  <a:lnTo>
                    <a:pt x="1100" y="514"/>
                  </a:lnTo>
                  <a:lnTo>
                    <a:pt x="1107" y="490"/>
                  </a:lnTo>
                  <a:lnTo>
                    <a:pt x="1111" y="478"/>
                  </a:lnTo>
                  <a:lnTo>
                    <a:pt x="1117" y="466"/>
                  </a:lnTo>
                  <a:lnTo>
                    <a:pt x="1122" y="453"/>
                  </a:lnTo>
                  <a:lnTo>
                    <a:pt x="1129" y="439"/>
                  </a:lnTo>
                  <a:lnTo>
                    <a:pt x="1135" y="426"/>
                  </a:lnTo>
                  <a:lnTo>
                    <a:pt x="1141" y="413"/>
                  </a:lnTo>
                  <a:lnTo>
                    <a:pt x="1145" y="401"/>
                  </a:lnTo>
                  <a:lnTo>
                    <a:pt x="1148" y="388"/>
                  </a:lnTo>
                  <a:lnTo>
                    <a:pt x="1154" y="363"/>
                  </a:lnTo>
                  <a:lnTo>
                    <a:pt x="1162" y="335"/>
                  </a:lnTo>
                  <a:lnTo>
                    <a:pt x="1171" y="316"/>
                  </a:lnTo>
                  <a:lnTo>
                    <a:pt x="1181" y="298"/>
                  </a:lnTo>
                  <a:lnTo>
                    <a:pt x="1190" y="282"/>
                  </a:lnTo>
                  <a:lnTo>
                    <a:pt x="1200" y="267"/>
                  </a:lnTo>
                  <a:lnTo>
                    <a:pt x="1209" y="252"/>
                  </a:lnTo>
                  <a:lnTo>
                    <a:pt x="1218" y="236"/>
                  </a:lnTo>
                  <a:lnTo>
                    <a:pt x="1226" y="219"/>
                  </a:lnTo>
                  <a:lnTo>
                    <a:pt x="1232" y="198"/>
                  </a:lnTo>
                  <a:lnTo>
                    <a:pt x="1241" y="169"/>
                  </a:lnTo>
                  <a:lnTo>
                    <a:pt x="1249" y="142"/>
                  </a:lnTo>
                  <a:lnTo>
                    <a:pt x="1257" y="116"/>
                  </a:lnTo>
                  <a:lnTo>
                    <a:pt x="1266" y="91"/>
                  </a:lnTo>
                  <a:lnTo>
                    <a:pt x="1271" y="80"/>
                  </a:lnTo>
                  <a:lnTo>
                    <a:pt x="1277" y="68"/>
                  </a:lnTo>
                  <a:lnTo>
                    <a:pt x="1283" y="57"/>
                  </a:lnTo>
                  <a:lnTo>
                    <a:pt x="1290" y="46"/>
                  </a:lnTo>
                  <a:lnTo>
                    <a:pt x="1297" y="34"/>
                  </a:lnTo>
                  <a:lnTo>
                    <a:pt x="1306" y="23"/>
                  </a:lnTo>
                  <a:lnTo>
                    <a:pt x="1316" y="12"/>
                  </a:lnTo>
                  <a:lnTo>
                    <a:pt x="1327" y="0"/>
                  </a:lnTo>
                  <a:lnTo>
                    <a:pt x="1327" y="0"/>
                  </a:lnTo>
                  <a:lnTo>
                    <a:pt x="1434" y="47"/>
                  </a:lnTo>
                  <a:lnTo>
                    <a:pt x="1432" y="60"/>
                  </a:lnTo>
                  <a:lnTo>
                    <a:pt x="1428" y="72"/>
                  </a:lnTo>
                  <a:lnTo>
                    <a:pt x="1422" y="84"/>
                  </a:lnTo>
                  <a:lnTo>
                    <a:pt x="1417" y="94"/>
                  </a:lnTo>
                  <a:lnTo>
                    <a:pt x="1403" y="113"/>
                  </a:lnTo>
                  <a:lnTo>
                    <a:pt x="1388" y="131"/>
                  </a:lnTo>
                  <a:lnTo>
                    <a:pt x="1381" y="140"/>
                  </a:lnTo>
                  <a:lnTo>
                    <a:pt x="1374" y="148"/>
                  </a:lnTo>
                  <a:lnTo>
                    <a:pt x="1367" y="158"/>
                  </a:lnTo>
                  <a:lnTo>
                    <a:pt x="1362" y="168"/>
                  </a:lnTo>
                  <a:lnTo>
                    <a:pt x="1358" y="179"/>
                  </a:lnTo>
                  <a:lnTo>
                    <a:pt x="1353" y="189"/>
                  </a:lnTo>
                  <a:lnTo>
                    <a:pt x="1351" y="202"/>
                  </a:lnTo>
                  <a:lnTo>
                    <a:pt x="1350" y="215"/>
                  </a:lnTo>
                  <a:lnTo>
                    <a:pt x="1351" y="223"/>
                  </a:lnTo>
                  <a:lnTo>
                    <a:pt x="1352" y="230"/>
                  </a:lnTo>
                  <a:lnTo>
                    <a:pt x="1354" y="238"/>
                  </a:lnTo>
                  <a:lnTo>
                    <a:pt x="1358" y="244"/>
                  </a:lnTo>
                  <a:lnTo>
                    <a:pt x="1361" y="251"/>
                  </a:lnTo>
                  <a:lnTo>
                    <a:pt x="1366" y="256"/>
                  </a:lnTo>
                  <a:lnTo>
                    <a:pt x="1371" y="262"/>
                  </a:lnTo>
                  <a:lnTo>
                    <a:pt x="1376" y="267"/>
                  </a:lnTo>
                  <a:lnTo>
                    <a:pt x="1389" y="276"/>
                  </a:lnTo>
                  <a:lnTo>
                    <a:pt x="1403" y="283"/>
                  </a:lnTo>
                  <a:lnTo>
                    <a:pt x="1418" y="290"/>
                  </a:lnTo>
                  <a:lnTo>
                    <a:pt x="1434" y="296"/>
                  </a:lnTo>
                  <a:lnTo>
                    <a:pt x="1473" y="311"/>
                  </a:lnTo>
                  <a:lnTo>
                    <a:pt x="1508" y="323"/>
                  </a:lnTo>
                  <a:lnTo>
                    <a:pt x="1525" y="329"/>
                  </a:lnTo>
                  <a:lnTo>
                    <a:pt x="1542" y="332"/>
                  </a:lnTo>
                  <a:lnTo>
                    <a:pt x="1562" y="335"/>
                  </a:lnTo>
                  <a:lnTo>
                    <a:pt x="1583" y="335"/>
                  </a:lnTo>
                  <a:lnTo>
                    <a:pt x="1591" y="335"/>
                  </a:lnTo>
                  <a:lnTo>
                    <a:pt x="1600" y="334"/>
                  </a:lnTo>
                  <a:lnTo>
                    <a:pt x="1606" y="332"/>
                  </a:lnTo>
                  <a:lnTo>
                    <a:pt x="1613" y="329"/>
                  </a:lnTo>
                  <a:lnTo>
                    <a:pt x="1619" y="324"/>
                  </a:lnTo>
                  <a:lnTo>
                    <a:pt x="1626" y="320"/>
                  </a:lnTo>
                  <a:lnTo>
                    <a:pt x="1631" y="316"/>
                  </a:lnTo>
                  <a:lnTo>
                    <a:pt x="1635" y="310"/>
                  </a:lnTo>
                  <a:lnTo>
                    <a:pt x="1645" y="297"/>
                  </a:lnTo>
                  <a:lnTo>
                    <a:pt x="1654" y="284"/>
                  </a:lnTo>
                  <a:lnTo>
                    <a:pt x="1661" y="269"/>
                  </a:lnTo>
                  <a:lnTo>
                    <a:pt x="1669" y="254"/>
                  </a:lnTo>
                  <a:lnTo>
                    <a:pt x="1676" y="239"/>
                  </a:lnTo>
                  <a:lnTo>
                    <a:pt x="1684" y="224"/>
                  </a:lnTo>
                  <a:lnTo>
                    <a:pt x="1692" y="211"/>
                  </a:lnTo>
                  <a:lnTo>
                    <a:pt x="1701" y="198"/>
                  </a:lnTo>
                  <a:lnTo>
                    <a:pt x="1707" y="193"/>
                  </a:lnTo>
                  <a:lnTo>
                    <a:pt x="1712" y="188"/>
                  </a:lnTo>
                  <a:lnTo>
                    <a:pt x="1718" y="184"/>
                  </a:lnTo>
                  <a:lnTo>
                    <a:pt x="1724" y="180"/>
                  </a:lnTo>
                  <a:lnTo>
                    <a:pt x="1731" y="177"/>
                  </a:lnTo>
                  <a:lnTo>
                    <a:pt x="1738" y="174"/>
                  </a:lnTo>
                  <a:lnTo>
                    <a:pt x="1745" y="173"/>
                  </a:lnTo>
                  <a:lnTo>
                    <a:pt x="1754" y="173"/>
                  </a:lnTo>
                  <a:lnTo>
                    <a:pt x="1765" y="173"/>
                  </a:lnTo>
                  <a:lnTo>
                    <a:pt x="1775" y="175"/>
                  </a:lnTo>
                  <a:lnTo>
                    <a:pt x="1783" y="179"/>
                  </a:lnTo>
                  <a:lnTo>
                    <a:pt x="1792" y="183"/>
                  </a:lnTo>
                  <a:lnTo>
                    <a:pt x="1800" y="188"/>
                  </a:lnTo>
                  <a:lnTo>
                    <a:pt x="1808" y="195"/>
                  </a:lnTo>
                  <a:lnTo>
                    <a:pt x="1815" y="201"/>
                  </a:lnTo>
                  <a:lnTo>
                    <a:pt x="1820" y="210"/>
                  </a:lnTo>
                  <a:lnTo>
                    <a:pt x="1825" y="219"/>
                  </a:lnTo>
                  <a:lnTo>
                    <a:pt x="1831" y="227"/>
                  </a:lnTo>
                  <a:lnTo>
                    <a:pt x="1835" y="237"/>
                  </a:lnTo>
                  <a:lnTo>
                    <a:pt x="1838" y="247"/>
                  </a:lnTo>
                  <a:lnTo>
                    <a:pt x="1840" y="257"/>
                  </a:lnTo>
                  <a:lnTo>
                    <a:pt x="1843" y="268"/>
                  </a:lnTo>
                  <a:lnTo>
                    <a:pt x="1844" y="279"/>
                  </a:lnTo>
                  <a:lnTo>
                    <a:pt x="1844" y="289"/>
                  </a:lnTo>
                  <a:lnTo>
                    <a:pt x="1843" y="306"/>
                  </a:lnTo>
                  <a:lnTo>
                    <a:pt x="1840" y="320"/>
                  </a:lnTo>
                  <a:lnTo>
                    <a:pt x="1837" y="334"/>
                  </a:lnTo>
                  <a:lnTo>
                    <a:pt x="1834" y="347"/>
                  </a:lnTo>
                  <a:lnTo>
                    <a:pt x="1831" y="361"/>
                  </a:lnTo>
                  <a:lnTo>
                    <a:pt x="1827" y="374"/>
                  </a:lnTo>
                  <a:lnTo>
                    <a:pt x="1825" y="389"/>
                  </a:lnTo>
                  <a:lnTo>
                    <a:pt x="1824" y="405"/>
                  </a:lnTo>
                  <a:lnTo>
                    <a:pt x="1824" y="415"/>
                  </a:lnTo>
                  <a:lnTo>
                    <a:pt x="1825" y="424"/>
                  </a:lnTo>
                  <a:lnTo>
                    <a:pt x="1827" y="432"/>
                  </a:lnTo>
                  <a:lnTo>
                    <a:pt x="1831" y="441"/>
                  </a:lnTo>
                  <a:lnTo>
                    <a:pt x="1835" y="449"/>
                  </a:lnTo>
                  <a:lnTo>
                    <a:pt x="1840" y="454"/>
                  </a:lnTo>
                  <a:lnTo>
                    <a:pt x="1844" y="456"/>
                  </a:lnTo>
                  <a:lnTo>
                    <a:pt x="1847" y="457"/>
                  </a:lnTo>
                  <a:lnTo>
                    <a:pt x="1850" y="458"/>
                  </a:lnTo>
                  <a:lnTo>
                    <a:pt x="1854" y="458"/>
                  </a:lnTo>
                  <a:lnTo>
                    <a:pt x="1861" y="458"/>
                  </a:lnTo>
                  <a:lnTo>
                    <a:pt x="1865" y="456"/>
                  </a:lnTo>
                  <a:lnTo>
                    <a:pt x="1870" y="452"/>
                  </a:lnTo>
                  <a:lnTo>
                    <a:pt x="1873" y="447"/>
                  </a:lnTo>
                  <a:lnTo>
                    <a:pt x="1878" y="437"/>
                  </a:lnTo>
                  <a:lnTo>
                    <a:pt x="1883" y="425"/>
                  </a:lnTo>
                  <a:lnTo>
                    <a:pt x="1890" y="411"/>
                  </a:lnTo>
                  <a:lnTo>
                    <a:pt x="1898" y="398"/>
                  </a:lnTo>
                  <a:lnTo>
                    <a:pt x="1904" y="384"/>
                  </a:lnTo>
                  <a:lnTo>
                    <a:pt x="1911" y="369"/>
                  </a:lnTo>
                  <a:lnTo>
                    <a:pt x="1918" y="371"/>
                  </a:lnTo>
                  <a:lnTo>
                    <a:pt x="1925" y="374"/>
                  </a:lnTo>
                  <a:lnTo>
                    <a:pt x="1931" y="377"/>
                  </a:lnTo>
                  <a:lnTo>
                    <a:pt x="1937" y="381"/>
                  </a:lnTo>
                  <a:lnTo>
                    <a:pt x="1946" y="388"/>
                  </a:lnTo>
                  <a:lnTo>
                    <a:pt x="1957" y="397"/>
                  </a:lnTo>
                  <a:lnTo>
                    <a:pt x="1967" y="404"/>
                  </a:lnTo>
                  <a:lnTo>
                    <a:pt x="1978" y="411"/>
                  </a:lnTo>
                  <a:lnTo>
                    <a:pt x="1983" y="413"/>
                  </a:lnTo>
                  <a:lnTo>
                    <a:pt x="1989" y="415"/>
                  </a:lnTo>
                  <a:lnTo>
                    <a:pt x="1996" y="416"/>
                  </a:lnTo>
                  <a:lnTo>
                    <a:pt x="2004" y="417"/>
                  </a:lnTo>
                  <a:lnTo>
                    <a:pt x="2008" y="416"/>
                  </a:lnTo>
                  <a:lnTo>
                    <a:pt x="2011" y="415"/>
                  </a:lnTo>
                  <a:lnTo>
                    <a:pt x="2014" y="414"/>
                  </a:lnTo>
                  <a:lnTo>
                    <a:pt x="2018" y="412"/>
                  </a:lnTo>
                  <a:lnTo>
                    <a:pt x="2024" y="408"/>
                  </a:lnTo>
                  <a:lnTo>
                    <a:pt x="2028" y="401"/>
                  </a:lnTo>
                  <a:lnTo>
                    <a:pt x="2034" y="396"/>
                  </a:lnTo>
                  <a:lnTo>
                    <a:pt x="2039" y="390"/>
                  </a:lnTo>
                  <a:lnTo>
                    <a:pt x="2042" y="389"/>
                  </a:lnTo>
                  <a:lnTo>
                    <a:pt x="2046" y="387"/>
                  </a:lnTo>
                  <a:lnTo>
                    <a:pt x="2050" y="386"/>
                  </a:lnTo>
                  <a:lnTo>
                    <a:pt x="2054" y="386"/>
                  </a:lnTo>
                  <a:lnTo>
                    <a:pt x="2065" y="387"/>
                  </a:lnTo>
                  <a:lnTo>
                    <a:pt x="2074" y="390"/>
                  </a:lnTo>
                  <a:lnTo>
                    <a:pt x="2082" y="395"/>
                  </a:lnTo>
                  <a:lnTo>
                    <a:pt x="2090" y="400"/>
                  </a:lnTo>
                  <a:lnTo>
                    <a:pt x="2104" y="415"/>
                  </a:lnTo>
                  <a:lnTo>
                    <a:pt x="2118" y="431"/>
                  </a:lnTo>
                  <a:lnTo>
                    <a:pt x="2132" y="444"/>
                  </a:lnTo>
                  <a:lnTo>
                    <a:pt x="2145" y="455"/>
                  </a:lnTo>
                  <a:lnTo>
                    <a:pt x="2159" y="465"/>
                  </a:lnTo>
                  <a:lnTo>
                    <a:pt x="2172" y="473"/>
                  </a:lnTo>
                  <a:lnTo>
                    <a:pt x="2198" y="491"/>
                  </a:lnTo>
                  <a:lnTo>
                    <a:pt x="2228" y="512"/>
                  </a:lnTo>
                  <a:lnTo>
                    <a:pt x="2245" y="526"/>
                  </a:lnTo>
                  <a:lnTo>
                    <a:pt x="2262" y="537"/>
                  </a:lnTo>
                  <a:lnTo>
                    <a:pt x="2270" y="543"/>
                  </a:lnTo>
                  <a:lnTo>
                    <a:pt x="2279" y="546"/>
                  </a:lnTo>
                  <a:lnTo>
                    <a:pt x="2290" y="548"/>
                  </a:lnTo>
                  <a:lnTo>
                    <a:pt x="2301" y="549"/>
                  </a:lnTo>
                  <a:lnTo>
                    <a:pt x="2306" y="548"/>
                  </a:lnTo>
                  <a:lnTo>
                    <a:pt x="2309" y="546"/>
                  </a:lnTo>
                  <a:lnTo>
                    <a:pt x="2312" y="541"/>
                  </a:lnTo>
                  <a:lnTo>
                    <a:pt x="2315" y="537"/>
                  </a:lnTo>
                  <a:lnTo>
                    <a:pt x="2319" y="527"/>
                  </a:lnTo>
                  <a:lnTo>
                    <a:pt x="2323" y="518"/>
                  </a:lnTo>
                  <a:lnTo>
                    <a:pt x="2329" y="509"/>
                  </a:lnTo>
                  <a:lnTo>
                    <a:pt x="2334" y="500"/>
                  </a:lnTo>
                  <a:lnTo>
                    <a:pt x="2341" y="493"/>
                  </a:lnTo>
                  <a:lnTo>
                    <a:pt x="2347" y="486"/>
                  </a:lnTo>
                  <a:lnTo>
                    <a:pt x="2355" y="481"/>
                  </a:lnTo>
                  <a:lnTo>
                    <a:pt x="2362" y="477"/>
                  </a:lnTo>
                  <a:lnTo>
                    <a:pt x="2372" y="473"/>
                  </a:lnTo>
                  <a:lnTo>
                    <a:pt x="2382" y="472"/>
                  </a:lnTo>
                  <a:lnTo>
                    <a:pt x="2389" y="473"/>
                  </a:lnTo>
                  <a:lnTo>
                    <a:pt x="2397" y="476"/>
                  </a:lnTo>
                  <a:lnTo>
                    <a:pt x="2403" y="478"/>
                  </a:lnTo>
                  <a:lnTo>
                    <a:pt x="2409" y="481"/>
                  </a:lnTo>
                  <a:lnTo>
                    <a:pt x="2419" y="490"/>
                  </a:lnTo>
                  <a:lnTo>
                    <a:pt x="2430" y="499"/>
                  </a:lnTo>
                  <a:lnTo>
                    <a:pt x="2440" y="509"/>
                  </a:lnTo>
                  <a:lnTo>
                    <a:pt x="2451" y="518"/>
                  </a:lnTo>
                  <a:lnTo>
                    <a:pt x="2457" y="521"/>
                  </a:lnTo>
                  <a:lnTo>
                    <a:pt x="2464" y="524"/>
                  </a:lnTo>
                  <a:lnTo>
                    <a:pt x="2470" y="525"/>
                  </a:lnTo>
                  <a:lnTo>
                    <a:pt x="2478" y="526"/>
                  </a:lnTo>
                  <a:lnTo>
                    <a:pt x="2492" y="526"/>
                  </a:lnTo>
                  <a:lnTo>
                    <a:pt x="2504" y="526"/>
                  </a:lnTo>
                  <a:lnTo>
                    <a:pt x="2515" y="526"/>
                  </a:lnTo>
                  <a:lnTo>
                    <a:pt x="2530" y="526"/>
                  </a:lnTo>
                  <a:lnTo>
                    <a:pt x="2546" y="525"/>
                  </a:lnTo>
                  <a:lnTo>
                    <a:pt x="2561" y="523"/>
                  </a:lnTo>
                  <a:lnTo>
                    <a:pt x="2575" y="520"/>
                  </a:lnTo>
                  <a:lnTo>
                    <a:pt x="2589" y="517"/>
                  </a:lnTo>
                  <a:lnTo>
                    <a:pt x="2616" y="506"/>
                  </a:lnTo>
                  <a:lnTo>
                    <a:pt x="2645" y="495"/>
                  </a:lnTo>
                  <a:lnTo>
                    <a:pt x="2680" y="485"/>
                  </a:lnTo>
                  <a:lnTo>
                    <a:pt x="2710" y="479"/>
                  </a:lnTo>
                  <a:lnTo>
                    <a:pt x="2725" y="474"/>
                  </a:lnTo>
                  <a:lnTo>
                    <a:pt x="2739" y="468"/>
                  </a:lnTo>
                  <a:lnTo>
                    <a:pt x="2747" y="465"/>
                  </a:lnTo>
                  <a:lnTo>
                    <a:pt x="2754" y="460"/>
                  </a:lnTo>
                  <a:lnTo>
                    <a:pt x="2762" y="456"/>
                  </a:lnTo>
                  <a:lnTo>
                    <a:pt x="2768" y="451"/>
                  </a:lnTo>
                  <a:lnTo>
                    <a:pt x="2773" y="446"/>
                  </a:lnTo>
                  <a:lnTo>
                    <a:pt x="2777" y="442"/>
                  </a:lnTo>
                  <a:lnTo>
                    <a:pt x="2779" y="438"/>
                  </a:lnTo>
                  <a:lnTo>
                    <a:pt x="2781" y="433"/>
                  </a:lnTo>
                  <a:lnTo>
                    <a:pt x="2784" y="424"/>
                  </a:lnTo>
                  <a:lnTo>
                    <a:pt x="2788" y="414"/>
                  </a:lnTo>
                  <a:lnTo>
                    <a:pt x="2790" y="404"/>
                  </a:lnTo>
                  <a:lnTo>
                    <a:pt x="2793" y="395"/>
                  </a:lnTo>
                  <a:lnTo>
                    <a:pt x="2795" y="390"/>
                  </a:lnTo>
                  <a:lnTo>
                    <a:pt x="2797" y="386"/>
                  </a:lnTo>
                  <a:lnTo>
                    <a:pt x="2801" y="382"/>
                  </a:lnTo>
                  <a:lnTo>
                    <a:pt x="2805" y="377"/>
                  </a:lnTo>
                  <a:lnTo>
                    <a:pt x="2810" y="373"/>
                  </a:lnTo>
                  <a:lnTo>
                    <a:pt x="2816" y="370"/>
                  </a:lnTo>
                  <a:lnTo>
                    <a:pt x="2821" y="368"/>
                  </a:lnTo>
                  <a:lnTo>
                    <a:pt x="2827" y="365"/>
                  </a:lnTo>
                  <a:lnTo>
                    <a:pt x="2837" y="363"/>
                  </a:lnTo>
                  <a:lnTo>
                    <a:pt x="2848" y="362"/>
                  </a:lnTo>
                  <a:lnTo>
                    <a:pt x="2872" y="361"/>
                  </a:lnTo>
                  <a:lnTo>
                    <a:pt x="2898" y="358"/>
                  </a:lnTo>
                  <a:lnTo>
                    <a:pt x="3026" y="352"/>
                  </a:lnTo>
                  <a:lnTo>
                    <a:pt x="3026" y="352"/>
                  </a:lnTo>
                  <a:lnTo>
                    <a:pt x="3026" y="358"/>
                  </a:lnTo>
                  <a:lnTo>
                    <a:pt x="3025" y="363"/>
                  </a:lnTo>
                  <a:lnTo>
                    <a:pt x="3023" y="369"/>
                  </a:lnTo>
                  <a:lnTo>
                    <a:pt x="3022" y="374"/>
                  </a:lnTo>
                  <a:lnTo>
                    <a:pt x="3017" y="384"/>
                  </a:lnTo>
                  <a:lnTo>
                    <a:pt x="3011" y="392"/>
                  </a:lnTo>
                  <a:lnTo>
                    <a:pt x="3006" y="402"/>
                  </a:lnTo>
                  <a:lnTo>
                    <a:pt x="3000" y="411"/>
                  </a:lnTo>
                  <a:lnTo>
                    <a:pt x="2998" y="416"/>
                  </a:lnTo>
                  <a:lnTo>
                    <a:pt x="2997" y="422"/>
                  </a:lnTo>
                  <a:lnTo>
                    <a:pt x="2996" y="427"/>
                  </a:lnTo>
                  <a:lnTo>
                    <a:pt x="2996" y="432"/>
                  </a:lnTo>
                  <a:lnTo>
                    <a:pt x="2996" y="452"/>
                  </a:lnTo>
                  <a:lnTo>
                    <a:pt x="2996" y="469"/>
                  </a:lnTo>
                  <a:lnTo>
                    <a:pt x="2996" y="485"/>
                  </a:lnTo>
                  <a:lnTo>
                    <a:pt x="2996" y="505"/>
                  </a:lnTo>
                  <a:lnTo>
                    <a:pt x="2995" y="516"/>
                  </a:lnTo>
                  <a:lnTo>
                    <a:pt x="2994" y="525"/>
                  </a:lnTo>
                  <a:lnTo>
                    <a:pt x="2991" y="535"/>
                  </a:lnTo>
                  <a:lnTo>
                    <a:pt x="2987" y="544"/>
                  </a:lnTo>
                  <a:lnTo>
                    <a:pt x="2979" y="561"/>
                  </a:lnTo>
                  <a:lnTo>
                    <a:pt x="2970" y="576"/>
                  </a:lnTo>
                  <a:lnTo>
                    <a:pt x="2960" y="592"/>
                  </a:lnTo>
                  <a:lnTo>
                    <a:pt x="2952" y="609"/>
                  </a:lnTo>
                  <a:lnTo>
                    <a:pt x="2949" y="618"/>
                  </a:lnTo>
                  <a:lnTo>
                    <a:pt x="2946" y="628"/>
                  </a:lnTo>
                  <a:lnTo>
                    <a:pt x="2944" y="638"/>
                  </a:lnTo>
                  <a:lnTo>
                    <a:pt x="2944" y="648"/>
                  </a:lnTo>
                  <a:lnTo>
                    <a:pt x="2944" y="683"/>
                  </a:lnTo>
                  <a:lnTo>
                    <a:pt x="2944" y="713"/>
                  </a:lnTo>
                  <a:lnTo>
                    <a:pt x="2944" y="743"/>
                  </a:lnTo>
                  <a:lnTo>
                    <a:pt x="2944" y="778"/>
                  </a:lnTo>
                  <a:lnTo>
                    <a:pt x="2944" y="792"/>
                  </a:lnTo>
                  <a:lnTo>
                    <a:pt x="2946" y="806"/>
                  </a:lnTo>
                  <a:lnTo>
                    <a:pt x="2949" y="818"/>
                  </a:lnTo>
                  <a:lnTo>
                    <a:pt x="2952" y="831"/>
                  </a:lnTo>
                  <a:lnTo>
                    <a:pt x="2960" y="854"/>
                  </a:lnTo>
                  <a:lnTo>
                    <a:pt x="2970" y="876"/>
                  </a:lnTo>
                  <a:lnTo>
                    <a:pt x="2979" y="898"/>
                  </a:lnTo>
                  <a:lnTo>
                    <a:pt x="2987" y="922"/>
                  </a:lnTo>
                  <a:lnTo>
                    <a:pt x="2991" y="933"/>
                  </a:lnTo>
                  <a:lnTo>
                    <a:pt x="2994" y="946"/>
                  </a:lnTo>
                  <a:lnTo>
                    <a:pt x="2995" y="960"/>
                  </a:lnTo>
                  <a:lnTo>
                    <a:pt x="2996" y="975"/>
                  </a:lnTo>
                  <a:lnTo>
                    <a:pt x="2995" y="992"/>
                  </a:lnTo>
                  <a:lnTo>
                    <a:pt x="2994" y="1007"/>
                  </a:lnTo>
                  <a:lnTo>
                    <a:pt x="2993" y="1023"/>
                  </a:lnTo>
                  <a:lnTo>
                    <a:pt x="2991" y="1037"/>
                  </a:lnTo>
                  <a:lnTo>
                    <a:pt x="2985" y="1064"/>
                  </a:lnTo>
                  <a:lnTo>
                    <a:pt x="2978" y="1091"/>
                  </a:lnTo>
                  <a:lnTo>
                    <a:pt x="2968" y="1117"/>
                  </a:lnTo>
                  <a:lnTo>
                    <a:pt x="2958" y="1144"/>
                  </a:lnTo>
                  <a:lnTo>
                    <a:pt x="2948" y="1172"/>
                  </a:lnTo>
                  <a:lnTo>
                    <a:pt x="2937" y="1205"/>
                  </a:lnTo>
                  <a:lnTo>
                    <a:pt x="2937" y="1205"/>
                  </a:lnTo>
                  <a:lnTo>
                    <a:pt x="2915" y="1203"/>
                  </a:lnTo>
                  <a:lnTo>
                    <a:pt x="2896" y="1201"/>
                  </a:lnTo>
                  <a:lnTo>
                    <a:pt x="2877" y="1198"/>
                  </a:lnTo>
                  <a:lnTo>
                    <a:pt x="2859" y="1195"/>
                  </a:lnTo>
                  <a:lnTo>
                    <a:pt x="2842" y="1191"/>
                  </a:lnTo>
                  <a:lnTo>
                    <a:pt x="2822" y="1187"/>
                  </a:lnTo>
                  <a:lnTo>
                    <a:pt x="2803" y="1185"/>
                  </a:lnTo>
                  <a:lnTo>
                    <a:pt x="2781" y="1185"/>
                  </a:lnTo>
                  <a:lnTo>
                    <a:pt x="2771" y="1185"/>
                  </a:lnTo>
                  <a:lnTo>
                    <a:pt x="2761" y="1186"/>
                  </a:lnTo>
                  <a:lnTo>
                    <a:pt x="2752" y="1188"/>
                  </a:lnTo>
                  <a:lnTo>
                    <a:pt x="2743" y="1192"/>
                  </a:lnTo>
                  <a:lnTo>
                    <a:pt x="2735" y="1195"/>
                  </a:lnTo>
                  <a:lnTo>
                    <a:pt x="2727" y="1199"/>
                  </a:lnTo>
                  <a:lnTo>
                    <a:pt x="2720" y="1203"/>
                  </a:lnTo>
                  <a:lnTo>
                    <a:pt x="2712" y="1209"/>
                  </a:lnTo>
                  <a:lnTo>
                    <a:pt x="2706" y="1215"/>
                  </a:lnTo>
                  <a:lnTo>
                    <a:pt x="2699" y="1222"/>
                  </a:lnTo>
                  <a:lnTo>
                    <a:pt x="2693" y="1229"/>
                  </a:lnTo>
                  <a:lnTo>
                    <a:pt x="2687" y="1237"/>
                  </a:lnTo>
                  <a:lnTo>
                    <a:pt x="2675" y="1253"/>
                  </a:lnTo>
                  <a:lnTo>
                    <a:pt x="2665" y="1272"/>
                  </a:lnTo>
                  <a:lnTo>
                    <a:pt x="2645" y="1304"/>
                  </a:lnTo>
                  <a:lnTo>
                    <a:pt x="2626" y="1333"/>
                  </a:lnTo>
                  <a:lnTo>
                    <a:pt x="2617" y="1347"/>
                  </a:lnTo>
                  <a:lnTo>
                    <a:pt x="2608" y="1362"/>
                  </a:lnTo>
                  <a:lnTo>
                    <a:pt x="2601" y="1378"/>
                  </a:lnTo>
                  <a:lnTo>
                    <a:pt x="2595" y="1398"/>
                  </a:lnTo>
                  <a:lnTo>
                    <a:pt x="2587" y="1409"/>
                  </a:lnTo>
                  <a:lnTo>
                    <a:pt x="2578" y="1421"/>
                  </a:lnTo>
                  <a:lnTo>
                    <a:pt x="2572" y="1443"/>
                  </a:lnTo>
                  <a:lnTo>
                    <a:pt x="2566" y="1464"/>
                  </a:lnTo>
                  <a:lnTo>
                    <a:pt x="2562" y="1484"/>
                  </a:lnTo>
                  <a:lnTo>
                    <a:pt x="2559" y="1503"/>
                  </a:lnTo>
                  <a:lnTo>
                    <a:pt x="2554" y="1522"/>
                  </a:lnTo>
                  <a:lnTo>
                    <a:pt x="2549" y="1542"/>
                  </a:lnTo>
                  <a:lnTo>
                    <a:pt x="2542" y="1561"/>
                  </a:lnTo>
                  <a:lnTo>
                    <a:pt x="2533" y="1583"/>
                  </a:lnTo>
                  <a:lnTo>
                    <a:pt x="2526" y="1596"/>
                  </a:lnTo>
                  <a:lnTo>
                    <a:pt x="2519" y="1605"/>
                  </a:lnTo>
                  <a:lnTo>
                    <a:pt x="2510" y="1616"/>
                  </a:lnTo>
                  <a:lnTo>
                    <a:pt x="2503" y="1628"/>
                  </a:lnTo>
                  <a:lnTo>
                    <a:pt x="2496" y="1640"/>
                  </a:lnTo>
                  <a:lnTo>
                    <a:pt x="2491" y="1651"/>
                  </a:lnTo>
                  <a:lnTo>
                    <a:pt x="2487" y="1656"/>
                  </a:lnTo>
                  <a:lnTo>
                    <a:pt x="2484" y="1660"/>
                  </a:lnTo>
                  <a:lnTo>
                    <a:pt x="2479" y="1664"/>
                  </a:lnTo>
                  <a:lnTo>
                    <a:pt x="2473" y="1666"/>
                  </a:lnTo>
                  <a:lnTo>
                    <a:pt x="2473" y="1666"/>
                  </a:lnTo>
                  <a:lnTo>
                    <a:pt x="2468" y="1660"/>
                  </a:lnTo>
                  <a:lnTo>
                    <a:pt x="2464" y="1655"/>
                  </a:lnTo>
                  <a:lnTo>
                    <a:pt x="2459" y="1650"/>
                  </a:lnTo>
                  <a:lnTo>
                    <a:pt x="2457" y="1643"/>
                  </a:lnTo>
                  <a:lnTo>
                    <a:pt x="2453" y="1632"/>
                  </a:lnTo>
                  <a:lnTo>
                    <a:pt x="2450" y="1620"/>
                  </a:lnTo>
                  <a:lnTo>
                    <a:pt x="2449" y="1594"/>
                  </a:lnTo>
                  <a:lnTo>
                    <a:pt x="2450" y="1565"/>
                  </a:lnTo>
                  <a:lnTo>
                    <a:pt x="2450" y="1558"/>
                  </a:lnTo>
                  <a:lnTo>
                    <a:pt x="2451" y="1550"/>
                  </a:lnTo>
                  <a:lnTo>
                    <a:pt x="2453" y="1544"/>
                  </a:lnTo>
                  <a:lnTo>
                    <a:pt x="2456" y="1537"/>
                  </a:lnTo>
                  <a:lnTo>
                    <a:pt x="2461" y="1524"/>
                  </a:lnTo>
                  <a:lnTo>
                    <a:pt x="2466" y="1510"/>
                  </a:lnTo>
                  <a:lnTo>
                    <a:pt x="2472" y="1478"/>
                  </a:lnTo>
                  <a:lnTo>
                    <a:pt x="2477" y="1450"/>
                  </a:lnTo>
                  <a:lnTo>
                    <a:pt x="2479" y="1422"/>
                  </a:lnTo>
                  <a:lnTo>
                    <a:pt x="2480" y="1389"/>
                  </a:lnTo>
                  <a:lnTo>
                    <a:pt x="2480" y="1374"/>
                  </a:lnTo>
                  <a:lnTo>
                    <a:pt x="2479" y="1361"/>
                  </a:lnTo>
                  <a:lnTo>
                    <a:pt x="2478" y="1355"/>
                  </a:lnTo>
                  <a:lnTo>
                    <a:pt x="2474" y="1349"/>
                  </a:lnTo>
                  <a:lnTo>
                    <a:pt x="2471" y="1344"/>
                  </a:lnTo>
                  <a:lnTo>
                    <a:pt x="2466" y="1338"/>
                  </a:lnTo>
                  <a:lnTo>
                    <a:pt x="2459" y="1334"/>
                  </a:lnTo>
                  <a:lnTo>
                    <a:pt x="2452" y="1331"/>
                  </a:lnTo>
                  <a:lnTo>
                    <a:pt x="2445" y="1329"/>
                  </a:lnTo>
                  <a:lnTo>
                    <a:pt x="2438" y="1327"/>
                  </a:lnTo>
                  <a:lnTo>
                    <a:pt x="2423" y="1323"/>
                  </a:lnTo>
                  <a:lnTo>
                    <a:pt x="2407" y="1319"/>
                  </a:lnTo>
                  <a:lnTo>
                    <a:pt x="2388" y="1311"/>
                  </a:lnTo>
                  <a:lnTo>
                    <a:pt x="2370" y="1305"/>
                  </a:lnTo>
                  <a:lnTo>
                    <a:pt x="2352" y="1300"/>
                  </a:lnTo>
                  <a:lnTo>
                    <a:pt x="2335" y="1294"/>
                  </a:lnTo>
                  <a:lnTo>
                    <a:pt x="2318" y="1291"/>
                  </a:lnTo>
                  <a:lnTo>
                    <a:pt x="2301" y="1288"/>
                  </a:lnTo>
                  <a:lnTo>
                    <a:pt x="2281" y="1286"/>
                  </a:lnTo>
                  <a:lnTo>
                    <a:pt x="2261" y="1286"/>
                  </a:lnTo>
                  <a:lnTo>
                    <a:pt x="2217" y="1286"/>
                  </a:lnTo>
                  <a:lnTo>
                    <a:pt x="2180" y="1286"/>
                  </a:lnTo>
                  <a:lnTo>
                    <a:pt x="2143" y="1286"/>
                  </a:lnTo>
                  <a:lnTo>
                    <a:pt x="2100" y="1286"/>
                  </a:lnTo>
                  <a:lnTo>
                    <a:pt x="2072" y="1284"/>
                  </a:lnTo>
                  <a:lnTo>
                    <a:pt x="2046" y="1283"/>
                  </a:lnTo>
                  <a:lnTo>
                    <a:pt x="2022" y="1280"/>
                  </a:lnTo>
                  <a:lnTo>
                    <a:pt x="1999" y="1277"/>
                  </a:lnTo>
                  <a:lnTo>
                    <a:pt x="1975" y="1274"/>
                  </a:lnTo>
                  <a:lnTo>
                    <a:pt x="1952" y="1272"/>
                  </a:lnTo>
                  <a:lnTo>
                    <a:pt x="1927" y="1269"/>
                  </a:lnTo>
                  <a:lnTo>
                    <a:pt x="1899" y="1268"/>
                  </a:lnTo>
                  <a:lnTo>
                    <a:pt x="1880" y="1267"/>
                  </a:lnTo>
                  <a:lnTo>
                    <a:pt x="1864" y="1264"/>
                  </a:lnTo>
                  <a:lnTo>
                    <a:pt x="1857" y="1264"/>
                  </a:lnTo>
                  <a:lnTo>
                    <a:pt x="1849" y="1264"/>
                  </a:lnTo>
                  <a:lnTo>
                    <a:pt x="1840" y="1265"/>
                  </a:lnTo>
                  <a:lnTo>
                    <a:pt x="1833" y="1268"/>
                  </a:lnTo>
                  <a:lnTo>
                    <a:pt x="1826" y="1274"/>
                  </a:lnTo>
                  <a:lnTo>
                    <a:pt x="1821" y="1279"/>
                  </a:lnTo>
                  <a:lnTo>
                    <a:pt x="1818" y="1284"/>
                  </a:lnTo>
                  <a:lnTo>
                    <a:pt x="1816" y="1292"/>
                  </a:lnTo>
                  <a:lnTo>
                    <a:pt x="1813" y="1308"/>
                  </a:lnTo>
                  <a:lnTo>
                    <a:pt x="1810" y="1324"/>
                  </a:lnTo>
                  <a:lnTo>
                    <a:pt x="1803" y="1354"/>
                  </a:lnTo>
                  <a:lnTo>
                    <a:pt x="1797" y="1378"/>
                  </a:lnTo>
                  <a:lnTo>
                    <a:pt x="1796" y="1391"/>
                  </a:lnTo>
                  <a:lnTo>
                    <a:pt x="1794" y="1404"/>
                  </a:lnTo>
                  <a:lnTo>
                    <a:pt x="1794" y="1418"/>
                  </a:lnTo>
                  <a:lnTo>
                    <a:pt x="1793" y="1434"/>
                  </a:lnTo>
                  <a:lnTo>
                    <a:pt x="1793" y="1450"/>
                  </a:lnTo>
                  <a:lnTo>
                    <a:pt x="1793" y="1464"/>
                  </a:lnTo>
                  <a:lnTo>
                    <a:pt x="1793" y="1478"/>
                  </a:lnTo>
                  <a:lnTo>
                    <a:pt x="1793" y="1494"/>
                  </a:lnTo>
                  <a:lnTo>
                    <a:pt x="1789" y="1506"/>
                  </a:lnTo>
                  <a:lnTo>
                    <a:pt x="1785" y="1518"/>
                  </a:lnTo>
                  <a:lnTo>
                    <a:pt x="1785" y="1551"/>
                  </a:lnTo>
                  <a:lnTo>
                    <a:pt x="1785" y="1581"/>
                  </a:lnTo>
                  <a:lnTo>
                    <a:pt x="1785" y="1612"/>
                  </a:lnTo>
                  <a:lnTo>
                    <a:pt x="1785" y="1646"/>
                  </a:lnTo>
                  <a:lnTo>
                    <a:pt x="1785" y="1653"/>
                  </a:lnTo>
                  <a:lnTo>
                    <a:pt x="1786" y="1659"/>
                  </a:lnTo>
                  <a:lnTo>
                    <a:pt x="1790" y="1665"/>
                  </a:lnTo>
                  <a:lnTo>
                    <a:pt x="1792" y="1669"/>
                  </a:lnTo>
                  <a:lnTo>
                    <a:pt x="1796" y="1673"/>
                  </a:lnTo>
                  <a:lnTo>
                    <a:pt x="1800" y="1678"/>
                  </a:lnTo>
                  <a:lnTo>
                    <a:pt x="1806" y="1681"/>
                  </a:lnTo>
                  <a:lnTo>
                    <a:pt x="1811" y="1684"/>
                  </a:lnTo>
                  <a:lnTo>
                    <a:pt x="1824" y="1689"/>
                  </a:lnTo>
                  <a:lnTo>
                    <a:pt x="1838" y="1693"/>
                  </a:lnTo>
                  <a:lnTo>
                    <a:pt x="1852" y="1696"/>
                  </a:lnTo>
                  <a:lnTo>
                    <a:pt x="1866" y="1697"/>
                  </a:lnTo>
                  <a:lnTo>
                    <a:pt x="1899" y="1702"/>
                  </a:lnTo>
                  <a:lnTo>
                    <a:pt x="1928" y="1708"/>
                  </a:lnTo>
                  <a:lnTo>
                    <a:pt x="1957" y="1714"/>
                  </a:lnTo>
                  <a:lnTo>
                    <a:pt x="1989" y="1720"/>
                  </a:lnTo>
                  <a:lnTo>
                    <a:pt x="2022" y="1725"/>
                  </a:lnTo>
                  <a:lnTo>
                    <a:pt x="2051" y="1732"/>
                  </a:lnTo>
                  <a:lnTo>
                    <a:pt x="2079" y="1738"/>
                  </a:lnTo>
                  <a:lnTo>
                    <a:pt x="2105" y="1745"/>
                  </a:lnTo>
                  <a:lnTo>
                    <a:pt x="2132" y="1750"/>
                  </a:lnTo>
                  <a:lnTo>
                    <a:pt x="2160" y="1755"/>
                  </a:lnTo>
                  <a:lnTo>
                    <a:pt x="2174" y="1756"/>
                  </a:lnTo>
                  <a:lnTo>
                    <a:pt x="2189" y="1758"/>
                  </a:lnTo>
                  <a:lnTo>
                    <a:pt x="2206" y="1759"/>
                  </a:lnTo>
                  <a:lnTo>
                    <a:pt x="2222" y="1760"/>
                  </a:lnTo>
                  <a:lnTo>
                    <a:pt x="2250" y="1758"/>
                  </a:lnTo>
                  <a:lnTo>
                    <a:pt x="2274" y="1754"/>
                  </a:lnTo>
                  <a:lnTo>
                    <a:pt x="2298" y="1751"/>
                  </a:lnTo>
                  <a:lnTo>
                    <a:pt x="2325" y="1748"/>
                  </a:lnTo>
                  <a:lnTo>
                    <a:pt x="2339" y="1747"/>
                  </a:lnTo>
                  <a:lnTo>
                    <a:pt x="2352" y="1746"/>
                  </a:lnTo>
                  <a:lnTo>
                    <a:pt x="2364" y="1743"/>
                  </a:lnTo>
                  <a:lnTo>
                    <a:pt x="2375" y="1741"/>
                  </a:lnTo>
                  <a:lnTo>
                    <a:pt x="2386" y="1738"/>
                  </a:lnTo>
                  <a:lnTo>
                    <a:pt x="2397" y="1733"/>
                  </a:lnTo>
                  <a:lnTo>
                    <a:pt x="2406" y="1726"/>
                  </a:lnTo>
                  <a:lnTo>
                    <a:pt x="2415" y="1718"/>
                  </a:lnTo>
                  <a:lnTo>
                    <a:pt x="2430" y="1704"/>
                  </a:lnTo>
                  <a:lnTo>
                    <a:pt x="2445" y="1693"/>
                  </a:lnTo>
                  <a:lnTo>
                    <a:pt x="2452" y="1686"/>
                  </a:lnTo>
                  <a:lnTo>
                    <a:pt x="2459" y="1681"/>
                  </a:lnTo>
                  <a:lnTo>
                    <a:pt x="2466" y="1673"/>
                  </a:lnTo>
                  <a:lnTo>
                    <a:pt x="2473" y="1666"/>
                  </a:lnTo>
                  <a:lnTo>
                    <a:pt x="2473" y="1666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47">
              <a:extLst>
                <a:ext uri="{FF2B5EF4-FFF2-40B4-BE49-F238E27FC236}">
                  <a16:creationId xmlns:a16="http://schemas.microsoft.com/office/drawing/2014/main" id="{F7F6DB99-91CD-4E96-A31D-1DC1F8928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47988" y="3616326"/>
              <a:ext cx="274638" cy="196850"/>
            </a:xfrm>
            <a:custGeom>
              <a:avLst/>
              <a:gdLst>
                <a:gd name="T0" fmla="*/ 683 w 695"/>
                <a:gd name="T1" fmla="*/ 396 h 496"/>
                <a:gd name="T2" fmla="*/ 674 w 695"/>
                <a:gd name="T3" fmla="*/ 386 h 496"/>
                <a:gd name="T4" fmla="*/ 668 w 695"/>
                <a:gd name="T5" fmla="*/ 368 h 496"/>
                <a:gd name="T6" fmla="*/ 664 w 695"/>
                <a:gd name="T7" fmla="*/ 330 h 496"/>
                <a:gd name="T8" fmla="*/ 665 w 695"/>
                <a:gd name="T9" fmla="*/ 294 h 496"/>
                <a:gd name="T10" fmla="*/ 668 w 695"/>
                <a:gd name="T11" fmla="*/ 280 h 496"/>
                <a:gd name="T12" fmla="*/ 676 w 695"/>
                <a:gd name="T13" fmla="*/ 260 h 496"/>
                <a:gd name="T14" fmla="*/ 687 w 695"/>
                <a:gd name="T15" fmla="*/ 214 h 496"/>
                <a:gd name="T16" fmla="*/ 694 w 695"/>
                <a:gd name="T17" fmla="*/ 158 h 496"/>
                <a:gd name="T18" fmla="*/ 695 w 695"/>
                <a:gd name="T19" fmla="*/ 110 h 496"/>
                <a:gd name="T20" fmla="*/ 693 w 695"/>
                <a:gd name="T21" fmla="*/ 91 h 496"/>
                <a:gd name="T22" fmla="*/ 686 w 695"/>
                <a:gd name="T23" fmla="*/ 80 h 496"/>
                <a:gd name="T24" fmla="*/ 674 w 695"/>
                <a:gd name="T25" fmla="*/ 70 h 496"/>
                <a:gd name="T26" fmla="*/ 660 w 695"/>
                <a:gd name="T27" fmla="*/ 65 h 496"/>
                <a:gd name="T28" fmla="*/ 638 w 695"/>
                <a:gd name="T29" fmla="*/ 59 h 496"/>
                <a:gd name="T30" fmla="*/ 603 w 695"/>
                <a:gd name="T31" fmla="*/ 47 h 496"/>
                <a:gd name="T32" fmla="*/ 567 w 695"/>
                <a:gd name="T33" fmla="*/ 36 h 496"/>
                <a:gd name="T34" fmla="*/ 533 w 695"/>
                <a:gd name="T35" fmla="*/ 27 h 496"/>
                <a:gd name="T36" fmla="*/ 496 w 695"/>
                <a:gd name="T37" fmla="*/ 22 h 496"/>
                <a:gd name="T38" fmla="*/ 432 w 695"/>
                <a:gd name="T39" fmla="*/ 22 h 496"/>
                <a:gd name="T40" fmla="*/ 358 w 695"/>
                <a:gd name="T41" fmla="*/ 22 h 496"/>
                <a:gd name="T42" fmla="*/ 287 w 695"/>
                <a:gd name="T43" fmla="*/ 20 h 496"/>
                <a:gd name="T44" fmla="*/ 237 w 695"/>
                <a:gd name="T45" fmla="*/ 16 h 496"/>
                <a:gd name="T46" fmla="*/ 190 w 695"/>
                <a:gd name="T47" fmla="*/ 10 h 496"/>
                <a:gd name="T48" fmla="*/ 142 w 695"/>
                <a:gd name="T49" fmla="*/ 5 h 496"/>
                <a:gd name="T50" fmla="*/ 95 w 695"/>
                <a:gd name="T51" fmla="*/ 3 h 496"/>
                <a:gd name="T52" fmla="*/ 72 w 695"/>
                <a:gd name="T53" fmla="*/ 0 h 496"/>
                <a:gd name="T54" fmla="*/ 55 w 695"/>
                <a:gd name="T55" fmla="*/ 1 h 496"/>
                <a:gd name="T56" fmla="*/ 41 w 695"/>
                <a:gd name="T57" fmla="*/ 10 h 496"/>
                <a:gd name="T58" fmla="*/ 33 w 695"/>
                <a:gd name="T59" fmla="*/ 20 h 496"/>
                <a:gd name="T60" fmla="*/ 28 w 695"/>
                <a:gd name="T61" fmla="*/ 44 h 496"/>
                <a:gd name="T62" fmla="*/ 18 w 695"/>
                <a:gd name="T63" fmla="*/ 90 h 496"/>
                <a:gd name="T64" fmla="*/ 11 w 695"/>
                <a:gd name="T65" fmla="*/ 127 h 496"/>
                <a:gd name="T66" fmla="*/ 9 w 695"/>
                <a:gd name="T67" fmla="*/ 154 h 496"/>
                <a:gd name="T68" fmla="*/ 8 w 695"/>
                <a:gd name="T69" fmla="*/ 186 h 496"/>
                <a:gd name="T70" fmla="*/ 8 w 695"/>
                <a:gd name="T71" fmla="*/ 214 h 496"/>
                <a:gd name="T72" fmla="*/ 4 w 695"/>
                <a:gd name="T73" fmla="*/ 242 h 496"/>
                <a:gd name="T74" fmla="*/ 0 w 695"/>
                <a:gd name="T75" fmla="*/ 287 h 496"/>
                <a:gd name="T76" fmla="*/ 0 w 695"/>
                <a:gd name="T77" fmla="*/ 348 h 496"/>
                <a:gd name="T78" fmla="*/ 0 w 695"/>
                <a:gd name="T79" fmla="*/ 389 h 496"/>
                <a:gd name="T80" fmla="*/ 5 w 695"/>
                <a:gd name="T81" fmla="*/ 401 h 496"/>
                <a:gd name="T82" fmla="*/ 11 w 695"/>
                <a:gd name="T83" fmla="*/ 409 h 496"/>
                <a:gd name="T84" fmla="*/ 21 w 695"/>
                <a:gd name="T85" fmla="*/ 417 h 496"/>
                <a:gd name="T86" fmla="*/ 39 w 695"/>
                <a:gd name="T87" fmla="*/ 425 h 496"/>
                <a:gd name="T88" fmla="*/ 67 w 695"/>
                <a:gd name="T89" fmla="*/ 432 h 496"/>
                <a:gd name="T90" fmla="*/ 114 w 695"/>
                <a:gd name="T91" fmla="*/ 438 h 496"/>
                <a:gd name="T92" fmla="*/ 172 w 695"/>
                <a:gd name="T93" fmla="*/ 450 h 496"/>
                <a:gd name="T94" fmla="*/ 237 w 695"/>
                <a:gd name="T95" fmla="*/ 461 h 496"/>
                <a:gd name="T96" fmla="*/ 294 w 695"/>
                <a:gd name="T97" fmla="*/ 474 h 496"/>
                <a:gd name="T98" fmla="*/ 347 w 695"/>
                <a:gd name="T99" fmla="*/ 486 h 496"/>
                <a:gd name="T100" fmla="*/ 389 w 695"/>
                <a:gd name="T101" fmla="*/ 492 h 496"/>
                <a:gd name="T102" fmla="*/ 421 w 695"/>
                <a:gd name="T103" fmla="*/ 495 h 496"/>
                <a:gd name="T104" fmla="*/ 465 w 695"/>
                <a:gd name="T105" fmla="*/ 494 h 496"/>
                <a:gd name="T106" fmla="*/ 513 w 695"/>
                <a:gd name="T107" fmla="*/ 487 h 496"/>
                <a:gd name="T108" fmla="*/ 554 w 695"/>
                <a:gd name="T109" fmla="*/ 483 h 496"/>
                <a:gd name="T110" fmla="*/ 579 w 695"/>
                <a:gd name="T111" fmla="*/ 479 h 496"/>
                <a:gd name="T112" fmla="*/ 601 w 695"/>
                <a:gd name="T113" fmla="*/ 474 h 496"/>
                <a:gd name="T114" fmla="*/ 621 w 695"/>
                <a:gd name="T115" fmla="*/ 462 h 496"/>
                <a:gd name="T116" fmla="*/ 645 w 695"/>
                <a:gd name="T117" fmla="*/ 440 h 496"/>
                <a:gd name="T118" fmla="*/ 667 w 695"/>
                <a:gd name="T119" fmla="*/ 422 h 496"/>
                <a:gd name="T120" fmla="*/ 681 w 695"/>
                <a:gd name="T121" fmla="*/ 409 h 496"/>
                <a:gd name="T122" fmla="*/ 688 w 695"/>
                <a:gd name="T123" fmla="*/ 402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95" h="496">
                  <a:moveTo>
                    <a:pt x="688" y="402"/>
                  </a:moveTo>
                  <a:lnTo>
                    <a:pt x="683" y="396"/>
                  </a:lnTo>
                  <a:lnTo>
                    <a:pt x="679" y="391"/>
                  </a:lnTo>
                  <a:lnTo>
                    <a:pt x="674" y="386"/>
                  </a:lnTo>
                  <a:lnTo>
                    <a:pt x="672" y="379"/>
                  </a:lnTo>
                  <a:lnTo>
                    <a:pt x="668" y="368"/>
                  </a:lnTo>
                  <a:lnTo>
                    <a:pt x="665" y="356"/>
                  </a:lnTo>
                  <a:lnTo>
                    <a:pt x="664" y="330"/>
                  </a:lnTo>
                  <a:lnTo>
                    <a:pt x="665" y="301"/>
                  </a:lnTo>
                  <a:lnTo>
                    <a:pt x="665" y="294"/>
                  </a:lnTo>
                  <a:lnTo>
                    <a:pt x="666" y="286"/>
                  </a:lnTo>
                  <a:lnTo>
                    <a:pt x="668" y="280"/>
                  </a:lnTo>
                  <a:lnTo>
                    <a:pt x="671" y="273"/>
                  </a:lnTo>
                  <a:lnTo>
                    <a:pt x="676" y="260"/>
                  </a:lnTo>
                  <a:lnTo>
                    <a:pt x="681" y="246"/>
                  </a:lnTo>
                  <a:lnTo>
                    <a:pt x="687" y="214"/>
                  </a:lnTo>
                  <a:lnTo>
                    <a:pt x="692" y="186"/>
                  </a:lnTo>
                  <a:lnTo>
                    <a:pt x="694" y="158"/>
                  </a:lnTo>
                  <a:lnTo>
                    <a:pt x="695" y="125"/>
                  </a:lnTo>
                  <a:lnTo>
                    <a:pt x="695" y="110"/>
                  </a:lnTo>
                  <a:lnTo>
                    <a:pt x="694" y="97"/>
                  </a:lnTo>
                  <a:lnTo>
                    <a:pt x="693" y="91"/>
                  </a:lnTo>
                  <a:lnTo>
                    <a:pt x="689" y="85"/>
                  </a:lnTo>
                  <a:lnTo>
                    <a:pt x="686" y="80"/>
                  </a:lnTo>
                  <a:lnTo>
                    <a:pt x="681" y="74"/>
                  </a:lnTo>
                  <a:lnTo>
                    <a:pt x="674" y="70"/>
                  </a:lnTo>
                  <a:lnTo>
                    <a:pt x="667" y="67"/>
                  </a:lnTo>
                  <a:lnTo>
                    <a:pt x="660" y="65"/>
                  </a:lnTo>
                  <a:lnTo>
                    <a:pt x="653" y="63"/>
                  </a:lnTo>
                  <a:lnTo>
                    <a:pt x="638" y="59"/>
                  </a:lnTo>
                  <a:lnTo>
                    <a:pt x="622" y="55"/>
                  </a:lnTo>
                  <a:lnTo>
                    <a:pt x="603" y="47"/>
                  </a:lnTo>
                  <a:lnTo>
                    <a:pt x="585" y="41"/>
                  </a:lnTo>
                  <a:lnTo>
                    <a:pt x="567" y="36"/>
                  </a:lnTo>
                  <a:lnTo>
                    <a:pt x="550" y="30"/>
                  </a:lnTo>
                  <a:lnTo>
                    <a:pt x="533" y="27"/>
                  </a:lnTo>
                  <a:lnTo>
                    <a:pt x="516" y="24"/>
                  </a:lnTo>
                  <a:lnTo>
                    <a:pt x="496" y="22"/>
                  </a:lnTo>
                  <a:lnTo>
                    <a:pt x="476" y="22"/>
                  </a:lnTo>
                  <a:lnTo>
                    <a:pt x="432" y="22"/>
                  </a:lnTo>
                  <a:lnTo>
                    <a:pt x="395" y="22"/>
                  </a:lnTo>
                  <a:lnTo>
                    <a:pt x="358" y="22"/>
                  </a:lnTo>
                  <a:lnTo>
                    <a:pt x="315" y="22"/>
                  </a:lnTo>
                  <a:lnTo>
                    <a:pt x="287" y="20"/>
                  </a:lnTo>
                  <a:lnTo>
                    <a:pt x="261" y="19"/>
                  </a:lnTo>
                  <a:lnTo>
                    <a:pt x="237" y="16"/>
                  </a:lnTo>
                  <a:lnTo>
                    <a:pt x="214" y="13"/>
                  </a:lnTo>
                  <a:lnTo>
                    <a:pt x="190" y="10"/>
                  </a:lnTo>
                  <a:lnTo>
                    <a:pt x="167" y="8"/>
                  </a:lnTo>
                  <a:lnTo>
                    <a:pt x="142" y="5"/>
                  </a:lnTo>
                  <a:lnTo>
                    <a:pt x="114" y="4"/>
                  </a:lnTo>
                  <a:lnTo>
                    <a:pt x="95" y="3"/>
                  </a:lnTo>
                  <a:lnTo>
                    <a:pt x="79" y="0"/>
                  </a:lnTo>
                  <a:lnTo>
                    <a:pt x="72" y="0"/>
                  </a:lnTo>
                  <a:lnTo>
                    <a:pt x="64" y="0"/>
                  </a:lnTo>
                  <a:lnTo>
                    <a:pt x="55" y="1"/>
                  </a:lnTo>
                  <a:lnTo>
                    <a:pt x="48" y="4"/>
                  </a:lnTo>
                  <a:lnTo>
                    <a:pt x="41" y="10"/>
                  </a:lnTo>
                  <a:lnTo>
                    <a:pt x="36" y="15"/>
                  </a:lnTo>
                  <a:lnTo>
                    <a:pt x="33" y="20"/>
                  </a:lnTo>
                  <a:lnTo>
                    <a:pt x="31" y="28"/>
                  </a:lnTo>
                  <a:lnTo>
                    <a:pt x="28" y="44"/>
                  </a:lnTo>
                  <a:lnTo>
                    <a:pt x="25" y="60"/>
                  </a:lnTo>
                  <a:lnTo>
                    <a:pt x="18" y="90"/>
                  </a:lnTo>
                  <a:lnTo>
                    <a:pt x="12" y="114"/>
                  </a:lnTo>
                  <a:lnTo>
                    <a:pt x="11" y="127"/>
                  </a:lnTo>
                  <a:lnTo>
                    <a:pt x="9" y="140"/>
                  </a:lnTo>
                  <a:lnTo>
                    <a:pt x="9" y="154"/>
                  </a:lnTo>
                  <a:lnTo>
                    <a:pt x="8" y="170"/>
                  </a:lnTo>
                  <a:lnTo>
                    <a:pt x="8" y="186"/>
                  </a:lnTo>
                  <a:lnTo>
                    <a:pt x="8" y="200"/>
                  </a:lnTo>
                  <a:lnTo>
                    <a:pt x="8" y="214"/>
                  </a:lnTo>
                  <a:lnTo>
                    <a:pt x="8" y="230"/>
                  </a:lnTo>
                  <a:lnTo>
                    <a:pt x="4" y="242"/>
                  </a:lnTo>
                  <a:lnTo>
                    <a:pt x="0" y="254"/>
                  </a:lnTo>
                  <a:lnTo>
                    <a:pt x="0" y="287"/>
                  </a:lnTo>
                  <a:lnTo>
                    <a:pt x="0" y="317"/>
                  </a:lnTo>
                  <a:lnTo>
                    <a:pt x="0" y="348"/>
                  </a:lnTo>
                  <a:lnTo>
                    <a:pt x="0" y="382"/>
                  </a:lnTo>
                  <a:lnTo>
                    <a:pt x="0" y="389"/>
                  </a:lnTo>
                  <a:lnTo>
                    <a:pt x="1" y="395"/>
                  </a:lnTo>
                  <a:lnTo>
                    <a:pt x="5" y="401"/>
                  </a:lnTo>
                  <a:lnTo>
                    <a:pt x="7" y="405"/>
                  </a:lnTo>
                  <a:lnTo>
                    <a:pt x="11" y="409"/>
                  </a:lnTo>
                  <a:lnTo>
                    <a:pt x="15" y="414"/>
                  </a:lnTo>
                  <a:lnTo>
                    <a:pt x="21" y="417"/>
                  </a:lnTo>
                  <a:lnTo>
                    <a:pt x="26" y="420"/>
                  </a:lnTo>
                  <a:lnTo>
                    <a:pt x="39" y="425"/>
                  </a:lnTo>
                  <a:lnTo>
                    <a:pt x="53" y="429"/>
                  </a:lnTo>
                  <a:lnTo>
                    <a:pt x="67" y="432"/>
                  </a:lnTo>
                  <a:lnTo>
                    <a:pt x="81" y="433"/>
                  </a:lnTo>
                  <a:lnTo>
                    <a:pt x="114" y="438"/>
                  </a:lnTo>
                  <a:lnTo>
                    <a:pt x="143" y="444"/>
                  </a:lnTo>
                  <a:lnTo>
                    <a:pt x="172" y="450"/>
                  </a:lnTo>
                  <a:lnTo>
                    <a:pt x="204" y="456"/>
                  </a:lnTo>
                  <a:lnTo>
                    <a:pt x="237" y="461"/>
                  </a:lnTo>
                  <a:lnTo>
                    <a:pt x="266" y="468"/>
                  </a:lnTo>
                  <a:lnTo>
                    <a:pt x="294" y="474"/>
                  </a:lnTo>
                  <a:lnTo>
                    <a:pt x="320" y="481"/>
                  </a:lnTo>
                  <a:lnTo>
                    <a:pt x="347" y="486"/>
                  </a:lnTo>
                  <a:lnTo>
                    <a:pt x="375" y="491"/>
                  </a:lnTo>
                  <a:lnTo>
                    <a:pt x="389" y="492"/>
                  </a:lnTo>
                  <a:lnTo>
                    <a:pt x="404" y="494"/>
                  </a:lnTo>
                  <a:lnTo>
                    <a:pt x="421" y="495"/>
                  </a:lnTo>
                  <a:lnTo>
                    <a:pt x="437" y="496"/>
                  </a:lnTo>
                  <a:lnTo>
                    <a:pt x="465" y="494"/>
                  </a:lnTo>
                  <a:lnTo>
                    <a:pt x="489" y="490"/>
                  </a:lnTo>
                  <a:lnTo>
                    <a:pt x="513" y="487"/>
                  </a:lnTo>
                  <a:lnTo>
                    <a:pt x="540" y="484"/>
                  </a:lnTo>
                  <a:lnTo>
                    <a:pt x="554" y="483"/>
                  </a:lnTo>
                  <a:lnTo>
                    <a:pt x="567" y="482"/>
                  </a:lnTo>
                  <a:lnTo>
                    <a:pt x="579" y="479"/>
                  </a:lnTo>
                  <a:lnTo>
                    <a:pt x="590" y="477"/>
                  </a:lnTo>
                  <a:lnTo>
                    <a:pt x="601" y="474"/>
                  </a:lnTo>
                  <a:lnTo>
                    <a:pt x="612" y="469"/>
                  </a:lnTo>
                  <a:lnTo>
                    <a:pt x="621" y="462"/>
                  </a:lnTo>
                  <a:lnTo>
                    <a:pt x="630" y="454"/>
                  </a:lnTo>
                  <a:lnTo>
                    <a:pt x="645" y="440"/>
                  </a:lnTo>
                  <a:lnTo>
                    <a:pt x="660" y="429"/>
                  </a:lnTo>
                  <a:lnTo>
                    <a:pt x="667" y="422"/>
                  </a:lnTo>
                  <a:lnTo>
                    <a:pt x="674" y="417"/>
                  </a:lnTo>
                  <a:lnTo>
                    <a:pt x="681" y="409"/>
                  </a:lnTo>
                  <a:lnTo>
                    <a:pt x="688" y="402"/>
                  </a:lnTo>
                  <a:lnTo>
                    <a:pt x="688" y="402"/>
                  </a:lnTo>
                  <a:close/>
                </a:path>
              </a:pathLst>
            </a:custGeom>
            <a:solidFill>
              <a:srgbClr val="FEFEFE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48">
              <a:extLst>
                <a:ext uri="{FF2B5EF4-FFF2-40B4-BE49-F238E27FC236}">
                  <a16:creationId xmlns:a16="http://schemas.microsoft.com/office/drawing/2014/main" id="{5CEE85B8-5DDC-4B70-BAD3-4F3E1EB10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47988" y="3616326"/>
              <a:ext cx="274638" cy="196850"/>
            </a:xfrm>
            <a:custGeom>
              <a:avLst/>
              <a:gdLst>
                <a:gd name="T0" fmla="*/ 683 w 695"/>
                <a:gd name="T1" fmla="*/ 396 h 496"/>
                <a:gd name="T2" fmla="*/ 674 w 695"/>
                <a:gd name="T3" fmla="*/ 386 h 496"/>
                <a:gd name="T4" fmla="*/ 668 w 695"/>
                <a:gd name="T5" fmla="*/ 368 h 496"/>
                <a:gd name="T6" fmla="*/ 664 w 695"/>
                <a:gd name="T7" fmla="*/ 330 h 496"/>
                <a:gd name="T8" fmla="*/ 665 w 695"/>
                <a:gd name="T9" fmla="*/ 294 h 496"/>
                <a:gd name="T10" fmla="*/ 668 w 695"/>
                <a:gd name="T11" fmla="*/ 280 h 496"/>
                <a:gd name="T12" fmla="*/ 676 w 695"/>
                <a:gd name="T13" fmla="*/ 260 h 496"/>
                <a:gd name="T14" fmla="*/ 687 w 695"/>
                <a:gd name="T15" fmla="*/ 214 h 496"/>
                <a:gd name="T16" fmla="*/ 694 w 695"/>
                <a:gd name="T17" fmla="*/ 158 h 496"/>
                <a:gd name="T18" fmla="*/ 695 w 695"/>
                <a:gd name="T19" fmla="*/ 110 h 496"/>
                <a:gd name="T20" fmla="*/ 693 w 695"/>
                <a:gd name="T21" fmla="*/ 91 h 496"/>
                <a:gd name="T22" fmla="*/ 686 w 695"/>
                <a:gd name="T23" fmla="*/ 80 h 496"/>
                <a:gd name="T24" fmla="*/ 674 w 695"/>
                <a:gd name="T25" fmla="*/ 70 h 496"/>
                <a:gd name="T26" fmla="*/ 660 w 695"/>
                <a:gd name="T27" fmla="*/ 65 h 496"/>
                <a:gd name="T28" fmla="*/ 638 w 695"/>
                <a:gd name="T29" fmla="*/ 59 h 496"/>
                <a:gd name="T30" fmla="*/ 603 w 695"/>
                <a:gd name="T31" fmla="*/ 47 h 496"/>
                <a:gd name="T32" fmla="*/ 567 w 695"/>
                <a:gd name="T33" fmla="*/ 36 h 496"/>
                <a:gd name="T34" fmla="*/ 533 w 695"/>
                <a:gd name="T35" fmla="*/ 27 h 496"/>
                <a:gd name="T36" fmla="*/ 496 w 695"/>
                <a:gd name="T37" fmla="*/ 22 h 496"/>
                <a:gd name="T38" fmla="*/ 432 w 695"/>
                <a:gd name="T39" fmla="*/ 22 h 496"/>
                <a:gd name="T40" fmla="*/ 358 w 695"/>
                <a:gd name="T41" fmla="*/ 22 h 496"/>
                <a:gd name="T42" fmla="*/ 287 w 695"/>
                <a:gd name="T43" fmla="*/ 20 h 496"/>
                <a:gd name="T44" fmla="*/ 237 w 695"/>
                <a:gd name="T45" fmla="*/ 16 h 496"/>
                <a:gd name="T46" fmla="*/ 190 w 695"/>
                <a:gd name="T47" fmla="*/ 10 h 496"/>
                <a:gd name="T48" fmla="*/ 142 w 695"/>
                <a:gd name="T49" fmla="*/ 5 h 496"/>
                <a:gd name="T50" fmla="*/ 95 w 695"/>
                <a:gd name="T51" fmla="*/ 3 h 496"/>
                <a:gd name="T52" fmla="*/ 72 w 695"/>
                <a:gd name="T53" fmla="*/ 0 h 496"/>
                <a:gd name="T54" fmla="*/ 55 w 695"/>
                <a:gd name="T55" fmla="*/ 1 h 496"/>
                <a:gd name="T56" fmla="*/ 41 w 695"/>
                <a:gd name="T57" fmla="*/ 10 h 496"/>
                <a:gd name="T58" fmla="*/ 33 w 695"/>
                <a:gd name="T59" fmla="*/ 20 h 496"/>
                <a:gd name="T60" fmla="*/ 28 w 695"/>
                <a:gd name="T61" fmla="*/ 44 h 496"/>
                <a:gd name="T62" fmla="*/ 18 w 695"/>
                <a:gd name="T63" fmla="*/ 90 h 496"/>
                <a:gd name="T64" fmla="*/ 11 w 695"/>
                <a:gd name="T65" fmla="*/ 127 h 496"/>
                <a:gd name="T66" fmla="*/ 9 w 695"/>
                <a:gd name="T67" fmla="*/ 154 h 496"/>
                <a:gd name="T68" fmla="*/ 8 w 695"/>
                <a:gd name="T69" fmla="*/ 186 h 496"/>
                <a:gd name="T70" fmla="*/ 8 w 695"/>
                <a:gd name="T71" fmla="*/ 214 h 496"/>
                <a:gd name="T72" fmla="*/ 4 w 695"/>
                <a:gd name="T73" fmla="*/ 242 h 496"/>
                <a:gd name="T74" fmla="*/ 0 w 695"/>
                <a:gd name="T75" fmla="*/ 287 h 496"/>
                <a:gd name="T76" fmla="*/ 0 w 695"/>
                <a:gd name="T77" fmla="*/ 348 h 496"/>
                <a:gd name="T78" fmla="*/ 0 w 695"/>
                <a:gd name="T79" fmla="*/ 389 h 496"/>
                <a:gd name="T80" fmla="*/ 5 w 695"/>
                <a:gd name="T81" fmla="*/ 401 h 496"/>
                <a:gd name="T82" fmla="*/ 11 w 695"/>
                <a:gd name="T83" fmla="*/ 409 h 496"/>
                <a:gd name="T84" fmla="*/ 21 w 695"/>
                <a:gd name="T85" fmla="*/ 417 h 496"/>
                <a:gd name="T86" fmla="*/ 39 w 695"/>
                <a:gd name="T87" fmla="*/ 425 h 496"/>
                <a:gd name="T88" fmla="*/ 67 w 695"/>
                <a:gd name="T89" fmla="*/ 432 h 496"/>
                <a:gd name="T90" fmla="*/ 114 w 695"/>
                <a:gd name="T91" fmla="*/ 438 h 496"/>
                <a:gd name="T92" fmla="*/ 172 w 695"/>
                <a:gd name="T93" fmla="*/ 450 h 496"/>
                <a:gd name="T94" fmla="*/ 237 w 695"/>
                <a:gd name="T95" fmla="*/ 461 h 496"/>
                <a:gd name="T96" fmla="*/ 294 w 695"/>
                <a:gd name="T97" fmla="*/ 474 h 496"/>
                <a:gd name="T98" fmla="*/ 347 w 695"/>
                <a:gd name="T99" fmla="*/ 486 h 496"/>
                <a:gd name="T100" fmla="*/ 389 w 695"/>
                <a:gd name="T101" fmla="*/ 492 h 496"/>
                <a:gd name="T102" fmla="*/ 421 w 695"/>
                <a:gd name="T103" fmla="*/ 495 h 496"/>
                <a:gd name="T104" fmla="*/ 465 w 695"/>
                <a:gd name="T105" fmla="*/ 494 h 496"/>
                <a:gd name="T106" fmla="*/ 513 w 695"/>
                <a:gd name="T107" fmla="*/ 487 h 496"/>
                <a:gd name="T108" fmla="*/ 554 w 695"/>
                <a:gd name="T109" fmla="*/ 483 h 496"/>
                <a:gd name="T110" fmla="*/ 579 w 695"/>
                <a:gd name="T111" fmla="*/ 479 h 496"/>
                <a:gd name="T112" fmla="*/ 601 w 695"/>
                <a:gd name="T113" fmla="*/ 474 h 496"/>
                <a:gd name="T114" fmla="*/ 621 w 695"/>
                <a:gd name="T115" fmla="*/ 462 h 496"/>
                <a:gd name="T116" fmla="*/ 645 w 695"/>
                <a:gd name="T117" fmla="*/ 440 h 496"/>
                <a:gd name="T118" fmla="*/ 667 w 695"/>
                <a:gd name="T119" fmla="*/ 422 h 496"/>
                <a:gd name="T120" fmla="*/ 681 w 695"/>
                <a:gd name="T121" fmla="*/ 409 h 496"/>
                <a:gd name="T122" fmla="*/ 688 w 695"/>
                <a:gd name="T123" fmla="*/ 402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95" h="496">
                  <a:moveTo>
                    <a:pt x="688" y="402"/>
                  </a:moveTo>
                  <a:lnTo>
                    <a:pt x="683" y="396"/>
                  </a:lnTo>
                  <a:lnTo>
                    <a:pt x="679" y="391"/>
                  </a:lnTo>
                  <a:lnTo>
                    <a:pt x="674" y="386"/>
                  </a:lnTo>
                  <a:lnTo>
                    <a:pt x="672" y="379"/>
                  </a:lnTo>
                  <a:lnTo>
                    <a:pt x="668" y="368"/>
                  </a:lnTo>
                  <a:lnTo>
                    <a:pt x="665" y="356"/>
                  </a:lnTo>
                  <a:lnTo>
                    <a:pt x="664" y="330"/>
                  </a:lnTo>
                  <a:lnTo>
                    <a:pt x="665" y="301"/>
                  </a:lnTo>
                  <a:lnTo>
                    <a:pt x="665" y="294"/>
                  </a:lnTo>
                  <a:lnTo>
                    <a:pt x="666" y="286"/>
                  </a:lnTo>
                  <a:lnTo>
                    <a:pt x="668" y="280"/>
                  </a:lnTo>
                  <a:lnTo>
                    <a:pt x="671" y="273"/>
                  </a:lnTo>
                  <a:lnTo>
                    <a:pt x="676" y="260"/>
                  </a:lnTo>
                  <a:lnTo>
                    <a:pt x="681" y="246"/>
                  </a:lnTo>
                  <a:lnTo>
                    <a:pt x="687" y="214"/>
                  </a:lnTo>
                  <a:lnTo>
                    <a:pt x="692" y="186"/>
                  </a:lnTo>
                  <a:lnTo>
                    <a:pt x="694" y="158"/>
                  </a:lnTo>
                  <a:lnTo>
                    <a:pt x="695" y="125"/>
                  </a:lnTo>
                  <a:lnTo>
                    <a:pt x="695" y="110"/>
                  </a:lnTo>
                  <a:lnTo>
                    <a:pt x="694" y="97"/>
                  </a:lnTo>
                  <a:lnTo>
                    <a:pt x="693" y="91"/>
                  </a:lnTo>
                  <a:lnTo>
                    <a:pt x="689" y="85"/>
                  </a:lnTo>
                  <a:lnTo>
                    <a:pt x="686" y="80"/>
                  </a:lnTo>
                  <a:lnTo>
                    <a:pt x="681" y="74"/>
                  </a:lnTo>
                  <a:lnTo>
                    <a:pt x="674" y="70"/>
                  </a:lnTo>
                  <a:lnTo>
                    <a:pt x="667" y="67"/>
                  </a:lnTo>
                  <a:lnTo>
                    <a:pt x="660" y="65"/>
                  </a:lnTo>
                  <a:lnTo>
                    <a:pt x="653" y="63"/>
                  </a:lnTo>
                  <a:lnTo>
                    <a:pt x="638" y="59"/>
                  </a:lnTo>
                  <a:lnTo>
                    <a:pt x="622" y="55"/>
                  </a:lnTo>
                  <a:lnTo>
                    <a:pt x="603" y="47"/>
                  </a:lnTo>
                  <a:lnTo>
                    <a:pt x="585" y="41"/>
                  </a:lnTo>
                  <a:lnTo>
                    <a:pt x="567" y="36"/>
                  </a:lnTo>
                  <a:lnTo>
                    <a:pt x="550" y="30"/>
                  </a:lnTo>
                  <a:lnTo>
                    <a:pt x="533" y="27"/>
                  </a:lnTo>
                  <a:lnTo>
                    <a:pt x="516" y="24"/>
                  </a:lnTo>
                  <a:lnTo>
                    <a:pt x="496" y="22"/>
                  </a:lnTo>
                  <a:lnTo>
                    <a:pt x="476" y="22"/>
                  </a:lnTo>
                  <a:lnTo>
                    <a:pt x="432" y="22"/>
                  </a:lnTo>
                  <a:lnTo>
                    <a:pt x="395" y="22"/>
                  </a:lnTo>
                  <a:lnTo>
                    <a:pt x="358" y="22"/>
                  </a:lnTo>
                  <a:lnTo>
                    <a:pt x="315" y="22"/>
                  </a:lnTo>
                  <a:lnTo>
                    <a:pt x="287" y="20"/>
                  </a:lnTo>
                  <a:lnTo>
                    <a:pt x="261" y="19"/>
                  </a:lnTo>
                  <a:lnTo>
                    <a:pt x="237" y="16"/>
                  </a:lnTo>
                  <a:lnTo>
                    <a:pt x="214" y="13"/>
                  </a:lnTo>
                  <a:lnTo>
                    <a:pt x="190" y="10"/>
                  </a:lnTo>
                  <a:lnTo>
                    <a:pt x="167" y="8"/>
                  </a:lnTo>
                  <a:lnTo>
                    <a:pt x="142" y="5"/>
                  </a:lnTo>
                  <a:lnTo>
                    <a:pt x="114" y="4"/>
                  </a:lnTo>
                  <a:lnTo>
                    <a:pt x="95" y="3"/>
                  </a:lnTo>
                  <a:lnTo>
                    <a:pt x="79" y="0"/>
                  </a:lnTo>
                  <a:lnTo>
                    <a:pt x="72" y="0"/>
                  </a:lnTo>
                  <a:lnTo>
                    <a:pt x="64" y="0"/>
                  </a:lnTo>
                  <a:lnTo>
                    <a:pt x="55" y="1"/>
                  </a:lnTo>
                  <a:lnTo>
                    <a:pt x="48" y="4"/>
                  </a:lnTo>
                  <a:lnTo>
                    <a:pt x="41" y="10"/>
                  </a:lnTo>
                  <a:lnTo>
                    <a:pt x="36" y="15"/>
                  </a:lnTo>
                  <a:lnTo>
                    <a:pt x="33" y="20"/>
                  </a:lnTo>
                  <a:lnTo>
                    <a:pt x="31" y="28"/>
                  </a:lnTo>
                  <a:lnTo>
                    <a:pt x="28" y="44"/>
                  </a:lnTo>
                  <a:lnTo>
                    <a:pt x="25" y="60"/>
                  </a:lnTo>
                  <a:lnTo>
                    <a:pt x="18" y="90"/>
                  </a:lnTo>
                  <a:lnTo>
                    <a:pt x="12" y="114"/>
                  </a:lnTo>
                  <a:lnTo>
                    <a:pt x="11" y="127"/>
                  </a:lnTo>
                  <a:lnTo>
                    <a:pt x="9" y="140"/>
                  </a:lnTo>
                  <a:lnTo>
                    <a:pt x="9" y="154"/>
                  </a:lnTo>
                  <a:lnTo>
                    <a:pt x="8" y="170"/>
                  </a:lnTo>
                  <a:lnTo>
                    <a:pt x="8" y="186"/>
                  </a:lnTo>
                  <a:lnTo>
                    <a:pt x="8" y="200"/>
                  </a:lnTo>
                  <a:lnTo>
                    <a:pt x="8" y="214"/>
                  </a:lnTo>
                  <a:lnTo>
                    <a:pt x="8" y="230"/>
                  </a:lnTo>
                  <a:lnTo>
                    <a:pt x="4" y="242"/>
                  </a:lnTo>
                  <a:lnTo>
                    <a:pt x="0" y="254"/>
                  </a:lnTo>
                  <a:lnTo>
                    <a:pt x="0" y="287"/>
                  </a:lnTo>
                  <a:lnTo>
                    <a:pt x="0" y="317"/>
                  </a:lnTo>
                  <a:lnTo>
                    <a:pt x="0" y="348"/>
                  </a:lnTo>
                  <a:lnTo>
                    <a:pt x="0" y="382"/>
                  </a:lnTo>
                  <a:lnTo>
                    <a:pt x="0" y="389"/>
                  </a:lnTo>
                  <a:lnTo>
                    <a:pt x="1" y="395"/>
                  </a:lnTo>
                  <a:lnTo>
                    <a:pt x="5" y="401"/>
                  </a:lnTo>
                  <a:lnTo>
                    <a:pt x="7" y="405"/>
                  </a:lnTo>
                  <a:lnTo>
                    <a:pt x="11" y="409"/>
                  </a:lnTo>
                  <a:lnTo>
                    <a:pt x="15" y="414"/>
                  </a:lnTo>
                  <a:lnTo>
                    <a:pt x="21" y="417"/>
                  </a:lnTo>
                  <a:lnTo>
                    <a:pt x="26" y="420"/>
                  </a:lnTo>
                  <a:lnTo>
                    <a:pt x="39" y="425"/>
                  </a:lnTo>
                  <a:lnTo>
                    <a:pt x="53" y="429"/>
                  </a:lnTo>
                  <a:lnTo>
                    <a:pt x="67" y="432"/>
                  </a:lnTo>
                  <a:lnTo>
                    <a:pt x="81" y="433"/>
                  </a:lnTo>
                  <a:lnTo>
                    <a:pt x="114" y="438"/>
                  </a:lnTo>
                  <a:lnTo>
                    <a:pt x="143" y="444"/>
                  </a:lnTo>
                  <a:lnTo>
                    <a:pt x="172" y="450"/>
                  </a:lnTo>
                  <a:lnTo>
                    <a:pt x="204" y="456"/>
                  </a:lnTo>
                  <a:lnTo>
                    <a:pt x="237" y="461"/>
                  </a:lnTo>
                  <a:lnTo>
                    <a:pt x="266" y="468"/>
                  </a:lnTo>
                  <a:lnTo>
                    <a:pt x="294" y="474"/>
                  </a:lnTo>
                  <a:lnTo>
                    <a:pt x="320" y="481"/>
                  </a:lnTo>
                  <a:lnTo>
                    <a:pt x="347" y="486"/>
                  </a:lnTo>
                  <a:lnTo>
                    <a:pt x="375" y="491"/>
                  </a:lnTo>
                  <a:lnTo>
                    <a:pt x="389" y="492"/>
                  </a:lnTo>
                  <a:lnTo>
                    <a:pt x="404" y="494"/>
                  </a:lnTo>
                  <a:lnTo>
                    <a:pt x="421" y="495"/>
                  </a:lnTo>
                  <a:lnTo>
                    <a:pt x="437" y="496"/>
                  </a:lnTo>
                  <a:lnTo>
                    <a:pt x="465" y="494"/>
                  </a:lnTo>
                  <a:lnTo>
                    <a:pt x="489" y="490"/>
                  </a:lnTo>
                  <a:lnTo>
                    <a:pt x="513" y="487"/>
                  </a:lnTo>
                  <a:lnTo>
                    <a:pt x="540" y="484"/>
                  </a:lnTo>
                  <a:lnTo>
                    <a:pt x="554" y="483"/>
                  </a:lnTo>
                  <a:lnTo>
                    <a:pt x="567" y="482"/>
                  </a:lnTo>
                  <a:lnTo>
                    <a:pt x="579" y="479"/>
                  </a:lnTo>
                  <a:lnTo>
                    <a:pt x="590" y="477"/>
                  </a:lnTo>
                  <a:lnTo>
                    <a:pt x="601" y="474"/>
                  </a:lnTo>
                  <a:lnTo>
                    <a:pt x="612" y="469"/>
                  </a:lnTo>
                  <a:lnTo>
                    <a:pt x="621" y="462"/>
                  </a:lnTo>
                  <a:lnTo>
                    <a:pt x="630" y="454"/>
                  </a:lnTo>
                  <a:lnTo>
                    <a:pt x="645" y="440"/>
                  </a:lnTo>
                  <a:lnTo>
                    <a:pt x="660" y="429"/>
                  </a:lnTo>
                  <a:lnTo>
                    <a:pt x="667" y="422"/>
                  </a:lnTo>
                  <a:lnTo>
                    <a:pt x="674" y="417"/>
                  </a:lnTo>
                  <a:lnTo>
                    <a:pt x="681" y="409"/>
                  </a:lnTo>
                  <a:lnTo>
                    <a:pt x="688" y="402"/>
                  </a:lnTo>
                  <a:lnTo>
                    <a:pt x="688" y="402"/>
                  </a:lnTo>
                  <a:close/>
                </a:path>
              </a:pathLst>
            </a:custGeom>
            <a:solidFill>
              <a:srgbClr val="1496D4"/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49">
              <a:extLst>
                <a:ext uri="{FF2B5EF4-FFF2-40B4-BE49-F238E27FC236}">
                  <a16:creationId xmlns:a16="http://schemas.microsoft.com/office/drawing/2014/main" id="{A8AA7706-82DF-47CC-9AF0-FF369831C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46338" y="4668838"/>
              <a:ext cx="627063" cy="392113"/>
            </a:xfrm>
            <a:custGeom>
              <a:avLst/>
              <a:gdLst>
                <a:gd name="T0" fmla="*/ 1292 w 1580"/>
                <a:gd name="T1" fmla="*/ 78 h 986"/>
                <a:gd name="T2" fmla="*/ 1316 w 1580"/>
                <a:gd name="T3" fmla="*/ 118 h 986"/>
                <a:gd name="T4" fmla="*/ 1387 w 1580"/>
                <a:gd name="T5" fmla="*/ 140 h 986"/>
                <a:gd name="T6" fmla="*/ 1503 w 1580"/>
                <a:gd name="T7" fmla="*/ 153 h 986"/>
                <a:gd name="T8" fmla="*/ 1551 w 1580"/>
                <a:gd name="T9" fmla="*/ 201 h 986"/>
                <a:gd name="T10" fmla="*/ 1565 w 1580"/>
                <a:gd name="T11" fmla="*/ 274 h 986"/>
                <a:gd name="T12" fmla="*/ 1534 w 1580"/>
                <a:gd name="T13" fmla="*/ 327 h 986"/>
                <a:gd name="T14" fmla="*/ 1523 w 1580"/>
                <a:gd name="T15" fmla="*/ 390 h 986"/>
                <a:gd name="T16" fmla="*/ 1536 w 1580"/>
                <a:gd name="T17" fmla="*/ 505 h 986"/>
                <a:gd name="T18" fmla="*/ 1529 w 1580"/>
                <a:gd name="T19" fmla="*/ 546 h 986"/>
                <a:gd name="T20" fmla="*/ 1490 w 1580"/>
                <a:gd name="T21" fmla="*/ 575 h 986"/>
                <a:gd name="T22" fmla="*/ 1335 w 1580"/>
                <a:gd name="T23" fmla="*/ 615 h 986"/>
                <a:gd name="T24" fmla="*/ 1228 w 1580"/>
                <a:gd name="T25" fmla="*/ 657 h 986"/>
                <a:gd name="T26" fmla="*/ 1127 w 1580"/>
                <a:gd name="T27" fmla="*/ 739 h 986"/>
                <a:gd name="T28" fmla="*/ 1116 w 1580"/>
                <a:gd name="T29" fmla="*/ 779 h 986"/>
                <a:gd name="T30" fmla="*/ 1105 w 1580"/>
                <a:gd name="T31" fmla="*/ 840 h 986"/>
                <a:gd name="T32" fmla="*/ 1068 w 1580"/>
                <a:gd name="T33" fmla="*/ 851 h 986"/>
                <a:gd name="T34" fmla="*/ 957 w 1580"/>
                <a:gd name="T35" fmla="*/ 856 h 986"/>
                <a:gd name="T36" fmla="*/ 837 w 1580"/>
                <a:gd name="T37" fmla="*/ 837 h 986"/>
                <a:gd name="T38" fmla="*/ 742 w 1580"/>
                <a:gd name="T39" fmla="*/ 852 h 986"/>
                <a:gd name="T40" fmla="*/ 689 w 1580"/>
                <a:gd name="T41" fmla="*/ 844 h 986"/>
                <a:gd name="T42" fmla="*/ 661 w 1580"/>
                <a:gd name="T43" fmla="*/ 798 h 986"/>
                <a:gd name="T44" fmla="*/ 621 w 1580"/>
                <a:gd name="T45" fmla="*/ 804 h 986"/>
                <a:gd name="T46" fmla="*/ 563 w 1580"/>
                <a:gd name="T47" fmla="*/ 854 h 986"/>
                <a:gd name="T48" fmla="*/ 492 w 1580"/>
                <a:gd name="T49" fmla="*/ 857 h 986"/>
                <a:gd name="T50" fmla="*/ 416 w 1580"/>
                <a:gd name="T51" fmla="*/ 827 h 986"/>
                <a:gd name="T52" fmla="*/ 340 w 1580"/>
                <a:gd name="T53" fmla="*/ 798 h 986"/>
                <a:gd name="T54" fmla="*/ 304 w 1580"/>
                <a:gd name="T55" fmla="*/ 826 h 986"/>
                <a:gd name="T56" fmla="*/ 239 w 1580"/>
                <a:gd name="T57" fmla="*/ 854 h 986"/>
                <a:gd name="T58" fmla="*/ 202 w 1580"/>
                <a:gd name="T59" fmla="*/ 833 h 986"/>
                <a:gd name="T60" fmla="*/ 167 w 1580"/>
                <a:gd name="T61" fmla="*/ 812 h 986"/>
                <a:gd name="T62" fmla="*/ 131 w 1580"/>
                <a:gd name="T63" fmla="*/ 832 h 986"/>
                <a:gd name="T64" fmla="*/ 91 w 1580"/>
                <a:gd name="T65" fmla="*/ 854 h 986"/>
                <a:gd name="T66" fmla="*/ 70 w 1580"/>
                <a:gd name="T67" fmla="*/ 986 h 986"/>
                <a:gd name="T68" fmla="*/ 32 w 1580"/>
                <a:gd name="T69" fmla="*/ 960 h 986"/>
                <a:gd name="T70" fmla="*/ 0 w 1580"/>
                <a:gd name="T71" fmla="*/ 946 h 986"/>
                <a:gd name="T72" fmla="*/ 14 w 1580"/>
                <a:gd name="T73" fmla="*/ 868 h 986"/>
                <a:gd name="T74" fmla="*/ 40 w 1580"/>
                <a:gd name="T75" fmla="*/ 803 h 986"/>
                <a:gd name="T76" fmla="*/ 111 w 1580"/>
                <a:gd name="T77" fmla="*/ 761 h 986"/>
                <a:gd name="T78" fmla="*/ 187 w 1580"/>
                <a:gd name="T79" fmla="*/ 741 h 986"/>
                <a:gd name="T80" fmla="*/ 242 w 1580"/>
                <a:gd name="T81" fmla="*/ 700 h 986"/>
                <a:gd name="T82" fmla="*/ 209 w 1580"/>
                <a:gd name="T83" fmla="*/ 665 h 986"/>
                <a:gd name="T84" fmla="*/ 163 w 1580"/>
                <a:gd name="T85" fmla="*/ 657 h 986"/>
                <a:gd name="T86" fmla="*/ 71 w 1580"/>
                <a:gd name="T87" fmla="*/ 654 h 986"/>
                <a:gd name="T88" fmla="*/ 54 w 1580"/>
                <a:gd name="T89" fmla="*/ 631 h 986"/>
                <a:gd name="T90" fmla="*/ 69 w 1580"/>
                <a:gd name="T91" fmla="*/ 557 h 986"/>
                <a:gd name="T92" fmla="*/ 141 w 1580"/>
                <a:gd name="T93" fmla="*/ 503 h 986"/>
                <a:gd name="T94" fmla="*/ 281 w 1580"/>
                <a:gd name="T95" fmla="*/ 461 h 986"/>
                <a:gd name="T96" fmla="*/ 488 w 1580"/>
                <a:gd name="T97" fmla="*/ 423 h 986"/>
                <a:gd name="T98" fmla="*/ 689 w 1580"/>
                <a:gd name="T99" fmla="*/ 424 h 986"/>
                <a:gd name="T100" fmla="*/ 831 w 1580"/>
                <a:gd name="T101" fmla="*/ 421 h 986"/>
                <a:gd name="T102" fmla="*/ 969 w 1580"/>
                <a:gd name="T103" fmla="*/ 387 h 986"/>
                <a:gd name="T104" fmla="*/ 1013 w 1580"/>
                <a:gd name="T105" fmla="*/ 356 h 986"/>
                <a:gd name="T106" fmla="*/ 1038 w 1580"/>
                <a:gd name="T107" fmla="*/ 289 h 986"/>
                <a:gd name="T108" fmla="*/ 1091 w 1580"/>
                <a:gd name="T109" fmla="*/ 163 h 986"/>
                <a:gd name="T110" fmla="*/ 1139 w 1580"/>
                <a:gd name="T111" fmla="*/ 49 h 986"/>
                <a:gd name="T112" fmla="*/ 1201 w 1580"/>
                <a:gd name="T113" fmla="*/ 17 h 986"/>
                <a:gd name="T114" fmla="*/ 1280 w 1580"/>
                <a:gd name="T115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0" h="986">
                  <a:moveTo>
                    <a:pt x="1280" y="0"/>
                  </a:moveTo>
                  <a:lnTo>
                    <a:pt x="1284" y="18"/>
                  </a:lnTo>
                  <a:lnTo>
                    <a:pt x="1287" y="35"/>
                  </a:lnTo>
                  <a:lnTo>
                    <a:pt x="1289" y="54"/>
                  </a:lnTo>
                  <a:lnTo>
                    <a:pt x="1291" y="71"/>
                  </a:lnTo>
                  <a:lnTo>
                    <a:pt x="1292" y="78"/>
                  </a:lnTo>
                  <a:lnTo>
                    <a:pt x="1294" y="86"/>
                  </a:lnTo>
                  <a:lnTo>
                    <a:pt x="1297" y="93"/>
                  </a:lnTo>
                  <a:lnTo>
                    <a:pt x="1301" y="101"/>
                  </a:lnTo>
                  <a:lnTo>
                    <a:pt x="1305" y="106"/>
                  </a:lnTo>
                  <a:lnTo>
                    <a:pt x="1309" y="113"/>
                  </a:lnTo>
                  <a:lnTo>
                    <a:pt x="1316" y="118"/>
                  </a:lnTo>
                  <a:lnTo>
                    <a:pt x="1323" y="123"/>
                  </a:lnTo>
                  <a:lnTo>
                    <a:pt x="1335" y="127"/>
                  </a:lnTo>
                  <a:lnTo>
                    <a:pt x="1346" y="131"/>
                  </a:lnTo>
                  <a:lnTo>
                    <a:pt x="1356" y="135"/>
                  </a:lnTo>
                  <a:lnTo>
                    <a:pt x="1367" y="137"/>
                  </a:lnTo>
                  <a:lnTo>
                    <a:pt x="1387" y="140"/>
                  </a:lnTo>
                  <a:lnTo>
                    <a:pt x="1408" y="142"/>
                  </a:lnTo>
                  <a:lnTo>
                    <a:pt x="1427" y="142"/>
                  </a:lnTo>
                  <a:lnTo>
                    <a:pt x="1449" y="143"/>
                  </a:lnTo>
                  <a:lnTo>
                    <a:pt x="1471" y="145"/>
                  </a:lnTo>
                  <a:lnTo>
                    <a:pt x="1495" y="151"/>
                  </a:lnTo>
                  <a:lnTo>
                    <a:pt x="1503" y="153"/>
                  </a:lnTo>
                  <a:lnTo>
                    <a:pt x="1510" y="156"/>
                  </a:lnTo>
                  <a:lnTo>
                    <a:pt x="1517" y="160"/>
                  </a:lnTo>
                  <a:lnTo>
                    <a:pt x="1523" y="165"/>
                  </a:lnTo>
                  <a:lnTo>
                    <a:pt x="1533" y="176"/>
                  </a:lnTo>
                  <a:lnTo>
                    <a:pt x="1543" y="189"/>
                  </a:lnTo>
                  <a:lnTo>
                    <a:pt x="1551" y="201"/>
                  </a:lnTo>
                  <a:lnTo>
                    <a:pt x="1560" y="216"/>
                  </a:lnTo>
                  <a:lnTo>
                    <a:pt x="1568" y="230"/>
                  </a:lnTo>
                  <a:lnTo>
                    <a:pt x="1580" y="243"/>
                  </a:lnTo>
                  <a:lnTo>
                    <a:pt x="1580" y="243"/>
                  </a:lnTo>
                  <a:lnTo>
                    <a:pt x="1573" y="258"/>
                  </a:lnTo>
                  <a:lnTo>
                    <a:pt x="1565" y="274"/>
                  </a:lnTo>
                  <a:lnTo>
                    <a:pt x="1562" y="281"/>
                  </a:lnTo>
                  <a:lnTo>
                    <a:pt x="1559" y="289"/>
                  </a:lnTo>
                  <a:lnTo>
                    <a:pt x="1556" y="295"/>
                  </a:lnTo>
                  <a:lnTo>
                    <a:pt x="1551" y="301"/>
                  </a:lnTo>
                  <a:lnTo>
                    <a:pt x="1543" y="313"/>
                  </a:lnTo>
                  <a:lnTo>
                    <a:pt x="1534" y="327"/>
                  </a:lnTo>
                  <a:lnTo>
                    <a:pt x="1530" y="335"/>
                  </a:lnTo>
                  <a:lnTo>
                    <a:pt x="1526" y="343"/>
                  </a:lnTo>
                  <a:lnTo>
                    <a:pt x="1524" y="352"/>
                  </a:lnTo>
                  <a:lnTo>
                    <a:pt x="1522" y="359"/>
                  </a:lnTo>
                  <a:lnTo>
                    <a:pt x="1522" y="374"/>
                  </a:lnTo>
                  <a:lnTo>
                    <a:pt x="1523" y="390"/>
                  </a:lnTo>
                  <a:lnTo>
                    <a:pt x="1525" y="407"/>
                  </a:lnTo>
                  <a:lnTo>
                    <a:pt x="1527" y="424"/>
                  </a:lnTo>
                  <a:lnTo>
                    <a:pt x="1530" y="441"/>
                  </a:lnTo>
                  <a:lnTo>
                    <a:pt x="1531" y="460"/>
                  </a:lnTo>
                  <a:lnTo>
                    <a:pt x="1533" y="483"/>
                  </a:lnTo>
                  <a:lnTo>
                    <a:pt x="1536" y="505"/>
                  </a:lnTo>
                  <a:lnTo>
                    <a:pt x="1537" y="515"/>
                  </a:lnTo>
                  <a:lnTo>
                    <a:pt x="1536" y="525"/>
                  </a:lnTo>
                  <a:lnTo>
                    <a:pt x="1535" y="530"/>
                  </a:lnTo>
                  <a:lnTo>
                    <a:pt x="1534" y="535"/>
                  </a:lnTo>
                  <a:lnTo>
                    <a:pt x="1531" y="541"/>
                  </a:lnTo>
                  <a:lnTo>
                    <a:pt x="1529" y="546"/>
                  </a:lnTo>
                  <a:lnTo>
                    <a:pt x="1524" y="551"/>
                  </a:lnTo>
                  <a:lnTo>
                    <a:pt x="1520" y="556"/>
                  </a:lnTo>
                  <a:lnTo>
                    <a:pt x="1516" y="560"/>
                  </a:lnTo>
                  <a:lnTo>
                    <a:pt x="1511" y="564"/>
                  </a:lnTo>
                  <a:lnTo>
                    <a:pt x="1500" y="571"/>
                  </a:lnTo>
                  <a:lnTo>
                    <a:pt x="1490" y="575"/>
                  </a:lnTo>
                  <a:lnTo>
                    <a:pt x="1466" y="582"/>
                  </a:lnTo>
                  <a:lnTo>
                    <a:pt x="1439" y="587"/>
                  </a:lnTo>
                  <a:lnTo>
                    <a:pt x="1411" y="596"/>
                  </a:lnTo>
                  <a:lnTo>
                    <a:pt x="1387" y="602"/>
                  </a:lnTo>
                  <a:lnTo>
                    <a:pt x="1362" y="609"/>
                  </a:lnTo>
                  <a:lnTo>
                    <a:pt x="1335" y="615"/>
                  </a:lnTo>
                  <a:lnTo>
                    <a:pt x="1305" y="624"/>
                  </a:lnTo>
                  <a:lnTo>
                    <a:pt x="1278" y="633"/>
                  </a:lnTo>
                  <a:lnTo>
                    <a:pt x="1265" y="639"/>
                  </a:lnTo>
                  <a:lnTo>
                    <a:pt x="1252" y="644"/>
                  </a:lnTo>
                  <a:lnTo>
                    <a:pt x="1240" y="651"/>
                  </a:lnTo>
                  <a:lnTo>
                    <a:pt x="1228" y="657"/>
                  </a:lnTo>
                  <a:lnTo>
                    <a:pt x="1206" y="672"/>
                  </a:lnTo>
                  <a:lnTo>
                    <a:pt x="1184" y="690"/>
                  </a:lnTo>
                  <a:lnTo>
                    <a:pt x="1161" y="709"/>
                  </a:lnTo>
                  <a:lnTo>
                    <a:pt x="1139" y="731"/>
                  </a:lnTo>
                  <a:lnTo>
                    <a:pt x="1132" y="735"/>
                  </a:lnTo>
                  <a:lnTo>
                    <a:pt x="1127" y="739"/>
                  </a:lnTo>
                  <a:lnTo>
                    <a:pt x="1122" y="745"/>
                  </a:lnTo>
                  <a:lnTo>
                    <a:pt x="1119" y="751"/>
                  </a:lnTo>
                  <a:lnTo>
                    <a:pt x="1117" y="758"/>
                  </a:lnTo>
                  <a:lnTo>
                    <a:pt x="1116" y="765"/>
                  </a:lnTo>
                  <a:lnTo>
                    <a:pt x="1116" y="772"/>
                  </a:lnTo>
                  <a:lnTo>
                    <a:pt x="1116" y="779"/>
                  </a:lnTo>
                  <a:lnTo>
                    <a:pt x="1116" y="795"/>
                  </a:lnTo>
                  <a:lnTo>
                    <a:pt x="1115" y="811"/>
                  </a:lnTo>
                  <a:lnTo>
                    <a:pt x="1114" y="818"/>
                  </a:lnTo>
                  <a:lnTo>
                    <a:pt x="1113" y="826"/>
                  </a:lnTo>
                  <a:lnTo>
                    <a:pt x="1109" y="833"/>
                  </a:lnTo>
                  <a:lnTo>
                    <a:pt x="1105" y="840"/>
                  </a:lnTo>
                  <a:lnTo>
                    <a:pt x="1102" y="844"/>
                  </a:lnTo>
                  <a:lnTo>
                    <a:pt x="1098" y="846"/>
                  </a:lnTo>
                  <a:lnTo>
                    <a:pt x="1093" y="848"/>
                  </a:lnTo>
                  <a:lnTo>
                    <a:pt x="1089" y="849"/>
                  </a:lnTo>
                  <a:lnTo>
                    <a:pt x="1079" y="849"/>
                  </a:lnTo>
                  <a:lnTo>
                    <a:pt x="1068" y="851"/>
                  </a:lnTo>
                  <a:lnTo>
                    <a:pt x="1051" y="854"/>
                  </a:lnTo>
                  <a:lnTo>
                    <a:pt x="1035" y="857"/>
                  </a:lnTo>
                  <a:lnTo>
                    <a:pt x="1019" y="858"/>
                  </a:lnTo>
                  <a:lnTo>
                    <a:pt x="1001" y="859"/>
                  </a:lnTo>
                  <a:lnTo>
                    <a:pt x="979" y="858"/>
                  </a:lnTo>
                  <a:lnTo>
                    <a:pt x="957" y="856"/>
                  </a:lnTo>
                  <a:lnTo>
                    <a:pt x="938" y="853"/>
                  </a:lnTo>
                  <a:lnTo>
                    <a:pt x="919" y="848"/>
                  </a:lnTo>
                  <a:lnTo>
                    <a:pt x="901" y="844"/>
                  </a:lnTo>
                  <a:lnTo>
                    <a:pt x="882" y="841"/>
                  </a:lnTo>
                  <a:lnTo>
                    <a:pt x="860" y="838"/>
                  </a:lnTo>
                  <a:lnTo>
                    <a:pt x="837" y="837"/>
                  </a:lnTo>
                  <a:lnTo>
                    <a:pt x="819" y="838"/>
                  </a:lnTo>
                  <a:lnTo>
                    <a:pt x="803" y="840"/>
                  </a:lnTo>
                  <a:lnTo>
                    <a:pt x="788" y="842"/>
                  </a:lnTo>
                  <a:lnTo>
                    <a:pt x="772" y="845"/>
                  </a:lnTo>
                  <a:lnTo>
                    <a:pt x="757" y="848"/>
                  </a:lnTo>
                  <a:lnTo>
                    <a:pt x="742" y="852"/>
                  </a:lnTo>
                  <a:lnTo>
                    <a:pt x="725" y="853"/>
                  </a:lnTo>
                  <a:lnTo>
                    <a:pt x="707" y="854"/>
                  </a:lnTo>
                  <a:lnTo>
                    <a:pt x="701" y="853"/>
                  </a:lnTo>
                  <a:lnTo>
                    <a:pt x="697" y="852"/>
                  </a:lnTo>
                  <a:lnTo>
                    <a:pt x="693" y="848"/>
                  </a:lnTo>
                  <a:lnTo>
                    <a:pt x="689" y="844"/>
                  </a:lnTo>
                  <a:lnTo>
                    <a:pt x="684" y="835"/>
                  </a:lnTo>
                  <a:lnTo>
                    <a:pt x="680" y="825"/>
                  </a:lnTo>
                  <a:lnTo>
                    <a:pt x="674" y="814"/>
                  </a:lnTo>
                  <a:lnTo>
                    <a:pt x="669" y="804"/>
                  </a:lnTo>
                  <a:lnTo>
                    <a:pt x="666" y="800"/>
                  </a:lnTo>
                  <a:lnTo>
                    <a:pt x="661" y="798"/>
                  </a:lnTo>
                  <a:lnTo>
                    <a:pt x="657" y="795"/>
                  </a:lnTo>
                  <a:lnTo>
                    <a:pt x="651" y="794"/>
                  </a:lnTo>
                  <a:lnTo>
                    <a:pt x="643" y="795"/>
                  </a:lnTo>
                  <a:lnTo>
                    <a:pt x="635" y="798"/>
                  </a:lnTo>
                  <a:lnTo>
                    <a:pt x="628" y="801"/>
                  </a:lnTo>
                  <a:lnTo>
                    <a:pt x="621" y="804"/>
                  </a:lnTo>
                  <a:lnTo>
                    <a:pt x="609" y="815"/>
                  </a:lnTo>
                  <a:lnTo>
                    <a:pt x="599" y="826"/>
                  </a:lnTo>
                  <a:lnTo>
                    <a:pt x="588" y="837"/>
                  </a:lnTo>
                  <a:lnTo>
                    <a:pt x="576" y="847"/>
                  </a:lnTo>
                  <a:lnTo>
                    <a:pt x="569" y="851"/>
                  </a:lnTo>
                  <a:lnTo>
                    <a:pt x="563" y="854"/>
                  </a:lnTo>
                  <a:lnTo>
                    <a:pt x="555" y="856"/>
                  </a:lnTo>
                  <a:lnTo>
                    <a:pt x="547" y="857"/>
                  </a:lnTo>
                  <a:lnTo>
                    <a:pt x="532" y="857"/>
                  </a:lnTo>
                  <a:lnTo>
                    <a:pt x="520" y="857"/>
                  </a:lnTo>
                  <a:lnTo>
                    <a:pt x="507" y="857"/>
                  </a:lnTo>
                  <a:lnTo>
                    <a:pt x="492" y="857"/>
                  </a:lnTo>
                  <a:lnTo>
                    <a:pt x="481" y="856"/>
                  </a:lnTo>
                  <a:lnTo>
                    <a:pt x="470" y="854"/>
                  </a:lnTo>
                  <a:lnTo>
                    <a:pt x="460" y="852"/>
                  </a:lnTo>
                  <a:lnTo>
                    <a:pt x="451" y="847"/>
                  </a:lnTo>
                  <a:lnTo>
                    <a:pt x="432" y="838"/>
                  </a:lnTo>
                  <a:lnTo>
                    <a:pt x="416" y="827"/>
                  </a:lnTo>
                  <a:lnTo>
                    <a:pt x="399" y="816"/>
                  </a:lnTo>
                  <a:lnTo>
                    <a:pt x="381" y="807"/>
                  </a:lnTo>
                  <a:lnTo>
                    <a:pt x="372" y="803"/>
                  </a:lnTo>
                  <a:lnTo>
                    <a:pt x="362" y="800"/>
                  </a:lnTo>
                  <a:lnTo>
                    <a:pt x="351" y="799"/>
                  </a:lnTo>
                  <a:lnTo>
                    <a:pt x="340" y="798"/>
                  </a:lnTo>
                  <a:lnTo>
                    <a:pt x="334" y="799"/>
                  </a:lnTo>
                  <a:lnTo>
                    <a:pt x="329" y="801"/>
                  </a:lnTo>
                  <a:lnTo>
                    <a:pt x="324" y="804"/>
                  </a:lnTo>
                  <a:lnTo>
                    <a:pt x="320" y="808"/>
                  </a:lnTo>
                  <a:lnTo>
                    <a:pt x="312" y="817"/>
                  </a:lnTo>
                  <a:lnTo>
                    <a:pt x="304" y="826"/>
                  </a:lnTo>
                  <a:lnTo>
                    <a:pt x="288" y="837"/>
                  </a:lnTo>
                  <a:lnTo>
                    <a:pt x="273" y="845"/>
                  </a:lnTo>
                  <a:lnTo>
                    <a:pt x="266" y="849"/>
                  </a:lnTo>
                  <a:lnTo>
                    <a:pt x="257" y="852"/>
                  </a:lnTo>
                  <a:lnTo>
                    <a:pt x="249" y="853"/>
                  </a:lnTo>
                  <a:lnTo>
                    <a:pt x="239" y="854"/>
                  </a:lnTo>
                  <a:lnTo>
                    <a:pt x="234" y="854"/>
                  </a:lnTo>
                  <a:lnTo>
                    <a:pt x="228" y="852"/>
                  </a:lnTo>
                  <a:lnTo>
                    <a:pt x="223" y="849"/>
                  </a:lnTo>
                  <a:lnTo>
                    <a:pt x="218" y="847"/>
                  </a:lnTo>
                  <a:lnTo>
                    <a:pt x="210" y="841"/>
                  </a:lnTo>
                  <a:lnTo>
                    <a:pt x="202" y="833"/>
                  </a:lnTo>
                  <a:lnTo>
                    <a:pt x="195" y="825"/>
                  </a:lnTo>
                  <a:lnTo>
                    <a:pt x="187" y="818"/>
                  </a:lnTo>
                  <a:lnTo>
                    <a:pt x="183" y="816"/>
                  </a:lnTo>
                  <a:lnTo>
                    <a:pt x="177" y="814"/>
                  </a:lnTo>
                  <a:lnTo>
                    <a:pt x="172" y="812"/>
                  </a:lnTo>
                  <a:lnTo>
                    <a:pt x="167" y="812"/>
                  </a:lnTo>
                  <a:lnTo>
                    <a:pt x="159" y="813"/>
                  </a:lnTo>
                  <a:lnTo>
                    <a:pt x="152" y="815"/>
                  </a:lnTo>
                  <a:lnTo>
                    <a:pt x="147" y="818"/>
                  </a:lnTo>
                  <a:lnTo>
                    <a:pt x="142" y="822"/>
                  </a:lnTo>
                  <a:lnTo>
                    <a:pt x="136" y="828"/>
                  </a:lnTo>
                  <a:lnTo>
                    <a:pt x="131" y="832"/>
                  </a:lnTo>
                  <a:lnTo>
                    <a:pt x="125" y="837"/>
                  </a:lnTo>
                  <a:lnTo>
                    <a:pt x="119" y="840"/>
                  </a:lnTo>
                  <a:lnTo>
                    <a:pt x="108" y="844"/>
                  </a:lnTo>
                  <a:lnTo>
                    <a:pt x="98" y="848"/>
                  </a:lnTo>
                  <a:lnTo>
                    <a:pt x="95" y="851"/>
                  </a:lnTo>
                  <a:lnTo>
                    <a:pt x="91" y="854"/>
                  </a:lnTo>
                  <a:lnTo>
                    <a:pt x="88" y="858"/>
                  </a:lnTo>
                  <a:lnTo>
                    <a:pt x="84" y="862"/>
                  </a:lnTo>
                  <a:lnTo>
                    <a:pt x="84" y="862"/>
                  </a:lnTo>
                  <a:lnTo>
                    <a:pt x="98" y="949"/>
                  </a:lnTo>
                  <a:lnTo>
                    <a:pt x="98" y="986"/>
                  </a:lnTo>
                  <a:lnTo>
                    <a:pt x="70" y="986"/>
                  </a:lnTo>
                  <a:lnTo>
                    <a:pt x="70" y="986"/>
                  </a:lnTo>
                  <a:lnTo>
                    <a:pt x="63" y="978"/>
                  </a:lnTo>
                  <a:lnTo>
                    <a:pt x="55" y="973"/>
                  </a:lnTo>
                  <a:lnTo>
                    <a:pt x="48" y="967"/>
                  </a:lnTo>
                  <a:lnTo>
                    <a:pt x="40" y="963"/>
                  </a:lnTo>
                  <a:lnTo>
                    <a:pt x="32" y="960"/>
                  </a:lnTo>
                  <a:lnTo>
                    <a:pt x="23" y="957"/>
                  </a:lnTo>
                  <a:lnTo>
                    <a:pt x="14" y="955"/>
                  </a:lnTo>
                  <a:lnTo>
                    <a:pt x="3" y="955"/>
                  </a:lnTo>
                  <a:lnTo>
                    <a:pt x="3" y="955"/>
                  </a:lnTo>
                  <a:lnTo>
                    <a:pt x="2" y="950"/>
                  </a:lnTo>
                  <a:lnTo>
                    <a:pt x="0" y="946"/>
                  </a:lnTo>
                  <a:lnTo>
                    <a:pt x="1" y="935"/>
                  </a:lnTo>
                  <a:lnTo>
                    <a:pt x="2" y="925"/>
                  </a:lnTo>
                  <a:lnTo>
                    <a:pt x="5" y="915"/>
                  </a:lnTo>
                  <a:lnTo>
                    <a:pt x="7" y="907"/>
                  </a:lnTo>
                  <a:lnTo>
                    <a:pt x="11" y="888"/>
                  </a:lnTo>
                  <a:lnTo>
                    <a:pt x="14" y="868"/>
                  </a:lnTo>
                  <a:lnTo>
                    <a:pt x="17" y="848"/>
                  </a:lnTo>
                  <a:lnTo>
                    <a:pt x="21" y="831"/>
                  </a:lnTo>
                  <a:lnTo>
                    <a:pt x="24" y="824"/>
                  </a:lnTo>
                  <a:lnTo>
                    <a:pt x="27" y="816"/>
                  </a:lnTo>
                  <a:lnTo>
                    <a:pt x="33" y="810"/>
                  </a:lnTo>
                  <a:lnTo>
                    <a:pt x="40" y="803"/>
                  </a:lnTo>
                  <a:lnTo>
                    <a:pt x="52" y="794"/>
                  </a:lnTo>
                  <a:lnTo>
                    <a:pt x="64" y="786"/>
                  </a:lnTo>
                  <a:lnTo>
                    <a:pt x="77" y="779"/>
                  </a:lnTo>
                  <a:lnTo>
                    <a:pt x="89" y="772"/>
                  </a:lnTo>
                  <a:lnTo>
                    <a:pt x="101" y="766"/>
                  </a:lnTo>
                  <a:lnTo>
                    <a:pt x="111" y="761"/>
                  </a:lnTo>
                  <a:lnTo>
                    <a:pt x="124" y="757"/>
                  </a:lnTo>
                  <a:lnTo>
                    <a:pt x="136" y="752"/>
                  </a:lnTo>
                  <a:lnTo>
                    <a:pt x="148" y="749"/>
                  </a:lnTo>
                  <a:lnTo>
                    <a:pt x="161" y="746"/>
                  </a:lnTo>
                  <a:lnTo>
                    <a:pt x="174" y="744"/>
                  </a:lnTo>
                  <a:lnTo>
                    <a:pt x="187" y="741"/>
                  </a:lnTo>
                  <a:lnTo>
                    <a:pt x="214" y="739"/>
                  </a:lnTo>
                  <a:lnTo>
                    <a:pt x="244" y="739"/>
                  </a:lnTo>
                  <a:lnTo>
                    <a:pt x="244" y="724"/>
                  </a:lnTo>
                  <a:lnTo>
                    <a:pt x="244" y="710"/>
                  </a:lnTo>
                  <a:lnTo>
                    <a:pt x="244" y="705"/>
                  </a:lnTo>
                  <a:lnTo>
                    <a:pt x="242" y="700"/>
                  </a:lnTo>
                  <a:lnTo>
                    <a:pt x="240" y="697"/>
                  </a:lnTo>
                  <a:lnTo>
                    <a:pt x="237" y="693"/>
                  </a:lnTo>
                  <a:lnTo>
                    <a:pt x="230" y="686"/>
                  </a:lnTo>
                  <a:lnTo>
                    <a:pt x="223" y="680"/>
                  </a:lnTo>
                  <a:lnTo>
                    <a:pt x="215" y="672"/>
                  </a:lnTo>
                  <a:lnTo>
                    <a:pt x="209" y="665"/>
                  </a:lnTo>
                  <a:lnTo>
                    <a:pt x="204" y="662"/>
                  </a:lnTo>
                  <a:lnTo>
                    <a:pt x="200" y="659"/>
                  </a:lnTo>
                  <a:lnTo>
                    <a:pt x="196" y="658"/>
                  </a:lnTo>
                  <a:lnTo>
                    <a:pt x="190" y="657"/>
                  </a:lnTo>
                  <a:lnTo>
                    <a:pt x="176" y="657"/>
                  </a:lnTo>
                  <a:lnTo>
                    <a:pt x="163" y="657"/>
                  </a:lnTo>
                  <a:lnTo>
                    <a:pt x="150" y="657"/>
                  </a:lnTo>
                  <a:lnTo>
                    <a:pt x="136" y="657"/>
                  </a:lnTo>
                  <a:lnTo>
                    <a:pt x="109" y="658"/>
                  </a:lnTo>
                  <a:lnTo>
                    <a:pt x="82" y="657"/>
                  </a:lnTo>
                  <a:lnTo>
                    <a:pt x="77" y="656"/>
                  </a:lnTo>
                  <a:lnTo>
                    <a:pt x="71" y="654"/>
                  </a:lnTo>
                  <a:lnTo>
                    <a:pt x="66" y="652"/>
                  </a:lnTo>
                  <a:lnTo>
                    <a:pt x="62" y="650"/>
                  </a:lnTo>
                  <a:lnTo>
                    <a:pt x="59" y="645"/>
                  </a:lnTo>
                  <a:lnTo>
                    <a:pt x="56" y="642"/>
                  </a:lnTo>
                  <a:lnTo>
                    <a:pt x="54" y="637"/>
                  </a:lnTo>
                  <a:lnTo>
                    <a:pt x="54" y="631"/>
                  </a:lnTo>
                  <a:lnTo>
                    <a:pt x="54" y="617"/>
                  </a:lnTo>
                  <a:lnTo>
                    <a:pt x="55" y="604"/>
                  </a:lnTo>
                  <a:lnTo>
                    <a:pt x="57" y="592"/>
                  </a:lnTo>
                  <a:lnTo>
                    <a:pt x="61" y="581"/>
                  </a:lnTo>
                  <a:lnTo>
                    <a:pt x="64" y="569"/>
                  </a:lnTo>
                  <a:lnTo>
                    <a:pt x="69" y="557"/>
                  </a:lnTo>
                  <a:lnTo>
                    <a:pt x="75" y="546"/>
                  </a:lnTo>
                  <a:lnTo>
                    <a:pt x="82" y="534"/>
                  </a:lnTo>
                  <a:lnTo>
                    <a:pt x="82" y="534"/>
                  </a:lnTo>
                  <a:lnTo>
                    <a:pt x="103" y="522"/>
                  </a:lnTo>
                  <a:lnTo>
                    <a:pt x="122" y="513"/>
                  </a:lnTo>
                  <a:lnTo>
                    <a:pt x="141" y="503"/>
                  </a:lnTo>
                  <a:lnTo>
                    <a:pt x="159" y="495"/>
                  </a:lnTo>
                  <a:lnTo>
                    <a:pt x="177" y="488"/>
                  </a:lnTo>
                  <a:lnTo>
                    <a:pt x="197" y="481"/>
                  </a:lnTo>
                  <a:lnTo>
                    <a:pt x="218" y="476"/>
                  </a:lnTo>
                  <a:lnTo>
                    <a:pt x="242" y="469"/>
                  </a:lnTo>
                  <a:lnTo>
                    <a:pt x="281" y="461"/>
                  </a:lnTo>
                  <a:lnTo>
                    <a:pt x="317" y="451"/>
                  </a:lnTo>
                  <a:lnTo>
                    <a:pt x="351" y="443"/>
                  </a:lnTo>
                  <a:lnTo>
                    <a:pt x="384" y="436"/>
                  </a:lnTo>
                  <a:lnTo>
                    <a:pt x="417" y="430"/>
                  </a:lnTo>
                  <a:lnTo>
                    <a:pt x="452" y="426"/>
                  </a:lnTo>
                  <a:lnTo>
                    <a:pt x="488" y="423"/>
                  </a:lnTo>
                  <a:lnTo>
                    <a:pt x="528" y="422"/>
                  </a:lnTo>
                  <a:lnTo>
                    <a:pt x="565" y="422"/>
                  </a:lnTo>
                  <a:lnTo>
                    <a:pt x="599" y="423"/>
                  </a:lnTo>
                  <a:lnTo>
                    <a:pt x="629" y="423"/>
                  </a:lnTo>
                  <a:lnTo>
                    <a:pt x="659" y="424"/>
                  </a:lnTo>
                  <a:lnTo>
                    <a:pt x="689" y="424"/>
                  </a:lnTo>
                  <a:lnTo>
                    <a:pt x="721" y="425"/>
                  </a:lnTo>
                  <a:lnTo>
                    <a:pt x="754" y="425"/>
                  </a:lnTo>
                  <a:lnTo>
                    <a:pt x="791" y="425"/>
                  </a:lnTo>
                  <a:lnTo>
                    <a:pt x="805" y="424"/>
                  </a:lnTo>
                  <a:lnTo>
                    <a:pt x="819" y="423"/>
                  </a:lnTo>
                  <a:lnTo>
                    <a:pt x="831" y="421"/>
                  </a:lnTo>
                  <a:lnTo>
                    <a:pt x="843" y="417"/>
                  </a:lnTo>
                  <a:lnTo>
                    <a:pt x="868" y="411"/>
                  </a:lnTo>
                  <a:lnTo>
                    <a:pt x="895" y="402"/>
                  </a:lnTo>
                  <a:lnTo>
                    <a:pt x="927" y="396"/>
                  </a:lnTo>
                  <a:lnTo>
                    <a:pt x="956" y="392"/>
                  </a:lnTo>
                  <a:lnTo>
                    <a:pt x="969" y="387"/>
                  </a:lnTo>
                  <a:lnTo>
                    <a:pt x="982" y="382"/>
                  </a:lnTo>
                  <a:lnTo>
                    <a:pt x="988" y="379"/>
                  </a:lnTo>
                  <a:lnTo>
                    <a:pt x="995" y="374"/>
                  </a:lnTo>
                  <a:lnTo>
                    <a:pt x="1001" y="369"/>
                  </a:lnTo>
                  <a:lnTo>
                    <a:pt x="1007" y="363"/>
                  </a:lnTo>
                  <a:lnTo>
                    <a:pt x="1013" y="356"/>
                  </a:lnTo>
                  <a:lnTo>
                    <a:pt x="1018" y="349"/>
                  </a:lnTo>
                  <a:lnTo>
                    <a:pt x="1022" y="342"/>
                  </a:lnTo>
                  <a:lnTo>
                    <a:pt x="1026" y="334"/>
                  </a:lnTo>
                  <a:lnTo>
                    <a:pt x="1032" y="320"/>
                  </a:lnTo>
                  <a:lnTo>
                    <a:pt x="1035" y="304"/>
                  </a:lnTo>
                  <a:lnTo>
                    <a:pt x="1038" y="289"/>
                  </a:lnTo>
                  <a:lnTo>
                    <a:pt x="1042" y="273"/>
                  </a:lnTo>
                  <a:lnTo>
                    <a:pt x="1047" y="257"/>
                  </a:lnTo>
                  <a:lnTo>
                    <a:pt x="1054" y="240"/>
                  </a:lnTo>
                  <a:lnTo>
                    <a:pt x="1068" y="212"/>
                  </a:lnTo>
                  <a:lnTo>
                    <a:pt x="1080" y="187"/>
                  </a:lnTo>
                  <a:lnTo>
                    <a:pt x="1091" y="163"/>
                  </a:lnTo>
                  <a:lnTo>
                    <a:pt x="1102" y="133"/>
                  </a:lnTo>
                  <a:lnTo>
                    <a:pt x="1112" y="104"/>
                  </a:lnTo>
                  <a:lnTo>
                    <a:pt x="1121" y="78"/>
                  </a:lnTo>
                  <a:lnTo>
                    <a:pt x="1127" y="65"/>
                  </a:lnTo>
                  <a:lnTo>
                    <a:pt x="1134" y="55"/>
                  </a:lnTo>
                  <a:lnTo>
                    <a:pt x="1139" y="49"/>
                  </a:lnTo>
                  <a:lnTo>
                    <a:pt x="1143" y="45"/>
                  </a:lnTo>
                  <a:lnTo>
                    <a:pt x="1149" y="39"/>
                  </a:lnTo>
                  <a:lnTo>
                    <a:pt x="1156" y="35"/>
                  </a:lnTo>
                  <a:lnTo>
                    <a:pt x="1171" y="27"/>
                  </a:lnTo>
                  <a:lnTo>
                    <a:pt x="1186" y="20"/>
                  </a:lnTo>
                  <a:lnTo>
                    <a:pt x="1201" y="17"/>
                  </a:lnTo>
                  <a:lnTo>
                    <a:pt x="1215" y="14"/>
                  </a:lnTo>
                  <a:lnTo>
                    <a:pt x="1230" y="10"/>
                  </a:lnTo>
                  <a:lnTo>
                    <a:pt x="1247" y="8"/>
                  </a:lnTo>
                  <a:lnTo>
                    <a:pt x="1263" y="5"/>
                  </a:lnTo>
                  <a:lnTo>
                    <a:pt x="1280" y="0"/>
                  </a:lnTo>
                  <a:lnTo>
                    <a:pt x="128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50">
              <a:extLst>
                <a:ext uri="{FF2B5EF4-FFF2-40B4-BE49-F238E27FC236}">
                  <a16:creationId xmlns:a16="http://schemas.microsoft.com/office/drawing/2014/main" id="{E895086E-F0EE-437D-9F41-395568058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46338" y="4668838"/>
              <a:ext cx="627063" cy="392113"/>
            </a:xfrm>
            <a:custGeom>
              <a:avLst/>
              <a:gdLst>
                <a:gd name="T0" fmla="*/ 1292 w 1580"/>
                <a:gd name="T1" fmla="*/ 78 h 986"/>
                <a:gd name="T2" fmla="*/ 1316 w 1580"/>
                <a:gd name="T3" fmla="*/ 118 h 986"/>
                <a:gd name="T4" fmla="*/ 1387 w 1580"/>
                <a:gd name="T5" fmla="*/ 140 h 986"/>
                <a:gd name="T6" fmla="*/ 1503 w 1580"/>
                <a:gd name="T7" fmla="*/ 153 h 986"/>
                <a:gd name="T8" fmla="*/ 1551 w 1580"/>
                <a:gd name="T9" fmla="*/ 201 h 986"/>
                <a:gd name="T10" fmla="*/ 1565 w 1580"/>
                <a:gd name="T11" fmla="*/ 274 h 986"/>
                <a:gd name="T12" fmla="*/ 1534 w 1580"/>
                <a:gd name="T13" fmla="*/ 327 h 986"/>
                <a:gd name="T14" fmla="*/ 1523 w 1580"/>
                <a:gd name="T15" fmla="*/ 390 h 986"/>
                <a:gd name="T16" fmla="*/ 1536 w 1580"/>
                <a:gd name="T17" fmla="*/ 505 h 986"/>
                <a:gd name="T18" fmla="*/ 1529 w 1580"/>
                <a:gd name="T19" fmla="*/ 546 h 986"/>
                <a:gd name="T20" fmla="*/ 1490 w 1580"/>
                <a:gd name="T21" fmla="*/ 575 h 986"/>
                <a:gd name="T22" fmla="*/ 1335 w 1580"/>
                <a:gd name="T23" fmla="*/ 615 h 986"/>
                <a:gd name="T24" fmla="*/ 1228 w 1580"/>
                <a:gd name="T25" fmla="*/ 657 h 986"/>
                <a:gd name="T26" fmla="*/ 1127 w 1580"/>
                <a:gd name="T27" fmla="*/ 739 h 986"/>
                <a:gd name="T28" fmla="*/ 1116 w 1580"/>
                <a:gd name="T29" fmla="*/ 779 h 986"/>
                <a:gd name="T30" fmla="*/ 1105 w 1580"/>
                <a:gd name="T31" fmla="*/ 840 h 986"/>
                <a:gd name="T32" fmla="*/ 1068 w 1580"/>
                <a:gd name="T33" fmla="*/ 851 h 986"/>
                <a:gd name="T34" fmla="*/ 957 w 1580"/>
                <a:gd name="T35" fmla="*/ 856 h 986"/>
                <a:gd name="T36" fmla="*/ 837 w 1580"/>
                <a:gd name="T37" fmla="*/ 837 h 986"/>
                <a:gd name="T38" fmla="*/ 742 w 1580"/>
                <a:gd name="T39" fmla="*/ 852 h 986"/>
                <a:gd name="T40" fmla="*/ 689 w 1580"/>
                <a:gd name="T41" fmla="*/ 844 h 986"/>
                <a:gd name="T42" fmla="*/ 661 w 1580"/>
                <a:gd name="T43" fmla="*/ 798 h 986"/>
                <a:gd name="T44" fmla="*/ 621 w 1580"/>
                <a:gd name="T45" fmla="*/ 804 h 986"/>
                <a:gd name="T46" fmla="*/ 563 w 1580"/>
                <a:gd name="T47" fmla="*/ 854 h 986"/>
                <a:gd name="T48" fmla="*/ 492 w 1580"/>
                <a:gd name="T49" fmla="*/ 857 h 986"/>
                <a:gd name="T50" fmla="*/ 416 w 1580"/>
                <a:gd name="T51" fmla="*/ 827 h 986"/>
                <a:gd name="T52" fmla="*/ 340 w 1580"/>
                <a:gd name="T53" fmla="*/ 798 h 986"/>
                <a:gd name="T54" fmla="*/ 304 w 1580"/>
                <a:gd name="T55" fmla="*/ 826 h 986"/>
                <a:gd name="T56" fmla="*/ 239 w 1580"/>
                <a:gd name="T57" fmla="*/ 854 h 986"/>
                <a:gd name="T58" fmla="*/ 202 w 1580"/>
                <a:gd name="T59" fmla="*/ 833 h 986"/>
                <a:gd name="T60" fmla="*/ 167 w 1580"/>
                <a:gd name="T61" fmla="*/ 812 h 986"/>
                <a:gd name="T62" fmla="*/ 131 w 1580"/>
                <a:gd name="T63" fmla="*/ 832 h 986"/>
                <a:gd name="T64" fmla="*/ 91 w 1580"/>
                <a:gd name="T65" fmla="*/ 854 h 986"/>
                <a:gd name="T66" fmla="*/ 70 w 1580"/>
                <a:gd name="T67" fmla="*/ 986 h 986"/>
                <a:gd name="T68" fmla="*/ 32 w 1580"/>
                <a:gd name="T69" fmla="*/ 960 h 986"/>
                <a:gd name="T70" fmla="*/ 0 w 1580"/>
                <a:gd name="T71" fmla="*/ 946 h 986"/>
                <a:gd name="T72" fmla="*/ 14 w 1580"/>
                <a:gd name="T73" fmla="*/ 868 h 986"/>
                <a:gd name="T74" fmla="*/ 40 w 1580"/>
                <a:gd name="T75" fmla="*/ 803 h 986"/>
                <a:gd name="T76" fmla="*/ 111 w 1580"/>
                <a:gd name="T77" fmla="*/ 761 h 986"/>
                <a:gd name="T78" fmla="*/ 187 w 1580"/>
                <a:gd name="T79" fmla="*/ 741 h 986"/>
                <a:gd name="T80" fmla="*/ 242 w 1580"/>
                <a:gd name="T81" fmla="*/ 700 h 986"/>
                <a:gd name="T82" fmla="*/ 209 w 1580"/>
                <a:gd name="T83" fmla="*/ 665 h 986"/>
                <a:gd name="T84" fmla="*/ 163 w 1580"/>
                <a:gd name="T85" fmla="*/ 657 h 986"/>
                <a:gd name="T86" fmla="*/ 71 w 1580"/>
                <a:gd name="T87" fmla="*/ 654 h 986"/>
                <a:gd name="T88" fmla="*/ 54 w 1580"/>
                <a:gd name="T89" fmla="*/ 631 h 986"/>
                <a:gd name="T90" fmla="*/ 69 w 1580"/>
                <a:gd name="T91" fmla="*/ 557 h 986"/>
                <a:gd name="T92" fmla="*/ 141 w 1580"/>
                <a:gd name="T93" fmla="*/ 503 h 986"/>
                <a:gd name="T94" fmla="*/ 281 w 1580"/>
                <a:gd name="T95" fmla="*/ 461 h 986"/>
                <a:gd name="T96" fmla="*/ 488 w 1580"/>
                <a:gd name="T97" fmla="*/ 423 h 986"/>
                <a:gd name="T98" fmla="*/ 689 w 1580"/>
                <a:gd name="T99" fmla="*/ 424 h 986"/>
                <a:gd name="T100" fmla="*/ 831 w 1580"/>
                <a:gd name="T101" fmla="*/ 421 h 986"/>
                <a:gd name="T102" fmla="*/ 969 w 1580"/>
                <a:gd name="T103" fmla="*/ 387 h 986"/>
                <a:gd name="T104" fmla="*/ 1013 w 1580"/>
                <a:gd name="T105" fmla="*/ 356 h 986"/>
                <a:gd name="T106" fmla="*/ 1038 w 1580"/>
                <a:gd name="T107" fmla="*/ 289 h 986"/>
                <a:gd name="T108" fmla="*/ 1091 w 1580"/>
                <a:gd name="T109" fmla="*/ 163 h 986"/>
                <a:gd name="T110" fmla="*/ 1139 w 1580"/>
                <a:gd name="T111" fmla="*/ 49 h 986"/>
                <a:gd name="T112" fmla="*/ 1201 w 1580"/>
                <a:gd name="T113" fmla="*/ 17 h 986"/>
                <a:gd name="T114" fmla="*/ 1280 w 1580"/>
                <a:gd name="T115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0" h="986">
                  <a:moveTo>
                    <a:pt x="1280" y="0"/>
                  </a:moveTo>
                  <a:lnTo>
                    <a:pt x="1284" y="18"/>
                  </a:lnTo>
                  <a:lnTo>
                    <a:pt x="1287" y="35"/>
                  </a:lnTo>
                  <a:lnTo>
                    <a:pt x="1289" y="54"/>
                  </a:lnTo>
                  <a:lnTo>
                    <a:pt x="1291" y="71"/>
                  </a:lnTo>
                  <a:lnTo>
                    <a:pt x="1292" y="78"/>
                  </a:lnTo>
                  <a:lnTo>
                    <a:pt x="1294" y="86"/>
                  </a:lnTo>
                  <a:lnTo>
                    <a:pt x="1297" y="93"/>
                  </a:lnTo>
                  <a:lnTo>
                    <a:pt x="1301" y="101"/>
                  </a:lnTo>
                  <a:lnTo>
                    <a:pt x="1305" y="106"/>
                  </a:lnTo>
                  <a:lnTo>
                    <a:pt x="1309" y="113"/>
                  </a:lnTo>
                  <a:lnTo>
                    <a:pt x="1316" y="118"/>
                  </a:lnTo>
                  <a:lnTo>
                    <a:pt x="1323" y="123"/>
                  </a:lnTo>
                  <a:lnTo>
                    <a:pt x="1335" y="127"/>
                  </a:lnTo>
                  <a:lnTo>
                    <a:pt x="1346" y="131"/>
                  </a:lnTo>
                  <a:lnTo>
                    <a:pt x="1356" y="135"/>
                  </a:lnTo>
                  <a:lnTo>
                    <a:pt x="1367" y="137"/>
                  </a:lnTo>
                  <a:lnTo>
                    <a:pt x="1387" y="140"/>
                  </a:lnTo>
                  <a:lnTo>
                    <a:pt x="1408" y="142"/>
                  </a:lnTo>
                  <a:lnTo>
                    <a:pt x="1427" y="142"/>
                  </a:lnTo>
                  <a:lnTo>
                    <a:pt x="1449" y="143"/>
                  </a:lnTo>
                  <a:lnTo>
                    <a:pt x="1471" y="145"/>
                  </a:lnTo>
                  <a:lnTo>
                    <a:pt x="1495" y="151"/>
                  </a:lnTo>
                  <a:lnTo>
                    <a:pt x="1503" y="153"/>
                  </a:lnTo>
                  <a:lnTo>
                    <a:pt x="1510" y="156"/>
                  </a:lnTo>
                  <a:lnTo>
                    <a:pt x="1517" y="160"/>
                  </a:lnTo>
                  <a:lnTo>
                    <a:pt x="1523" y="165"/>
                  </a:lnTo>
                  <a:lnTo>
                    <a:pt x="1533" y="176"/>
                  </a:lnTo>
                  <a:lnTo>
                    <a:pt x="1543" y="189"/>
                  </a:lnTo>
                  <a:lnTo>
                    <a:pt x="1551" y="201"/>
                  </a:lnTo>
                  <a:lnTo>
                    <a:pt x="1560" y="216"/>
                  </a:lnTo>
                  <a:lnTo>
                    <a:pt x="1568" y="230"/>
                  </a:lnTo>
                  <a:lnTo>
                    <a:pt x="1580" y="243"/>
                  </a:lnTo>
                  <a:lnTo>
                    <a:pt x="1580" y="243"/>
                  </a:lnTo>
                  <a:lnTo>
                    <a:pt x="1573" y="258"/>
                  </a:lnTo>
                  <a:lnTo>
                    <a:pt x="1565" y="274"/>
                  </a:lnTo>
                  <a:lnTo>
                    <a:pt x="1562" y="281"/>
                  </a:lnTo>
                  <a:lnTo>
                    <a:pt x="1559" y="289"/>
                  </a:lnTo>
                  <a:lnTo>
                    <a:pt x="1556" y="295"/>
                  </a:lnTo>
                  <a:lnTo>
                    <a:pt x="1551" y="301"/>
                  </a:lnTo>
                  <a:lnTo>
                    <a:pt x="1543" y="313"/>
                  </a:lnTo>
                  <a:lnTo>
                    <a:pt x="1534" y="327"/>
                  </a:lnTo>
                  <a:lnTo>
                    <a:pt x="1530" y="335"/>
                  </a:lnTo>
                  <a:lnTo>
                    <a:pt x="1526" y="343"/>
                  </a:lnTo>
                  <a:lnTo>
                    <a:pt x="1524" y="352"/>
                  </a:lnTo>
                  <a:lnTo>
                    <a:pt x="1522" y="359"/>
                  </a:lnTo>
                  <a:lnTo>
                    <a:pt x="1522" y="374"/>
                  </a:lnTo>
                  <a:lnTo>
                    <a:pt x="1523" y="390"/>
                  </a:lnTo>
                  <a:lnTo>
                    <a:pt x="1525" y="407"/>
                  </a:lnTo>
                  <a:lnTo>
                    <a:pt x="1527" y="424"/>
                  </a:lnTo>
                  <a:lnTo>
                    <a:pt x="1530" y="441"/>
                  </a:lnTo>
                  <a:lnTo>
                    <a:pt x="1531" y="460"/>
                  </a:lnTo>
                  <a:lnTo>
                    <a:pt x="1533" y="483"/>
                  </a:lnTo>
                  <a:lnTo>
                    <a:pt x="1536" y="505"/>
                  </a:lnTo>
                  <a:lnTo>
                    <a:pt x="1537" y="515"/>
                  </a:lnTo>
                  <a:lnTo>
                    <a:pt x="1536" y="525"/>
                  </a:lnTo>
                  <a:lnTo>
                    <a:pt x="1535" y="530"/>
                  </a:lnTo>
                  <a:lnTo>
                    <a:pt x="1534" y="535"/>
                  </a:lnTo>
                  <a:lnTo>
                    <a:pt x="1531" y="541"/>
                  </a:lnTo>
                  <a:lnTo>
                    <a:pt x="1529" y="546"/>
                  </a:lnTo>
                  <a:lnTo>
                    <a:pt x="1524" y="551"/>
                  </a:lnTo>
                  <a:lnTo>
                    <a:pt x="1520" y="556"/>
                  </a:lnTo>
                  <a:lnTo>
                    <a:pt x="1516" y="560"/>
                  </a:lnTo>
                  <a:lnTo>
                    <a:pt x="1511" y="564"/>
                  </a:lnTo>
                  <a:lnTo>
                    <a:pt x="1500" y="571"/>
                  </a:lnTo>
                  <a:lnTo>
                    <a:pt x="1490" y="575"/>
                  </a:lnTo>
                  <a:lnTo>
                    <a:pt x="1466" y="582"/>
                  </a:lnTo>
                  <a:lnTo>
                    <a:pt x="1439" y="587"/>
                  </a:lnTo>
                  <a:lnTo>
                    <a:pt x="1411" y="596"/>
                  </a:lnTo>
                  <a:lnTo>
                    <a:pt x="1387" y="602"/>
                  </a:lnTo>
                  <a:lnTo>
                    <a:pt x="1362" y="609"/>
                  </a:lnTo>
                  <a:lnTo>
                    <a:pt x="1335" y="615"/>
                  </a:lnTo>
                  <a:lnTo>
                    <a:pt x="1305" y="624"/>
                  </a:lnTo>
                  <a:lnTo>
                    <a:pt x="1278" y="633"/>
                  </a:lnTo>
                  <a:lnTo>
                    <a:pt x="1265" y="639"/>
                  </a:lnTo>
                  <a:lnTo>
                    <a:pt x="1252" y="644"/>
                  </a:lnTo>
                  <a:lnTo>
                    <a:pt x="1240" y="651"/>
                  </a:lnTo>
                  <a:lnTo>
                    <a:pt x="1228" y="657"/>
                  </a:lnTo>
                  <a:lnTo>
                    <a:pt x="1206" y="672"/>
                  </a:lnTo>
                  <a:lnTo>
                    <a:pt x="1184" y="690"/>
                  </a:lnTo>
                  <a:lnTo>
                    <a:pt x="1161" y="709"/>
                  </a:lnTo>
                  <a:lnTo>
                    <a:pt x="1139" y="731"/>
                  </a:lnTo>
                  <a:lnTo>
                    <a:pt x="1132" y="735"/>
                  </a:lnTo>
                  <a:lnTo>
                    <a:pt x="1127" y="739"/>
                  </a:lnTo>
                  <a:lnTo>
                    <a:pt x="1122" y="745"/>
                  </a:lnTo>
                  <a:lnTo>
                    <a:pt x="1119" y="751"/>
                  </a:lnTo>
                  <a:lnTo>
                    <a:pt x="1117" y="758"/>
                  </a:lnTo>
                  <a:lnTo>
                    <a:pt x="1116" y="765"/>
                  </a:lnTo>
                  <a:lnTo>
                    <a:pt x="1116" y="772"/>
                  </a:lnTo>
                  <a:lnTo>
                    <a:pt x="1116" y="779"/>
                  </a:lnTo>
                  <a:lnTo>
                    <a:pt x="1116" y="795"/>
                  </a:lnTo>
                  <a:lnTo>
                    <a:pt x="1115" y="811"/>
                  </a:lnTo>
                  <a:lnTo>
                    <a:pt x="1114" y="818"/>
                  </a:lnTo>
                  <a:lnTo>
                    <a:pt x="1113" y="826"/>
                  </a:lnTo>
                  <a:lnTo>
                    <a:pt x="1109" y="833"/>
                  </a:lnTo>
                  <a:lnTo>
                    <a:pt x="1105" y="840"/>
                  </a:lnTo>
                  <a:lnTo>
                    <a:pt x="1102" y="844"/>
                  </a:lnTo>
                  <a:lnTo>
                    <a:pt x="1098" y="846"/>
                  </a:lnTo>
                  <a:lnTo>
                    <a:pt x="1093" y="848"/>
                  </a:lnTo>
                  <a:lnTo>
                    <a:pt x="1089" y="849"/>
                  </a:lnTo>
                  <a:lnTo>
                    <a:pt x="1079" y="849"/>
                  </a:lnTo>
                  <a:lnTo>
                    <a:pt x="1068" y="851"/>
                  </a:lnTo>
                  <a:lnTo>
                    <a:pt x="1051" y="854"/>
                  </a:lnTo>
                  <a:lnTo>
                    <a:pt x="1035" y="857"/>
                  </a:lnTo>
                  <a:lnTo>
                    <a:pt x="1019" y="858"/>
                  </a:lnTo>
                  <a:lnTo>
                    <a:pt x="1001" y="859"/>
                  </a:lnTo>
                  <a:lnTo>
                    <a:pt x="979" y="858"/>
                  </a:lnTo>
                  <a:lnTo>
                    <a:pt x="957" y="856"/>
                  </a:lnTo>
                  <a:lnTo>
                    <a:pt x="938" y="853"/>
                  </a:lnTo>
                  <a:lnTo>
                    <a:pt x="919" y="848"/>
                  </a:lnTo>
                  <a:lnTo>
                    <a:pt x="901" y="844"/>
                  </a:lnTo>
                  <a:lnTo>
                    <a:pt x="882" y="841"/>
                  </a:lnTo>
                  <a:lnTo>
                    <a:pt x="860" y="838"/>
                  </a:lnTo>
                  <a:lnTo>
                    <a:pt x="837" y="837"/>
                  </a:lnTo>
                  <a:lnTo>
                    <a:pt x="819" y="838"/>
                  </a:lnTo>
                  <a:lnTo>
                    <a:pt x="803" y="840"/>
                  </a:lnTo>
                  <a:lnTo>
                    <a:pt x="788" y="842"/>
                  </a:lnTo>
                  <a:lnTo>
                    <a:pt x="772" y="845"/>
                  </a:lnTo>
                  <a:lnTo>
                    <a:pt x="757" y="848"/>
                  </a:lnTo>
                  <a:lnTo>
                    <a:pt x="742" y="852"/>
                  </a:lnTo>
                  <a:lnTo>
                    <a:pt x="725" y="853"/>
                  </a:lnTo>
                  <a:lnTo>
                    <a:pt x="707" y="854"/>
                  </a:lnTo>
                  <a:lnTo>
                    <a:pt x="701" y="853"/>
                  </a:lnTo>
                  <a:lnTo>
                    <a:pt x="697" y="852"/>
                  </a:lnTo>
                  <a:lnTo>
                    <a:pt x="693" y="848"/>
                  </a:lnTo>
                  <a:lnTo>
                    <a:pt x="689" y="844"/>
                  </a:lnTo>
                  <a:lnTo>
                    <a:pt x="684" y="835"/>
                  </a:lnTo>
                  <a:lnTo>
                    <a:pt x="680" y="825"/>
                  </a:lnTo>
                  <a:lnTo>
                    <a:pt x="674" y="814"/>
                  </a:lnTo>
                  <a:lnTo>
                    <a:pt x="669" y="804"/>
                  </a:lnTo>
                  <a:lnTo>
                    <a:pt x="666" y="800"/>
                  </a:lnTo>
                  <a:lnTo>
                    <a:pt x="661" y="798"/>
                  </a:lnTo>
                  <a:lnTo>
                    <a:pt x="657" y="795"/>
                  </a:lnTo>
                  <a:lnTo>
                    <a:pt x="651" y="794"/>
                  </a:lnTo>
                  <a:lnTo>
                    <a:pt x="643" y="795"/>
                  </a:lnTo>
                  <a:lnTo>
                    <a:pt x="635" y="798"/>
                  </a:lnTo>
                  <a:lnTo>
                    <a:pt x="628" y="801"/>
                  </a:lnTo>
                  <a:lnTo>
                    <a:pt x="621" y="804"/>
                  </a:lnTo>
                  <a:lnTo>
                    <a:pt x="609" y="815"/>
                  </a:lnTo>
                  <a:lnTo>
                    <a:pt x="599" y="826"/>
                  </a:lnTo>
                  <a:lnTo>
                    <a:pt x="588" y="837"/>
                  </a:lnTo>
                  <a:lnTo>
                    <a:pt x="576" y="847"/>
                  </a:lnTo>
                  <a:lnTo>
                    <a:pt x="569" y="851"/>
                  </a:lnTo>
                  <a:lnTo>
                    <a:pt x="563" y="854"/>
                  </a:lnTo>
                  <a:lnTo>
                    <a:pt x="555" y="856"/>
                  </a:lnTo>
                  <a:lnTo>
                    <a:pt x="547" y="857"/>
                  </a:lnTo>
                  <a:lnTo>
                    <a:pt x="532" y="857"/>
                  </a:lnTo>
                  <a:lnTo>
                    <a:pt x="520" y="857"/>
                  </a:lnTo>
                  <a:lnTo>
                    <a:pt x="507" y="857"/>
                  </a:lnTo>
                  <a:lnTo>
                    <a:pt x="492" y="857"/>
                  </a:lnTo>
                  <a:lnTo>
                    <a:pt x="481" y="856"/>
                  </a:lnTo>
                  <a:lnTo>
                    <a:pt x="470" y="854"/>
                  </a:lnTo>
                  <a:lnTo>
                    <a:pt x="460" y="852"/>
                  </a:lnTo>
                  <a:lnTo>
                    <a:pt x="451" y="847"/>
                  </a:lnTo>
                  <a:lnTo>
                    <a:pt x="432" y="838"/>
                  </a:lnTo>
                  <a:lnTo>
                    <a:pt x="416" y="827"/>
                  </a:lnTo>
                  <a:lnTo>
                    <a:pt x="399" y="816"/>
                  </a:lnTo>
                  <a:lnTo>
                    <a:pt x="381" y="807"/>
                  </a:lnTo>
                  <a:lnTo>
                    <a:pt x="372" y="803"/>
                  </a:lnTo>
                  <a:lnTo>
                    <a:pt x="362" y="800"/>
                  </a:lnTo>
                  <a:lnTo>
                    <a:pt x="351" y="799"/>
                  </a:lnTo>
                  <a:lnTo>
                    <a:pt x="340" y="798"/>
                  </a:lnTo>
                  <a:lnTo>
                    <a:pt x="334" y="799"/>
                  </a:lnTo>
                  <a:lnTo>
                    <a:pt x="329" y="801"/>
                  </a:lnTo>
                  <a:lnTo>
                    <a:pt x="324" y="804"/>
                  </a:lnTo>
                  <a:lnTo>
                    <a:pt x="320" y="808"/>
                  </a:lnTo>
                  <a:lnTo>
                    <a:pt x="312" y="817"/>
                  </a:lnTo>
                  <a:lnTo>
                    <a:pt x="304" y="826"/>
                  </a:lnTo>
                  <a:lnTo>
                    <a:pt x="288" y="837"/>
                  </a:lnTo>
                  <a:lnTo>
                    <a:pt x="273" y="845"/>
                  </a:lnTo>
                  <a:lnTo>
                    <a:pt x="266" y="849"/>
                  </a:lnTo>
                  <a:lnTo>
                    <a:pt x="257" y="852"/>
                  </a:lnTo>
                  <a:lnTo>
                    <a:pt x="249" y="853"/>
                  </a:lnTo>
                  <a:lnTo>
                    <a:pt x="239" y="854"/>
                  </a:lnTo>
                  <a:lnTo>
                    <a:pt x="234" y="854"/>
                  </a:lnTo>
                  <a:lnTo>
                    <a:pt x="228" y="852"/>
                  </a:lnTo>
                  <a:lnTo>
                    <a:pt x="223" y="849"/>
                  </a:lnTo>
                  <a:lnTo>
                    <a:pt x="218" y="847"/>
                  </a:lnTo>
                  <a:lnTo>
                    <a:pt x="210" y="841"/>
                  </a:lnTo>
                  <a:lnTo>
                    <a:pt x="202" y="833"/>
                  </a:lnTo>
                  <a:lnTo>
                    <a:pt x="195" y="825"/>
                  </a:lnTo>
                  <a:lnTo>
                    <a:pt x="187" y="818"/>
                  </a:lnTo>
                  <a:lnTo>
                    <a:pt x="183" y="816"/>
                  </a:lnTo>
                  <a:lnTo>
                    <a:pt x="177" y="814"/>
                  </a:lnTo>
                  <a:lnTo>
                    <a:pt x="172" y="812"/>
                  </a:lnTo>
                  <a:lnTo>
                    <a:pt x="167" y="812"/>
                  </a:lnTo>
                  <a:lnTo>
                    <a:pt x="159" y="813"/>
                  </a:lnTo>
                  <a:lnTo>
                    <a:pt x="152" y="815"/>
                  </a:lnTo>
                  <a:lnTo>
                    <a:pt x="147" y="818"/>
                  </a:lnTo>
                  <a:lnTo>
                    <a:pt x="142" y="822"/>
                  </a:lnTo>
                  <a:lnTo>
                    <a:pt x="136" y="828"/>
                  </a:lnTo>
                  <a:lnTo>
                    <a:pt x="131" y="832"/>
                  </a:lnTo>
                  <a:lnTo>
                    <a:pt x="125" y="837"/>
                  </a:lnTo>
                  <a:lnTo>
                    <a:pt x="119" y="840"/>
                  </a:lnTo>
                  <a:lnTo>
                    <a:pt x="108" y="844"/>
                  </a:lnTo>
                  <a:lnTo>
                    <a:pt x="98" y="848"/>
                  </a:lnTo>
                  <a:lnTo>
                    <a:pt x="95" y="851"/>
                  </a:lnTo>
                  <a:lnTo>
                    <a:pt x="91" y="854"/>
                  </a:lnTo>
                  <a:lnTo>
                    <a:pt x="88" y="858"/>
                  </a:lnTo>
                  <a:lnTo>
                    <a:pt x="84" y="862"/>
                  </a:lnTo>
                  <a:lnTo>
                    <a:pt x="84" y="862"/>
                  </a:lnTo>
                  <a:lnTo>
                    <a:pt x="98" y="949"/>
                  </a:lnTo>
                  <a:lnTo>
                    <a:pt x="98" y="986"/>
                  </a:lnTo>
                  <a:lnTo>
                    <a:pt x="70" y="986"/>
                  </a:lnTo>
                  <a:lnTo>
                    <a:pt x="70" y="986"/>
                  </a:lnTo>
                  <a:lnTo>
                    <a:pt x="63" y="978"/>
                  </a:lnTo>
                  <a:lnTo>
                    <a:pt x="55" y="973"/>
                  </a:lnTo>
                  <a:lnTo>
                    <a:pt x="48" y="967"/>
                  </a:lnTo>
                  <a:lnTo>
                    <a:pt x="40" y="963"/>
                  </a:lnTo>
                  <a:lnTo>
                    <a:pt x="32" y="960"/>
                  </a:lnTo>
                  <a:lnTo>
                    <a:pt x="23" y="957"/>
                  </a:lnTo>
                  <a:lnTo>
                    <a:pt x="14" y="955"/>
                  </a:lnTo>
                  <a:lnTo>
                    <a:pt x="3" y="955"/>
                  </a:lnTo>
                  <a:lnTo>
                    <a:pt x="3" y="955"/>
                  </a:lnTo>
                  <a:lnTo>
                    <a:pt x="2" y="950"/>
                  </a:lnTo>
                  <a:lnTo>
                    <a:pt x="0" y="946"/>
                  </a:lnTo>
                  <a:lnTo>
                    <a:pt x="1" y="935"/>
                  </a:lnTo>
                  <a:lnTo>
                    <a:pt x="2" y="925"/>
                  </a:lnTo>
                  <a:lnTo>
                    <a:pt x="5" y="915"/>
                  </a:lnTo>
                  <a:lnTo>
                    <a:pt x="7" y="907"/>
                  </a:lnTo>
                  <a:lnTo>
                    <a:pt x="11" y="888"/>
                  </a:lnTo>
                  <a:lnTo>
                    <a:pt x="14" y="868"/>
                  </a:lnTo>
                  <a:lnTo>
                    <a:pt x="17" y="848"/>
                  </a:lnTo>
                  <a:lnTo>
                    <a:pt x="21" y="831"/>
                  </a:lnTo>
                  <a:lnTo>
                    <a:pt x="24" y="824"/>
                  </a:lnTo>
                  <a:lnTo>
                    <a:pt x="27" y="816"/>
                  </a:lnTo>
                  <a:lnTo>
                    <a:pt x="33" y="810"/>
                  </a:lnTo>
                  <a:lnTo>
                    <a:pt x="40" y="803"/>
                  </a:lnTo>
                  <a:lnTo>
                    <a:pt x="52" y="794"/>
                  </a:lnTo>
                  <a:lnTo>
                    <a:pt x="64" y="786"/>
                  </a:lnTo>
                  <a:lnTo>
                    <a:pt x="77" y="779"/>
                  </a:lnTo>
                  <a:lnTo>
                    <a:pt x="89" y="772"/>
                  </a:lnTo>
                  <a:lnTo>
                    <a:pt x="101" y="766"/>
                  </a:lnTo>
                  <a:lnTo>
                    <a:pt x="111" y="761"/>
                  </a:lnTo>
                  <a:lnTo>
                    <a:pt x="124" y="757"/>
                  </a:lnTo>
                  <a:lnTo>
                    <a:pt x="136" y="752"/>
                  </a:lnTo>
                  <a:lnTo>
                    <a:pt x="148" y="749"/>
                  </a:lnTo>
                  <a:lnTo>
                    <a:pt x="161" y="746"/>
                  </a:lnTo>
                  <a:lnTo>
                    <a:pt x="174" y="744"/>
                  </a:lnTo>
                  <a:lnTo>
                    <a:pt x="187" y="741"/>
                  </a:lnTo>
                  <a:lnTo>
                    <a:pt x="214" y="739"/>
                  </a:lnTo>
                  <a:lnTo>
                    <a:pt x="244" y="739"/>
                  </a:lnTo>
                  <a:lnTo>
                    <a:pt x="244" y="724"/>
                  </a:lnTo>
                  <a:lnTo>
                    <a:pt x="244" y="710"/>
                  </a:lnTo>
                  <a:lnTo>
                    <a:pt x="244" y="705"/>
                  </a:lnTo>
                  <a:lnTo>
                    <a:pt x="242" y="700"/>
                  </a:lnTo>
                  <a:lnTo>
                    <a:pt x="240" y="697"/>
                  </a:lnTo>
                  <a:lnTo>
                    <a:pt x="237" y="693"/>
                  </a:lnTo>
                  <a:lnTo>
                    <a:pt x="230" y="686"/>
                  </a:lnTo>
                  <a:lnTo>
                    <a:pt x="223" y="680"/>
                  </a:lnTo>
                  <a:lnTo>
                    <a:pt x="215" y="672"/>
                  </a:lnTo>
                  <a:lnTo>
                    <a:pt x="209" y="665"/>
                  </a:lnTo>
                  <a:lnTo>
                    <a:pt x="204" y="662"/>
                  </a:lnTo>
                  <a:lnTo>
                    <a:pt x="200" y="659"/>
                  </a:lnTo>
                  <a:lnTo>
                    <a:pt x="196" y="658"/>
                  </a:lnTo>
                  <a:lnTo>
                    <a:pt x="190" y="657"/>
                  </a:lnTo>
                  <a:lnTo>
                    <a:pt x="176" y="657"/>
                  </a:lnTo>
                  <a:lnTo>
                    <a:pt x="163" y="657"/>
                  </a:lnTo>
                  <a:lnTo>
                    <a:pt x="150" y="657"/>
                  </a:lnTo>
                  <a:lnTo>
                    <a:pt x="136" y="657"/>
                  </a:lnTo>
                  <a:lnTo>
                    <a:pt x="109" y="658"/>
                  </a:lnTo>
                  <a:lnTo>
                    <a:pt x="82" y="657"/>
                  </a:lnTo>
                  <a:lnTo>
                    <a:pt x="77" y="656"/>
                  </a:lnTo>
                  <a:lnTo>
                    <a:pt x="71" y="654"/>
                  </a:lnTo>
                  <a:lnTo>
                    <a:pt x="66" y="652"/>
                  </a:lnTo>
                  <a:lnTo>
                    <a:pt x="62" y="650"/>
                  </a:lnTo>
                  <a:lnTo>
                    <a:pt x="59" y="645"/>
                  </a:lnTo>
                  <a:lnTo>
                    <a:pt x="56" y="642"/>
                  </a:lnTo>
                  <a:lnTo>
                    <a:pt x="54" y="637"/>
                  </a:lnTo>
                  <a:lnTo>
                    <a:pt x="54" y="631"/>
                  </a:lnTo>
                  <a:lnTo>
                    <a:pt x="54" y="617"/>
                  </a:lnTo>
                  <a:lnTo>
                    <a:pt x="55" y="604"/>
                  </a:lnTo>
                  <a:lnTo>
                    <a:pt x="57" y="592"/>
                  </a:lnTo>
                  <a:lnTo>
                    <a:pt x="61" y="581"/>
                  </a:lnTo>
                  <a:lnTo>
                    <a:pt x="64" y="569"/>
                  </a:lnTo>
                  <a:lnTo>
                    <a:pt x="69" y="557"/>
                  </a:lnTo>
                  <a:lnTo>
                    <a:pt x="75" y="546"/>
                  </a:lnTo>
                  <a:lnTo>
                    <a:pt x="82" y="534"/>
                  </a:lnTo>
                  <a:lnTo>
                    <a:pt x="82" y="534"/>
                  </a:lnTo>
                  <a:lnTo>
                    <a:pt x="103" y="522"/>
                  </a:lnTo>
                  <a:lnTo>
                    <a:pt x="122" y="513"/>
                  </a:lnTo>
                  <a:lnTo>
                    <a:pt x="141" y="503"/>
                  </a:lnTo>
                  <a:lnTo>
                    <a:pt x="159" y="495"/>
                  </a:lnTo>
                  <a:lnTo>
                    <a:pt x="177" y="488"/>
                  </a:lnTo>
                  <a:lnTo>
                    <a:pt x="197" y="481"/>
                  </a:lnTo>
                  <a:lnTo>
                    <a:pt x="218" y="476"/>
                  </a:lnTo>
                  <a:lnTo>
                    <a:pt x="242" y="469"/>
                  </a:lnTo>
                  <a:lnTo>
                    <a:pt x="281" y="461"/>
                  </a:lnTo>
                  <a:lnTo>
                    <a:pt x="317" y="451"/>
                  </a:lnTo>
                  <a:lnTo>
                    <a:pt x="351" y="443"/>
                  </a:lnTo>
                  <a:lnTo>
                    <a:pt x="384" y="436"/>
                  </a:lnTo>
                  <a:lnTo>
                    <a:pt x="417" y="430"/>
                  </a:lnTo>
                  <a:lnTo>
                    <a:pt x="452" y="426"/>
                  </a:lnTo>
                  <a:lnTo>
                    <a:pt x="488" y="423"/>
                  </a:lnTo>
                  <a:lnTo>
                    <a:pt x="528" y="422"/>
                  </a:lnTo>
                  <a:lnTo>
                    <a:pt x="565" y="422"/>
                  </a:lnTo>
                  <a:lnTo>
                    <a:pt x="599" y="423"/>
                  </a:lnTo>
                  <a:lnTo>
                    <a:pt x="629" y="423"/>
                  </a:lnTo>
                  <a:lnTo>
                    <a:pt x="659" y="424"/>
                  </a:lnTo>
                  <a:lnTo>
                    <a:pt x="689" y="424"/>
                  </a:lnTo>
                  <a:lnTo>
                    <a:pt x="721" y="425"/>
                  </a:lnTo>
                  <a:lnTo>
                    <a:pt x="754" y="425"/>
                  </a:lnTo>
                  <a:lnTo>
                    <a:pt x="791" y="425"/>
                  </a:lnTo>
                  <a:lnTo>
                    <a:pt x="805" y="424"/>
                  </a:lnTo>
                  <a:lnTo>
                    <a:pt x="819" y="423"/>
                  </a:lnTo>
                  <a:lnTo>
                    <a:pt x="831" y="421"/>
                  </a:lnTo>
                  <a:lnTo>
                    <a:pt x="843" y="417"/>
                  </a:lnTo>
                  <a:lnTo>
                    <a:pt x="868" y="411"/>
                  </a:lnTo>
                  <a:lnTo>
                    <a:pt x="895" y="402"/>
                  </a:lnTo>
                  <a:lnTo>
                    <a:pt x="927" y="396"/>
                  </a:lnTo>
                  <a:lnTo>
                    <a:pt x="956" y="392"/>
                  </a:lnTo>
                  <a:lnTo>
                    <a:pt x="969" y="387"/>
                  </a:lnTo>
                  <a:lnTo>
                    <a:pt x="982" y="382"/>
                  </a:lnTo>
                  <a:lnTo>
                    <a:pt x="988" y="379"/>
                  </a:lnTo>
                  <a:lnTo>
                    <a:pt x="995" y="374"/>
                  </a:lnTo>
                  <a:lnTo>
                    <a:pt x="1001" y="369"/>
                  </a:lnTo>
                  <a:lnTo>
                    <a:pt x="1007" y="363"/>
                  </a:lnTo>
                  <a:lnTo>
                    <a:pt x="1013" y="356"/>
                  </a:lnTo>
                  <a:lnTo>
                    <a:pt x="1018" y="349"/>
                  </a:lnTo>
                  <a:lnTo>
                    <a:pt x="1022" y="342"/>
                  </a:lnTo>
                  <a:lnTo>
                    <a:pt x="1026" y="334"/>
                  </a:lnTo>
                  <a:lnTo>
                    <a:pt x="1032" y="320"/>
                  </a:lnTo>
                  <a:lnTo>
                    <a:pt x="1035" y="304"/>
                  </a:lnTo>
                  <a:lnTo>
                    <a:pt x="1038" y="289"/>
                  </a:lnTo>
                  <a:lnTo>
                    <a:pt x="1042" y="273"/>
                  </a:lnTo>
                  <a:lnTo>
                    <a:pt x="1047" y="257"/>
                  </a:lnTo>
                  <a:lnTo>
                    <a:pt x="1054" y="240"/>
                  </a:lnTo>
                  <a:lnTo>
                    <a:pt x="1068" y="212"/>
                  </a:lnTo>
                  <a:lnTo>
                    <a:pt x="1080" y="187"/>
                  </a:lnTo>
                  <a:lnTo>
                    <a:pt x="1091" y="163"/>
                  </a:lnTo>
                  <a:lnTo>
                    <a:pt x="1102" y="133"/>
                  </a:lnTo>
                  <a:lnTo>
                    <a:pt x="1112" y="104"/>
                  </a:lnTo>
                  <a:lnTo>
                    <a:pt x="1121" y="78"/>
                  </a:lnTo>
                  <a:lnTo>
                    <a:pt x="1127" y="65"/>
                  </a:lnTo>
                  <a:lnTo>
                    <a:pt x="1134" y="55"/>
                  </a:lnTo>
                  <a:lnTo>
                    <a:pt x="1139" y="49"/>
                  </a:lnTo>
                  <a:lnTo>
                    <a:pt x="1143" y="45"/>
                  </a:lnTo>
                  <a:lnTo>
                    <a:pt x="1149" y="39"/>
                  </a:lnTo>
                  <a:lnTo>
                    <a:pt x="1156" y="35"/>
                  </a:lnTo>
                  <a:lnTo>
                    <a:pt x="1171" y="27"/>
                  </a:lnTo>
                  <a:lnTo>
                    <a:pt x="1186" y="20"/>
                  </a:lnTo>
                  <a:lnTo>
                    <a:pt x="1201" y="17"/>
                  </a:lnTo>
                  <a:lnTo>
                    <a:pt x="1215" y="14"/>
                  </a:lnTo>
                  <a:lnTo>
                    <a:pt x="1230" y="10"/>
                  </a:lnTo>
                  <a:lnTo>
                    <a:pt x="1247" y="8"/>
                  </a:lnTo>
                  <a:lnTo>
                    <a:pt x="1263" y="5"/>
                  </a:lnTo>
                  <a:lnTo>
                    <a:pt x="1280" y="0"/>
                  </a:lnTo>
                  <a:lnTo>
                    <a:pt x="128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51">
              <a:extLst>
                <a:ext uri="{FF2B5EF4-FFF2-40B4-BE49-F238E27FC236}">
                  <a16:creationId xmlns:a16="http://schemas.microsoft.com/office/drawing/2014/main" id="{CF51F293-C672-4E06-A9BA-522A07C73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8338" y="4208463"/>
              <a:ext cx="393700" cy="557213"/>
            </a:xfrm>
            <a:custGeom>
              <a:avLst/>
              <a:gdLst>
                <a:gd name="T0" fmla="*/ 786 w 992"/>
                <a:gd name="T1" fmla="*/ 62 h 1407"/>
                <a:gd name="T2" fmla="*/ 800 w 992"/>
                <a:gd name="T3" fmla="*/ 86 h 1407"/>
                <a:gd name="T4" fmla="*/ 818 w 992"/>
                <a:gd name="T5" fmla="*/ 94 h 1407"/>
                <a:gd name="T6" fmla="*/ 861 w 992"/>
                <a:gd name="T7" fmla="*/ 108 h 1407"/>
                <a:gd name="T8" fmla="*/ 933 w 992"/>
                <a:gd name="T9" fmla="*/ 148 h 1407"/>
                <a:gd name="T10" fmla="*/ 992 w 992"/>
                <a:gd name="T11" fmla="*/ 176 h 1407"/>
                <a:gd name="T12" fmla="*/ 983 w 992"/>
                <a:gd name="T13" fmla="*/ 238 h 1407"/>
                <a:gd name="T14" fmla="*/ 983 w 992"/>
                <a:gd name="T15" fmla="*/ 334 h 1407"/>
                <a:gd name="T16" fmla="*/ 976 w 992"/>
                <a:gd name="T17" fmla="*/ 457 h 1407"/>
                <a:gd name="T18" fmla="*/ 961 w 992"/>
                <a:gd name="T19" fmla="*/ 530 h 1407"/>
                <a:gd name="T20" fmla="*/ 931 w 992"/>
                <a:gd name="T21" fmla="*/ 601 h 1407"/>
                <a:gd name="T22" fmla="*/ 899 w 992"/>
                <a:gd name="T23" fmla="*/ 661 h 1407"/>
                <a:gd name="T24" fmla="*/ 878 w 992"/>
                <a:gd name="T25" fmla="*/ 694 h 1407"/>
                <a:gd name="T26" fmla="*/ 839 w 992"/>
                <a:gd name="T27" fmla="*/ 709 h 1407"/>
                <a:gd name="T28" fmla="*/ 765 w 992"/>
                <a:gd name="T29" fmla="*/ 761 h 1407"/>
                <a:gd name="T30" fmla="*/ 725 w 992"/>
                <a:gd name="T31" fmla="*/ 800 h 1407"/>
                <a:gd name="T32" fmla="*/ 695 w 992"/>
                <a:gd name="T33" fmla="*/ 847 h 1407"/>
                <a:gd name="T34" fmla="*/ 675 w 992"/>
                <a:gd name="T35" fmla="*/ 898 h 1407"/>
                <a:gd name="T36" fmla="*/ 644 w 992"/>
                <a:gd name="T37" fmla="*/ 945 h 1407"/>
                <a:gd name="T38" fmla="*/ 596 w 992"/>
                <a:gd name="T39" fmla="*/ 1009 h 1407"/>
                <a:gd name="T40" fmla="*/ 569 w 992"/>
                <a:gd name="T41" fmla="*/ 1067 h 1407"/>
                <a:gd name="T42" fmla="*/ 540 w 992"/>
                <a:gd name="T43" fmla="*/ 1124 h 1407"/>
                <a:gd name="T44" fmla="*/ 493 w 992"/>
                <a:gd name="T45" fmla="*/ 1176 h 1407"/>
                <a:gd name="T46" fmla="*/ 394 w 992"/>
                <a:gd name="T47" fmla="*/ 1265 h 1407"/>
                <a:gd name="T48" fmla="*/ 328 w 992"/>
                <a:gd name="T49" fmla="*/ 1355 h 1407"/>
                <a:gd name="T50" fmla="*/ 288 w 992"/>
                <a:gd name="T51" fmla="*/ 1394 h 1407"/>
                <a:gd name="T52" fmla="*/ 253 w 992"/>
                <a:gd name="T53" fmla="*/ 1340 h 1407"/>
                <a:gd name="T54" fmla="*/ 223 w 992"/>
                <a:gd name="T55" fmla="*/ 1317 h 1407"/>
                <a:gd name="T56" fmla="*/ 147 w 992"/>
                <a:gd name="T57" fmla="*/ 1306 h 1407"/>
                <a:gd name="T58" fmla="*/ 76 w 992"/>
                <a:gd name="T59" fmla="*/ 1299 h 1407"/>
                <a:gd name="T60" fmla="*/ 36 w 992"/>
                <a:gd name="T61" fmla="*/ 1282 h 1407"/>
                <a:gd name="T62" fmla="*/ 17 w 992"/>
                <a:gd name="T63" fmla="*/ 1257 h 1407"/>
                <a:gd name="T64" fmla="*/ 9 w 992"/>
                <a:gd name="T65" fmla="*/ 1218 h 1407"/>
                <a:gd name="T66" fmla="*/ 0 w 992"/>
                <a:gd name="T67" fmla="*/ 1164 h 1407"/>
                <a:gd name="T68" fmla="*/ 20 w 992"/>
                <a:gd name="T69" fmla="*/ 1107 h 1407"/>
                <a:gd name="T70" fmla="*/ 34 w 992"/>
                <a:gd name="T71" fmla="*/ 1050 h 1407"/>
                <a:gd name="T72" fmla="*/ 34 w 992"/>
                <a:gd name="T73" fmla="*/ 993 h 1407"/>
                <a:gd name="T74" fmla="*/ 42 w 992"/>
                <a:gd name="T75" fmla="*/ 958 h 1407"/>
                <a:gd name="T76" fmla="*/ 62 w 992"/>
                <a:gd name="T77" fmla="*/ 932 h 1407"/>
                <a:gd name="T78" fmla="*/ 157 w 992"/>
                <a:gd name="T79" fmla="*/ 855 h 1407"/>
                <a:gd name="T80" fmla="*/ 197 w 992"/>
                <a:gd name="T81" fmla="*/ 829 h 1407"/>
                <a:gd name="T82" fmla="*/ 256 w 992"/>
                <a:gd name="T83" fmla="*/ 808 h 1407"/>
                <a:gd name="T84" fmla="*/ 311 w 992"/>
                <a:gd name="T85" fmla="*/ 783 h 1407"/>
                <a:gd name="T86" fmla="*/ 333 w 992"/>
                <a:gd name="T87" fmla="*/ 763 h 1407"/>
                <a:gd name="T88" fmla="*/ 359 w 992"/>
                <a:gd name="T89" fmla="*/ 713 h 1407"/>
                <a:gd name="T90" fmla="*/ 398 w 992"/>
                <a:gd name="T91" fmla="*/ 657 h 1407"/>
                <a:gd name="T92" fmla="*/ 421 w 992"/>
                <a:gd name="T93" fmla="*/ 592 h 1407"/>
                <a:gd name="T94" fmla="*/ 445 w 992"/>
                <a:gd name="T95" fmla="*/ 503 h 1407"/>
                <a:gd name="T96" fmla="*/ 455 w 992"/>
                <a:gd name="T97" fmla="*/ 450 h 1407"/>
                <a:gd name="T98" fmla="*/ 446 w 992"/>
                <a:gd name="T99" fmla="*/ 402 h 1407"/>
                <a:gd name="T100" fmla="*/ 506 w 992"/>
                <a:gd name="T101" fmla="*/ 368 h 1407"/>
                <a:gd name="T102" fmla="*/ 521 w 992"/>
                <a:gd name="T103" fmla="*/ 352 h 1407"/>
                <a:gd name="T104" fmla="*/ 521 w 992"/>
                <a:gd name="T105" fmla="*/ 332 h 1407"/>
                <a:gd name="T106" fmla="*/ 504 w 992"/>
                <a:gd name="T107" fmla="*/ 301 h 1407"/>
                <a:gd name="T108" fmla="*/ 489 w 992"/>
                <a:gd name="T109" fmla="*/ 269 h 1407"/>
                <a:gd name="T110" fmla="*/ 489 w 992"/>
                <a:gd name="T111" fmla="*/ 250 h 1407"/>
                <a:gd name="T112" fmla="*/ 502 w 992"/>
                <a:gd name="T113" fmla="*/ 236 h 1407"/>
                <a:gd name="T114" fmla="*/ 524 w 992"/>
                <a:gd name="T115" fmla="*/ 217 h 1407"/>
                <a:gd name="T116" fmla="*/ 551 w 992"/>
                <a:gd name="T117" fmla="*/ 177 h 1407"/>
                <a:gd name="T118" fmla="*/ 579 w 992"/>
                <a:gd name="T119" fmla="*/ 106 h 1407"/>
                <a:gd name="T120" fmla="*/ 608 w 992"/>
                <a:gd name="T121" fmla="*/ 54 h 1407"/>
                <a:gd name="T122" fmla="*/ 641 w 992"/>
                <a:gd name="T123" fmla="*/ 33 h 1407"/>
                <a:gd name="T124" fmla="*/ 732 w 992"/>
                <a:gd name="T125" fmla="*/ 10 h 1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2" h="1407">
                  <a:moveTo>
                    <a:pt x="783" y="0"/>
                  </a:moveTo>
                  <a:lnTo>
                    <a:pt x="783" y="27"/>
                  </a:lnTo>
                  <a:lnTo>
                    <a:pt x="783" y="51"/>
                  </a:lnTo>
                  <a:lnTo>
                    <a:pt x="786" y="62"/>
                  </a:lnTo>
                  <a:lnTo>
                    <a:pt x="790" y="72"/>
                  </a:lnTo>
                  <a:lnTo>
                    <a:pt x="793" y="76"/>
                  </a:lnTo>
                  <a:lnTo>
                    <a:pt x="796" y="81"/>
                  </a:lnTo>
                  <a:lnTo>
                    <a:pt x="800" y="86"/>
                  </a:lnTo>
                  <a:lnTo>
                    <a:pt x="806" y="89"/>
                  </a:lnTo>
                  <a:lnTo>
                    <a:pt x="810" y="92"/>
                  </a:lnTo>
                  <a:lnTo>
                    <a:pt x="814" y="93"/>
                  </a:lnTo>
                  <a:lnTo>
                    <a:pt x="818" y="94"/>
                  </a:lnTo>
                  <a:lnTo>
                    <a:pt x="822" y="94"/>
                  </a:lnTo>
                  <a:lnTo>
                    <a:pt x="831" y="95"/>
                  </a:lnTo>
                  <a:lnTo>
                    <a:pt x="839" y="98"/>
                  </a:lnTo>
                  <a:lnTo>
                    <a:pt x="861" y="108"/>
                  </a:lnTo>
                  <a:lnTo>
                    <a:pt x="880" y="118"/>
                  </a:lnTo>
                  <a:lnTo>
                    <a:pt x="898" y="128"/>
                  </a:lnTo>
                  <a:lnTo>
                    <a:pt x="915" y="138"/>
                  </a:lnTo>
                  <a:lnTo>
                    <a:pt x="933" y="148"/>
                  </a:lnTo>
                  <a:lnTo>
                    <a:pt x="951" y="158"/>
                  </a:lnTo>
                  <a:lnTo>
                    <a:pt x="970" y="167"/>
                  </a:lnTo>
                  <a:lnTo>
                    <a:pt x="992" y="176"/>
                  </a:lnTo>
                  <a:lnTo>
                    <a:pt x="992" y="176"/>
                  </a:lnTo>
                  <a:lnTo>
                    <a:pt x="987" y="190"/>
                  </a:lnTo>
                  <a:lnTo>
                    <a:pt x="985" y="206"/>
                  </a:lnTo>
                  <a:lnTo>
                    <a:pt x="983" y="222"/>
                  </a:lnTo>
                  <a:lnTo>
                    <a:pt x="983" y="238"/>
                  </a:lnTo>
                  <a:lnTo>
                    <a:pt x="983" y="263"/>
                  </a:lnTo>
                  <a:lnTo>
                    <a:pt x="983" y="285"/>
                  </a:lnTo>
                  <a:lnTo>
                    <a:pt x="983" y="308"/>
                  </a:lnTo>
                  <a:lnTo>
                    <a:pt x="983" y="334"/>
                  </a:lnTo>
                  <a:lnTo>
                    <a:pt x="982" y="378"/>
                  </a:lnTo>
                  <a:lnTo>
                    <a:pt x="981" y="418"/>
                  </a:lnTo>
                  <a:lnTo>
                    <a:pt x="979" y="438"/>
                  </a:lnTo>
                  <a:lnTo>
                    <a:pt x="976" y="457"/>
                  </a:lnTo>
                  <a:lnTo>
                    <a:pt x="973" y="476"/>
                  </a:lnTo>
                  <a:lnTo>
                    <a:pt x="970" y="494"/>
                  </a:lnTo>
                  <a:lnTo>
                    <a:pt x="966" y="511"/>
                  </a:lnTo>
                  <a:lnTo>
                    <a:pt x="961" y="530"/>
                  </a:lnTo>
                  <a:lnTo>
                    <a:pt x="955" y="547"/>
                  </a:lnTo>
                  <a:lnTo>
                    <a:pt x="948" y="565"/>
                  </a:lnTo>
                  <a:lnTo>
                    <a:pt x="941" y="582"/>
                  </a:lnTo>
                  <a:lnTo>
                    <a:pt x="931" y="601"/>
                  </a:lnTo>
                  <a:lnTo>
                    <a:pt x="921" y="620"/>
                  </a:lnTo>
                  <a:lnTo>
                    <a:pt x="910" y="639"/>
                  </a:lnTo>
                  <a:lnTo>
                    <a:pt x="903" y="651"/>
                  </a:lnTo>
                  <a:lnTo>
                    <a:pt x="899" y="661"/>
                  </a:lnTo>
                  <a:lnTo>
                    <a:pt x="893" y="672"/>
                  </a:lnTo>
                  <a:lnTo>
                    <a:pt x="887" y="684"/>
                  </a:lnTo>
                  <a:lnTo>
                    <a:pt x="883" y="689"/>
                  </a:lnTo>
                  <a:lnTo>
                    <a:pt x="878" y="694"/>
                  </a:lnTo>
                  <a:lnTo>
                    <a:pt x="872" y="697"/>
                  </a:lnTo>
                  <a:lnTo>
                    <a:pt x="866" y="699"/>
                  </a:lnTo>
                  <a:lnTo>
                    <a:pt x="853" y="703"/>
                  </a:lnTo>
                  <a:lnTo>
                    <a:pt x="839" y="709"/>
                  </a:lnTo>
                  <a:lnTo>
                    <a:pt x="812" y="726"/>
                  </a:lnTo>
                  <a:lnTo>
                    <a:pt x="787" y="743"/>
                  </a:lnTo>
                  <a:lnTo>
                    <a:pt x="776" y="752"/>
                  </a:lnTo>
                  <a:lnTo>
                    <a:pt x="765" y="761"/>
                  </a:lnTo>
                  <a:lnTo>
                    <a:pt x="754" y="769"/>
                  </a:lnTo>
                  <a:lnTo>
                    <a:pt x="743" y="779"/>
                  </a:lnTo>
                  <a:lnTo>
                    <a:pt x="735" y="789"/>
                  </a:lnTo>
                  <a:lnTo>
                    <a:pt x="725" y="800"/>
                  </a:lnTo>
                  <a:lnTo>
                    <a:pt x="716" y="810"/>
                  </a:lnTo>
                  <a:lnTo>
                    <a:pt x="709" y="822"/>
                  </a:lnTo>
                  <a:lnTo>
                    <a:pt x="701" y="834"/>
                  </a:lnTo>
                  <a:lnTo>
                    <a:pt x="695" y="847"/>
                  </a:lnTo>
                  <a:lnTo>
                    <a:pt x="688" y="862"/>
                  </a:lnTo>
                  <a:lnTo>
                    <a:pt x="683" y="877"/>
                  </a:lnTo>
                  <a:lnTo>
                    <a:pt x="678" y="888"/>
                  </a:lnTo>
                  <a:lnTo>
                    <a:pt x="675" y="898"/>
                  </a:lnTo>
                  <a:lnTo>
                    <a:pt x="670" y="906"/>
                  </a:lnTo>
                  <a:lnTo>
                    <a:pt x="665" y="915"/>
                  </a:lnTo>
                  <a:lnTo>
                    <a:pt x="655" y="930"/>
                  </a:lnTo>
                  <a:lnTo>
                    <a:pt x="644" y="945"/>
                  </a:lnTo>
                  <a:lnTo>
                    <a:pt x="632" y="959"/>
                  </a:lnTo>
                  <a:lnTo>
                    <a:pt x="620" y="975"/>
                  </a:lnTo>
                  <a:lnTo>
                    <a:pt x="608" y="991"/>
                  </a:lnTo>
                  <a:lnTo>
                    <a:pt x="596" y="1009"/>
                  </a:lnTo>
                  <a:lnTo>
                    <a:pt x="588" y="1024"/>
                  </a:lnTo>
                  <a:lnTo>
                    <a:pt x="580" y="1039"/>
                  </a:lnTo>
                  <a:lnTo>
                    <a:pt x="575" y="1053"/>
                  </a:lnTo>
                  <a:lnTo>
                    <a:pt x="569" y="1067"/>
                  </a:lnTo>
                  <a:lnTo>
                    <a:pt x="563" y="1081"/>
                  </a:lnTo>
                  <a:lnTo>
                    <a:pt x="557" y="1094"/>
                  </a:lnTo>
                  <a:lnTo>
                    <a:pt x="550" y="1110"/>
                  </a:lnTo>
                  <a:lnTo>
                    <a:pt x="540" y="1124"/>
                  </a:lnTo>
                  <a:lnTo>
                    <a:pt x="528" y="1139"/>
                  </a:lnTo>
                  <a:lnTo>
                    <a:pt x="516" y="1153"/>
                  </a:lnTo>
                  <a:lnTo>
                    <a:pt x="504" y="1165"/>
                  </a:lnTo>
                  <a:lnTo>
                    <a:pt x="493" y="1176"/>
                  </a:lnTo>
                  <a:lnTo>
                    <a:pt x="468" y="1198"/>
                  </a:lnTo>
                  <a:lnTo>
                    <a:pt x="439" y="1222"/>
                  </a:lnTo>
                  <a:lnTo>
                    <a:pt x="415" y="1243"/>
                  </a:lnTo>
                  <a:lnTo>
                    <a:pt x="394" y="1265"/>
                  </a:lnTo>
                  <a:lnTo>
                    <a:pt x="375" y="1287"/>
                  </a:lnTo>
                  <a:lnTo>
                    <a:pt x="359" y="1308"/>
                  </a:lnTo>
                  <a:lnTo>
                    <a:pt x="342" y="1331"/>
                  </a:lnTo>
                  <a:lnTo>
                    <a:pt x="328" y="1355"/>
                  </a:lnTo>
                  <a:lnTo>
                    <a:pt x="314" y="1380"/>
                  </a:lnTo>
                  <a:lnTo>
                    <a:pt x="300" y="1407"/>
                  </a:lnTo>
                  <a:lnTo>
                    <a:pt x="300" y="1407"/>
                  </a:lnTo>
                  <a:lnTo>
                    <a:pt x="288" y="1394"/>
                  </a:lnTo>
                  <a:lnTo>
                    <a:pt x="280" y="1380"/>
                  </a:lnTo>
                  <a:lnTo>
                    <a:pt x="271" y="1365"/>
                  </a:lnTo>
                  <a:lnTo>
                    <a:pt x="263" y="1353"/>
                  </a:lnTo>
                  <a:lnTo>
                    <a:pt x="253" y="1340"/>
                  </a:lnTo>
                  <a:lnTo>
                    <a:pt x="243" y="1329"/>
                  </a:lnTo>
                  <a:lnTo>
                    <a:pt x="237" y="1324"/>
                  </a:lnTo>
                  <a:lnTo>
                    <a:pt x="230" y="1320"/>
                  </a:lnTo>
                  <a:lnTo>
                    <a:pt x="223" y="1317"/>
                  </a:lnTo>
                  <a:lnTo>
                    <a:pt x="215" y="1315"/>
                  </a:lnTo>
                  <a:lnTo>
                    <a:pt x="191" y="1309"/>
                  </a:lnTo>
                  <a:lnTo>
                    <a:pt x="169" y="1307"/>
                  </a:lnTo>
                  <a:lnTo>
                    <a:pt x="147" y="1306"/>
                  </a:lnTo>
                  <a:lnTo>
                    <a:pt x="128" y="1306"/>
                  </a:lnTo>
                  <a:lnTo>
                    <a:pt x="107" y="1304"/>
                  </a:lnTo>
                  <a:lnTo>
                    <a:pt x="87" y="1301"/>
                  </a:lnTo>
                  <a:lnTo>
                    <a:pt x="76" y="1299"/>
                  </a:lnTo>
                  <a:lnTo>
                    <a:pt x="66" y="1295"/>
                  </a:lnTo>
                  <a:lnTo>
                    <a:pt x="55" y="1291"/>
                  </a:lnTo>
                  <a:lnTo>
                    <a:pt x="43" y="1287"/>
                  </a:lnTo>
                  <a:lnTo>
                    <a:pt x="36" y="1282"/>
                  </a:lnTo>
                  <a:lnTo>
                    <a:pt x="29" y="1277"/>
                  </a:lnTo>
                  <a:lnTo>
                    <a:pt x="25" y="1270"/>
                  </a:lnTo>
                  <a:lnTo>
                    <a:pt x="21" y="1265"/>
                  </a:lnTo>
                  <a:lnTo>
                    <a:pt x="17" y="1257"/>
                  </a:lnTo>
                  <a:lnTo>
                    <a:pt x="14" y="1250"/>
                  </a:lnTo>
                  <a:lnTo>
                    <a:pt x="12" y="1242"/>
                  </a:lnTo>
                  <a:lnTo>
                    <a:pt x="11" y="1235"/>
                  </a:lnTo>
                  <a:lnTo>
                    <a:pt x="9" y="1218"/>
                  </a:lnTo>
                  <a:lnTo>
                    <a:pt x="7" y="1199"/>
                  </a:lnTo>
                  <a:lnTo>
                    <a:pt x="4" y="1182"/>
                  </a:lnTo>
                  <a:lnTo>
                    <a:pt x="0" y="1164"/>
                  </a:lnTo>
                  <a:lnTo>
                    <a:pt x="0" y="1164"/>
                  </a:lnTo>
                  <a:lnTo>
                    <a:pt x="3" y="1149"/>
                  </a:lnTo>
                  <a:lnTo>
                    <a:pt x="8" y="1135"/>
                  </a:lnTo>
                  <a:lnTo>
                    <a:pt x="13" y="1121"/>
                  </a:lnTo>
                  <a:lnTo>
                    <a:pt x="20" y="1107"/>
                  </a:lnTo>
                  <a:lnTo>
                    <a:pt x="25" y="1092"/>
                  </a:lnTo>
                  <a:lnTo>
                    <a:pt x="29" y="1078"/>
                  </a:lnTo>
                  <a:lnTo>
                    <a:pt x="32" y="1064"/>
                  </a:lnTo>
                  <a:lnTo>
                    <a:pt x="34" y="1050"/>
                  </a:lnTo>
                  <a:lnTo>
                    <a:pt x="34" y="1035"/>
                  </a:lnTo>
                  <a:lnTo>
                    <a:pt x="34" y="1022"/>
                  </a:lnTo>
                  <a:lnTo>
                    <a:pt x="34" y="1008"/>
                  </a:lnTo>
                  <a:lnTo>
                    <a:pt x="34" y="993"/>
                  </a:lnTo>
                  <a:lnTo>
                    <a:pt x="35" y="983"/>
                  </a:lnTo>
                  <a:lnTo>
                    <a:pt x="36" y="975"/>
                  </a:lnTo>
                  <a:lnTo>
                    <a:pt x="38" y="966"/>
                  </a:lnTo>
                  <a:lnTo>
                    <a:pt x="42" y="958"/>
                  </a:lnTo>
                  <a:lnTo>
                    <a:pt x="45" y="952"/>
                  </a:lnTo>
                  <a:lnTo>
                    <a:pt x="51" y="945"/>
                  </a:lnTo>
                  <a:lnTo>
                    <a:pt x="56" y="939"/>
                  </a:lnTo>
                  <a:lnTo>
                    <a:pt x="62" y="932"/>
                  </a:lnTo>
                  <a:lnTo>
                    <a:pt x="90" y="911"/>
                  </a:lnTo>
                  <a:lnTo>
                    <a:pt x="121" y="887"/>
                  </a:lnTo>
                  <a:lnTo>
                    <a:pt x="139" y="870"/>
                  </a:lnTo>
                  <a:lnTo>
                    <a:pt x="157" y="855"/>
                  </a:lnTo>
                  <a:lnTo>
                    <a:pt x="165" y="847"/>
                  </a:lnTo>
                  <a:lnTo>
                    <a:pt x="174" y="841"/>
                  </a:lnTo>
                  <a:lnTo>
                    <a:pt x="185" y="834"/>
                  </a:lnTo>
                  <a:lnTo>
                    <a:pt x="197" y="829"/>
                  </a:lnTo>
                  <a:lnTo>
                    <a:pt x="213" y="822"/>
                  </a:lnTo>
                  <a:lnTo>
                    <a:pt x="228" y="817"/>
                  </a:lnTo>
                  <a:lnTo>
                    <a:pt x="242" y="813"/>
                  </a:lnTo>
                  <a:lnTo>
                    <a:pt x="256" y="808"/>
                  </a:lnTo>
                  <a:lnTo>
                    <a:pt x="269" y="805"/>
                  </a:lnTo>
                  <a:lnTo>
                    <a:pt x="283" y="800"/>
                  </a:lnTo>
                  <a:lnTo>
                    <a:pt x="297" y="792"/>
                  </a:lnTo>
                  <a:lnTo>
                    <a:pt x="311" y="783"/>
                  </a:lnTo>
                  <a:lnTo>
                    <a:pt x="318" y="779"/>
                  </a:lnTo>
                  <a:lnTo>
                    <a:pt x="324" y="774"/>
                  </a:lnTo>
                  <a:lnTo>
                    <a:pt x="328" y="768"/>
                  </a:lnTo>
                  <a:lnTo>
                    <a:pt x="333" y="763"/>
                  </a:lnTo>
                  <a:lnTo>
                    <a:pt x="340" y="751"/>
                  </a:lnTo>
                  <a:lnTo>
                    <a:pt x="347" y="739"/>
                  </a:lnTo>
                  <a:lnTo>
                    <a:pt x="352" y="726"/>
                  </a:lnTo>
                  <a:lnTo>
                    <a:pt x="359" y="713"/>
                  </a:lnTo>
                  <a:lnTo>
                    <a:pt x="366" y="701"/>
                  </a:lnTo>
                  <a:lnTo>
                    <a:pt x="376" y="688"/>
                  </a:lnTo>
                  <a:lnTo>
                    <a:pt x="388" y="672"/>
                  </a:lnTo>
                  <a:lnTo>
                    <a:pt x="398" y="657"/>
                  </a:lnTo>
                  <a:lnTo>
                    <a:pt x="406" y="642"/>
                  </a:lnTo>
                  <a:lnTo>
                    <a:pt x="412" y="626"/>
                  </a:lnTo>
                  <a:lnTo>
                    <a:pt x="417" y="609"/>
                  </a:lnTo>
                  <a:lnTo>
                    <a:pt x="421" y="592"/>
                  </a:lnTo>
                  <a:lnTo>
                    <a:pt x="426" y="574"/>
                  </a:lnTo>
                  <a:lnTo>
                    <a:pt x="429" y="553"/>
                  </a:lnTo>
                  <a:lnTo>
                    <a:pt x="436" y="526"/>
                  </a:lnTo>
                  <a:lnTo>
                    <a:pt x="445" y="503"/>
                  </a:lnTo>
                  <a:lnTo>
                    <a:pt x="448" y="491"/>
                  </a:lnTo>
                  <a:lnTo>
                    <a:pt x="452" y="478"/>
                  </a:lnTo>
                  <a:lnTo>
                    <a:pt x="454" y="465"/>
                  </a:lnTo>
                  <a:lnTo>
                    <a:pt x="455" y="450"/>
                  </a:lnTo>
                  <a:lnTo>
                    <a:pt x="454" y="437"/>
                  </a:lnTo>
                  <a:lnTo>
                    <a:pt x="452" y="426"/>
                  </a:lnTo>
                  <a:lnTo>
                    <a:pt x="449" y="415"/>
                  </a:lnTo>
                  <a:lnTo>
                    <a:pt x="446" y="402"/>
                  </a:lnTo>
                  <a:lnTo>
                    <a:pt x="460" y="391"/>
                  </a:lnTo>
                  <a:lnTo>
                    <a:pt x="474" y="379"/>
                  </a:lnTo>
                  <a:lnTo>
                    <a:pt x="490" y="373"/>
                  </a:lnTo>
                  <a:lnTo>
                    <a:pt x="506" y="368"/>
                  </a:lnTo>
                  <a:lnTo>
                    <a:pt x="512" y="363"/>
                  </a:lnTo>
                  <a:lnTo>
                    <a:pt x="517" y="359"/>
                  </a:lnTo>
                  <a:lnTo>
                    <a:pt x="519" y="356"/>
                  </a:lnTo>
                  <a:lnTo>
                    <a:pt x="521" y="352"/>
                  </a:lnTo>
                  <a:lnTo>
                    <a:pt x="522" y="349"/>
                  </a:lnTo>
                  <a:lnTo>
                    <a:pt x="522" y="345"/>
                  </a:lnTo>
                  <a:lnTo>
                    <a:pt x="522" y="338"/>
                  </a:lnTo>
                  <a:lnTo>
                    <a:pt x="521" y="332"/>
                  </a:lnTo>
                  <a:lnTo>
                    <a:pt x="519" y="327"/>
                  </a:lnTo>
                  <a:lnTo>
                    <a:pt x="516" y="321"/>
                  </a:lnTo>
                  <a:lnTo>
                    <a:pt x="511" y="310"/>
                  </a:lnTo>
                  <a:lnTo>
                    <a:pt x="504" y="301"/>
                  </a:lnTo>
                  <a:lnTo>
                    <a:pt x="499" y="291"/>
                  </a:lnTo>
                  <a:lnTo>
                    <a:pt x="494" y="280"/>
                  </a:lnTo>
                  <a:lnTo>
                    <a:pt x="492" y="275"/>
                  </a:lnTo>
                  <a:lnTo>
                    <a:pt x="489" y="269"/>
                  </a:lnTo>
                  <a:lnTo>
                    <a:pt x="488" y="263"/>
                  </a:lnTo>
                  <a:lnTo>
                    <a:pt x="488" y="256"/>
                  </a:lnTo>
                  <a:lnTo>
                    <a:pt x="488" y="253"/>
                  </a:lnTo>
                  <a:lnTo>
                    <a:pt x="489" y="250"/>
                  </a:lnTo>
                  <a:lnTo>
                    <a:pt x="490" y="247"/>
                  </a:lnTo>
                  <a:lnTo>
                    <a:pt x="493" y="244"/>
                  </a:lnTo>
                  <a:lnTo>
                    <a:pt x="497" y="239"/>
                  </a:lnTo>
                  <a:lnTo>
                    <a:pt x="502" y="236"/>
                  </a:lnTo>
                  <a:lnTo>
                    <a:pt x="508" y="231"/>
                  </a:lnTo>
                  <a:lnTo>
                    <a:pt x="514" y="227"/>
                  </a:lnTo>
                  <a:lnTo>
                    <a:pt x="520" y="223"/>
                  </a:lnTo>
                  <a:lnTo>
                    <a:pt x="524" y="217"/>
                  </a:lnTo>
                  <a:lnTo>
                    <a:pt x="535" y="203"/>
                  </a:lnTo>
                  <a:lnTo>
                    <a:pt x="543" y="190"/>
                  </a:lnTo>
                  <a:lnTo>
                    <a:pt x="548" y="184"/>
                  </a:lnTo>
                  <a:lnTo>
                    <a:pt x="551" y="177"/>
                  </a:lnTo>
                  <a:lnTo>
                    <a:pt x="555" y="170"/>
                  </a:lnTo>
                  <a:lnTo>
                    <a:pt x="558" y="161"/>
                  </a:lnTo>
                  <a:lnTo>
                    <a:pt x="568" y="132"/>
                  </a:lnTo>
                  <a:lnTo>
                    <a:pt x="579" y="106"/>
                  </a:lnTo>
                  <a:lnTo>
                    <a:pt x="584" y="94"/>
                  </a:lnTo>
                  <a:lnTo>
                    <a:pt x="591" y="81"/>
                  </a:lnTo>
                  <a:lnTo>
                    <a:pt x="600" y="68"/>
                  </a:lnTo>
                  <a:lnTo>
                    <a:pt x="608" y="54"/>
                  </a:lnTo>
                  <a:lnTo>
                    <a:pt x="616" y="47"/>
                  </a:lnTo>
                  <a:lnTo>
                    <a:pt x="623" y="40"/>
                  </a:lnTo>
                  <a:lnTo>
                    <a:pt x="631" y="36"/>
                  </a:lnTo>
                  <a:lnTo>
                    <a:pt x="641" y="33"/>
                  </a:lnTo>
                  <a:lnTo>
                    <a:pt x="660" y="28"/>
                  </a:lnTo>
                  <a:lnTo>
                    <a:pt x="682" y="24"/>
                  </a:lnTo>
                  <a:lnTo>
                    <a:pt x="712" y="17"/>
                  </a:lnTo>
                  <a:lnTo>
                    <a:pt x="732" y="10"/>
                  </a:lnTo>
                  <a:lnTo>
                    <a:pt x="753" y="6"/>
                  </a:lnTo>
                  <a:lnTo>
                    <a:pt x="783" y="0"/>
                  </a:lnTo>
                  <a:lnTo>
                    <a:pt x="783" y="0"/>
                  </a:lnTo>
                  <a:close/>
                </a:path>
              </a:pathLst>
            </a:custGeom>
            <a:solidFill>
              <a:srgbClr val="1496D4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52">
              <a:extLst>
                <a:ext uri="{FF2B5EF4-FFF2-40B4-BE49-F238E27FC236}">
                  <a16:creationId xmlns:a16="http://schemas.microsoft.com/office/drawing/2014/main" id="{8B1F7734-1434-4681-8D5F-E2CAD0EA2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8338" y="4208463"/>
              <a:ext cx="393700" cy="557213"/>
            </a:xfrm>
            <a:custGeom>
              <a:avLst/>
              <a:gdLst>
                <a:gd name="T0" fmla="*/ 786 w 992"/>
                <a:gd name="T1" fmla="*/ 62 h 1407"/>
                <a:gd name="T2" fmla="*/ 800 w 992"/>
                <a:gd name="T3" fmla="*/ 86 h 1407"/>
                <a:gd name="T4" fmla="*/ 818 w 992"/>
                <a:gd name="T5" fmla="*/ 94 h 1407"/>
                <a:gd name="T6" fmla="*/ 861 w 992"/>
                <a:gd name="T7" fmla="*/ 108 h 1407"/>
                <a:gd name="T8" fmla="*/ 933 w 992"/>
                <a:gd name="T9" fmla="*/ 148 h 1407"/>
                <a:gd name="T10" fmla="*/ 992 w 992"/>
                <a:gd name="T11" fmla="*/ 176 h 1407"/>
                <a:gd name="T12" fmla="*/ 983 w 992"/>
                <a:gd name="T13" fmla="*/ 238 h 1407"/>
                <a:gd name="T14" fmla="*/ 983 w 992"/>
                <a:gd name="T15" fmla="*/ 334 h 1407"/>
                <a:gd name="T16" fmla="*/ 976 w 992"/>
                <a:gd name="T17" fmla="*/ 457 h 1407"/>
                <a:gd name="T18" fmla="*/ 961 w 992"/>
                <a:gd name="T19" fmla="*/ 530 h 1407"/>
                <a:gd name="T20" fmla="*/ 931 w 992"/>
                <a:gd name="T21" fmla="*/ 601 h 1407"/>
                <a:gd name="T22" fmla="*/ 899 w 992"/>
                <a:gd name="T23" fmla="*/ 661 h 1407"/>
                <a:gd name="T24" fmla="*/ 878 w 992"/>
                <a:gd name="T25" fmla="*/ 694 h 1407"/>
                <a:gd name="T26" fmla="*/ 839 w 992"/>
                <a:gd name="T27" fmla="*/ 709 h 1407"/>
                <a:gd name="T28" fmla="*/ 765 w 992"/>
                <a:gd name="T29" fmla="*/ 761 h 1407"/>
                <a:gd name="T30" fmla="*/ 725 w 992"/>
                <a:gd name="T31" fmla="*/ 800 h 1407"/>
                <a:gd name="T32" fmla="*/ 695 w 992"/>
                <a:gd name="T33" fmla="*/ 847 h 1407"/>
                <a:gd name="T34" fmla="*/ 675 w 992"/>
                <a:gd name="T35" fmla="*/ 898 h 1407"/>
                <a:gd name="T36" fmla="*/ 644 w 992"/>
                <a:gd name="T37" fmla="*/ 945 h 1407"/>
                <a:gd name="T38" fmla="*/ 596 w 992"/>
                <a:gd name="T39" fmla="*/ 1009 h 1407"/>
                <a:gd name="T40" fmla="*/ 569 w 992"/>
                <a:gd name="T41" fmla="*/ 1067 h 1407"/>
                <a:gd name="T42" fmla="*/ 540 w 992"/>
                <a:gd name="T43" fmla="*/ 1124 h 1407"/>
                <a:gd name="T44" fmla="*/ 493 w 992"/>
                <a:gd name="T45" fmla="*/ 1176 h 1407"/>
                <a:gd name="T46" fmla="*/ 394 w 992"/>
                <a:gd name="T47" fmla="*/ 1265 h 1407"/>
                <a:gd name="T48" fmla="*/ 328 w 992"/>
                <a:gd name="T49" fmla="*/ 1355 h 1407"/>
                <a:gd name="T50" fmla="*/ 288 w 992"/>
                <a:gd name="T51" fmla="*/ 1394 h 1407"/>
                <a:gd name="T52" fmla="*/ 253 w 992"/>
                <a:gd name="T53" fmla="*/ 1340 h 1407"/>
                <a:gd name="T54" fmla="*/ 223 w 992"/>
                <a:gd name="T55" fmla="*/ 1317 h 1407"/>
                <a:gd name="T56" fmla="*/ 147 w 992"/>
                <a:gd name="T57" fmla="*/ 1306 h 1407"/>
                <a:gd name="T58" fmla="*/ 76 w 992"/>
                <a:gd name="T59" fmla="*/ 1299 h 1407"/>
                <a:gd name="T60" fmla="*/ 36 w 992"/>
                <a:gd name="T61" fmla="*/ 1282 h 1407"/>
                <a:gd name="T62" fmla="*/ 17 w 992"/>
                <a:gd name="T63" fmla="*/ 1257 h 1407"/>
                <a:gd name="T64" fmla="*/ 9 w 992"/>
                <a:gd name="T65" fmla="*/ 1218 h 1407"/>
                <a:gd name="T66" fmla="*/ 0 w 992"/>
                <a:gd name="T67" fmla="*/ 1164 h 1407"/>
                <a:gd name="T68" fmla="*/ 20 w 992"/>
                <a:gd name="T69" fmla="*/ 1107 h 1407"/>
                <a:gd name="T70" fmla="*/ 34 w 992"/>
                <a:gd name="T71" fmla="*/ 1050 h 1407"/>
                <a:gd name="T72" fmla="*/ 34 w 992"/>
                <a:gd name="T73" fmla="*/ 993 h 1407"/>
                <a:gd name="T74" fmla="*/ 42 w 992"/>
                <a:gd name="T75" fmla="*/ 958 h 1407"/>
                <a:gd name="T76" fmla="*/ 62 w 992"/>
                <a:gd name="T77" fmla="*/ 932 h 1407"/>
                <a:gd name="T78" fmla="*/ 157 w 992"/>
                <a:gd name="T79" fmla="*/ 855 h 1407"/>
                <a:gd name="T80" fmla="*/ 197 w 992"/>
                <a:gd name="T81" fmla="*/ 829 h 1407"/>
                <a:gd name="T82" fmla="*/ 256 w 992"/>
                <a:gd name="T83" fmla="*/ 808 h 1407"/>
                <a:gd name="T84" fmla="*/ 311 w 992"/>
                <a:gd name="T85" fmla="*/ 783 h 1407"/>
                <a:gd name="T86" fmla="*/ 333 w 992"/>
                <a:gd name="T87" fmla="*/ 763 h 1407"/>
                <a:gd name="T88" fmla="*/ 359 w 992"/>
                <a:gd name="T89" fmla="*/ 713 h 1407"/>
                <a:gd name="T90" fmla="*/ 398 w 992"/>
                <a:gd name="T91" fmla="*/ 657 h 1407"/>
                <a:gd name="T92" fmla="*/ 421 w 992"/>
                <a:gd name="T93" fmla="*/ 592 h 1407"/>
                <a:gd name="T94" fmla="*/ 445 w 992"/>
                <a:gd name="T95" fmla="*/ 503 h 1407"/>
                <a:gd name="T96" fmla="*/ 455 w 992"/>
                <a:gd name="T97" fmla="*/ 450 h 1407"/>
                <a:gd name="T98" fmla="*/ 446 w 992"/>
                <a:gd name="T99" fmla="*/ 402 h 1407"/>
                <a:gd name="T100" fmla="*/ 506 w 992"/>
                <a:gd name="T101" fmla="*/ 368 h 1407"/>
                <a:gd name="T102" fmla="*/ 521 w 992"/>
                <a:gd name="T103" fmla="*/ 352 h 1407"/>
                <a:gd name="T104" fmla="*/ 521 w 992"/>
                <a:gd name="T105" fmla="*/ 332 h 1407"/>
                <a:gd name="T106" fmla="*/ 504 w 992"/>
                <a:gd name="T107" fmla="*/ 301 h 1407"/>
                <a:gd name="T108" fmla="*/ 489 w 992"/>
                <a:gd name="T109" fmla="*/ 269 h 1407"/>
                <a:gd name="T110" fmla="*/ 489 w 992"/>
                <a:gd name="T111" fmla="*/ 250 h 1407"/>
                <a:gd name="T112" fmla="*/ 502 w 992"/>
                <a:gd name="T113" fmla="*/ 236 h 1407"/>
                <a:gd name="T114" fmla="*/ 524 w 992"/>
                <a:gd name="T115" fmla="*/ 217 h 1407"/>
                <a:gd name="T116" fmla="*/ 551 w 992"/>
                <a:gd name="T117" fmla="*/ 177 h 1407"/>
                <a:gd name="T118" fmla="*/ 579 w 992"/>
                <a:gd name="T119" fmla="*/ 106 h 1407"/>
                <a:gd name="T120" fmla="*/ 608 w 992"/>
                <a:gd name="T121" fmla="*/ 54 h 1407"/>
                <a:gd name="T122" fmla="*/ 641 w 992"/>
                <a:gd name="T123" fmla="*/ 33 h 1407"/>
                <a:gd name="T124" fmla="*/ 732 w 992"/>
                <a:gd name="T125" fmla="*/ 10 h 1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2" h="1407">
                  <a:moveTo>
                    <a:pt x="783" y="0"/>
                  </a:moveTo>
                  <a:lnTo>
                    <a:pt x="783" y="27"/>
                  </a:lnTo>
                  <a:lnTo>
                    <a:pt x="783" y="51"/>
                  </a:lnTo>
                  <a:lnTo>
                    <a:pt x="786" y="62"/>
                  </a:lnTo>
                  <a:lnTo>
                    <a:pt x="790" y="72"/>
                  </a:lnTo>
                  <a:lnTo>
                    <a:pt x="793" y="76"/>
                  </a:lnTo>
                  <a:lnTo>
                    <a:pt x="796" y="81"/>
                  </a:lnTo>
                  <a:lnTo>
                    <a:pt x="800" y="86"/>
                  </a:lnTo>
                  <a:lnTo>
                    <a:pt x="806" y="89"/>
                  </a:lnTo>
                  <a:lnTo>
                    <a:pt x="810" y="92"/>
                  </a:lnTo>
                  <a:lnTo>
                    <a:pt x="814" y="93"/>
                  </a:lnTo>
                  <a:lnTo>
                    <a:pt x="818" y="94"/>
                  </a:lnTo>
                  <a:lnTo>
                    <a:pt x="822" y="94"/>
                  </a:lnTo>
                  <a:lnTo>
                    <a:pt x="831" y="95"/>
                  </a:lnTo>
                  <a:lnTo>
                    <a:pt x="839" y="98"/>
                  </a:lnTo>
                  <a:lnTo>
                    <a:pt x="861" y="108"/>
                  </a:lnTo>
                  <a:lnTo>
                    <a:pt x="880" y="118"/>
                  </a:lnTo>
                  <a:lnTo>
                    <a:pt x="898" y="128"/>
                  </a:lnTo>
                  <a:lnTo>
                    <a:pt x="915" y="138"/>
                  </a:lnTo>
                  <a:lnTo>
                    <a:pt x="933" y="148"/>
                  </a:lnTo>
                  <a:lnTo>
                    <a:pt x="951" y="158"/>
                  </a:lnTo>
                  <a:lnTo>
                    <a:pt x="970" y="167"/>
                  </a:lnTo>
                  <a:lnTo>
                    <a:pt x="992" y="176"/>
                  </a:lnTo>
                  <a:lnTo>
                    <a:pt x="992" y="176"/>
                  </a:lnTo>
                  <a:lnTo>
                    <a:pt x="987" y="190"/>
                  </a:lnTo>
                  <a:lnTo>
                    <a:pt x="985" y="206"/>
                  </a:lnTo>
                  <a:lnTo>
                    <a:pt x="983" y="222"/>
                  </a:lnTo>
                  <a:lnTo>
                    <a:pt x="983" y="238"/>
                  </a:lnTo>
                  <a:lnTo>
                    <a:pt x="983" y="263"/>
                  </a:lnTo>
                  <a:lnTo>
                    <a:pt x="983" y="285"/>
                  </a:lnTo>
                  <a:lnTo>
                    <a:pt x="983" y="308"/>
                  </a:lnTo>
                  <a:lnTo>
                    <a:pt x="983" y="334"/>
                  </a:lnTo>
                  <a:lnTo>
                    <a:pt x="982" y="378"/>
                  </a:lnTo>
                  <a:lnTo>
                    <a:pt x="981" y="418"/>
                  </a:lnTo>
                  <a:lnTo>
                    <a:pt x="979" y="438"/>
                  </a:lnTo>
                  <a:lnTo>
                    <a:pt x="976" y="457"/>
                  </a:lnTo>
                  <a:lnTo>
                    <a:pt x="973" y="476"/>
                  </a:lnTo>
                  <a:lnTo>
                    <a:pt x="970" y="494"/>
                  </a:lnTo>
                  <a:lnTo>
                    <a:pt x="966" y="511"/>
                  </a:lnTo>
                  <a:lnTo>
                    <a:pt x="961" y="530"/>
                  </a:lnTo>
                  <a:lnTo>
                    <a:pt x="955" y="547"/>
                  </a:lnTo>
                  <a:lnTo>
                    <a:pt x="948" y="565"/>
                  </a:lnTo>
                  <a:lnTo>
                    <a:pt x="941" y="582"/>
                  </a:lnTo>
                  <a:lnTo>
                    <a:pt x="931" y="601"/>
                  </a:lnTo>
                  <a:lnTo>
                    <a:pt x="921" y="620"/>
                  </a:lnTo>
                  <a:lnTo>
                    <a:pt x="910" y="639"/>
                  </a:lnTo>
                  <a:lnTo>
                    <a:pt x="903" y="651"/>
                  </a:lnTo>
                  <a:lnTo>
                    <a:pt x="899" y="661"/>
                  </a:lnTo>
                  <a:lnTo>
                    <a:pt x="893" y="672"/>
                  </a:lnTo>
                  <a:lnTo>
                    <a:pt x="887" y="684"/>
                  </a:lnTo>
                  <a:lnTo>
                    <a:pt x="883" y="689"/>
                  </a:lnTo>
                  <a:lnTo>
                    <a:pt x="878" y="694"/>
                  </a:lnTo>
                  <a:lnTo>
                    <a:pt x="872" y="697"/>
                  </a:lnTo>
                  <a:lnTo>
                    <a:pt x="866" y="699"/>
                  </a:lnTo>
                  <a:lnTo>
                    <a:pt x="853" y="703"/>
                  </a:lnTo>
                  <a:lnTo>
                    <a:pt x="839" y="709"/>
                  </a:lnTo>
                  <a:lnTo>
                    <a:pt x="812" y="726"/>
                  </a:lnTo>
                  <a:lnTo>
                    <a:pt x="787" y="743"/>
                  </a:lnTo>
                  <a:lnTo>
                    <a:pt x="776" y="752"/>
                  </a:lnTo>
                  <a:lnTo>
                    <a:pt x="765" y="761"/>
                  </a:lnTo>
                  <a:lnTo>
                    <a:pt x="754" y="769"/>
                  </a:lnTo>
                  <a:lnTo>
                    <a:pt x="743" y="779"/>
                  </a:lnTo>
                  <a:lnTo>
                    <a:pt x="735" y="789"/>
                  </a:lnTo>
                  <a:lnTo>
                    <a:pt x="725" y="800"/>
                  </a:lnTo>
                  <a:lnTo>
                    <a:pt x="716" y="810"/>
                  </a:lnTo>
                  <a:lnTo>
                    <a:pt x="709" y="822"/>
                  </a:lnTo>
                  <a:lnTo>
                    <a:pt x="701" y="834"/>
                  </a:lnTo>
                  <a:lnTo>
                    <a:pt x="695" y="847"/>
                  </a:lnTo>
                  <a:lnTo>
                    <a:pt x="688" y="862"/>
                  </a:lnTo>
                  <a:lnTo>
                    <a:pt x="683" y="877"/>
                  </a:lnTo>
                  <a:lnTo>
                    <a:pt x="678" y="888"/>
                  </a:lnTo>
                  <a:lnTo>
                    <a:pt x="675" y="898"/>
                  </a:lnTo>
                  <a:lnTo>
                    <a:pt x="670" y="906"/>
                  </a:lnTo>
                  <a:lnTo>
                    <a:pt x="665" y="915"/>
                  </a:lnTo>
                  <a:lnTo>
                    <a:pt x="655" y="930"/>
                  </a:lnTo>
                  <a:lnTo>
                    <a:pt x="644" y="945"/>
                  </a:lnTo>
                  <a:lnTo>
                    <a:pt x="632" y="959"/>
                  </a:lnTo>
                  <a:lnTo>
                    <a:pt x="620" y="975"/>
                  </a:lnTo>
                  <a:lnTo>
                    <a:pt x="608" y="991"/>
                  </a:lnTo>
                  <a:lnTo>
                    <a:pt x="596" y="1009"/>
                  </a:lnTo>
                  <a:lnTo>
                    <a:pt x="588" y="1024"/>
                  </a:lnTo>
                  <a:lnTo>
                    <a:pt x="580" y="1039"/>
                  </a:lnTo>
                  <a:lnTo>
                    <a:pt x="575" y="1053"/>
                  </a:lnTo>
                  <a:lnTo>
                    <a:pt x="569" y="1067"/>
                  </a:lnTo>
                  <a:lnTo>
                    <a:pt x="563" y="1081"/>
                  </a:lnTo>
                  <a:lnTo>
                    <a:pt x="557" y="1094"/>
                  </a:lnTo>
                  <a:lnTo>
                    <a:pt x="550" y="1110"/>
                  </a:lnTo>
                  <a:lnTo>
                    <a:pt x="540" y="1124"/>
                  </a:lnTo>
                  <a:lnTo>
                    <a:pt x="528" y="1139"/>
                  </a:lnTo>
                  <a:lnTo>
                    <a:pt x="516" y="1153"/>
                  </a:lnTo>
                  <a:lnTo>
                    <a:pt x="504" y="1165"/>
                  </a:lnTo>
                  <a:lnTo>
                    <a:pt x="493" y="1176"/>
                  </a:lnTo>
                  <a:lnTo>
                    <a:pt x="468" y="1198"/>
                  </a:lnTo>
                  <a:lnTo>
                    <a:pt x="439" y="1222"/>
                  </a:lnTo>
                  <a:lnTo>
                    <a:pt x="415" y="1243"/>
                  </a:lnTo>
                  <a:lnTo>
                    <a:pt x="394" y="1265"/>
                  </a:lnTo>
                  <a:lnTo>
                    <a:pt x="375" y="1287"/>
                  </a:lnTo>
                  <a:lnTo>
                    <a:pt x="359" y="1308"/>
                  </a:lnTo>
                  <a:lnTo>
                    <a:pt x="342" y="1331"/>
                  </a:lnTo>
                  <a:lnTo>
                    <a:pt x="328" y="1355"/>
                  </a:lnTo>
                  <a:lnTo>
                    <a:pt x="314" y="1380"/>
                  </a:lnTo>
                  <a:lnTo>
                    <a:pt x="300" y="1407"/>
                  </a:lnTo>
                  <a:lnTo>
                    <a:pt x="300" y="1407"/>
                  </a:lnTo>
                  <a:lnTo>
                    <a:pt x="288" y="1394"/>
                  </a:lnTo>
                  <a:lnTo>
                    <a:pt x="280" y="1380"/>
                  </a:lnTo>
                  <a:lnTo>
                    <a:pt x="271" y="1365"/>
                  </a:lnTo>
                  <a:lnTo>
                    <a:pt x="263" y="1353"/>
                  </a:lnTo>
                  <a:lnTo>
                    <a:pt x="253" y="1340"/>
                  </a:lnTo>
                  <a:lnTo>
                    <a:pt x="243" y="1329"/>
                  </a:lnTo>
                  <a:lnTo>
                    <a:pt x="237" y="1324"/>
                  </a:lnTo>
                  <a:lnTo>
                    <a:pt x="230" y="1320"/>
                  </a:lnTo>
                  <a:lnTo>
                    <a:pt x="223" y="1317"/>
                  </a:lnTo>
                  <a:lnTo>
                    <a:pt x="215" y="1315"/>
                  </a:lnTo>
                  <a:lnTo>
                    <a:pt x="191" y="1309"/>
                  </a:lnTo>
                  <a:lnTo>
                    <a:pt x="169" y="1307"/>
                  </a:lnTo>
                  <a:lnTo>
                    <a:pt x="147" y="1306"/>
                  </a:lnTo>
                  <a:lnTo>
                    <a:pt x="128" y="1306"/>
                  </a:lnTo>
                  <a:lnTo>
                    <a:pt x="107" y="1304"/>
                  </a:lnTo>
                  <a:lnTo>
                    <a:pt x="87" y="1301"/>
                  </a:lnTo>
                  <a:lnTo>
                    <a:pt x="76" y="1299"/>
                  </a:lnTo>
                  <a:lnTo>
                    <a:pt x="66" y="1295"/>
                  </a:lnTo>
                  <a:lnTo>
                    <a:pt x="55" y="1291"/>
                  </a:lnTo>
                  <a:lnTo>
                    <a:pt x="43" y="1287"/>
                  </a:lnTo>
                  <a:lnTo>
                    <a:pt x="36" y="1282"/>
                  </a:lnTo>
                  <a:lnTo>
                    <a:pt x="29" y="1277"/>
                  </a:lnTo>
                  <a:lnTo>
                    <a:pt x="25" y="1270"/>
                  </a:lnTo>
                  <a:lnTo>
                    <a:pt x="21" y="1265"/>
                  </a:lnTo>
                  <a:lnTo>
                    <a:pt x="17" y="1257"/>
                  </a:lnTo>
                  <a:lnTo>
                    <a:pt x="14" y="1250"/>
                  </a:lnTo>
                  <a:lnTo>
                    <a:pt x="12" y="1242"/>
                  </a:lnTo>
                  <a:lnTo>
                    <a:pt x="11" y="1235"/>
                  </a:lnTo>
                  <a:lnTo>
                    <a:pt x="9" y="1218"/>
                  </a:lnTo>
                  <a:lnTo>
                    <a:pt x="7" y="1199"/>
                  </a:lnTo>
                  <a:lnTo>
                    <a:pt x="4" y="1182"/>
                  </a:lnTo>
                  <a:lnTo>
                    <a:pt x="0" y="1164"/>
                  </a:lnTo>
                  <a:lnTo>
                    <a:pt x="0" y="1164"/>
                  </a:lnTo>
                  <a:lnTo>
                    <a:pt x="3" y="1149"/>
                  </a:lnTo>
                  <a:lnTo>
                    <a:pt x="8" y="1135"/>
                  </a:lnTo>
                  <a:lnTo>
                    <a:pt x="13" y="1121"/>
                  </a:lnTo>
                  <a:lnTo>
                    <a:pt x="20" y="1107"/>
                  </a:lnTo>
                  <a:lnTo>
                    <a:pt x="25" y="1092"/>
                  </a:lnTo>
                  <a:lnTo>
                    <a:pt x="29" y="1078"/>
                  </a:lnTo>
                  <a:lnTo>
                    <a:pt x="32" y="1064"/>
                  </a:lnTo>
                  <a:lnTo>
                    <a:pt x="34" y="1050"/>
                  </a:lnTo>
                  <a:lnTo>
                    <a:pt x="34" y="1035"/>
                  </a:lnTo>
                  <a:lnTo>
                    <a:pt x="34" y="1022"/>
                  </a:lnTo>
                  <a:lnTo>
                    <a:pt x="34" y="1008"/>
                  </a:lnTo>
                  <a:lnTo>
                    <a:pt x="34" y="993"/>
                  </a:lnTo>
                  <a:lnTo>
                    <a:pt x="35" y="983"/>
                  </a:lnTo>
                  <a:lnTo>
                    <a:pt x="36" y="975"/>
                  </a:lnTo>
                  <a:lnTo>
                    <a:pt x="38" y="966"/>
                  </a:lnTo>
                  <a:lnTo>
                    <a:pt x="42" y="958"/>
                  </a:lnTo>
                  <a:lnTo>
                    <a:pt x="45" y="952"/>
                  </a:lnTo>
                  <a:lnTo>
                    <a:pt x="51" y="945"/>
                  </a:lnTo>
                  <a:lnTo>
                    <a:pt x="56" y="939"/>
                  </a:lnTo>
                  <a:lnTo>
                    <a:pt x="62" y="932"/>
                  </a:lnTo>
                  <a:lnTo>
                    <a:pt x="90" y="911"/>
                  </a:lnTo>
                  <a:lnTo>
                    <a:pt x="121" y="887"/>
                  </a:lnTo>
                  <a:lnTo>
                    <a:pt x="139" y="870"/>
                  </a:lnTo>
                  <a:lnTo>
                    <a:pt x="157" y="855"/>
                  </a:lnTo>
                  <a:lnTo>
                    <a:pt x="165" y="847"/>
                  </a:lnTo>
                  <a:lnTo>
                    <a:pt x="174" y="841"/>
                  </a:lnTo>
                  <a:lnTo>
                    <a:pt x="185" y="834"/>
                  </a:lnTo>
                  <a:lnTo>
                    <a:pt x="197" y="829"/>
                  </a:lnTo>
                  <a:lnTo>
                    <a:pt x="213" y="822"/>
                  </a:lnTo>
                  <a:lnTo>
                    <a:pt x="228" y="817"/>
                  </a:lnTo>
                  <a:lnTo>
                    <a:pt x="242" y="813"/>
                  </a:lnTo>
                  <a:lnTo>
                    <a:pt x="256" y="808"/>
                  </a:lnTo>
                  <a:lnTo>
                    <a:pt x="269" y="805"/>
                  </a:lnTo>
                  <a:lnTo>
                    <a:pt x="283" y="800"/>
                  </a:lnTo>
                  <a:lnTo>
                    <a:pt x="297" y="792"/>
                  </a:lnTo>
                  <a:lnTo>
                    <a:pt x="311" y="783"/>
                  </a:lnTo>
                  <a:lnTo>
                    <a:pt x="318" y="779"/>
                  </a:lnTo>
                  <a:lnTo>
                    <a:pt x="324" y="774"/>
                  </a:lnTo>
                  <a:lnTo>
                    <a:pt x="328" y="768"/>
                  </a:lnTo>
                  <a:lnTo>
                    <a:pt x="333" y="763"/>
                  </a:lnTo>
                  <a:lnTo>
                    <a:pt x="340" y="751"/>
                  </a:lnTo>
                  <a:lnTo>
                    <a:pt x="347" y="739"/>
                  </a:lnTo>
                  <a:lnTo>
                    <a:pt x="352" y="726"/>
                  </a:lnTo>
                  <a:lnTo>
                    <a:pt x="359" y="713"/>
                  </a:lnTo>
                  <a:lnTo>
                    <a:pt x="366" y="701"/>
                  </a:lnTo>
                  <a:lnTo>
                    <a:pt x="376" y="688"/>
                  </a:lnTo>
                  <a:lnTo>
                    <a:pt x="388" y="672"/>
                  </a:lnTo>
                  <a:lnTo>
                    <a:pt x="398" y="657"/>
                  </a:lnTo>
                  <a:lnTo>
                    <a:pt x="406" y="642"/>
                  </a:lnTo>
                  <a:lnTo>
                    <a:pt x="412" y="626"/>
                  </a:lnTo>
                  <a:lnTo>
                    <a:pt x="417" y="609"/>
                  </a:lnTo>
                  <a:lnTo>
                    <a:pt x="421" y="592"/>
                  </a:lnTo>
                  <a:lnTo>
                    <a:pt x="426" y="574"/>
                  </a:lnTo>
                  <a:lnTo>
                    <a:pt x="429" y="553"/>
                  </a:lnTo>
                  <a:lnTo>
                    <a:pt x="436" y="526"/>
                  </a:lnTo>
                  <a:lnTo>
                    <a:pt x="445" y="503"/>
                  </a:lnTo>
                  <a:lnTo>
                    <a:pt x="448" y="491"/>
                  </a:lnTo>
                  <a:lnTo>
                    <a:pt x="452" y="478"/>
                  </a:lnTo>
                  <a:lnTo>
                    <a:pt x="454" y="465"/>
                  </a:lnTo>
                  <a:lnTo>
                    <a:pt x="455" y="450"/>
                  </a:lnTo>
                  <a:lnTo>
                    <a:pt x="454" y="437"/>
                  </a:lnTo>
                  <a:lnTo>
                    <a:pt x="452" y="426"/>
                  </a:lnTo>
                  <a:lnTo>
                    <a:pt x="449" y="415"/>
                  </a:lnTo>
                  <a:lnTo>
                    <a:pt x="446" y="402"/>
                  </a:lnTo>
                  <a:lnTo>
                    <a:pt x="460" y="391"/>
                  </a:lnTo>
                  <a:lnTo>
                    <a:pt x="474" y="379"/>
                  </a:lnTo>
                  <a:lnTo>
                    <a:pt x="490" y="373"/>
                  </a:lnTo>
                  <a:lnTo>
                    <a:pt x="506" y="368"/>
                  </a:lnTo>
                  <a:lnTo>
                    <a:pt x="512" y="363"/>
                  </a:lnTo>
                  <a:lnTo>
                    <a:pt x="517" y="359"/>
                  </a:lnTo>
                  <a:lnTo>
                    <a:pt x="519" y="356"/>
                  </a:lnTo>
                  <a:lnTo>
                    <a:pt x="521" y="352"/>
                  </a:lnTo>
                  <a:lnTo>
                    <a:pt x="522" y="349"/>
                  </a:lnTo>
                  <a:lnTo>
                    <a:pt x="522" y="345"/>
                  </a:lnTo>
                  <a:lnTo>
                    <a:pt x="522" y="338"/>
                  </a:lnTo>
                  <a:lnTo>
                    <a:pt x="521" y="332"/>
                  </a:lnTo>
                  <a:lnTo>
                    <a:pt x="519" y="327"/>
                  </a:lnTo>
                  <a:lnTo>
                    <a:pt x="516" y="321"/>
                  </a:lnTo>
                  <a:lnTo>
                    <a:pt x="511" y="310"/>
                  </a:lnTo>
                  <a:lnTo>
                    <a:pt x="504" y="301"/>
                  </a:lnTo>
                  <a:lnTo>
                    <a:pt x="499" y="291"/>
                  </a:lnTo>
                  <a:lnTo>
                    <a:pt x="494" y="280"/>
                  </a:lnTo>
                  <a:lnTo>
                    <a:pt x="492" y="275"/>
                  </a:lnTo>
                  <a:lnTo>
                    <a:pt x="489" y="269"/>
                  </a:lnTo>
                  <a:lnTo>
                    <a:pt x="488" y="263"/>
                  </a:lnTo>
                  <a:lnTo>
                    <a:pt x="488" y="256"/>
                  </a:lnTo>
                  <a:lnTo>
                    <a:pt x="488" y="253"/>
                  </a:lnTo>
                  <a:lnTo>
                    <a:pt x="489" y="250"/>
                  </a:lnTo>
                  <a:lnTo>
                    <a:pt x="490" y="247"/>
                  </a:lnTo>
                  <a:lnTo>
                    <a:pt x="493" y="244"/>
                  </a:lnTo>
                  <a:lnTo>
                    <a:pt x="497" y="239"/>
                  </a:lnTo>
                  <a:lnTo>
                    <a:pt x="502" y="236"/>
                  </a:lnTo>
                  <a:lnTo>
                    <a:pt x="508" y="231"/>
                  </a:lnTo>
                  <a:lnTo>
                    <a:pt x="514" y="227"/>
                  </a:lnTo>
                  <a:lnTo>
                    <a:pt x="520" y="223"/>
                  </a:lnTo>
                  <a:lnTo>
                    <a:pt x="524" y="217"/>
                  </a:lnTo>
                  <a:lnTo>
                    <a:pt x="535" y="203"/>
                  </a:lnTo>
                  <a:lnTo>
                    <a:pt x="543" y="190"/>
                  </a:lnTo>
                  <a:lnTo>
                    <a:pt x="548" y="184"/>
                  </a:lnTo>
                  <a:lnTo>
                    <a:pt x="551" y="177"/>
                  </a:lnTo>
                  <a:lnTo>
                    <a:pt x="555" y="170"/>
                  </a:lnTo>
                  <a:lnTo>
                    <a:pt x="558" y="161"/>
                  </a:lnTo>
                  <a:lnTo>
                    <a:pt x="568" y="132"/>
                  </a:lnTo>
                  <a:lnTo>
                    <a:pt x="579" y="106"/>
                  </a:lnTo>
                  <a:lnTo>
                    <a:pt x="584" y="94"/>
                  </a:lnTo>
                  <a:lnTo>
                    <a:pt x="591" y="81"/>
                  </a:lnTo>
                  <a:lnTo>
                    <a:pt x="600" y="68"/>
                  </a:lnTo>
                  <a:lnTo>
                    <a:pt x="608" y="54"/>
                  </a:lnTo>
                  <a:lnTo>
                    <a:pt x="616" y="47"/>
                  </a:lnTo>
                  <a:lnTo>
                    <a:pt x="623" y="40"/>
                  </a:lnTo>
                  <a:lnTo>
                    <a:pt x="631" y="36"/>
                  </a:lnTo>
                  <a:lnTo>
                    <a:pt x="641" y="33"/>
                  </a:lnTo>
                  <a:lnTo>
                    <a:pt x="660" y="28"/>
                  </a:lnTo>
                  <a:lnTo>
                    <a:pt x="682" y="24"/>
                  </a:lnTo>
                  <a:lnTo>
                    <a:pt x="712" y="17"/>
                  </a:lnTo>
                  <a:lnTo>
                    <a:pt x="732" y="10"/>
                  </a:lnTo>
                  <a:lnTo>
                    <a:pt x="753" y="6"/>
                  </a:lnTo>
                  <a:lnTo>
                    <a:pt x="783" y="0"/>
                  </a:lnTo>
                  <a:lnTo>
                    <a:pt x="783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53">
              <a:extLst>
                <a:ext uri="{FF2B5EF4-FFF2-40B4-BE49-F238E27FC236}">
                  <a16:creationId xmlns:a16="http://schemas.microsoft.com/office/drawing/2014/main" id="{61451203-41E7-4A09-B057-1FEA4C7B6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2638" y="3508376"/>
              <a:ext cx="1784350" cy="1416050"/>
            </a:xfrm>
            <a:custGeom>
              <a:avLst/>
              <a:gdLst>
                <a:gd name="T0" fmla="*/ 1564 w 4499"/>
                <a:gd name="T1" fmla="*/ 857 h 3567"/>
                <a:gd name="T2" fmla="*/ 1587 w 4499"/>
                <a:gd name="T3" fmla="*/ 1022 h 3567"/>
                <a:gd name="T4" fmla="*/ 1494 w 4499"/>
                <a:gd name="T5" fmla="*/ 1237 h 3567"/>
                <a:gd name="T6" fmla="*/ 1503 w 4499"/>
                <a:gd name="T7" fmla="*/ 1420 h 3567"/>
                <a:gd name="T8" fmla="*/ 1359 w 4499"/>
                <a:gd name="T9" fmla="*/ 1624 h 3567"/>
                <a:gd name="T10" fmla="*/ 1173 w 4499"/>
                <a:gd name="T11" fmla="*/ 1651 h 3567"/>
                <a:gd name="T12" fmla="*/ 872 w 4499"/>
                <a:gd name="T13" fmla="*/ 1643 h 3567"/>
                <a:gd name="T14" fmla="*/ 751 w 4499"/>
                <a:gd name="T15" fmla="*/ 1645 h 3567"/>
                <a:gd name="T16" fmla="*/ 630 w 4499"/>
                <a:gd name="T17" fmla="*/ 1667 h 3567"/>
                <a:gd name="T18" fmla="*/ 399 w 4499"/>
                <a:gd name="T19" fmla="*/ 1739 h 3567"/>
                <a:gd name="T20" fmla="*/ 213 w 4499"/>
                <a:gd name="T21" fmla="*/ 1838 h 3567"/>
                <a:gd name="T22" fmla="*/ 113 w 4499"/>
                <a:gd name="T23" fmla="*/ 1921 h 3567"/>
                <a:gd name="T24" fmla="*/ 1 w 4499"/>
                <a:gd name="T25" fmla="*/ 2123 h 3567"/>
                <a:gd name="T26" fmla="*/ 94 w 4499"/>
                <a:gd name="T27" fmla="*/ 2170 h 3567"/>
                <a:gd name="T28" fmla="*/ 443 w 4499"/>
                <a:gd name="T29" fmla="*/ 2214 h 3567"/>
                <a:gd name="T30" fmla="*/ 622 w 4499"/>
                <a:gd name="T31" fmla="*/ 2279 h 3567"/>
                <a:gd name="T32" fmla="*/ 635 w 4499"/>
                <a:gd name="T33" fmla="*/ 2415 h 3567"/>
                <a:gd name="T34" fmla="*/ 723 w 4499"/>
                <a:gd name="T35" fmla="*/ 2388 h 3567"/>
                <a:gd name="T36" fmla="*/ 923 w 4499"/>
                <a:gd name="T37" fmla="*/ 2380 h 3567"/>
                <a:gd name="T38" fmla="*/ 1148 w 4499"/>
                <a:gd name="T39" fmla="*/ 2369 h 3567"/>
                <a:gd name="T40" fmla="*/ 1277 w 4499"/>
                <a:gd name="T41" fmla="*/ 2352 h 3567"/>
                <a:gd name="T42" fmla="*/ 1425 w 4499"/>
                <a:gd name="T43" fmla="*/ 2403 h 3567"/>
                <a:gd name="T44" fmla="*/ 1450 w 4499"/>
                <a:gd name="T45" fmla="*/ 2573 h 3567"/>
                <a:gd name="T46" fmla="*/ 1472 w 4499"/>
                <a:gd name="T47" fmla="*/ 2879 h 3567"/>
                <a:gd name="T48" fmla="*/ 1629 w 4499"/>
                <a:gd name="T49" fmla="*/ 2930 h 3567"/>
                <a:gd name="T50" fmla="*/ 1630 w 4499"/>
                <a:gd name="T51" fmla="*/ 3368 h 3567"/>
                <a:gd name="T52" fmla="*/ 1683 w 4499"/>
                <a:gd name="T53" fmla="*/ 3549 h 3567"/>
                <a:gd name="T54" fmla="*/ 1842 w 4499"/>
                <a:gd name="T55" fmla="*/ 3511 h 3567"/>
                <a:gd name="T56" fmla="*/ 1923 w 4499"/>
                <a:gd name="T57" fmla="*/ 3479 h 3567"/>
                <a:gd name="T58" fmla="*/ 2103 w 4499"/>
                <a:gd name="T59" fmla="*/ 3444 h 3567"/>
                <a:gd name="T60" fmla="*/ 2370 w 4499"/>
                <a:gd name="T61" fmla="*/ 3419 h 3567"/>
                <a:gd name="T62" fmla="*/ 2900 w 4499"/>
                <a:gd name="T63" fmla="*/ 3348 h 3567"/>
                <a:gd name="T64" fmla="*/ 3218 w 4499"/>
                <a:gd name="T65" fmla="*/ 3287 h 3567"/>
                <a:gd name="T66" fmla="*/ 3338 w 4499"/>
                <a:gd name="T67" fmla="*/ 2989 h 3567"/>
                <a:gd name="T68" fmla="*/ 3504 w 4499"/>
                <a:gd name="T69" fmla="*/ 2881 h 3567"/>
                <a:gd name="T70" fmla="*/ 3553 w 4499"/>
                <a:gd name="T71" fmla="*/ 2692 h 3567"/>
                <a:gd name="T72" fmla="*/ 3809 w 4499"/>
                <a:gd name="T73" fmla="*/ 2539 h 3567"/>
                <a:gd name="T74" fmla="*/ 3920 w 4499"/>
                <a:gd name="T75" fmla="*/ 2313 h 3567"/>
                <a:gd name="T76" fmla="*/ 4010 w 4499"/>
                <a:gd name="T77" fmla="*/ 2116 h 3567"/>
                <a:gd name="T78" fmla="*/ 3980 w 4499"/>
                <a:gd name="T79" fmla="*/ 2010 h 3567"/>
                <a:gd name="T80" fmla="*/ 4075 w 4499"/>
                <a:gd name="T81" fmla="*/ 1854 h 3567"/>
                <a:gd name="T82" fmla="*/ 4270 w 4499"/>
                <a:gd name="T83" fmla="*/ 1738 h 3567"/>
                <a:gd name="T84" fmla="*/ 4318 w 4499"/>
                <a:gd name="T85" fmla="*/ 1529 h 3567"/>
                <a:gd name="T86" fmla="*/ 4433 w 4499"/>
                <a:gd name="T87" fmla="*/ 1220 h 3567"/>
                <a:gd name="T88" fmla="*/ 4476 w 4499"/>
                <a:gd name="T89" fmla="*/ 984 h 3567"/>
                <a:gd name="T90" fmla="*/ 4261 w 4499"/>
                <a:gd name="T91" fmla="*/ 819 h 3567"/>
                <a:gd name="T92" fmla="*/ 4069 w 4499"/>
                <a:gd name="T93" fmla="*/ 792 h 3567"/>
                <a:gd name="T94" fmla="*/ 3954 w 4499"/>
                <a:gd name="T95" fmla="*/ 677 h 3567"/>
                <a:gd name="T96" fmla="*/ 3750 w 4499"/>
                <a:gd name="T97" fmla="*/ 546 h 3567"/>
                <a:gd name="T98" fmla="*/ 3552 w 4499"/>
                <a:gd name="T99" fmla="*/ 430 h 3567"/>
                <a:gd name="T100" fmla="*/ 3301 w 4499"/>
                <a:gd name="T101" fmla="*/ 240 h 3567"/>
                <a:gd name="T102" fmla="*/ 3156 w 4499"/>
                <a:gd name="T103" fmla="*/ 257 h 3567"/>
                <a:gd name="T104" fmla="*/ 3015 w 4499"/>
                <a:gd name="T105" fmla="*/ 175 h 3567"/>
                <a:gd name="T106" fmla="*/ 3042 w 4499"/>
                <a:gd name="T107" fmla="*/ 31 h 3567"/>
                <a:gd name="T108" fmla="*/ 2860 w 4499"/>
                <a:gd name="T109" fmla="*/ 8 h 3567"/>
                <a:gd name="T110" fmla="*/ 2663 w 4499"/>
                <a:gd name="T111" fmla="*/ 93 h 3567"/>
                <a:gd name="T112" fmla="*/ 2286 w 4499"/>
                <a:gd name="T113" fmla="*/ 293 h 3567"/>
                <a:gd name="T114" fmla="*/ 2132 w 4499"/>
                <a:gd name="T115" fmla="*/ 300 h 3567"/>
                <a:gd name="T116" fmla="*/ 1912 w 4499"/>
                <a:gd name="T117" fmla="*/ 194 h 3567"/>
                <a:gd name="T118" fmla="*/ 1755 w 4499"/>
                <a:gd name="T119" fmla="*/ 404 h 3567"/>
                <a:gd name="T120" fmla="*/ 1647 w 4499"/>
                <a:gd name="T121" fmla="*/ 662 h 3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99" h="3567">
                  <a:moveTo>
                    <a:pt x="1633" y="672"/>
                  </a:moveTo>
                  <a:lnTo>
                    <a:pt x="1631" y="684"/>
                  </a:lnTo>
                  <a:lnTo>
                    <a:pt x="1628" y="694"/>
                  </a:lnTo>
                  <a:lnTo>
                    <a:pt x="1625" y="704"/>
                  </a:lnTo>
                  <a:lnTo>
                    <a:pt x="1619" y="714"/>
                  </a:lnTo>
                  <a:lnTo>
                    <a:pt x="1607" y="732"/>
                  </a:lnTo>
                  <a:lnTo>
                    <a:pt x="1593" y="749"/>
                  </a:lnTo>
                  <a:lnTo>
                    <a:pt x="1580" y="767"/>
                  </a:lnTo>
                  <a:lnTo>
                    <a:pt x="1570" y="784"/>
                  </a:lnTo>
                  <a:lnTo>
                    <a:pt x="1565" y="794"/>
                  </a:lnTo>
                  <a:lnTo>
                    <a:pt x="1562" y="805"/>
                  </a:lnTo>
                  <a:lnTo>
                    <a:pt x="1560" y="815"/>
                  </a:lnTo>
                  <a:lnTo>
                    <a:pt x="1559" y="827"/>
                  </a:lnTo>
                  <a:lnTo>
                    <a:pt x="1559" y="835"/>
                  </a:lnTo>
                  <a:lnTo>
                    <a:pt x="1560" y="842"/>
                  </a:lnTo>
                  <a:lnTo>
                    <a:pt x="1562" y="850"/>
                  </a:lnTo>
                  <a:lnTo>
                    <a:pt x="1564" y="857"/>
                  </a:lnTo>
                  <a:lnTo>
                    <a:pt x="1571" y="870"/>
                  </a:lnTo>
                  <a:lnTo>
                    <a:pt x="1577" y="882"/>
                  </a:lnTo>
                  <a:lnTo>
                    <a:pt x="1584" y="895"/>
                  </a:lnTo>
                  <a:lnTo>
                    <a:pt x="1589" y="908"/>
                  </a:lnTo>
                  <a:lnTo>
                    <a:pt x="1591" y="915"/>
                  </a:lnTo>
                  <a:lnTo>
                    <a:pt x="1593" y="922"/>
                  </a:lnTo>
                  <a:lnTo>
                    <a:pt x="1594" y="930"/>
                  </a:lnTo>
                  <a:lnTo>
                    <a:pt x="1596" y="938"/>
                  </a:lnTo>
                  <a:lnTo>
                    <a:pt x="1596" y="954"/>
                  </a:lnTo>
                  <a:lnTo>
                    <a:pt x="1596" y="967"/>
                  </a:lnTo>
                  <a:lnTo>
                    <a:pt x="1596" y="981"/>
                  </a:lnTo>
                  <a:lnTo>
                    <a:pt x="1596" y="996"/>
                  </a:lnTo>
                  <a:lnTo>
                    <a:pt x="1594" y="1001"/>
                  </a:lnTo>
                  <a:lnTo>
                    <a:pt x="1594" y="1005"/>
                  </a:lnTo>
                  <a:lnTo>
                    <a:pt x="1592" y="1010"/>
                  </a:lnTo>
                  <a:lnTo>
                    <a:pt x="1591" y="1014"/>
                  </a:lnTo>
                  <a:lnTo>
                    <a:pt x="1587" y="1022"/>
                  </a:lnTo>
                  <a:lnTo>
                    <a:pt x="1582" y="1028"/>
                  </a:lnTo>
                  <a:lnTo>
                    <a:pt x="1575" y="1036"/>
                  </a:lnTo>
                  <a:lnTo>
                    <a:pt x="1570" y="1042"/>
                  </a:lnTo>
                  <a:lnTo>
                    <a:pt x="1563" y="1051"/>
                  </a:lnTo>
                  <a:lnTo>
                    <a:pt x="1559" y="1059"/>
                  </a:lnTo>
                  <a:lnTo>
                    <a:pt x="1547" y="1086"/>
                  </a:lnTo>
                  <a:lnTo>
                    <a:pt x="1536" y="1111"/>
                  </a:lnTo>
                  <a:lnTo>
                    <a:pt x="1525" y="1135"/>
                  </a:lnTo>
                  <a:lnTo>
                    <a:pt x="1513" y="1163"/>
                  </a:lnTo>
                  <a:lnTo>
                    <a:pt x="1507" y="1177"/>
                  </a:lnTo>
                  <a:lnTo>
                    <a:pt x="1499" y="1190"/>
                  </a:lnTo>
                  <a:lnTo>
                    <a:pt x="1496" y="1197"/>
                  </a:lnTo>
                  <a:lnTo>
                    <a:pt x="1494" y="1203"/>
                  </a:lnTo>
                  <a:lnTo>
                    <a:pt x="1492" y="1211"/>
                  </a:lnTo>
                  <a:lnTo>
                    <a:pt x="1492" y="1219"/>
                  </a:lnTo>
                  <a:lnTo>
                    <a:pt x="1492" y="1229"/>
                  </a:lnTo>
                  <a:lnTo>
                    <a:pt x="1494" y="1237"/>
                  </a:lnTo>
                  <a:lnTo>
                    <a:pt x="1498" y="1244"/>
                  </a:lnTo>
                  <a:lnTo>
                    <a:pt x="1503" y="1251"/>
                  </a:lnTo>
                  <a:lnTo>
                    <a:pt x="1513" y="1262"/>
                  </a:lnTo>
                  <a:lnTo>
                    <a:pt x="1525" y="1278"/>
                  </a:lnTo>
                  <a:lnTo>
                    <a:pt x="1532" y="1292"/>
                  </a:lnTo>
                  <a:lnTo>
                    <a:pt x="1540" y="1304"/>
                  </a:lnTo>
                  <a:lnTo>
                    <a:pt x="1545" y="1309"/>
                  </a:lnTo>
                  <a:lnTo>
                    <a:pt x="1547" y="1315"/>
                  </a:lnTo>
                  <a:lnTo>
                    <a:pt x="1549" y="1322"/>
                  </a:lnTo>
                  <a:lnTo>
                    <a:pt x="1550" y="1329"/>
                  </a:lnTo>
                  <a:lnTo>
                    <a:pt x="1549" y="1341"/>
                  </a:lnTo>
                  <a:lnTo>
                    <a:pt x="1547" y="1352"/>
                  </a:lnTo>
                  <a:lnTo>
                    <a:pt x="1544" y="1362"/>
                  </a:lnTo>
                  <a:lnTo>
                    <a:pt x="1539" y="1372"/>
                  </a:lnTo>
                  <a:lnTo>
                    <a:pt x="1529" y="1389"/>
                  </a:lnTo>
                  <a:lnTo>
                    <a:pt x="1516" y="1404"/>
                  </a:lnTo>
                  <a:lnTo>
                    <a:pt x="1503" y="1420"/>
                  </a:lnTo>
                  <a:lnTo>
                    <a:pt x="1491" y="1437"/>
                  </a:lnTo>
                  <a:lnTo>
                    <a:pt x="1486" y="1447"/>
                  </a:lnTo>
                  <a:lnTo>
                    <a:pt x="1483" y="1457"/>
                  </a:lnTo>
                  <a:lnTo>
                    <a:pt x="1481" y="1468"/>
                  </a:lnTo>
                  <a:lnTo>
                    <a:pt x="1480" y="1480"/>
                  </a:lnTo>
                  <a:lnTo>
                    <a:pt x="1480" y="1508"/>
                  </a:lnTo>
                  <a:lnTo>
                    <a:pt x="1480" y="1532"/>
                  </a:lnTo>
                  <a:lnTo>
                    <a:pt x="1480" y="1557"/>
                  </a:lnTo>
                  <a:lnTo>
                    <a:pt x="1480" y="1586"/>
                  </a:lnTo>
                  <a:lnTo>
                    <a:pt x="1468" y="1586"/>
                  </a:lnTo>
                  <a:lnTo>
                    <a:pt x="1456" y="1588"/>
                  </a:lnTo>
                  <a:lnTo>
                    <a:pt x="1445" y="1589"/>
                  </a:lnTo>
                  <a:lnTo>
                    <a:pt x="1435" y="1591"/>
                  </a:lnTo>
                  <a:lnTo>
                    <a:pt x="1414" y="1597"/>
                  </a:lnTo>
                  <a:lnTo>
                    <a:pt x="1396" y="1605"/>
                  </a:lnTo>
                  <a:lnTo>
                    <a:pt x="1377" y="1613"/>
                  </a:lnTo>
                  <a:lnTo>
                    <a:pt x="1359" y="1624"/>
                  </a:lnTo>
                  <a:lnTo>
                    <a:pt x="1339" y="1636"/>
                  </a:lnTo>
                  <a:lnTo>
                    <a:pt x="1318" y="1648"/>
                  </a:lnTo>
                  <a:lnTo>
                    <a:pt x="1302" y="1658"/>
                  </a:lnTo>
                  <a:lnTo>
                    <a:pt x="1287" y="1669"/>
                  </a:lnTo>
                  <a:lnTo>
                    <a:pt x="1279" y="1672"/>
                  </a:lnTo>
                  <a:lnTo>
                    <a:pt x="1272" y="1676"/>
                  </a:lnTo>
                  <a:lnTo>
                    <a:pt x="1263" y="1678"/>
                  </a:lnTo>
                  <a:lnTo>
                    <a:pt x="1253" y="1678"/>
                  </a:lnTo>
                  <a:lnTo>
                    <a:pt x="1246" y="1678"/>
                  </a:lnTo>
                  <a:lnTo>
                    <a:pt x="1239" y="1676"/>
                  </a:lnTo>
                  <a:lnTo>
                    <a:pt x="1234" y="1673"/>
                  </a:lnTo>
                  <a:lnTo>
                    <a:pt x="1227" y="1669"/>
                  </a:lnTo>
                  <a:lnTo>
                    <a:pt x="1222" y="1665"/>
                  </a:lnTo>
                  <a:lnTo>
                    <a:pt x="1216" y="1661"/>
                  </a:lnTo>
                  <a:lnTo>
                    <a:pt x="1210" y="1658"/>
                  </a:lnTo>
                  <a:lnTo>
                    <a:pt x="1202" y="1657"/>
                  </a:lnTo>
                  <a:lnTo>
                    <a:pt x="1173" y="1651"/>
                  </a:lnTo>
                  <a:lnTo>
                    <a:pt x="1147" y="1649"/>
                  </a:lnTo>
                  <a:lnTo>
                    <a:pt x="1120" y="1648"/>
                  </a:lnTo>
                  <a:lnTo>
                    <a:pt x="1091" y="1648"/>
                  </a:lnTo>
                  <a:lnTo>
                    <a:pt x="1068" y="1649"/>
                  </a:lnTo>
                  <a:lnTo>
                    <a:pt x="1048" y="1652"/>
                  </a:lnTo>
                  <a:lnTo>
                    <a:pt x="1029" y="1655"/>
                  </a:lnTo>
                  <a:lnTo>
                    <a:pt x="1006" y="1657"/>
                  </a:lnTo>
                  <a:lnTo>
                    <a:pt x="987" y="1657"/>
                  </a:lnTo>
                  <a:lnTo>
                    <a:pt x="971" y="1657"/>
                  </a:lnTo>
                  <a:lnTo>
                    <a:pt x="955" y="1657"/>
                  </a:lnTo>
                  <a:lnTo>
                    <a:pt x="937" y="1657"/>
                  </a:lnTo>
                  <a:lnTo>
                    <a:pt x="919" y="1656"/>
                  </a:lnTo>
                  <a:lnTo>
                    <a:pt x="903" y="1653"/>
                  </a:lnTo>
                  <a:lnTo>
                    <a:pt x="896" y="1652"/>
                  </a:lnTo>
                  <a:lnTo>
                    <a:pt x="888" y="1649"/>
                  </a:lnTo>
                  <a:lnTo>
                    <a:pt x="881" y="1646"/>
                  </a:lnTo>
                  <a:lnTo>
                    <a:pt x="872" y="1643"/>
                  </a:lnTo>
                  <a:lnTo>
                    <a:pt x="865" y="1637"/>
                  </a:lnTo>
                  <a:lnTo>
                    <a:pt x="859" y="1632"/>
                  </a:lnTo>
                  <a:lnTo>
                    <a:pt x="854" y="1625"/>
                  </a:lnTo>
                  <a:lnTo>
                    <a:pt x="849" y="1620"/>
                  </a:lnTo>
                  <a:lnTo>
                    <a:pt x="844" y="1615"/>
                  </a:lnTo>
                  <a:lnTo>
                    <a:pt x="837" y="1610"/>
                  </a:lnTo>
                  <a:lnTo>
                    <a:pt x="834" y="1608"/>
                  </a:lnTo>
                  <a:lnTo>
                    <a:pt x="831" y="1607"/>
                  </a:lnTo>
                  <a:lnTo>
                    <a:pt x="828" y="1606"/>
                  </a:lnTo>
                  <a:lnTo>
                    <a:pt x="823" y="1606"/>
                  </a:lnTo>
                  <a:lnTo>
                    <a:pt x="815" y="1607"/>
                  </a:lnTo>
                  <a:lnTo>
                    <a:pt x="807" y="1609"/>
                  </a:lnTo>
                  <a:lnTo>
                    <a:pt x="801" y="1612"/>
                  </a:lnTo>
                  <a:lnTo>
                    <a:pt x="794" y="1617"/>
                  </a:lnTo>
                  <a:lnTo>
                    <a:pt x="782" y="1628"/>
                  </a:lnTo>
                  <a:lnTo>
                    <a:pt x="768" y="1636"/>
                  </a:lnTo>
                  <a:lnTo>
                    <a:pt x="751" y="1645"/>
                  </a:lnTo>
                  <a:lnTo>
                    <a:pt x="735" y="1652"/>
                  </a:lnTo>
                  <a:lnTo>
                    <a:pt x="719" y="1659"/>
                  </a:lnTo>
                  <a:lnTo>
                    <a:pt x="701" y="1667"/>
                  </a:lnTo>
                  <a:lnTo>
                    <a:pt x="693" y="1673"/>
                  </a:lnTo>
                  <a:lnTo>
                    <a:pt x="686" y="1679"/>
                  </a:lnTo>
                  <a:lnTo>
                    <a:pt x="681" y="1686"/>
                  </a:lnTo>
                  <a:lnTo>
                    <a:pt x="675" y="1692"/>
                  </a:lnTo>
                  <a:lnTo>
                    <a:pt x="670" y="1700"/>
                  </a:lnTo>
                  <a:lnTo>
                    <a:pt x="665" y="1706"/>
                  </a:lnTo>
                  <a:lnTo>
                    <a:pt x="658" y="1713"/>
                  </a:lnTo>
                  <a:lnTo>
                    <a:pt x="651" y="1718"/>
                  </a:lnTo>
                  <a:lnTo>
                    <a:pt x="649" y="1709"/>
                  </a:lnTo>
                  <a:lnTo>
                    <a:pt x="647" y="1699"/>
                  </a:lnTo>
                  <a:lnTo>
                    <a:pt x="644" y="1689"/>
                  </a:lnTo>
                  <a:lnTo>
                    <a:pt x="641" y="1680"/>
                  </a:lnTo>
                  <a:lnTo>
                    <a:pt x="636" y="1673"/>
                  </a:lnTo>
                  <a:lnTo>
                    <a:pt x="630" y="1667"/>
                  </a:lnTo>
                  <a:lnTo>
                    <a:pt x="627" y="1665"/>
                  </a:lnTo>
                  <a:lnTo>
                    <a:pt x="624" y="1663"/>
                  </a:lnTo>
                  <a:lnTo>
                    <a:pt x="619" y="1662"/>
                  </a:lnTo>
                  <a:lnTo>
                    <a:pt x="614" y="1662"/>
                  </a:lnTo>
                  <a:lnTo>
                    <a:pt x="608" y="1663"/>
                  </a:lnTo>
                  <a:lnTo>
                    <a:pt x="603" y="1664"/>
                  </a:lnTo>
                  <a:lnTo>
                    <a:pt x="599" y="1667"/>
                  </a:lnTo>
                  <a:lnTo>
                    <a:pt x="594" y="1671"/>
                  </a:lnTo>
                  <a:lnTo>
                    <a:pt x="590" y="1675"/>
                  </a:lnTo>
                  <a:lnTo>
                    <a:pt x="586" y="1678"/>
                  </a:lnTo>
                  <a:lnTo>
                    <a:pt x="580" y="1682"/>
                  </a:lnTo>
                  <a:lnTo>
                    <a:pt x="575" y="1685"/>
                  </a:lnTo>
                  <a:lnTo>
                    <a:pt x="537" y="1698"/>
                  </a:lnTo>
                  <a:lnTo>
                    <a:pt x="503" y="1710"/>
                  </a:lnTo>
                  <a:lnTo>
                    <a:pt x="469" y="1723"/>
                  </a:lnTo>
                  <a:lnTo>
                    <a:pt x="432" y="1738"/>
                  </a:lnTo>
                  <a:lnTo>
                    <a:pt x="399" y="1739"/>
                  </a:lnTo>
                  <a:lnTo>
                    <a:pt x="370" y="1740"/>
                  </a:lnTo>
                  <a:lnTo>
                    <a:pt x="342" y="1744"/>
                  </a:lnTo>
                  <a:lnTo>
                    <a:pt x="309" y="1748"/>
                  </a:lnTo>
                  <a:lnTo>
                    <a:pt x="296" y="1751"/>
                  </a:lnTo>
                  <a:lnTo>
                    <a:pt x="285" y="1753"/>
                  </a:lnTo>
                  <a:lnTo>
                    <a:pt x="275" y="1756"/>
                  </a:lnTo>
                  <a:lnTo>
                    <a:pt x="264" y="1760"/>
                  </a:lnTo>
                  <a:lnTo>
                    <a:pt x="260" y="1763"/>
                  </a:lnTo>
                  <a:lnTo>
                    <a:pt x="255" y="1766"/>
                  </a:lnTo>
                  <a:lnTo>
                    <a:pt x="253" y="1770"/>
                  </a:lnTo>
                  <a:lnTo>
                    <a:pt x="250" y="1774"/>
                  </a:lnTo>
                  <a:lnTo>
                    <a:pt x="247" y="1784"/>
                  </a:lnTo>
                  <a:lnTo>
                    <a:pt x="241" y="1794"/>
                  </a:lnTo>
                  <a:lnTo>
                    <a:pt x="235" y="1806"/>
                  </a:lnTo>
                  <a:lnTo>
                    <a:pt x="228" y="1817"/>
                  </a:lnTo>
                  <a:lnTo>
                    <a:pt x="221" y="1827"/>
                  </a:lnTo>
                  <a:lnTo>
                    <a:pt x="213" y="1838"/>
                  </a:lnTo>
                  <a:lnTo>
                    <a:pt x="209" y="1848"/>
                  </a:lnTo>
                  <a:lnTo>
                    <a:pt x="204" y="1855"/>
                  </a:lnTo>
                  <a:lnTo>
                    <a:pt x="200" y="1863"/>
                  </a:lnTo>
                  <a:lnTo>
                    <a:pt x="196" y="1869"/>
                  </a:lnTo>
                  <a:lnTo>
                    <a:pt x="190" y="1875"/>
                  </a:lnTo>
                  <a:lnTo>
                    <a:pt x="184" y="1881"/>
                  </a:lnTo>
                  <a:lnTo>
                    <a:pt x="176" y="1887"/>
                  </a:lnTo>
                  <a:lnTo>
                    <a:pt x="169" y="1892"/>
                  </a:lnTo>
                  <a:lnTo>
                    <a:pt x="159" y="1899"/>
                  </a:lnTo>
                  <a:lnTo>
                    <a:pt x="153" y="1907"/>
                  </a:lnTo>
                  <a:lnTo>
                    <a:pt x="148" y="1912"/>
                  </a:lnTo>
                  <a:lnTo>
                    <a:pt x="145" y="1915"/>
                  </a:lnTo>
                  <a:lnTo>
                    <a:pt x="141" y="1918"/>
                  </a:lnTo>
                  <a:lnTo>
                    <a:pt x="135" y="1920"/>
                  </a:lnTo>
                  <a:lnTo>
                    <a:pt x="126" y="1921"/>
                  </a:lnTo>
                  <a:lnTo>
                    <a:pt x="117" y="1921"/>
                  </a:lnTo>
                  <a:lnTo>
                    <a:pt x="113" y="1921"/>
                  </a:lnTo>
                  <a:lnTo>
                    <a:pt x="109" y="1921"/>
                  </a:lnTo>
                  <a:lnTo>
                    <a:pt x="105" y="1923"/>
                  </a:lnTo>
                  <a:lnTo>
                    <a:pt x="101" y="1926"/>
                  </a:lnTo>
                  <a:lnTo>
                    <a:pt x="92" y="1934"/>
                  </a:lnTo>
                  <a:lnTo>
                    <a:pt x="83" y="1944"/>
                  </a:lnTo>
                  <a:lnTo>
                    <a:pt x="78" y="1954"/>
                  </a:lnTo>
                  <a:lnTo>
                    <a:pt x="73" y="1964"/>
                  </a:lnTo>
                  <a:lnTo>
                    <a:pt x="65" y="1986"/>
                  </a:lnTo>
                  <a:lnTo>
                    <a:pt x="60" y="2012"/>
                  </a:lnTo>
                  <a:lnTo>
                    <a:pt x="60" y="2012"/>
                  </a:lnTo>
                  <a:lnTo>
                    <a:pt x="45" y="2026"/>
                  </a:lnTo>
                  <a:lnTo>
                    <a:pt x="33" y="2040"/>
                  </a:lnTo>
                  <a:lnTo>
                    <a:pt x="22" y="2055"/>
                  </a:lnTo>
                  <a:lnTo>
                    <a:pt x="14" y="2071"/>
                  </a:lnTo>
                  <a:lnTo>
                    <a:pt x="8" y="2088"/>
                  </a:lnTo>
                  <a:lnTo>
                    <a:pt x="4" y="2105"/>
                  </a:lnTo>
                  <a:lnTo>
                    <a:pt x="1" y="2123"/>
                  </a:lnTo>
                  <a:lnTo>
                    <a:pt x="0" y="2144"/>
                  </a:lnTo>
                  <a:lnTo>
                    <a:pt x="1" y="2156"/>
                  </a:lnTo>
                  <a:lnTo>
                    <a:pt x="4" y="2165"/>
                  </a:lnTo>
                  <a:lnTo>
                    <a:pt x="6" y="2175"/>
                  </a:lnTo>
                  <a:lnTo>
                    <a:pt x="9" y="2185"/>
                  </a:lnTo>
                  <a:lnTo>
                    <a:pt x="11" y="2193"/>
                  </a:lnTo>
                  <a:lnTo>
                    <a:pt x="13" y="2203"/>
                  </a:lnTo>
                  <a:lnTo>
                    <a:pt x="14" y="2214"/>
                  </a:lnTo>
                  <a:lnTo>
                    <a:pt x="13" y="2225"/>
                  </a:lnTo>
                  <a:lnTo>
                    <a:pt x="13" y="2225"/>
                  </a:lnTo>
                  <a:lnTo>
                    <a:pt x="22" y="2213"/>
                  </a:lnTo>
                  <a:lnTo>
                    <a:pt x="32" y="2201"/>
                  </a:lnTo>
                  <a:lnTo>
                    <a:pt x="42" y="2191"/>
                  </a:lnTo>
                  <a:lnTo>
                    <a:pt x="54" y="2184"/>
                  </a:lnTo>
                  <a:lnTo>
                    <a:pt x="66" y="2177"/>
                  </a:lnTo>
                  <a:lnTo>
                    <a:pt x="80" y="2173"/>
                  </a:lnTo>
                  <a:lnTo>
                    <a:pt x="94" y="2170"/>
                  </a:lnTo>
                  <a:lnTo>
                    <a:pt x="109" y="2170"/>
                  </a:lnTo>
                  <a:lnTo>
                    <a:pt x="118" y="2170"/>
                  </a:lnTo>
                  <a:lnTo>
                    <a:pt x="126" y="2171"/>
                  </a:lnTo>
                  <a:lnTo>
                    <a:pt x="132" y="2174"/>
                  </a:lnTo>
                  <a:lnTo>
                    <a:pt x="139" y="2176"/>
                  </a:lnTo>
                  <a:lnTo>
                    <a:pt x="152" y="2184"/>
                  </a:lnTo>
                  <a:lnTo>
                    <a:pt x="166" y="2191"/>
                  </a:lnTo>
                  <a:lnTo>
                    <a:pt x="183" y="2198"/>
                  </a:lnTo>
                  <a:lnTo>
                    <a:pt x="198" y="2203"/>
                  </a:lnTo>
                  <a:lnTo>
                    <a:pt x="214" y="2206"/>
                  </a:lnTo>
                  <a:lnTo>
                    <a:pt x="228" y="2210"/>
                  </a:lnTo>
                  <a:lnTo>
                    <a:pt x="260" y="2214"/>
                  </a:lnTo>
                  <a:lnTo>
                    <a:pt x="295" y="2219"/>
                  </a:lnTo>
                  <a:lnTo>
                    <a:pt x="334" y="2218"/>
                  </a:lnTo>
                  <a:lnTo>
                    <a:pt x="369" y="2216"/>
                  </a:lnTo>
                  <a:lnTo>
                    <a:pt x="403" y="2215"/>
                  </a:lnTo>
                  <a:lnTo>
                    <a:pt x="443" y="2214"/>
                  </a:lnTo>
                  <a:lnTo>
                    <a:pt x="470" y="2214"/>
                  </a:lnTo>
                  <a:lnTo>
                    <a:pt x="494" y="2214"/>
                  </a:lnTo>
                  <a:lnTo>
                    <a:pt x="506" y="2214"/>
                  </a:lnTo>
                  <a:lnTo>
                    <a:pt x="518" y="2215"/>
                  </a:lnTo>
                  <a:lnTo>
                    <a:pt x="531" y="2217"/>
                  </a:lnTo>
                  <a:lnTo>
                    <a:pt x="544" y="2219"/>
                  </a:lnTo>
                  <a:lnTo>
                    <a:pt x="555" y="2223"/>
                  </a:lnTo>
                  <a:lnTo>
                    <a:pt x="566" y="2225"/>
                  </a:lnTo>
                  <a:lnTo>
                    <a:pt x="577" y="2228"/>
                  </a:lnTo>
                  <a:lnTo>
                    <a:pt x="589" y="2231"/>
                  </a:lnTo>
                  <a:lnTo>
                    <a:pt x="596" y="2236"/>
                  </a:lnTo>
                  <a:lnTo>
                    <a:pt x="603" y="2241"/>
                  </a:lnTo>
                  <a:lnTo>
                    <a:pt x="608" y="2247"/>
                  </a:lnTo>
                  <a:lnTo>
                    <a:pt x="614" y="2254"/>
                  </a:lnTo>
                  <a:lnTo>
                    <a:pt x="617" y="2261"/>
                  </a:lnTo>
                  <a:lnTo>
                    <a:pt x="620" y="2270"/>
                  </a:lnTo>
                  <a:lnTo>
                    <a:pt x="622" y="2279"/>
                  </a:lnTo>
                  <a:lnTo>
                    <a:pt x="622" y="2286"/>
                  </a:lnTo>
                  <a:lnTo>
                    <a:pt x="622" y="2298"/>
                  </a:lnTo>
                  <a:lnTo>
                    <a:pt x="620" y="2309"/>
                  </a:lnTo>
                  <a:lnTo>
                    <a:pt x="618" y="2319"/>
                  </a:lnTo>
                  <a:lnTo>
                    <a:pt x="616" y="2327"/>
                  </a:lnTo>
                  <a:lnTo>
                    <a:pt x="613" y="2337"/>
                  </a:lnTo>
                  <a:lnTo>
                    <a:pt x="611" y="2347"/>
                  </a:lnTo>
                  <a:lnTo>
                    <a:pt x="609" y="2357"/>
                  </a:lnTo>
                  <a:lnTo>
                    <a:pt x="608" y="2368"/>
                  </a:lnTo>
                  <a:lnTo>
                    <a:pt x="609" y="2373"/>
                  </a:lnTo>
                  <a:lnTo>
                    <a:pt x="611" y="2376"/>
                  </a:lnTo>
                  <a:lnTo>
                    <a:pt x="613" y="2380"/>
                  </a:lnTo>
                  <a:lnTo>
                    <a:pt x="615" y="2382"/>
                  </a:lnTo>
                  <a:lnTo>
                    <a:pt x="620" y="2389"/>
                  </a:lnTo>
                  <a:lnTo>
                    <a:pt x="626" y="2396"/>
                  </a:lnTo>
                  <a:lnTo>
                    <a:pt x="630" y="2405"/>
                  </a:lnTo>
                  <a:lnTo>
                    <a:pt x="635" y="2415"/>
                  </a:lnTo>
                  <a:lnTo>
                    <a:pt x="638" y="2418"/>
                  </a:lnTo>
                  <a:lnTo>
                    <a:pt x="642" y="2421"/>
                  </a:lnTo>
                  <a:lnTo>
                    <a:pt x="645" y="2423"/>
                  </a:lnTo>
                  <a:lnTo>
                    <a:pt x="651" y="2425"/>
                  </a:lnTo>
                  <a:lnTo>
                    <a:pt x="656" y="2423"/>
                  </a:lnTo>
                  <a:lnTo>
                    <a:pt x="661" y="2422"/>
                  </a:lnTo>
                  <a:lnTo>
                    <a:pt x="666" y="2421"/>
                  </a:lnTo>
                  <a:lnTo>
                    <a:pt x="670" y="2418"/>
                  </a:lnTo>
                  <a:lnTo>
                    <a:pt x="678" y="2413"/>
                  </a:lnTo>
                  <a:lnTo>
                    <a:pt x="684" y="2406"/>
                  </a:lnTo>
                  <a:lnTo>
                    <a:pt x="692" y="2400"/>
                  </a:lnTo>
                  <a:lnTo>
                    <a:pt x="699" y="2393"/>
                  </a:lnTo>
                  <a:lnTo>
                    <a:pt x="703" y="2391"/>
                  </a:lnTo>
                  <a:lnTo>
                    <a:pt x="708" y="2389"/>
                  </a:lnTo>
                  <a:lnTo>
                    <a:pt x="712" y="2388"/>
                  </a:lnTo>
                  <a:lnTo>
                    <a:pt x="717" y="2388"/>
                  </a:lnTo>
                  <a:lnTo>
                    <a:pt x="723" y="2388"/>
                  </a:lnTo>
                  <a:lnTo>
                    <a:pt x="728" y="2389"/>
                  </a:lnTo>
                  <a:lnTo>
                    <a:pt x="733" y="2391"/>
                  </a:lnTo>
                  <a:lnTo>
                    <a:pt x="737" y="2393"/>
                  </a:lnTo>
                  <a:lnTo>
                    <a:pt x="744" y="2399"/>
                  </a:lnTo>
                  <a:lnTo>
                    <a:pt x="750" y="2406"/>
                  </a:lnTo>
                  <a:lnTo>
                    <a:pt x="755" y="2415"/>
                  </a:lnTo>
                  <a:lnTo>
                    <a:pt x="761" y="2423"/>
                  </a:lnTo>
                  <a:lnTo>
                    <a:pt x="764" y="2434"/>
                  </a:lnTo>
                  <a:lnTo>
                    <a:pt x="768" y="2444"/>
                  </a:lnTo>
                  <a:lnTo>
                    <a:pt x="801" y="2426"/>
                  </a:lnTo>
                  <a:lnTo>
                    <a:pt x="832" y="2409"/>
                  </a:lnTo>
                  <a:lnTo>
                    <a:pt x="847" y="2403"/>
                  </a:lnTo>
                  <a:lnTo>
                    <a:pt x="862" y="2398"/>
                  </a:lnTo>
                  <a:lnTo>
                    <a:pt x="877" y="2392"/>
                  </a:lnTo>
                  <a:lnTo>
                    <a:pt x="892" y="2387"/>
                  </a:lnTo>
                  <a:lnTo>
                    <a:pt x="908" y="2384"/>
                  </a:lnTo>
                  <a:lnTo>
                    <a:pt x="923" y="2380"/>
                  </a:lnTo>
                  <a:lnTo>
                    <a:pt x="938" y="2377"/>
                  </a:lnTo>
                  <a:lnTo>
                    <a:pt x="955" y="2375"/>
                  </a:lnTo>
                  <a:lnTo>
                    <a:pt x="989" y="2372"/>
                  </a:lnTo>
                  <a:lnTo>
                    <a:pt x="1026" y="2371"/>
                  </a:lnTo>
                  <a:lnTo>
                    <a:pt x="1038" y="2372"/>
                  </a:lnTo>
                  <a:lnTo>
                    <a:pt x="1049" y="2373"/>
                  </a:lnTo>
                  <a:lnTo>
                    <a:pt x="1060" y="2375"/>
                  </a:lnTo>
                  <a:lnTo>
                    <a:pt x="1070" y="2377"/>
                  </a:lnTo>
                  <a:lnTo>
                    <a:pt x="1079" y="2378"/>
                  </a:lnTo>
                  <a:lnTo>
                    <a:pt x="1090" y="2380"/>
                  </a:lnTo>
                  <a:lnTo>
                    <a:pt x="1101" y="2381"/>
                  </a:lnTo>
                  <a:lnTo>
                    <a:pt x="1113" y="2382"/>
                  </a:lnTo>
                  <a:lnTo>
                    <a:pt x="1120" y="2381"/>
                  </a:lnTo>
                  <a:lnTo>
                    <a:pt x="1126" y="2380"/>
                  </a:lnTo>
                  <a:lnTo>
                    <a:pt x="1132" y="2378"/>
                  </a:lnTo>
                  <a:lnTo>
                    <a:pt x="1138" y="2376"/>
                  </a:lnTo>
                  <a:lnTo>
                    <a:pt x="1148" y="2369"/>
                  </a:lnTo>
                  <a:lnTo>
                    <a:pt x="1158" y="2363"/>
                  </a:lnTo>
                  <a:lnTo>
                    <a:pt x="1168" y="2355"/>
                  </a:lnTo>
                  <a:lnTo>
                    <a:pt x="1178" y="2349"/>
                  </a:lnTo>
                  <a:lnTo>
                    <a:pt x="1184" y="2347"/>
                  </a:lnTo>
                  <a:lnTo>
                    <a:pt x="1189" y="2345"/>
                  </a:lnTo>
                  <a:lnTo>
                    <a:pt x="1196" y="2344"/>
                  </a:lnTo>
                  <a:lnTo>
                    <a:pt x="1202" y="2342"/>
                  </a:lnTo>
                  <a:lnTo>
                    <a:pt x="1210" y="2344"/>
                  </a:lnTo>
                  <a:lnTo>
                    <a:pt x="1216" y="2345"/>
                  </a:lnTo>
                  <a:lnTo>
                    <a:pt x="1223" y="2347"/>
                  </a:lnTo>
                  <a:lnTo>
                    <a:pt x="1228" y="2349"/>
                  </a:lnTo>
                  <a:lnTo>
                    <a:pt x="1235" y="2350"/>
                  </a:lnTo>
                  <a:lnTo>
                    <a:pt x="1241" y="2352"/>
                  </a:lnTo>
                  <a:lnTo>
                    <a:pt x="1248" y="2353"/>
                  </a:lnTo>
                  <a:lnTo>
                    <a:pt x="1254" y="2354"/>
                  </a:lnTo>
                  <a:lnTo>
                    <a:pt x="1266" y="2353"/>
                  </a:lnTo>
                  <a:lnTo>
                    <a:pt x="1277" y="2352"/>
                  </a:lnTo>
                  <a:lnTo>
                    <a:pt x="1288" y="2350"/>
                  </a:lnTo>
                  <a:lnTo>
                    <a:pt x="1297" y="2349"/>
                  </a:lnTo>
                  <a:lnTo>
                    <a:pt x="1307" y="2347"/>
                  </a:lnTo>
                  <a:lnTo>
                    <a:pt x="1317" y="2345"/>
                  </a:lnTo>
                  <a:lnTo>
                    <a:pt x="1328" y="2344"/>
                  </a:lnTo>
                  <a:lnTo>
                    <a:pt x="1340" y="2342"/>
                  </a:lnTo>
                  <a:lnTo>
                    <a:pt x="1350" y="2344"/>
                  </a:lnTo>
                  <a:lnTo>
                    <a:pt x="1361" y="2346"/>
                  </a:lnTo>
                  <a:lnTo>
                    <a:pt x="1370" y="2348"/>
                  </a:lnTo>
                  <a:lnTo>
                    <a:pt x="1380" y="2352"/>
                  </a:lnTo>
                  <a:lnTo>
                    <a:pt x="1388" y="2358"/>
                  </a:lnTo>
                  <a:lnTo>
                    <a:pt x="1396" y="2363"/>
                  </a:lnTo>
                  <a:lnTo>
                    <a:pt x="1402" y="2369"/>
                  </a:lnTo>
                  <a:lnTo>
                    <a:pt x="1410" y="2377"/>
                  </a:lnTo>
                  <a:lnTo>
                    <a:pt x="1415" y="2385"/>
                  </a:lnTo>
                  <a:lnTo>
                    <a:pt x="1421" y="2394"/>
                  </a:lnTo>
                  <a:lnTo>
                    <a:pt x="1425" y="2403"/>
                  </a:lnTo>
                  <a:lnTo>
                    <a:pt x="1428" y="2413"/>
                  </a:lnTo>
                  <a:lnTo>
                    <a:pt x="1431" y="2422"/>
                  </a:lnTo>
                  <a:lnTo>
                    <a:pt x="1434" y="2433"/>
                  </a:lnTo>
                  <a:lnTo>
                    <a:pt x="1435" y="2444"/>
                  </a:lnTo>
                  <a:lnTo>
                    <a:pt x="1436" y="2455"/>
                  </a:lnTo>
                  <a:lnTo>
                    <a:pt x="1436" y="2473"/>
                  </a:lnTo>
                  <a:lnTo>
                    <a:pt x="1436" y="2490"/>
                  </a:lnTo>
                  <a:lnTo>
                    <a:pt x="1436" y="2507"/>
                  </a:lnTo>
                  <a:lnTo>
                    <a:pt x="1436" y="2526"/>
                  </a:lnTo>
                  <a:lnTo>
                    <a:pt x="1436" y="2533"/>
                  </a:lnTo>
                  <a:lnTo>
                    <a:pt x="1438" y="2538"/>
                  </a:lnTo>
                  <a:lnTo>
                    <a:pt x="1440" y="2544"/>
                  </a:lnTo>
                  <a:lnTo>
                    <a:pt x="1442" y="2549"/>
                  </a:lnTo>
                  <a:lnTo>
                    <a:pt x="1445" y="2554"/>
                  </a:lnTo>
                  <a:lnTo>
                    <a:pt x="1448" y="2560"/>
                  </a:lnTo>
                  <a:lnTo>
                    <a:pt x="1449" y="2566"/>
                  </a:lnTo>
                  <a:lnTo>
                    <a:pt x="1450" y="2573"/>
                  </a:lnTo>
                  <a:lnTo>
                    <a:pt x="1449" y="2593"/>
                  </a:lnTo>
                  <a:lnTo>
                    <a:pt x="1445" y="2611"/>
                  </a:lnTo>
                  <a:lnTo>
                    <a:pt x="1442" y="2629"/>
                  </a:lnTo>
                  <a:lnTo>
                    <a:pt x="1438" y="2646"/>
                  </a:lnTo>
                  <a:lnTo>
                    <a:pt x="1434" y="2662"/>
                  </a:lnTo>
                  <a:lnTo>
                    <a:pt x="1430" y="2679"/>
                  </a:lnTo>
                  <a:lnTo>
                    <a:pt x="1428" y="2698"/>
                  </a:lnTo>
                  <a:lnTo>
                    <a:pt x="1427" y="2718"/>
                  </a:lnTo>
                  <a:lnTo>
                    <a:pt x="1427" y="2735"/>
                  </a:lnTo>
                  <a:lnTo>
                    <a:pt x="1429" y="2751"/>
                  </a:lnTo>
                  <a:lnTo>
                    <a:pt x="1431" y="2765"/>
                  </a:lnTo>
                  <a:lnTo>
                    <a:pt x="1435" y="2779"/>
                  </a:lnTo>
                  <a:lnTo>
                    <a:pt x="1441" y="2808"/>
                  </a:lnTo>
                  <a:lnTo>
                    <a:pt x="1450" y="2839"/>
                  </a:lnTo>
                  <a:lnTo>
                    <a:pt x="1456" y="2853"/>
                  </a:lnTo>
                  <a:lnTo>
                    <a:pt x="1464" y="2867"/>
                  </a:lnTo>
                  <a:lnTo>
                    <a:pt x="1472" y="2879"/>
                  </a:lnTo>
                  <a:lnTo>
                    <a:pt x="1481" y="2891"/>
                  </a:lnTo>
                  <a:lnTo>
                    <a:pt x="1485" y="2895"/>
                  </a:lnTo>
                  <a:lnTo>
                    <a:pt x="1491" y="2901"/>
                  </a:lnTo>
                  <a:lnTo>
                    <a:pt x="1496" y="2904"/>
                  </a:lnTo>
                  <a:lnTo>
                    <a:pt x="1503" y="2908"/>
                  </a:lnTo>
                  <a:lnTo>
                    <a:pt x="1509" y="2912"/>
                  </a:lnTo>
                  <a:lnTo>
                    <a:pt x="1516" y="2914"/>
                  </a:lnTo>
                  <a:lnTo>
                    <a:pt x="1523" y="2916"/>
                  </a:lnTo>
                  <a:lnTo>
                    <a:pt x="1531" y="2917"/>
                  </a:lnTo>
                  <a:lnTo>
                    <a:pt x="1562" y="2919"/>
                  </a:lnTo>
                  <a:lnTo>
                    <a:pt x="1590" y="2918"/>
                  </a:lnTo>
                  <a:lnTo>
                    <a:pt x="1598" y="2919"/>
                  </a:lnTo>
                  <a:lnTo>
                    <a:pt x="1604" y="2920"/>
                  </a:lnTo>
                  <a:lnTo>
                    <a:pt x="1611" y="2921"/>
                  </a:lnTo>
                  <a:lnTo>
                    <a:pt x="1617" y="2924"/>
                  </a:lnTo>
                  <a:lnTo>
                    <a:pt x="1623" y="2926"/>
                  </a:lnTo>
                  <a:lnTo>
                    <a:pt x="1629" y="2930"/>
                  </a:lnTo>
                  <a:lnTo>
                    <a:pt x="1634" y="2934"/>
                  </a:lnTo>
                  <a:lnTo>
                    <a:pt x="1640" y="2940"/>
                  </a:lnTo>
                  <a:lnTo>
                    <a:pt x="1648" y="2951"/>
                  </a:lnTo>
                  <a:lnTo>
                    <a:pt x="1655" y="2962"/>
                  </a:lnTo>
                  <a:lnTo>
                    <a:pt x="1659" y="2973"/>
                  </a:lnTo>
                  <a:lnTo>
                    <a:pt x="1661" y="2985"/>
                  </a:lnTo>
                  <a:lnTo>
                    <a:pt x="1665" y="3010"/>
                  </a:lnTo>
                  <a:lnTo>
                    <a:pt x="1668" y="3038"/>
                  </a:lnTo>
                  <a:lnTo>
                    <a:pt x="1559" y="3312"/>
                  </a:lnTo>
                  <a:lnTo>
                    <a:pt x="1564" y="3321"/>
                  </a:lnTo>
                  <a:lnTo>
                    <a:pt x="1570" y="3327"/>
                  </a:lnTo>
                  <a:lnTo>
                    <a:pt x="1576" y="3333"/>
                  </a:lnTo>
                  <a:lnTo>
                    <a:pt x="1583" y="3337"/>
                  </a:lnTo>
                  <a:lnTo>
                    <a:pt x="1599" y="3345"/>
                  </a:lnTo>
                  <a:lnTo>
                    <a:pt x="1615" y="3354"/>
                  </a:lnTo>
                  <a:lnTo>
                    <a:pt x="1623" y="3361"/>
                  </a:lnTo>
                  <a:lnTo>
                    <a:pt x="1630" y="3368"/>
                  </a:lnTo>
                  <a:lnTo>
                    <a:pt x="1634" y="3376"/>
                  </a:lnTo>
                  <a:lnTo>
                    <a:pt x="1639" y="3385"/>
                  </a:lnTo>
                  <a:lnTo>
                    <a:pt x="1642" y="3393"/>
                  </a:lnTo>
                  <a:lnTo>
                    <a:pt x="1644" y="3403"/>
                  </a:lnTo>
                  <a:lnTo>
                    <a:pt x="1645" y="3413"/>
                  </a:lnTo>
                  <a:lnTo>
                    <a:pt x="1645" y="3424"/>
                  </a:lnTo>
                  <a:lnTo>
                    <a:pt x="1645" y="3442"/>
                  </a:lnTo>
                  <a:lnTo>
                    <a:pt x="1645" y="3458"/>
                  </a:lnTo>
                  <a:lnTo>
                    <a:pt x="1645" y="3474"/>
                  </a:lnTo>
                  <a:lnTo>
                    <a:pt x="1645" y="3493"/>
                  </a:lnTo>
                  <a:lnTo>
                    <a:pt x="1646" y="3503"/>
                  </a:lnTo>
                  <a:lnTo>
                    <a:pt x="1650" y="3513"/>
                  </a:lnTo>
                  <a:lnTo>
                    <a:pt x="1653" y="3523"/>
                  </a:lnTo>
                  <a:lnTo>
                    <a:pt x="1659" y="3530"/>
                  </a:lnTo>
                  <a:lnTo>
                    <a:pt x="1666" y="3537"/>
                  </a:lnTo>
                  <a:lnTo>
                    <a:pt x="1673" y="3543"/>
                  </a:lnTo>
                  <a:lnTo>
                    <a:pt x="1683" y="3549"/>
                  </a:lnTo>
                  <a:lnTo>
                    <a:pt x="1693" y="3553"/>
                  </a:lnTo>
                  <a:lnTo>
                    <a:pt x="1704" y="3557"/>
                  </a:lnTo>
                  <a:lnTo>
                    <a:pt x="1714" y="3560"/>
                  </a:lnTo>
                  <a:lnTo>
                    <a:pt x="1726" y="3563"/>
                  </a:lnTo>
                  <a:lnTo>
                    <a:pt x="1738" y="3565"/>
                  </a:lnTo>
                  <a:lnTo>
                    <a:pt x="1762" y="3567"/>
                  </a:lnTo>
                  <a:lnTo>
                    <a:pt x="1786" y="3567"/>
                  </a:lnTo>
                  <a:lnTo>
                    <a:pt x="1791" y="3567"/>
                  </a:lnTo>
                  <a:lnTo>
                    <a:pt x="1796" y="3566"/>
                  </a:lnTo>
                  <a:lnTo>
                    <a:pt x="1801" y="3565"/>
                  </a:lnTo>
                  <a:lnTo>
                    <a:pt x="1806" y="3563"/>
                  </a:lnTo>
                  <a:lnTo>
                    <a:pt x="1814" y="3557"/>
                  </a:lnTo>
                  <a:lnTo>
                    <a:pt x="1820" y="3550"/>
                  </a:lnTo>
                  <a:lnTo>
                    <a:pt x="1827" y="3541"/>
                  </a:lnTo>
                  <a:lnTo>
                    <a:pt x="1832" y="3532"/>
                  </a:lnTo>
                  <a:lnTo>
                    <a:pt x="1838" y="3522"/>
                  </a:lnTo>
                  <a:lnTo>
                    <a:pt x="1842" y="3511"/>
                  </a:lnTo>
                  <a:lnTo>
                    <a:pt x="1846" y="3501"/>
                  </a:lnTo>
                  <a:lnTo>
                    <a:pt x="1852" y="3491"/>
                  </a:lnTo>
                  <a:lnTo>
                    <a:pt x="1857" y="3482"/>
                  </a:lnTo>
                  <a:lnTo>
                    <a:pt x="1863" y="3473"/>
                  </a:lnTo>
                  <a:lnTo>
                    <a:pt x="1870" y="3466"/>
                  </a:lnTo>
                  <a:lnTo>
                    <a:pt x="1877" y="3460"/>
                  </a:lnTo>
                  <a:lnTo>
                    <a:pt x="1882" y="3458"/>
                  </a:lnTo>
                  <a:lnTo>
                    <a:pt x="1887" y="3457"/>
                  </a:lnTo>
                  <a:lnTo>
                    <a:pt x="1893" y="3456"/>
                  </a:lnTo>
                  <a:lnTo>
                    <a:pt x="1898" y="3456"/>
                  </a:lnTo>
                  <a:lnTo>
                    <a:pt x="1901" y="3456"/>
                  </a:lnTo>
                  <a:lnTo>
                    <a:pt x="1904" y="3458"/>
                  </a:lnTo>
                  <a:lnTo>
                    <a:pt x="1907" y="3460"/>
                  </a:lnTo>
                  <a:lnTo>
                    <a:pt x="1909" y="3464"/>
                  </a:lnTo>
                  <a:lnTo>
                    <a:pt x="1912" y="3470"/>
                  </a:lnTo>
                  <a:lnTo>
                    <a:pt x="1917" y="3475"/>
                  </a:lnTo>
                  <a:lnTo>
                    <a:pt x="1923" y="3479"/>
                  </a:lnTo>
                  <a:lnTo>
                    <a:pt x="1929" y="3481"/>
                  </a:lnTo>
                  <a:lnTo>
                    <a:pt x="1935" y="3482"/>
                  </a:lnTo>
                  <a:lnTo>
                    <a:pt x="1940" y="3483"/>
                  </a:lnTo>
                  <a:lnTo>
                    <a:pt x="1952" y="3484"/>
                  </a:lnTo>
                  <a:lnTo>
                    <a:pt x="1965" y="3483"/>
                  </a:lnTo>
                  <a:lnTo>
                    <a:pt x="1976" y="3483"/>
                  </a:lnTo>
                  <a:lnTo>
                    <a:pt x="1984" y="3482"/>
                  </a:lnTo>
                  <a:lnTo>
                    <a:pt x="1994" y="3480"/>
                  </a:lnTo>
                  <a:lnTo>
                    <a:pt x="2003" y="3478"/>
                  </a:lnTo>
                  <a:lnTo>
                    <a:pt x="2019" y="3471"/>
                  </a:lnTo>
                  <a:lnTo>
                    <a:pt x="2034" y="3464"/>
                  </a:lnTo>
                  <a:lnTo>
                    <a:pt x="2049" y="3457"/>
                  </a:lnTo>
                  <a:lnTo>
                    <a:pt x="2065" y="3451"/>
                  </a:lnTo>
                  <a:lnTo>
                    <a:pt x="2074" y="3448"/>
                  </a:lnTo>
                  <a:lnTo>
                    <a:pt x="2084" y="3446"/>
                  </a:lnTo>
                  <a:lnTo>
                    <a:pt x="2093" y="3445"/>
                  </a:lnTo>
                  <a:lnTo>
                    <a:pt x="2103" y="3444"/>
                  </a:lnTo>
                  <a:lnTo>
                    <a:pt x="2124" y="3444"/>
                  </a:lnTo>
                  <a:lnTo>
                    <a:pt x="2142" y="3444"/>
                  </a:lnTo>
                  <a:lnTo>
                    <a:pt x="2159" y="3444"/>
                  </a:lnTo>
                  <a:lnTo>
                    <a:pt x="2180" y="3444"/>
                  </a:lnTo>
                  <a:lnTo>
                    <a:pt x="2195" y="3445"/>
                  </a:lnTo>
                  <a:lnTo>
                    <a:pt x="2210" y="3446"/>
                  </a:lnTo>
                  <a:lnTo>
                    <a:pt x="2223" y="3448"/>
                  </a:lnTo>
                  <a:lnTo>
                    <a:pt x="2237" y="3452"/>
                  </a:lnTo>
                  <a:lnTo>
                    <a:pt x="2250" y="3454"/>
                  </a:lnTo>
                  <a:lnTo>
                    <a:pt x="2263" y="3456"/>
                  </a:lnTo>
                  <a:lnTo>
                    <a:pt x="2278" y="3458"/>
                  </a:lnTo>
                  <a:lnTo>
                    <a:pt x="2293" y="3458"/>
                  </a:lnTo>
                  <a:lnTo>
                    <a:pt x="2293" y="3458"/>
                  </a:lnTo>
                  <a:lnTo>
                    <a:pt x="2314" y="3446"/>
                  </a:lnTo>
                  <a:lnTo>
                    <a:pt x="2333" y="3437"/>
                  </a:lnTo>
                  <a:lnTo>
                    <a:pt x="2352" y="3427"/>
                  </a:lnTo>
                  <a:lnTo>
                    <a:pt x="2370" y="3419"/>
                  </a:lnTo>
                  <a:lnTo>
                    <a:pt x="2388" y="3412"/>
                  </a:lnTo>
                  <a:lnTo>
                    <a:pt x="2408" y="3405"/>
                  </a:lnTo>
                  <a:lnTo>
                    <a:pt x="2429" y="3400"/>
                  </a:lnTo>
                  <a:lnTo>
                    <a:pt x="2453" y="3393"/>
                  </a:lnTo>
                  <a:lnTo>
                    <a:pt x="2492" y="3385"/>
                  </a:lnTo>
                  <a:lnTo>
                    <a:pt x="2528" y="3375"/>
                  </a:lnTo>
                  <a:lnTo>
                    <a:pt x="2562" y="3367"/>
                  </a:lnTo>
                  <a:lnTo>
                    <a:pt x="2595" y="3360"/>
                  </a:lnTo>
                  <a:lnTo>
                    <a:pt x="2628" y="3354"/>
                  </a:lnTo>
                  <a:lnTo>
                    <a:pt x="2663" y="3350"/>
                  </a:lnTo>
                  <a:lnTo>
                    <a:pt x="2699" y="3347"/>
                  </a:lnTo>
                  <a:lnTo>
                    <a:pt x="2739" y="3346"/>
                  </a:lnTo>
                  <a:lnTo>
                    <a:pt x="2776" y="3346"/>
                  </a:lnTo>
                  <a:lnTo>
                    <a:pt x="2810" y="3347"/>
                  </a:lnTo>
                  <a:lnTo>
                    <a:pt x="2840" y="3347"/>
                  </a:lnTo>
                  <a:lnTo>
                    <a:pt x="2870" y="3348"/>
                  </a:lnTo>
                  <a:lnTo>
                    <a:pt x="2900" y="3348"/>
                  </a:lnTo>
                  <a:lnTo>
                    <a:pt x="2932" y="3349"/>
                  </a:lnTo>
                  <a:lnTo>
                    <a:pt x="2965" y="3349"/>
                  </a:lnTo>
                  <a:lnTo>
                    <a:pt x="3002" y="3349"/>
                  </a:lnTo>
                  <a:lnTo>
                    <a:pt x="3016" y="3348"/>
                  </a:lnTo>
                  <a:lnTo>
                    <a:pt x="3030" y="3347"/>
                  </a:lnTo>
                  <a:lnTo>
                    <a:pt x="3042" y="3345"/>
                  </a:lnTo>
                  <a:lnTo>
                    <a:pt x="3054" y="3341"/>
                  </a:lnTo>
                  <a:lnTo>
                    <a:pt x="3079" y="3335"/>
                  </a:lnTo>
                  <a:lnTo>
                    <a:pt x="3106" y="3326"/>
                  </a:lnTo>
                  <a:lnTo>
                    <a:pt x="3138" y="3320"/>
                  </a:lnTo>
                  <a:lnTo>
                    <a:pt x="3167" y="3316"/>
                  </a:lnTo>
                  <a:lnTo>
                    <a:pt x="3180" y="3311"/>
                  </a:lnTo>
                  <a:lnTo>
                    <a:pt x="3193" y="3306"/>
                  </a:lnTo>
                  <a:lnTo>
                    <a:pt x="3199" y="3303"/>
                  </a:lnTo>
                  <a:lnTo>
                    <a:pt x="3206" y="3298"/>
                  </a:lnTo>
                  <a:lnTo>
                    <a:pt x="3212" y="3293"/>
                  </a:lnTo>
                  <a:lnTo>
                    <a:pt x="3218" y="3287"/>
                  </a:lnTo>
                  <a:lnTo>
                    <a:pt x="3224" y="3280"/>
                  </a:lnTo>
                  <a:lnTo>
                    <a:pt x="3229" y="3273"/>
                  </a:lnTo>
                  <a:lnTo>
                    <a:pt x="3233" y="3266"/>
                  </a:lnTo>
                  <a:lnTo>
                    <a:pt x="3237" y="3258"/>
                  </a:lnTo>
                  <a:lnTo>
                    <a:pt x="3243" y="3244"/>
                  </a:lnTo>
                  <a:lnTo>
                    <a:pt x="3246" y="3228"/>
                  </a:lnTo>
                  <a:lnTo>
                    <a:pt x="3249" y="3213"/>
                  </a:lnTo>
                  <a:lnTo>
                    <a:pt x="3253" y="3197"/>
                  </a:lnTo>
                  <a:lnTo>
                    <a:pt x="3258" y="3181"/>
                  </a:lnTo>
                  <a:lnTo>
                    <a:pt x="3265" y="3164"/>
                  </a:lnTo>
                  <a:lnTo>
                    <a:pt x="3279" y="3136"/>
                  </a:lnTo>
                  <a:lnTo>
                    <a:pt x="3291" y="3111"/>
                  </a:lnTo>
                  <a:lnTo>
                    <a:pt x="3302" y="3087"/>
                  </a:lnTo>
                  <a:lnTo>
                    <a:pt x="3313" y="3057"/>
                  </a:lnTo>
                  <a:lnTo>
                    <a:pt x="3323" y="3028"/>
                  </a:lnTo>
                  <a:lnTo>
                    <a:pt x="3332" y="3002"/>
                  </a:lnTo>
                  <a:lnTo>
                    <a:pt x="3338" y="2989"/>
                  </a:lnTo>
                  <a:lnTo>
                    <a:pt x="3345" y="2979"/>
                  </a:lnTo>
                  <a:lnTo>
                    <a:pt x="3350" y="2973"/>
                  </a:lnTo>
                  <a:lnTo>
                    <a:pt x="3354" y="2969"/>
                  </a:lnTo>
                  <a:lnTo>
                    <a:pt x="3360" y="2963"/>
                  </a:lnTo>
                  <a:lnTo>
                    <a:pt x="3367" y="2959"/>
                  </a:lnTo>
                  <a:lnTo>
                    <a:pt x="3382" y="2951"/>
                  </a:lnTo>
                  <a:lnTo>
                    <a:pt x="3397" y="2944"/>
                  </a:lnTo>
                  <a:lnTo>
                    <a:pt x="3412" y="2941"/>
                  </a:lnTo>
                  <a:lnTo>
                    <a:pt x="3426" y="2938"/>
                  </a:lnTo>
                  <a:lnTo>
                    <a:pt x="3441" y="2934"/>
                  </a:lnTo>
                  <a:lnTo>
                    <a:pt x="3458" y="2932"/>
                  </a:lnTo>
                  <a:lnTo>
                    <a:pt x="3474" y="2929"/>
                  </a:lnTo>
                  <a:lnTo>
                    <a:pt x="3491" y="2924"/>
                  </a:lnTo>
                  <a:lnTo>
                    <a:pt x="3491" y="2924"/>
                  </a:lnTo>
                  <a:lnTo>
                    <a:pt x="3494" y="2909"/>
                  </a:lnTo>
                  <a:lnTo>
                    <a:pt x="3499" y="2895"/>
                  </a:lnTo>
                  <a:lnTo>
                    <a:pt x="3504" y="2881"/>
                  </a:lnTo>
                  <a:lnTo>
                    <a:pt x="3511" y="2867"/>
                  </a:lnTo>
                  <a:lnTo>
                    <a:pt x="3516" y="2852"/>
                  </a:lnTo>
                  <a:lnTo>
                    <a:pt x="3520" y="2838"/>
                  </a:lnTo>
                  <a:lnTo>
                    <a:pt x="3523" y="2824"/>
                  </a:lnTo>
                  <a:lnTo>
                    <a:pt x="3525" y="2810"/>
                  </a:lnTo>
                  <a:lnTo>
                    <a:pt x="3525" y="2795"/>
                  </a:lnTo>
                  <a:lnTo>
                    <a:pt x="3525" y="2782"/>
                  </a:lnTo>
                  <a:lnTo>
                    <a:pt x="3525" y="2768"/>
                  </a:lnTo>
                  <a:lnTo>
                    <a:pt x="3525" y="2753"/>
                  </a:lnTo>
                  <a:lnTo>
                    <a:pt x="3526" y="2743"/>
                  </a:lnTo>
                  <a:lnTo>
                    <a:pt x="3527" y="2735"/>
                  </a:lnTo>
                  <a:lnTo>
                    <a:pt x="3529" y="2726"/>
                  </a:lnTo>
                  <a:lnTo>
                    <a:pt x="3533" y="2718"/>
                  </a:lnTo>
                  <a:lnTo>
                    <a:pt x="3536" y="2712"/>
                  </a:lnTo>
                  <a:lnTo>
                    <a:pt x="3542" y="2705"/>
                  </a:lnTo>
                  <a:lnTo>
                    <a:pt x="3547" y="2699"/>
                  </a:lnTo>
                  <a:lnTo>
                    <a:pt x="3553" y="2692"/>
                  </a:lnTo>
                  <a:lnTo>
                    <a:pt x="3581" y="2671"/>
                  </a:lnTo>
                  <a:lnTo>
                    <a:pt x="3612" y="2647"/>
                  </a:lnTo>
                  <a:lnTo>
                    <a:pt x="3630" y="2630"/>
                  </a:lnTo>
                  <a:lnTo>
                    <a:pt x="3648" y="2615"/>
                  </a:lnTo>
                  <a:lnTo>
                    <a:pt x="3656" y="2607"/>
                  </a:lnTo>
                  <a:lnTo>
                    <a:pt x="3665" y="2601"/>
                  </a:lnTo>
                  <a:lnTo>
                    <a:pt x="3676" y="2594"/>
                  </a:lnTo>
                  <a:lnTo>
                    <a:pt x="3688" y="2589"/>
                  </a:lnTo>
                  <a:lnTo>
                    <a:pt x="3704" y="2582"/>
                  </a:lnTo>
                  <a:lnTo>
                    <a:pt x="3719" y="2577"/>
                  </a:lnTo>
                  <a:lnTo>
                    <a:pt x="3733" y="2573"/>
                  </a:lnTo>
                  <a:lnTo>
                    <a:pt x="3747" y="2568"/>
                  </a:lnTo>
                  <a:lnTo>
                    <a:pt x="3760" y="2565"/>
                  </a:lnTo>
                  <a:lnTo>
                    <a:pt x="3774" y="2560"/>
                  </a:lnTo>
                  <a:lnTo>
                    <a:pt x="3788" y="2552"/>
                  </a:lnTo>
                  <a:lnTo>
                    <a:pt x="3802" y="2543"/>
                  </a:lnTo>
                  <a:lnTo>
                    <a:pt x="3809" y="2539"/>
                  </a:lnTo>
                  <a:lnTo>
                    <a:pt x="3815" y="2534"/>
                  </a:lnTo>
                  <a:lnTo>
                    <a:pt x="3819" y="2528"/>
                  </a:lnTo>
                  <a:lnTo>
                    <a:pt x="3824" y="2523"/>
                  </a:lnTo>
                  <a:lnTo>
                    <a:pt x="3831" y="2511"/>
                  </a:lnTo>
                  <a:lnTo>
                    <a:pt x="3838" y="2499"/>
                  </a:lnTo>
                  <a:lnTo>
                    <a:pt x="3843" y="2486"/>
                  </a:lnTo>
                  <a:lnTo>
                    <a:pt x="3850" y="2473"/>
                  </a:lnTo>
                  <a:lnTo>
                    <a:pt x="3857" y="2461"/>
                  </a:lnTo>
                  <a:lnTo>
                    <a:pt x="3867" y="2448"/>
                  </a:lnTo>
                  <a:lnTo>
                    <a:pt x="3879" y="2432"/>
                  </a:lnTo>
                  <a:lnTo>
                    <a:pt x="3889" y="2417"/>
                  </a:lnTo>
                  <a:lnTo>
                    <a:pt x="3897" y="2402"/>
                  </a:lnTo>
                  <a:lnTo>
                    <a:pt x="3903" y="2386"/>
                  </a:lnTo>
                  <a:lnTo>
                    <a:pt x="3908" y="2369"/>
                  </a:lnTo>
                  <a:lnTo>
                    <a:pt x="3912" y="2352"/>
                  </a:lnTo>
                  <a:lnTo>
                    <a:pt x="3917" y="2334"/>
                  </a:lnTo>
                  <a:lnTo>
                    <a:pt x="3920" y="2313"/>
                  </a:lnTo>
                  <a:lnTo>
                    <a:pt x="3927" y="2286"/>
                  </a:lnTo>
                  <a:lnTo>
                    <a:pt x="3936" y="2263"/>
                  </a:lnTo>
                  <a:lnTo>
                    <a:pt x="3939" y="2251"/>
                  </a:lnTo>
                  <a:lnTo>
                    <a:pt x="3943" y="2238"/>
                  </a:lnTo>
                  <a:lnTo>
                    <a:pt x="3945" y="2225"/>
                  </a:lnTo>
                  <a:lnTo>
                    <a:pt x="3946" y="2210"/>
                  </a:lnTo>
                  <a:lnTo>
                    <a:pt x="3945" y="2197"/>
                  </a:lnTo>
                  <a:lnTo>
                    <a:pt x="3943" y="2186"/>
                  </a:lnTo>
                  <a:lnTo>
                    <a:pt x="3940" y="2175"/>
                  </a:lnTo>
                  <a:lnTo>
                    <a:pt x="3937" y="2162"/>
                  </a:lnTo>
                  <a:lnTo>
                    <a:pt x="3951" y="2151"/>
                  </a:lnTo>
                  <a:lnTo>
                    <a:pt x="3965" y="2139"/>
                  </a:lnTo>
                  <a:lnTo>
                    <a:pt x="3981" y="2133"/>
                  </a:lnTo>
                  <a:lnTo>
                    <a:pt x="3997" y="2128"/>
                  </a:lnTo>
                  <a:lnTo>
                    <a:pt x="4003" y="2123"/>
                  </a:lnTo>
                  <a:lnTo>
                    <a:pt x="4008" y="2119"/>
                  </a:lnTo>
                  <a:lnTo>
                    <a:pt x="4010" y="2116"/>
                  </a:lnTo>
                  <a:lnTo>
                    <a:pt x="4012" y="2112"/>
                  </a:lnTo>
                  <a:lnTo>
                    <a:pt x="4013" y="2109"/>
                  </a:lnTo>
                  <a:lnTo>
                    <a:pt x="4013" y="2105"/>
                  </a:lnTo>
                  <a:lnTo>
                    <a:pt x="4013" y="2098"/>
                  </a:lnTo>
                  <a:lnTo>
                    <a:pt x="4012" y="2092"/>
                  </a:lnTo>
                  <a:lnTo>
                    <a:pt x="4010" y="2087"/>
                  </a:lnTo>
                  <a:lnTo>
                    <a:pt x="4007" y="2081"/>
                  </a:lnTo>
                  <a:lnTo>
                    <a:pt x="4002" y="2070"/>
                  </a:lnTo>
                  <a:lnTo>
                    <a:pt x="3995" y="2061"/>
                  </a:lnTo>
                  <a:lnTo>
                    <a:pt x="3990" y="2051"/>
                  </a:lnTo>
                  <a:lnTo>
                    <a:pt x="3985" y="2040"/>
                  </a:lnTo>
                  <a:lnTo>
                    <a:pt x="3983" y="2035"/>
                  </a:lnTo>
                  <a:lnTo>
                    <a:pt x="3980" y="2029"/>
                  </a:lnTo>
                  <a:lnTo>
                    <a:pt x="3979" y="2023"/>
                  </a:lnTo>
                  <a:lnTo>
                    <a:pt x="3979" y="2016"/>
                  </a:lnTo>
                  <a:lnTo>
                    <a:pt x="3979" y="2013"/>
                  </a:lnTo>
                  <a:lnTo>
                    <a:pt x="3980" y="2010"/>
                  </a:lnTo>
                  <a:lnTo>
                    <a:pt x="3981" y="2007"/>
                  </a:lnTo>
                  <a:lnTo>
                    <a:pt x="3984" y="2004"/>
                  </a:lnTo>
                  <a:lnTo>
                    <a:pt x="3988" y="1999"/>
                  </a:lnTo>
                  <a:lnTo>
                    <a:pt x="3993" y="1996"/>
                  </a:lnTo>
                  <a:lnTo>
                    <a:pt x="3999" y="1991"/>
                  </a:lnTo>
                  <a:lnTo>
                    <a:pt x="4005" y="1987"/>
                  </a:lnTo>
                  <a:lnTo>
                    <a:pt x="4011" y="1983"/>
                  </a:lnTo>
                  <a:lnTo>
                    <a:pt x="4015" y="1977"/>
                  </a:lnTo>
                  <a:lnTo>
                    <a:pt x="4026" y="1963"/>
                  </a:lnTo>
                  <a:lnTo>
                    <a:pt x="4034" y="1950"/>
                  </a:lnTo>
                  <a:lnTo>
                    <a:pt x="4039" y="1944"/>
                  </a:lnTo>
                  <a:lnTo>
                    <a:pt x="4042" y="1937"/>
                  </a:lnTo>
                  <a:lnTo>
                    <a:pt x="4046" y="1930"/>
                  </a:lnTo>
                  <a:lnTo>
                    <a:pt x="4049" y="1921"/>
                  </a:lnTo>
                  <a:lnTo>
                    <a:pt x="4059" y="1892"/>
                  </a:lnTo>
                  <a:lnTo>
                    <a:pt x="4070" y="1866"/>
                  </a:lnTo>
                  <a:lnTo>
                    <a:pt x="4075" y="1854"/>
                  </a:lnTo>
                  <a:lnTo>
                    <a:pt x="4082" y="1841"/>
                  </a:lnTo>
                  <a:lnTo>
                    <a:pt x="4091" y="1828"/>
                  </a:lnTo>
                  <a:lnTo>
                    <a:pt x="4099" y="1814"/>
                  </a:lnTo>
                  <a:lnTo>
                    <a:pt x="4107" y="1807"/>
                  </a:lnTo>
                  <a:lnTo>
                    <a:pt x="4114" y="1800"/>
                  </a:lnTo>
                  <a:lnTo>
                    <a:pt x="4122" y="1796"/>
                  </a:lnTo>
                  <a:lnTo>
                    <a:pt x="4132" y="1793"/>
                  </a:lnTo>
                  <a:lnTo>
                    <a:pt x="4151" y="1788"/>
                  </a:lnTo>
                  <a:lnTo>
                    <a:pt x="4173" y="1784"/>
                  </a:lnTo>
                  <a:lnTo>
                    <a:pt x="4203" y="1777"/>
                  </a:lnTo>
                  <a:lnTo>
                    <a:pt x="4223" y="1770"/>
                  </a:lnTo>
                  <a:lnTo>
                    <a:pt x="4244" y="1766"/>
                  </a:lnTo>
                  <a:lnTo>
                    <a:pt x="4274" y="1760"/>
                  </a:lnTo>
                  <a:lnTo>
                    <a:pt x="4274" y="1760"/>
                  </a:lnTo>
                  <a:lnTo>
                    <a:pt x="4271" y="1755"/>
                  </a:lnTo>
                  <a:lnTo>
                    <a:pt x="4269" y="1748"/>
                  </a:lnTo>
                  <a:lnTo>
                    <a:pt x="4270" y="1738"/>
                  </a:lnTo>
                  <a:lnTo>
                    <a:pt x="4271" y="1727"/>
                  </a:lnTo>
                  <a:lnTo>
                    <a:pt x="4274" y="1716"/>
                  </a:lnTo>
                  <a:lnTo>
                    <a:pt x="4277" y="1706"/>
                  </a:lnTo>
                  <a:lnTo>
                    <a:pt x="4287" y="1689"/>
                  </a:lnTo>
                  <a:lnTo>
                    <a:pt x="4297" y="1672"/>
                  </a:lnTo>
                  <a:lnTo>
                    <a:pt x="4308" y="1655"/>
                  </a:lnTo>
                  <a:lnTo>
                    <a:pt x="4316" y="1636"/>
                  </a:lnTo>
                  <a:lnTo>
                    <a:pt x="4320" y="1628"/>
                  </a:lnTo>
                  <a:lnTo>
                    <a:pt x="4323" y="1617"/>
                  </a:lnTo>
                  <a:lnTo>
                    <a:pt x="4325" y="1606"/>
                  </a:lnTo>
                  <a:lnTo>
                    <a:pt x="4325" y="1595"/>
                  </a:lnTo>
                  <a:lnTo>
                    <a:pt x="4324" y="1581"/>
                  </a:lnTo>
                  <a:lnTo>
                    <a:pt x="4321" y="1569"/>
                  </a:lnTo>
                  <a:lnTo>
                    <a:pt x="4318" y="1556"/>
                  </a:lnTo>
                  <a:lnTo>
                    <a:pt x="4316" y="1543"/>
                  </a:lnTo>
                  <a:lnTo>
                    <a:pt x="4317" y="1536"/>
                  </a:lnTo>
                  <a:lnTo>
                    <a:pt x="4318" y="1529"/>
                  </a:lnTo>
                  <a:lnTo>
                    <a:pt x="4320" y="1523"/>
                  </a:lnTo>
                  <a:lnTo>
                    <a:pt x="4323" y="1517"/>
                  </a:lnTo>
                  <a:lnTo>
                    <a:pt x="4328" y="1507"/>
                  </a:lnTo>
                  <a:lnTo>
                    <a:pt x="4336" y="1496"/>
                  </a:lnTo>
                  <a:lnTo>
                    <a:pt x="4343" y="1486"/>
                  </a:lnTo>
                  <a:lnTo>
                    <a:pt x="4351" y="1476"/>
                  </a:lnTo>
                  <a:lnTo>
                    <a:pt x="4358" y="1464"/>
                  </a:lnTo>
                  <a:lnTo>
                    <a:pt x="4364" y="1451"/>
                  </a:lnTo>
                  <a:lnTo>
                    <a:pt x="4374" y="1423"/>
                  </a:lnTo>
                  <a:lnTo>
                    <a:pt x="4380" y="1397"/>
                  </a:lnTo>
                  <a:lnTo>
                    <a:pt x="4385" y="1373"/>
                  </a:lnTo>
                  <a:lnTo>
                    <a:pt x="4391" y="1349"/>
                  </a:lnTo>
                  <a:lnTo>
                    <a:pt x="4395" y="1325"/>
                  </a:lnTo>
                  <a:lnTo>
                    <a:pt x="4402" y="1300"/>
                  </a:lnTo>
                  <a:lnTo>
                    <a:pt x="4409" y="1274"/>
                  </a:lnTo>
                  <a:lnTo>
                    <a:pt x="4420" y="1247"/>
                  </a:lnTo>
                  <a:lnTo>
                    <a:pt x="4433" y="1220"/>
                  </a:lnTo>
                  <a:lnTo>
                    <a:pt x="4447" y="1197"/>
                  </a:lnTo>
                  <a:lnTo>
                    <a:pt x="4460" y="1174"/>
                  </a:lnTo>
                  <a:lnTo>
                    <a:pt x="4472" y="1152"/>
                  </a:lnTo>
                  <a:lnTo>
                    <a:pt x="4477" y="1142"/>
                  </a:lnTo>
                  <a:lnTo>
                    <a:pt x="4483" y="1131"/>
                  </a:lnTo>
                  <a:lnTo>
                    <a:pt x="4487" y="1120"/>
                  </a:lnTo>
                  <a:lnTo>
                    <a:pt x="4491" y="1108"/>
                  </a:lnTo>
                  <a:lnTo>
                    <a:pt x="4494" y="1095"/>
                  </a:lnTo>
                  <a:lnTo>
                    <a:pt x="4497" y="1082"/>
                  </a:lnTo>
                  <a:lnTo>
                    <a:pt x="4499" y="1068"/>
                  </a:lnTo>
                  <a:lnTo>
                    <a:pt x="4499" y="1054"/>
                  </a:lnTo>
                  <a:lnTo>
                    <a:pt x="4498" y="1040"/>
                  </a:lnTo>
                  <a:lnTo>
                    <a:pt x="4496" y="1027"/>
                  </a:lnTo>
                  <a:lnTo>
                    <a:pt x="4492" y="1015"/>
                  </a:lnTo>
                  <a:lnTo>
                    <a:pt x="4488" y="1004"/>
                  </a:lnTo>
                  <a:lnTo>
                    <a:pt x="4483" y="994"/>
                  </a:lnTo>
                  <a:lnTo>
                    <a:pt x="4476" y="984"/>
                  </a:lnTo>
                  <a:lnTo>
                    <a:pt x="4470" y="974"/>
                  </a:lnTo>
                  <a:lnTo>
                    <a:pt x="4462" y="965"/>
                  </a:lnTo>
                  <a:lnTo>
                    <a:pt x="4445" y="948"/>
                  </a:lnTo>
                  <a:lnTo>
                    <a:pt x="4425" y="930"/>
                  </a:lnTo>
                  <a:lnTo>
                    <a:pt x="4406" y="911"/>
                  </a:lnTo>
                  <a:lnTo>
                    <a:pt x="4386" y="891"/>
                  </a:lnTo>
                  <a:lnTo>
                    <a:pt x="4368" y="868"/>
                  </a:lnTo>
                  <a:lnTo>
                    <a:pt x="4351" y="848"/>
                  </a:lnTo>
                  <a:lnTo>
                    <a:pt x="4342" y="838"/>
                  </a:lnTo>
                  <a:lnTo>
                    <a:pt x="4331" y="830"/>
                  </a:lnTo>
                  <a:lnTo>
                    <a:pt x="4326" y="828"/>
                  </a:lnTo>
                  <a:lnTo>
                    <a:pt x="4320" y="825"/>
                  </a:lnTo>
                  <a:lnTo>
                    <a:pt x="4313" y="823"/>
                  </a:lnTo>
                  <a:lnTo>
                    <a:pt x="4305" y="821"/>
                  </a:lnTo>
                  <a:lnTo>
                    <a:pt x="4290" y="820"/>
                  </a:lnTo>
                  <a:lnTo>
                    <a:pt x="4275" y="819"/>
                  </a:lnTo>
                  <a:lnTo>
                    <a:pt x="4261" y="819"/>
                  </a:lnTo>
                  <a:lnTo>
                    <a:pt x="4248" y="820"/>
                  </a:lnTo>
                  <a:lnTo>
                    <a:pt x="4235" y="820"/>
                  </a:lnTo>
                  <a:lnTo>
                    <a:pt x="4221" y="819"/>
                  </a:lnTo>
                  <a:lnTo>
                    <a:pt x="4215" y="818"/>
                  </a:lnTo>
                  <a:lnTo>
                    <a:pt x="4207" y="815"/>
                  </a:lnTo>
                  <a:lnTo>
                    <a:pt x="4201" y="813"/>
                  </a:lnTo>
                  <a:lnTo>
                    <a:pt x="4193" y="810"/>
                  </a:lnTo>
                  <a:lnTo>
                    <a:pt x="4173" y="799"/>
                  </a:lnTo>
                  <a:lnTo>
                    <a:pt x="4154" y="789"/>
                  </a:lnTo>
                  <a:lnTo>
                    <a:pt x="4146" y="785"/>
                  </a:lnTo>
                  <a:lnTo>
                    <a:pt x="4136" y="782"/>
                  </a:lnTo>
                  <a:lnTo>
                    <a:pt x="4125" y="780"/>
                  </a:lnTo>
                  <a:lnTo>
                    <a:pt x="4113" y="779"/>
                  </a:lnTo>
                  <a:lnTo>
                    <a:pt x="4101" y="780"/>
                  </a:lnTo>
                  <a:lnTo>
                    <a:pt x="4089" y="783"/>
                  </a:lnTo>
                  <a:lnTo>
                    <a:pt x="4080" y="787"/>
                  </a:lnTo>
                  <a:lnTo>
                    <a:pt x="4069" y="792"/>
                  </a:lnTo>
                  <a:lnTo>
                    <a:pt x="4059" y="796"/>
                  </a:lnTo>
                  <a:lnTo>
                    <a:pt x="4049" y="800"/>
                  </a:lnTo>
                  <a:lnTo>
                    <a:pt x="4038" y="803"/>
                  </a:lnTo>
                  <a:lnTo>
                    <a:pt x="4025" y="805"/>
                  </a:lnTo>
                  <a:lnTo>
                    <a:pt x="4020" y="803"/>
                  </a:lnTo>
                  <a:lnTo>
                    <a:pt x="4016" y="801"/>
                  </a:lnTo>
                  <a:lnTo>
                    <a:pt x="4013" y="797"/>
                  </a:lnTo>
                  <a:lnTo>
                    <a:pt x="4011" y="792"/>
                  </a:lnTo>
                  <a:lnTo>
                    <a:pt x="4007" y="780"/>
                  </a:lnTo>
                  <a:lnTo>
                    <a:pt x="4005" y="768"/>
                  </a:lnTo>
                  <a:lnTo>
                    <a:pt x="4003" y="759"/>
                  </a:lnTo>
                  <a:lnTo>
                    <a:pt x="4000" y="751"/>
                  </a:lnTo>
                  <a:lnTo>
                    <a:pt x="3997" y="744"/>
                  </a:lnTo>
                  <a:lnTo>
                    <a:pt x="3993" y="737"/>
                  </a:lnTo>
                  <a:lnTo>
                    <a:pt x="3985" y="724"/>
                  </a:lnTo>
                  <a:lnTo>
                    <a:pt x="3975" y="710"/>
                  </a:lnTo>
                  <a:lnTo>
                    <a:pt x="3954" y="677"/>
                  </a:lnTo>
                  <a:lnTo>
                    <a:pt x="3937" y="649"/>
                  </a:lnTo>
                  <a:lnTo>
                    <a:pt x="3927" y="636"/>
                  </a:lnTo>
                  <a:lnTo>
                    <a:pt x="3918" y="622"/>
                  </a:lnTo>
                  <a:lnTo>
                    <a:pt x="3907" y="608"/>
                  </a:lnTo>
                  <a:lnTo>
                    <a:pt x="3893" y="594"/>
                  </a:lnTo>
                  <a:lnTo>
                    <a:pt x="3885" y="587"/>
                  </a:lnTo>
                  <a:lnTo>
                    <a:pt x="3878" y="581"/>
                  </a:lnTo>
                  <a:lnTo>
                    <a:pt x="3869" y="577"/>
                  </a:lnTo>
                  <a:lnTo>
                    <a:pt x="3862" y="572"/>
                  </a:lnTo>
                  <a:lnTo>
                    <a:pt x="3844" y="567"/>
                  </a:lnTo>
                  <a:lnTo>
                    <a:pt x="3827" y="564"/>
                  </a:lnTo>
                  <a:lnTo>
                    <a:pt x="3809" y="560"/>
                  </a:lnTo>
                  <a:lnTo>
                    <a:pt x="3790" y="557"/>
                  </a:lnTo>
                  <a:lnTo>
                    <a:pt x="3781" y="556"/>
                  </a:lnTo>
                  <a:lnTo>
                    <a:pt x="3771" y="553"/>
                  </a:lnTo>
                  <a:lnTo>
                    <a:pt x="3760" y="551"/>
                  </a:lnTo>
                  <a:lnTo>
                    <a:pt x="3750" y="546"/>
                  </a:lnTo>
                  <a:lnTo>
                    <a:pt x="3729" y="538"/>
                  </a:lnTo>
                  <a:lnTo>
                    <a:pt x="3709" y="530"/>
                  </a:lnTo>
                  <a:lnTo>
                    <a:pt x="3691" y="523"/>
                  </a:lnTo>
                  <a:lnTo>
                    <a:pt x="3669" y="513"/>
                  </a:lnTo>
                  <a:lnTo>
                    <a:pt x="3653" y="504"/>
                  </a:lnTo>
                  <a:lnTo>
                    <a:pt x="3640" y="496"/>
                  </a:lnTo>
                  <a:lnTo>
                    <a:pt x="3626" y="487"/>
                  </a:lnTo>
                  <a:lnTo>
                    <a:pt x="3610" y="479"/>
                  </a:lnTo>
                  <a:lnTo>
                    <a:pt x="3598" y="475"/>
                  </a:lnTo>
                  <a:lnTo>
                    <a:pt x="3585" y="471"/>
                  </a:lnTo>
                  <a:lnTo>
                    <a:pt x="3580" y="469"/>
                  </a:lnTo>
                  <a:lnTo>
                    <a:pt x="3574" y="465"/>
                  </a:lnTo>
                  <a:lnTo>
                    <a:pt x="3570" y="462"/>
                  </a:lnTo>
                  <a:lnTo>
                    <a:pt x="3566" y="457"/>
                  </a:lnTo>
                  <a:lnTo>
                    <a:pt x="3559" y="448"/>
                  </a:lnTo>
                  <a:lnTo>
                    <a:pt x="3555" y="438"/>
                  </a:lnTo>
                  <a:lnTo>
                    <a:pt x="3552" y="430"/>
                  </a:lnTo>
                  <a:lnTo>
                    <a:pt x="3547" y="421"/>
                  </a:lnTo>
                  <a:lnTo>
                    <a:pt x="3544" y="413"/>
                  </a:lnTo>
                  <a:lnTo>
                    <a:pt x="3539" y="404"/>
                  </a:lnTo>
                  <a:lnTo>
                    <a:pt x="3533" y="395"/>
                  </a:lnTo>
                  <a:lnTo>
                    <a:pt x="3527" y="387"/>
                  </a:lnTo>
                  <a:lnTo>
                    <a:pt x="3504" y="366"/>
                  </a:lnTo>
                  <a:lnTo>
                    <a:pt x="3482" y="348"/>
                  </a:lnTo>
                  <a:lnTo>
                    <a:pt x="3461" y="333"/>
                  </a:lnTo>
                  <a:lnTo>
                    <a:pt x="3438" y="319"/>
                  </a:lnTo>
                  <a:lnTo>
                    <a:pt x="3415" y="306"/>
                  </a:lnTo>
                  <a:lnTo>
                    <a:pt x="3392" y="294"/>
                  </a:lnTo>
                  <a:lnTo>
                    <a:pt x="3367" y="282"/>
                  </a:lnTo>
                  <a:lnTo>
                    <a:pt x="3339" y="269"/>
                  </a:lnTo>
                  <a:lnTo>
                    <a:pt x="3327" y="262"/>
                  </a:lnTo>
                  <a:lnTo>
                    <a:pt x="3317" y="256"/>
                  </a:lnTo>
                  <a:lnTo>
                    <a:pt x="3309" y="247"/>
                  </a:lnTo>
                  <a:lnTo>
                    <a:pt x="3301" y="240"/>
                  </a:lnTo>
                  <a:lnTo>
                    <a:pt x="3292" y="232"/>
                  </a:lnTo>
                  <a:lnTo>
                    <a:pt x="3283" y="227"/>
                  </a:lnTo>
                  <a:lnTo>
                    <a:pt x="3277" y="225"/>
                  </a:lnTo>
                  <a:lnTo>
                    <a:pt x="3272" y="222"/>
                  </a:lnTo>
                  <a:lnTo>
                    <a:pt x="3266" y="221"/>
                  </a:lnTo>
                  <a:lnTo>
                    <a:pt x="3260" y="221"/>
                  </a:lnTo>
                  <a:lnTo>
                    <a:pt x="3251" y="221"/>
                  </a:lnTo>
                  <a:lnTo>
                    <a:pt x="3244" y="224"/>
                  </a:lnTo>
                  <a:lnTo>
                    <a:pt x="3236" y="225"/>
                  </a:lnTo>
                  <a:lnTo>
                    <a:pt x="3230" y="227"/>
                  </a:lnTo>
                  <a:lnTo>
                    <a:pt x="3217" y="233"/>
                  </a:lnTo>
                  <a:lnTo>
                    <a:pt x="3204" y="240"/>
                  </a:lnTo>
                  <a:lnTo>
                    <a:pt x="3192" y="246"/>
                  </a:lnTo>
                  <a:lnTo>
                    <a:pt x="3178" y="253"/>
                  </a:lnTo>
                  <a:lnTo>
                    <a:pt x="3171" y="255"/>
                  </a:lnTo>
                  <a:lnTo>
                    <a:pt x="3164" y="256"/>
                  </a:lnTo>
                  <a:lnTo>
                    <a:pt x="3156" y="257"/>
                  </a:lnTo>
                  <a:lnTo>
                    <a:pt x="3148" y="258"/>
                  </a:lnTo>
                  <a:lnTo>
                    <a:pt x="3142" y="257"/>
                  </a:lnTo>
                  <a:lnTo>
                    <a:pt x="3137" y="257"/>
                  </a:lnTo>
                  <a:lnTo>
                    <a:pt x="3131" y="255"/>
                  </a:lnTo>
                  <a:lnTo>
                    <a:pt x="3126" y="253"/>
                  </a:lnTo>
                  <a:lnTo>
                    <a:pt x="3117" y="247"/>
                  </a:lnTo>
                  <a:lnTo>
                    <a:pt x="3110" y="240"/>
                  </a:lnTo>
                  <a:lnTo>
                    <a:pt x="3102" y="232"/>
                  </a:lnTo>
                  <a:lnTo>
                    <a:pt x="3094" y="225"/>
                  </a:lnTo>
                  <a:lnTo>
                    <a:pt x="3085" y="217"/>
                  </a:lnTo>
                  <a:lnTo>
                    <a:pt x="3075" y="211"/>
                  </a:lnTo>
                  <a:lnTo>
                    <a:pt x="3055" y="202"/>
                  </a:lnTo>
                  <a:lnTo>
                    <a:pt x="3034" y="193"/>
                  </a:lnTo>
                  <a:lnTo>
                    <a:pt x="3027" y="189"/>
                  </a:lnTo>
                  <a:lnTo>
                    <a:pt x="3019" y="182"/>
                  </a:lnTo>
                  <a:lnTo>
                    <a:pt x="3017" y="179"/>
                  </a:lnTo>
                  <a:lnTo>
                    <a:pt x="3015" y="175"/>
                  </a:lnTo>
                  <a:lnTo>
                    <a:pt x="3014" y="171"/>
                  </a:lnTo>
                  <a:lnTo>
                    <a:pt x="3014" y="165"/>
                  </a:lnTo>
                  <a:lnTo>
                    <a:pt x="3014" y="147"/>
                  </a:lnTo>
                  <a:lnTo>
                    <a:pt x="3016" y="130"/>
                  </a:lnTo>
                  <a:lnTo>
                    <a:pt x="3020" y="113"/>
                  </a:lnTo>
                  <a:lnTo>
                    <a:pt x="3028" y="95"/>
                  </a:lnTo>
                  <a:lnTo>
                    <a:pt x="3035" y="83"/>
                  </a:lnTo>
                  <a:lnTo>
                    <a:pt x="3043" y="72"/>
                  </a:lnTo>
                  <a:lnTo>
                    <a:pt x="3047" y="67"/>
                  </a:lnTo>
                  <a:lnTo>
                    <a:pt x="3049" y="62"/>
                  </a:lnTo>
                  <a:lnTo>
                    <a:pt x="3052" y="55"/>
                  </a:lnTo>
                  <a:lnTo>
                    <a:pt x="3053" y="47"/>
                  </a:lnTo>
                  <a:lnTo>
                    <a:pt x="3053" y="44"/>
                  </a:lnTo>
                  <a:lnTo>
                    <a:pt x="3052" y="40"/>
                  </a:lnTo>
                  <a:lnTo>
                    <a:pt x="3049" y="38"/>
                  </a:lnTo>
                  <a:lnTo>
                    <a:pt x="3047" y="35"/>
                  </a:lnTo>
                  <a:lnTo>
                    <a:pt x="3042" y="31"/>
                  </a:lnTo>
                  <a:lnTo>
                    <a:pt x="3035" y="28"/>
                  </a:lnTo>
                  <a:lnTo>
                    <a:pt x="3019" y="24"/>
                  </a:lnTo>
                  <a:lnTo>
                    <a:pt x="3002" y="19"/>
                  </a:lnTo>
                  <a:lnTo>
                    <a:pt x="2990" y="14"/>
                  </a:lnTo>
                  <a:lnTo>
                    <a:pt x="2980" y="8"/>
                  </a:lnTo>
                  <a:lnTo>
                    <a:pt x="2975" y="4"/>
                  </a:lnTo>
                  <a:lnTo>
                    <a:pt x="2969" y="2"/>
                  </a:lnTo>
                  <a:lnTo>
                    <a:pt x="2963" y="1"/>
                  </a:lnTo>
                  <a:lnTo>
                    <a:pt x="2956" y="0"/>
                  </a:lnTo>
                  <a:lnTo>
                    <a:pt x="2939" y="0"/>
                  </a:lnTo>
                  <a:lnTo>
                    <a:pt x="2924" y="0"/>
                  </a:lnTo>
                  <a:lnTo>
                    <a:pt x="2908" y="0"/>
                  </a:lnTo>
                  <a:lnTo>
                    <a:pt x="2891" y="0"/>
                  </a:lnTo>
                  <a:lnTo>
                    <a:pt x="2882" y="1"/>
                  </a:lnTo>
                  <a:lnTo>
                    <a:pt x="2874" y="2"/>
                  </a:lnTo>
                  <a:lnTo>
                    <a:pt x="2868" y="4"/>
                  </a:lnTo>
                  <a:lnTo>
                    <a:pt x="2860" y="8"/>
                  </a:lnTo>
                  <a:lnTo>
                    <a:pt x="2854" y="10"/>
                  </a:lnTo>
                  <a:lnTo>
                    <a:pt x="2846" y="12"/>
                  </a:lnTo>
                  <a:lnTo>
                    <a:pt x="2839" y="14"/>
                  </a:lnTo>
                  <a:lnTo>
                    <a:pt x="2830" y="14"/>
                  </a:lnTo>
                  <a:lnTo>
                    <a:pt x="2816" y="14"/>
                  </a:lnTo>
                  <a:lnTo>
                    <a:pt x="2803" y="14"/>
                  </a:lnTo>
                  <a:lnTo>
                    <a:pt x="2790" y="14"/>
                  </a:lnTo>
                  <a:lnTo>
                    <a:pt x="2776" y="14"/>
                  </a:lnTo>
                  <a:lnTo>
                    <a:pt x="2766" y="15"/>
                  </a:lnTo>
                  <a:lnTo>
                    <a:pt x="2759" y="17"/>
                  </a:lnTo>
                  <a:lnTo>
                    <a:pt x="2752" y="20"/>
                  </a:lnTo>
                  <a:lnTo>
                    <a:pt x="2746" y="25"/>
                  </a:lnTo>
                  <a:lnTo>
                    <a:pt x="2733" y="36"/>
                  </a:lnTo>
                  <a:lnTo>
                    <a:pt x="2719" y="47"/>
                  </a:lnTo>
                  <a:lnTo>
                    <a:pt x="2698" y="63"/>
                  </a:lnTo>
                  <a:lnTo>
                    <a:pt x="2681" y="78"/>
                  </a:lnTo>
                  <a:lnTo>
                    <a:pt x="2663" y="93"/>
                  </a:lnTo>
                  <a:lnTo>
                    <a:pt x="2643" y="109"/>
                  </a:lnTo>
                  <a:lnTo>
                    <a:pt x="2625" y="124"/>
                  </a:lnTo>
                  <a:lnTo>
                    <a:pt x="2607" y="137"/>
                  </a:lnTo>
                  <a:lnTo>
                    <a:pt x="2588" y="147"/>
                  </a:lnTo>
                  <a:lnTo>
                    <a:pt x="2571" y="157"/>
                  </a:lnTo>
                  <a:lnTo>
                    <a:pt x="2532" y="172"/>
                  </a:lnTo>
                  <a:lnTo>
                    <a:pt x="2489" y="188"/>
                  </a:lnTo>
                  <a:lnTo>
                    <a:pt x="2472" y="194"/>
                  </a:lnTo>
                  <a:lnTo>
                    <a:pt x="2455" y="202"/>
                  </a:lnTo>
                  <a:lnTo>
                    <a:pt x="2440" y="211"/>
                  </a:lnTo>
                  <a:lnTo>
                    <a:pt x="2426" y="218"/>
                  </a:lnTo>
                  <a:lnTo>
                    <a:pt x="2398" y="234"/>
                  </a:lnTo>
                  <a:lnTo>
                    <a:pt x="2372" y="251"/>
                  </a:lnTo>
                  <a:lnTo>
                    <a:pt x="2345" y="266"/>
                  </a:lnTo>
                  <a:lnTo>
                    <a:pt x="2317" y="281"/>
                  </a:lnTo>
                  <a:lnTo>
                    <a:pt x="2302" y="287"/>
                  </a:lnTo>
                  <a:lnTo>
                    <a:pt x="2286" y="293"/>
                  </a:lnTo>
                  <a:lnTo>
                    <a:pt x="2270" y="298"/>
                  </a:lnTo>
                  <a:lnTo>
                    <a:pt x="2251" y="302"/>
                  </a:lnTo>
                  <a:lnTo>
                    <a:pt x="2243" y="306"/>
                  </a:lnTo>
                  <a:lnTo>
                    <a:pt x="2234" y="310"/>
                  </a:lnTo>
                  <a:lnTo>
                    <a:pt x="2227" y="314"/>
                  </a:lnTo>
                  <a:lnTo>
                    <a:pt x="2221" y="319"/>
                  </a:lnTo>
                  <a:lnTo>
                    <a:pt x="2213" y="323"/>
                  </a:lnTo>
                  <a:lnTo>
                    <a:pt x="2207" y="327"/>
                  </a:lnTo>
                  <a:lnTo>
                    <a:pt x="2198" y="329"/>
                  </a:lnTo>
                  <a:lnTo>
                    <a:pt x="2190" y="330"/>
                  </a:lnTo>
                  <a:lnTo>
                    <a:pt x="2179" y="330"/>
                  </a:lnTo>
                  <a:lnTo>
                    <a:pt x="2169" y="328"/>
                  </a:lnTo>
                  <a:lnTo>
                    <a:pt x="2160" y="325"/>
                  </a:lnTo>
                  <a:lnTo>
                    <a:pt x="2152" y="320"/>
                  </a:lnTo>
                  <a:lnTo>
                    <a:pt x="2145" y="314"/>
                  </a:lnTo>
                  <a:lnTo>
                    <a:pt x="2139" y="308"/>
                  </a:lnTo>
                  <a:lnTo>
                    <a:pt x="2132" y="300"/>
                  </a:lnTo>
                  <a:lnTo>
                    <a:pt x="2128" y="292"/>
                  </a:lnTo>
                  <a:lnTo>
                    <a:pt x="2118" y="273"/>
                  </a:lnTo>
                  <a:lnTo>
                    <a:pt x="2111" y="254"/>
                  </a:lnTo>
                  <a:lnTo>
                    <a:pt x="2104" y="232"/>
                  </a:lnTo>
                  <a:lnTo>
                    <a:pt x="2097" y="211"/>
                  </a:lnTo>
                  <a:lnTo>
                    <a:pt x="2097" y="211"/>
                  </a:lnTo>
                  <a:lnTo>
                    <a:pt x="2075" y="209"/>
                  </a:lnTo>
                  <a:lnTo>
                    <a:pt x="2056" y="207"/>
                  </a:lnTo>
                  <a:lnTo>
                    <a:pt x="2037" y="204"/>
                  </a:lnTo>
                  <a:lnTo>
                    <a:pt x="2019" y="201"/>
                  </a:lnTo>
                  <a:lnTo>
                    <a:pt x="2002" y="197"/>
                  </a:lnTo>
                  <a:lnTo>
                    <a:pt x="1982" y="193"/>
                  </a:lnTo>
                  <a:lnTo>
                    <a:pt x="1963" y="191"/>
                  </a:lnTo>
                  <a:lnTo>
                    <a:pt x="1941" y="191"/>
                  </a:lnTo>
                  <a:lnTo>
                    <a:pt x="1931" y="191"/>
                  </a:lnTo>
                  <a:lnTo>
                    <a:pt x="1921" y="192"/>
                  </a:lnTo>
                  <a:lnTo>
                    <a:pt x="1912" y="194"/>
                  </a:lnTo>
                  <a:lnTo>
                    <a:pt x="1903" y="198"/>
                  </a:lnTo>
                  <a:lnTo>
                    <a:pt x="1895" y="201"/>
                  </a:lnTo>
                  <a:lnTo>
                    <a:pt x="1887" y="205"/>
                  </a:lnTo>
                  <a:lnTo>
                    <a:pt x="1880" y="209"/>
                  </a:lnTo>
                  <a:lnTo>
                    <a:pt x="1872" y="215"/>
                  </a:lnTo>
                  <a:lnTo>
                    <a:pt x="1866" y="221"/>
                  </a:lnTo>
                  <a:lnTo>
                    <a:pt x="1859" y="228"/>
                  </a:lnTo>
                  <a:lnTo>
                    <a:pt x="1853" y="235"/>
                  </a:lnTo>
                  <a:lnTo>
                    <a:pt x="1847" y="243"/>
                  </a:lnTo>
                  <a:lnTo>
                    <a:pt x="1835" y="259"/>
                  </a:lnTo>
                  <a:lnTo>
                    <a:pt x="1825" y="278"/>
                  </a:lnTo>
                  <a:lnTo>
                    <a:pt x="1805" y="310"/>
                  </a:lnTo>
                  <a:lnTo>
                    <a:pt x="1786" y="339"/>
                  </a:lnTo>
                  <a:lnTo>
                    <a:pt x="1777" y="353"/>
                  </a:lnTo>
                  <a:lnTo>
                    <a:pt x="1768" y="368"/>
                  </a:lnTo>
                  <a:lnTo>
                    <a:pt x="1761" y="384"/>
                  </a:lnTo>
                  <a:lnTo>
                    <a:pt x="1755" y="404"/>
                  </a:lnTo>
                  <a:lnTo>
                    <a:pt x="1747" y="415"/>
                  </a:lnTo>
                  <a:lnTo>
                    <a:pt x="1738" y="427"/>
                  </a:lnTo>
                  <a:lnTo>
                    <a:pt x="1732" y="449"/>
                  </a:lnTo>
                  <a:lnTo>
                    <a:pt x="1726" y="470"/>
                  </a:lnTo>
                  <a:lnTo>
                    <a:pt x="1722" y="490"/>
                  </a:lnTo>
                  <a:lnTo>
                    <a:pt x="1719" y="509"/>
                  </a:lnTo>
                  <a:lnTo>
                    <a:pt x="1714" y="528"/>
                  </a:lnTo>
                  <a:lnTo>
                    <a:pt x="1709" y="548"/>
                  </a:lnTo>
                  <a:lnTo>
                    <a:pt x="1702" y="567"/>
                  </a:lnTo>
                  <a:lnTo>
                    <a:pt x="1693" y="589"/>
                  </a:lnTo>
                  <a:lnTo>
                    <a:pt x="1686" y="602"/>
                  </a:lnTo>
                  <a:lnTo>
                    <a:pt x="1679" y="611"/>
                  </a:lnTo>
                  <a:lnTo>
                    <a:pt x="1670" y="622"/>
                  </a:lnTo>
                  <a:lnTo>
                    <a:pt x="1663" y="634"/>
                  </a:lnTo>
                  <a:lnTo>
                    <a:pt x="1656" y="646"/>
                  </a:lnTo>
                  <a:lnTo>
                    <a:pt x="1651" y="657"/>
                  </a:lnTo>
                  <a:lnTo>
                    <a:pt x="1647" y="662"/>
                  </a:lnTo>
                  <a:lnTo>
                    <a:pt x="1644" y="666"/>
                  </a:lnTo>
                  <a:lnTo>
                    <a:pt x="1639" y="670"/>
                  </a:lnTo>
                  <a:lnTo>
                    <a:pt x="1633" y="672"/>
                  </a:lnTo>
                  <a:lnTo>
                    <a:pt x="1633" y="672"/>
                  </a:lnTo>
                  <a:close/>
                </a:path>
              </a:pathLst>
            </a:custGeom>
            <a:solidFill>
              <a:srgbClr val="3B61AC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54">
              <a:extLst>
                <a:ext uri="{FF2B5EF4-FFF2-40B4-BE49-F238E27FC236}">
                  <a16:creationId xmlns:a16="http://schemas.microsoft.com/office/drawing/2014/main" id="{735AD3B7-32A5-4D77-A1BA-2E8DD3F54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22638" y="3508376"/>
              <a:ext cx="1784350" cy="1416050"/>
            </a:xfrm>
            <a:custGeom>
              <a:avLst/>
              <a:gdLst>
                <a:gd name="T0" fmla="*/ 1564 w 4499"/>
                <a:gd name="T1" fmla="*/ 857 h 3567"/>
                <a:gd name="T2" fmla="*/ 1587 w 4499"/>
                <a:gd name="T3" fmla="*/ 1022 h 3567"/>
                <a:gd name="T4" fmla="*/ 1494 w 4499"/>
                <a:gd name="T5" fmla="*/ 1237 h 3567"/>
                <a:gd name="T6" fmla="*/ 1503 w 4499"/>
                <a:gd name="T7" fmla="*/ 1420 h 3567"/>
                <a:gd name="T8" fmla="*/ 1359 w 4499"/>
                <a:gd name="T9" fmla="*/ 1624 h 3567"/>
                <a:gd name="T10" fmla="*/ 1173 w 4499"/>
                <a:gd name="T11" fmla="*/ 1651 h 3567"/>
                <a:gd name="T12" fmla="*/ 872 w 4499"/>
                <a:gd name="T13" fmla="*/ 1643 h 3567"/>
                <a:gd name="T14" fmla="*/ 751 w 4499"/>
                <a:gd name="T15" fmla="*/ 1645 h 3567"/>
                <a:gd name="T16" fmla="*/ 630 w 4499"/>
                <a:gd name="T17" fmla="*/ 1667 h 3567"/>
                <a:gd name="T18" fmla="*/ 399 w 4499"/>
                <a:gd name="T19" fmla="*/ 1739 h 3567"/>
                <a:gd name="T20" fmla="*/ 213 w 4499"/>
                <a:gd name="T21" fmla="*/ 1838 h 3567"/>
                <a:gd name="T22" fmla="*/ 113 w 4499"/>
                <a:gd name="T23" fmla="*/ 1921 h 3567"/>
                <a:gd name="T24" fmla="*/ 1 w 4499"/>
                <a:gd name="T25" fmla="*/ 2123 h 3567"/>
                <a:gd name="T26" fmla="*/ 94 w 4499"/>
                <a:gd name="T27" fmla="*/ 2170 h 3567"/>
                <a:gd name="T28" fmla="*/ 443 w 4499"/>
                <a:gd name="T29" fmla="*/ 2214 h 3567"/>
                <a:gd name="T30" fmla="*/ 622 w 4499"/>
                <a:gd name="T31" fmla="*/ 2279 h 3567"/>
                <a:gd name="T32" fmla="*/ 635 w 4499"/>
                <a:gd name="T33" fmla="*/ 2415 h 3567"/>
                <a:gd name="T34" fmla="*/ 723 w 4499"/>
                <a:gd name="T35" fmla="*/ 2388 h 3567"/>
                <a:gd name="T36" fmla="*/ 923 w 4499"/>
                <a:gd name="T37" fmla="*/ 2380 h 3567"/>
                <a:gd name="T38" fmla="*/ 1148 w 4499"/>
                <a:gd name="T39" fmla="*/ 2369 h 3567"/>
                <a:gd name="T40" fmla="*/ 1277 w 4499"/>
                <a:gd name="T41" fmla="*/ 2352 h 3567"/>
                <a:gd name="T42" fmla="*/ 1425 w 4499"/>
                <a:gd name="T43" fmla="*/ 2403 h 3567"/>
                <a:gd name="T44" fmla="*/ 1450 w 4499"/>
                <a:gd name="T45" fmla="*/ 2573 h 3567"/>
                <a:gd name="T46" fmla="*/ 1472 w 4499"/>
                <a:gd name="T47" fmla="*/ 2879 h 3567"/>
                <a:gd name="T48" fmla="*/ 1629 w 4499"/>
                <a:gd name="T49" fmla="*/ 2930 h 3567"/>
                <a:gd name="T50" fmla="*/ 1630 w 4499"/>
                <a:gd name="T51" fmla="*/ 3368 h 3567"/>
                <a:gd name="T52" fmla="*/ 1683 w 4499"/>
                <a:gd name="T53" fmla="*/ 3549 h 3567"/>
                <a:gd name="T54" fmla="*/ 1842 w 4499"/>
                <a:gd name="T55" fmla="*/ 3511 h 3567"/>
                <a:gd name="T56" fmla="*/ 1923 w 4499"/>
                <a:gd name="T57" fmla="*/ 3479 h 3567"/>
                <a:gd name="T58" fmla="*/ 2103 w 4499"/>
                <a:gd name="T59" fmla="*/ 3444 h 3567"/>
                <a:gd name="T60" fmla="*/ 2370 w 4499"/>
                <a:gd name="T61" fmla="*/ 3419 h 3567"/>
                <a:gd name="T62" fmla="*/ 2900 w 4499"/>
                <a:gd name="T63" fmla="*/ 3348 h 3567"/>
                <a:gd name="T64" fmla="*/ 3218 w 4499"/>
                <a:gd name="T65" fmla="*/ 3287 h 3567"/>
                <a:gd name="T66" fmla="*/ 3338 w 4499"/>
                <a:gd name="T67" fmla="*/ 2989 h 3567"/>
                <a:gd name="T68" fmla="*/ 3504 w 4499"/>
                <a:gd name="T69" fmla="*/ 2881 h 3567"/>
                <a:gd name="T70" fmla="*/ 3553 w 4499"/>
                <a:gd name="T71" fmla="*/ 2692 h 3567"/>
                <a:gd name="T72" fmla="*/ 3809 w 4499"/>
                <a:gd name="T73" fmla="*/ 2539 h 3567"/>
                <a:gd name="T74" fmla="*/ 3920 w 4499"/>
                <a:gd name="T75" fmla="*/ 2313 h 3567"/>
                <a:gd name="T76" fmla="*/ 4010 w 4499"/>
                <a:gd name="T77" fmla="*/ 2116 h 3567"/>
                <a:gd name="T78" fmla="*/ 3980 w 4499"/>
                <a:gd name="T79" fmla="*/ 2010 h 3567"/>
                <a:gd name="T80" fmla="*/ 4075 w 4499"/>
                <a:gd name="T81" fmla="*/ 1854 h 3567"/>
                <a:gd name="T82" fmla="*/ 4270 w 4499"/>
                <a:gd name="T83" fmla="*/ 1738 h 3567"/>
                <a:gd name="T84" fmla="*/ 4318 w 4499"/>
                <a:gd name="T85" fmla="*/ 1529 h 3567"/>
                <a:gd name="T86" fmla="*/ 4433 w 4499"/>
                <a:gd name="T87" fmla="*/ 1220 h 3567"/>
                <a:gd name="T88" fmla="*/ 4476 w 4499"/>
                <a:gd name="T89" fmla="*/ 984 h 3567"/>
                <a:gd name="T90" fmla="*/ 4261 w 4499"/>
                <a:gd name="T91" fmla="*/ 819 h 3567"/>
                <a:gd name="T92" fmla="*/ 4069 w 4499"/>
                <a:gd name="T93" fmla="*/ 792 h 3567"/>
                <a:gd name="T94" fmla="*/ 3954 w 4499"/>
                <a:gd name="T95" fmla="*/ 677 h 3567"/>
                <a:gd name="T96" fmla="*/ 3750 w 4499"/>
                <a:gd name="T97" fmla="*/ 546 h 3567"/>
                <a:gd name="T98" fmla="*/ 3552 w 4499"/>
                <a:gd name="T99" fmla="*/ 430 h 3567"/>
                <a:gd name="T100" fmla="*/ 3301 w 4499"/>
                <a:gd name="T101" fmla="*/ 240 h 3567"/>
                <a:gd name="T102" fmla="*/ 3156 w 4499"/>
                <a:gd name="T103" fmla="*/ 257 h 3567"/>
                <a:gd name="T104" fmla="*/ 3015 w 4499"/>
                <a:gd name="T105" fmla="*/ 175 h 3567"/>
                <a:gd name="T106" fmla="*/ 3042 w 4499"/>
                <a:gd name="T107" fmla="*/ 31 h 3567"/>
                <a:gd name="T108" fmla="*/ 2860 w 4499"/>
                <a:gd name="T109" fmla="*/ 8 h 3567"/>
                <a:gd name="T110" fmla="*/ 2663 w 4499"/>
                <a:gd name="T111" fmla="*/ 93 h 3567"/>
                <a:gd name="T112" fmla="*/ 2286 w 4499"/>
                <a:gd name="T113" fmla="*/ 293 h 3567"/>
                <a:gd name="T114" fmla="*/ 2132 w 4499"/>
                <a:gd name="T115" fmla="*/ 300 h 3567"/>
                <a:gd name="T116" fmla="*/ 1912 w 4499"/>
                <a:gd name="T117" fmla="*/ 194 h 3567"/>
                <a:gd name="T118" fmla="*/ 1755 w 4499"/>
                <a:gd name="T119" fmla="*/ 404 h 3567"/>
                <a:gd name="T120" fmla="*/ 1647 w 4499"/>
                <a:gd name="T121" fmla="*/ 662 h 3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99" h="3567">
                  <a:moveTo>
                    <a:pt x="1633" y="672"/>
                  </a:moveTo>
                  <a:lnTo>
                    <a:pt x="1631" y="684"/>
                  </a:lnTo>
                  <a:lnTo>
                    <a:pt x="1628" y="694"/>
                  </a:lnTo>
                  <a:lnTo>
                    <a:pt x="1625" y="704"/>
                  </a:lnTo>
                  <a:lnTo>
                    <a:pt x="1619" y="714"/>
                  </a:lnTo>
                  <a:lnTo>
                    <a:pt x="1607" y="732"/>
                  </a:lnTo>
                  <a:lnTo>
                    <a:pt x="1593" y="749"/>
                  </a:lnTo>
                  <a:lnTo>
                    <a:pt x="1580" y="767"/>
                  </a:lnTo>
                  <a:lnTo>
                    <a:pt x="1570" y="784"/>
                  </a:lnTo>
                  <a:lnTo>
                    <a:pt x="1565" y="794"/>
                  </a:lnTo>
                  <a:lnTo>
                    <a:pt x="1562" y="805"/>
                  </a:lnTo>
                  <a:lnTo>
                    <a:pt x="1560" y="815"/>
                  </a:lnTo>
                  <a:lnTo>
                    <a:pt x="1559" y="827"/>
                  </a:lnTo>
                  <a:lnTo>
                    <a:pt x="1559" y="835"/>
                  </a:lnTo>
                  <a:lnTo>
                    <a:pt x="1560" y="842"/>
                  </a:lnTo>
                  <a:lnTo>
                    <a:pt x="1562" y="850"/>
                  </a:lnTo>
                  <a:lnTo>
                    <a:pt x="1564" y="857"/>
                  </a:lnTo>
                  <a:lnTo>
                    <a:pt x="1571" y="870"/>
                  </a:lnTo>
                  <a:lnTo>
                    <a:pt x="1577" y="882"/>
                  </a:lnTo>
                  <a:lnTo>
                    <a:pt x="1584" y="895"/>
                  </a:lnTo>
                  <a:lnTo>
                    <a:pt x="1589" y="908"/>
                  </a:lnTo>
                  <a:lnTo>
                    <a:pt x="1591" y="915"/>
                  </a:lnTo>
                  <a:lnTo>
                    <a:pt x="1593" y="922"/>
                  </a:lnTo>
                  <a:lnTo>
                    <a:pt x="1594" y="930"/>
                  </a:lnTo>
                  <a:lnTo>
                    <a:pt x="1596" y="938"/>
                  </a:lnTo>
                  <a:lnTo>
                    <a:pt x="1596" y="954"/>
                  </a:lnTo>
                  <a:lnTo>
                    <a:pt x="1596" y="967"/>
                  </a:lnTo>
                  <a:lnTo>
                    <a:pt x="1596" y="981"/>
                  </a:lnTo>
                  <a:lnTo>
                    <a:pt x="1596" y="996"/>
                  </a:lnTo>
                  <a:lnTo>
                    <a:pt x="1594" y="1001"/>
                  </a:lnTo>
                  <a:lnTo>
                    <a:pt x="1594" y="1005"/>
                  </a:lnTo>
                  <a:lnTo>
                    <a:pt x="1592" y="1010"/>
                  </a:lnTo>
                  <a:lnTo>
                    <a:pt x="1591" y="1014"/>
                  </a:lnTo>
                  <a:lnTo>
                    <a:pt x="1587" y="1022"/>
                  </a:lnTo>
                  <a:lnTo>
                    <a:pt x="1582" y="1028"/>
                  </a:lnTo>
                  <a:lnTo>
                    <a:pt x="1575" y="1036"/>
                  </a:lnTo>
                  <a:lnTo>
                    <a:pt x="1570" y="1042"/>
                  </a:lnTo>
                  <a:lnTo>
                    <a:pt x="1563" y="1051"/>
                  </a:lnTo>
                  <a:lnTo>
                    <a:pt x="1559" y="1059"/>
                  </a:lnTo>
                  <a:lnTo>
                    <a:pt x="1547" y="1086"/>
                  </a:lnTo>
                  <a:lnTo>
                    <a:pt x="1536" y="1111"/>
                  </a:lnTo>
                  <a:lnTo>
                    <a:pt x="1525" y="1135"/>
                  </a:lnTo>
                  <a:lnTo>
                    <a:pt x="1513" y="1163"/>
                  </a:lnTo>
                  <a:lnTo>
                    <a:pt x="1507" y="1177"/>
                  </a:lnTo>
                  <a:lnTo>
                    <a:pt x="1499" y="1190"/>
                  </a:lnTo>
                  <a:lnTo>
                    <a:pt x="1496" y="1197"/>
                  </a:lnTo>
                  <a:lnTo>
                    <a:pt x="1494" y="1203"/>
                  </a:lnTo>
                  <a:lnTo>
                    <a:pt x="1492" y="1211"/>
                  </a:lnTo>
                  <a:lnTo>
                    <a:pt x="1492" y="1219"/>
                  </a:lnTo>
                  <a:lnTo>
                    <a:pt x="1492" y="1229"/>
                  </a:lnTo>
                  <a:lnTo>
                    <a:pt x="1494" y="1237"/>
                  </a:lnTo>
                  <a:lnTo>
                    <a:pt x="1498" y="1244"/>
                  </a:lnTo>
                  <a:lnTo>
                    <a:pt x="1503" y="1251"/>
                  </a:lnTo>
                  <a:lnTo>
                    <a:pt x="1513" y="1262"/>
                  </a:lnTo>
                  <a:lnTo>
                    <a:pt x="1525" y="1278"/>
                  </a:lnTo>
                  <a:lnTo>
                    <a:pt x="1532" y="1292"/>
                  </a:lnTo>
                  <a:lnTo>
                    <a:pt x="1540" y="1304"/>
                  </a:lnTo>
                  <a:lnTo>
                    <a:pt x="1545" y="1309"/>
                  </a:lnTo>
                  <a:lnTo>
                    <a:pt x="1547" y="1315"/>
                  </a:lnTo>
                  <a:lnTo>
                    <a:pt x="1549" y="1322"/>
                  </a:lnTo>
                  <a:lnTo>
                    <a:pt x="1550" y="1329"/>
                  </a:lnTo>
                  <a:lnTo>
                    <a:pt x="1549" y="1341"/>
                  </a:lnTo>
                  <a:lnTo>
                    <a:pt x="1547" y="1352"/>
                  </a:lnTo>
                  <a:lnTo>
                    <a:pt x="1544" y="1362"/>
                  </a:lnTo>
                  <a:lnTo>
                    <a:pt x="1539" y="1372"/>
                  </a:lnTo>
                  <a:lnTo>
                    <a:pt x="1529" y="1389"/>
                  </a:lnTo>
                  <a:lnTo>
                    <a:pt x="1516" y="1404"/>
                  </a:lnTo>
                  <a:lnTo>
                    <a:pt x="1503" y="1420"/>
                  </a:lnTo>
                  <a:lnTo>
                    <a:pt x="1491" y="1437"/>
                  </a:lnTo>
                  <a:lnTo>
                    <a:pt x="1486" y="1447"/>
                  </a:lnTo>
                  <a:lnTo>
                    <a:pt x="1483" y="1457"/>
                  </a:lnTo>
                  <a:lnTo>
                    <a:pt x="1481" y="1468"/>
                  </a:lnTo>
                  <a:lnTo>
                    <a:pt x="1480" y="1480"/>
                  </a:lnTo>
                  <a:lnTo>
                    <a:pt x="1480" y="1508"/>
                  </a:lnTo>
                  <a:lnTo>
                    <a:pt x="1480" y="1532"/>
                  </a:lnTo>
                  <a:lnTo>
                    <a:pt x="1480" y="1557"/>
                  </a:lnTo>
                  <a:lnTo>
                    <a:pt x="1480" y="1586"/>
                  </a:lnTo>
                  <a:lnTo>
                    <a:pt x="1468" y="1586"/>
                  </a:lnTo>
                  <a:lnTo>
                    <a:pt x="1456" y="1588"/>
                  </a:lnTo>
                  <a:lnTo>
                    <a:pt x="1445" y="1589"/>
                  </a:lnTo>
                  <a:lnTo>
                    <a:pt x="1435" y="1591"/>
                  </a:lnTo>
                  <a:lnTo>
                    <a:pt x="1414" y="1597"/>
                  </a:lnTo>
                  <a:lnTo>
                    <a:pt x="1396" y="1605"/>
                  </a:lnTo>
                  <a:lnTo>
                    <a:pt x="1377" y="1613"/>
                  </a:lnTo>
                  <a:lnTo>
                    <a:pt x="1359" y="1624"/>
                  </a:lnTo>
                  <a:lnTo>
                    <a:pt x="1339" y="1636"/>
                  </a:lnTo>
                  <a:lnTo>
                    <a:pt x="1318" y="1648"/>
                  </a:lnTo>
                  <a:lnTo>
                    <a:pt x="1302" y="1658"/>
                  </a:lnTo>
                  <a:lnTo>
                    <a:pt x="1287" y="1669"/>
                  </a:lnTo>
                  <a:lnTo>
                    <a:pt x="1279" y="1672"/>
                  </a:lnTo>
                  <a:lnTo>
                    <a:pt x="1272" y="1676"/>
                  </a:lnTo>
                  <a:lnTo>
                    <a:pt x="1263" y="1678"/>
                  </a:lnTo>
                  <a:lnTo>
                    <a:pt x="1253" y="1678"/>
                  </a:lnTo>
                  <a:lnTo>
                    <a:pt x="1246" y="1678"/>
                  </a:lnTo>
                  <a:lnTo>
                    <a:pt x="1239" y="1676"/>
                  </a:lnTo>
                  <a:lnTo>
                    <a:pt x="1234" y="1673"/>
                  </a:lnTo>
                  <a:lnTo>
                    <a:pt x="1227" y="1669"/>
                  </a:lnTo>
                  <a:lnTo>
                    <a:pt x="1222" y="1665"/>
                  </a:lnTo>
                  <a:lnTo>
                    <a:pt x="1216" y="1661"/>
                  </a:lnTo>
                  <a:lnTo>
                    <a:pt x="1210" y="1658"/>
                  </a:lnTo>
                  <a:lnTo>
                    <a:pt x="1202" y="1657"/>
                  </a:lnTo>
                  <a:lnTo>
                    <a:pt x="1173" y="1651"/>
                  </a:lnTo>
                  <a:lnTo>
                    <a:pt x="1147" y="1649"/>
                  </a:lnTo>
                  <a:lnTo>
                    <a:pt x="1120" y="1648"/>
                  </a:lnTo>
                  <a:lnTo>
                    <a:pt x="1091" y="1648"/>
                  </a:lnTo>
                  <a:lnTo>
                    <a:pt x="1068" y="1649"/>
                  </a:lnTo>
                  <a:lnTo>
                    <a:pt x="1048" y="1652"/>
                  </a:lnTo>
                  <a:lnTo>
                    <a:pt x="1029" y="1655"/>
                  </a:lnTo>
                  <a:lnTo>
                    <a:pt x="1006" y="1657"/>
                  </a:lnTo>
                  <a:lnTo>
                    <a:pt x="987" y="1657"/>
                  </a:lnTo>
                  <a:lnTo>
                    <a:pt x="971" y="1657"/>
                  </a:lnTo>
                  <a:lnTo>
                    <a:pt x="955" y="1657"/>
                  </a:lnTo>
                  <a:lnTo>
                    <a:pt x="937" y="1657"/>
                  </a:lnTo>
                  <a:lnTo>
                    <a:pt x="919" y="1656"/>
                  </a:lnTo>
                  <a:lnTo>
                    <a:pt x="903" y="1653"/>
                  </a:lnTo>
                  <a:lnTo>
                    <a:pt x="896" y="1652"/>
                  </a:lnTo>
                  <a:lnTo>
                    <a:pt x="888" y="1649"/>
                  </a:lnTo>
                  <a:lnTo>
                    <a:pt x="881" y="1646"/>
                  </a:lnTo>
                  <a:lnTo>
                    <a:pt x="872" y="1643"/>
                  </a:lnTo>
                  <a:lnTo>
                    <a:pt x="865" y="1637"/>
                  </a:lnTo>
                  <a:lnTo>
                    <a:pt x="859" y="1632"/>
                  </a:lnTo>
                  <a:lnTo>
                    <a:pt x="854" y="1625"/>
                  </a:lnTo>
                  <a:lnTo>
                    <a:pt x="849" y="1620"/>
                  </a:lnTo>
                  <a:lnTo>
                    <a:pt x="844" y="1615"/>
                  </a:lnTo>
                  <a:lnTo>
                    <a:pt x="837" y="1610"/>
                  </a:lnTo>
                  <a:lnTo>
                    <a:pt x="834" y="1608"/>
                  </a:lnTo>
                  <a:lnTo>
                    <a:pt x="831" y="1607"/>
                  </a:lnTo>
                  <a:lnTo>
                    <a:pt x="828" y="1606"/>
                  </a:lnTo>
                  <a:lnTo>
                    <a:pt x="823" y="1606"/>
                  </a:lnTo>
                  <a:lnTo>
                    <a:pt x="815" y="1607"/>
                  </a:lnTo>
                  <a:lnTo>
                    <a:pt x="807" y="1609"/>
                  </a:lnTo>
                  <a:lnTo>
                    <a:pt x="801" y="1612"/>
                  </a:lnTo>
                  <a:lnTo>
                    <a:pt x="794" y="1617"/>
                  </a:lnTo>
                  <a:lnTo>
                    <a:pt x="782" y="1628"/>
                  </a:lnTo>
                  <a:lnTo>
                    <a:pt x="768" y="1636"/>
                  </a:lnTo>
                  <a:lnTo>
                    <a:pt x="751" y="1645"/>
                  </a:lnTo>
                  <a:lnTo>
                    <a:pt x="735" y="1652"/>
                  </a:lnTo>
                  <a:lnTo>
                    <a:pt x="719" y="1659"/>
                  </a:lnTo>
                  <a:lnTo>
                    <a:pt x="701" y="1667"/>
                  </a:lnTo>
                  <a:lnTo>
                    <a:pt x="693" y="1673"/>
                  </a:lnTo>
                  <a:lnTo>
                    <a:pt x="686" y="1679"/>
                  </a:lnTo>
                  <a:lnTo>
                    <a:pt x="681" y="1686"/>
                  </a:lnTo>
                  <a:lnTo>
                    <a:pt x="675" y="1692"/>
                  </a:lnTo>
                  <a:lnTo>
                    <a:pt x="670" y="1700"/>
                  </a:lnTo>
                  <a:lnTo>
                    <a:pt x="665" y="1706"/>
                  </a:lnTo>
                  <a:lnTo>
                    <a:pt x="658" y="1713"/>
                  </a:lnTo>
                  <a:lnTo>
                    <a:pt x="651" y="1718"/>
                  </a:lnTo>
                  <a:lnTo>
                    <a:pt x="649" y="1709"/>
                  </a:lnTo>
                  <a:lnTo>
                    <a:pt x="647" y="1699"/>
                  </a:lnTo>
                  <a:lnTo>
                    <a:pt x="644" y="1689"/>
                  </a:lnTo>
                  <a:lnTo>
                    <a:pt x="641" y="1680"/>
                  </a:lnTo>
                  <a:lnTo>
                    <a:pt x="636" y="1673"/>
                  </a:lnTo>
                  <a:lnTo>
                    <a:pt x="630" y="1667"/>
                  </a:lnTo>
                  <a:lnTo>
                    <a:pt x="627" y="1665"/>
                  </a:lnTo>
                  <a:lnTo>
                    <a:pt x="624" y="1663"/>
                  </a:lnTo>
                  <a:lnTo>
                    <a:pt x="619" y="1662"/>
                  </a:lnTo>
                  <a:lnTo>
                    <a:pt x="614" y="1662"/>
                  </a:lnTo>
                  <a:lnTo>
                    <a:pt x="608" y="1663"/>
                  </a:lnTo>
                  <a:lnTo>
                    <a:pt x="603" y="1664"/>
                  </a:lnTo>
                  <a:lnTo>
                    <a:pt x="599" y="1667"/>
                  </a:lnTo>
                  <a:lnTo>
                    <a:pt x="594" y="1671"/>
                  </a:lnTo>
                  <a:lnTo>
                    <a:pt x="590" y="1675"/>
                  </a:lnTo>
                  <a:lnTo>
                    <a:pt x="586" y="1678"/>
                  </a:lnTo>
                  <a:lnTo>
                    <a:pt x="580" y="1682"/>
                  </a:lnTo>
                  <a:lnTo>
                    <a:pt x="575" y="1685"/>
                  </a:lnTo>
                  <a:lnTo>
                    <a:pt x="537" y="1698"/>
                  </a:lnTo>
                  <a:lnTo>
                    <a:pt x="503" y="1710"/>
                  </a:lnTo>
                  <a:lnTo>
                    <a:pt x="469" y="1723"/>
                  </a:lnTo>
                  <a:lnTo>
                    <a:pt x="432" y="1738"/>
                  </a:lnTo>
                  <a:lnTo>
                    <a:pt x="399" y="1739"/>
                  </a:lnTo>
                  <a:lnTo>
                    <a:pt x="370" y="1740"/>
                  </a:lnTo>
                  <a:lnTo>
                    <a:pt x="342" y="1744"/>
                  </a:lnTo>
                  <a:lnTo>
                    <a:pt x="309" y="1748"/>
                  </a:lnTo>
                  <a:lnTo>
                    <a:pt x="296" y="1751"/>
                  </a:lnTo>
                  <a:lnTo>
                    <a:pt x="285" y="1753"/>
                  </a:lnTo>
                  <a:lnTo>
                    <a:pt x="275" y="1756"/>
                  </a:lnTo>
                  <a:lnTo>
                    <a:pt x="264" y="1760"/>
                  </a:lnTo>
                  <a:lnTo>
                    <a:pt x="260" y="1763"/>
                  </a:lnTo>
                  <a:lnTo>
                    <a:pt x="255" y="1766"/>
                  </a:lnTo>
                  <a:lnTo>
                    <a:pt x="253" y="1770"/>
                  </a:lnTo>
                  <a:lnTo>
                    <a:pt x="250" y="1774"/>
                  </a:lnTo>
                  <a:lnTo>
                    <a:pt x="247" y="1784"/>
                  </a:lnTo>
                  <a:lnTo>
                    <a:pt x="241" y="1794"/>
                  </a:lnTo>
                  <a:lnTo>
                    <a:pt x="235" y="1806"/>
                  </a:lnTo>
                  <a:lnTo>
                    <a:pt x="228" y="1817"/>
                  </a:lnTo>
                  <a:lnTo>
                    <a:pt x="221" y="1827"/>
                  </a:lnTo>
                  <a:lnTo>
                    <a:pt x="213" y="1838"/>
                  </a:lnTo>
                  <a:lnTo>
                    <a:pt x="209" y="1848"/>
                  </a:lnTo>
                  <a:lnTo>
                    <a:pt x="204" y="1855"/>
                  </a:lnTo>
                  <a:lnTo>
                    <a:pt x="200" y="1863"/>
                  </a:lnTo>
                  <a:lnTo>
                    <a:pt x="196" y="1869"/>
                  </a:lnTo>
                  <a:lnTo>
                    <a:pt x="190" y="1875"/>
                  </a:lnTo>
                  <a:lnTo>
                    <a:pt x="184" y="1881"/>
                  </a:lnTo>
                  <a:lnTo>
                    <a:pt x="176" y="1887"/>
                  </a:lnTo>
                  <a:lnTo>
                    <a:pt x="169" y="1892"/>
                  </a:lnTo>
                  <a:lnTo>
                    <a:pt x="159" y="1899"/>
                  </a:lnTo>
                  <a:lnTo>
                    <a:pt x="153" y="1907"/>
                  </a:lnTo>
                  <a:lnTo>
                    <a:pt x="148" y="1912"/>
                  </a:lnTo>
                  <a:lnTo>
                    <a:pt x="145" y="1915"/>
                  </a:lnTo>
                  <a:lnTo>
                    <a:pt x="141" y="1918"/>
                  </a:lnTo>
                  <a:lnTo>
                    <a:pt x="135" y="1920"/>
                  </a:lnTo>
                  <a:lnTo>
                    <a:pt x="126" y="1921"/>
                  </a:lnTo>
                  <a:lnTo>
                    <a:pt x="117" y="1921"/>
                  </a:lnTo>
                  <a:lnTo>
                    <a:pt x="113" y="1921"/>
                  </a:lnTo>
                  <a:lnTo>
                    <a:pt x="109" y="1921"/>
                  </a:lnTo>
                  <a:lnTo>
                    <a:pt x="105" y="1923"/>
                  </a:lnTo>
                  <a:lnTo>
                    <a:pt x="101" y="1926"/>
                  </a:lnTo>
                  <a:lnTo>
                    <a:pt x="92" y="1934"/>
                  </a:lnTo>
                  <a:lnTo>
                    <a:pt x="83" y="1944"/>
                  </a:lnTo>
                  <a:lnTo>
                    <a:pt x="78" y="1954"/>
                  </a:lnTo>
                  <a:lnTo>
                    <a:pt x="73" y="1964"/>
                  </a:lnTo>
                  <a:lnTo>
                    <a:pt x="65" y="1986"/>
                  </a:lnTo>
                  <a:lnTo>
                    <a:pt x="60" y="2012"/>
                  </a:lnTo>
                  <a:lnTo>
                    <a:pt x="60" y="2012"/>
                  </a:lnTo>
                  <a:lnTo>
                    <a:pt x="45" y="2026"/>
                  </a:lnTo>
                  <a:lnTo>
                    <a:pt x="33" y="2040"/>
                  </a:lnTo>
                  <a:lnTo>
                    <a:pt x="22" y="2055"/>
                  </a:lnTo>
                  <a:lnTo>
                    <a:pt x="14" y="2071"/>
                  </a:lnTo>
                  <a:lnTo>
                    <a:pt x="8" y="2088"/>
                  </a:lnTo>
                  <a:lnTo>
                    <a:pt x="4" y="2105"/>
                  </a:lnTo>
                  <a:lnTo>
                    <a:pt x="1" y="2123"/>
                  </a:lnTo>
                  <a:lnTo>
                    <a:pt x="0" y="2144"/>
                  </a:lnTo>
                  <a:lnTo>
                    <a:pt x="1" y="2156"/>
                  </a:lnTo>
                  <a:lnTo>
                    <a:pt x="4" y="2165"/>
                  </a:lnTo>
                  <a:lnTo>
                    <a:pt x="6" y="2175"/>
                  </a:lnTo>
                  <a:lnTo>
                    <a:pt x="9" y="2185"/>
                  </a:lnTo>
                  <a:lnTo>
                    <a:pt x="11" y="2193"/>
                  </a:lnTo>
                  <a:lnTo>
                    <a:pt x="13" y="2203"/>
                  </a:lnTo>
                  <a:lnTo>
                    <a:pt x="14" y="2214"/>
                  </a:lnTo>
                  <a:lnTo>
                    <a:pt x="13" y="2225"/>
                  </a:lnTo>
                  <a:lnTo>
                    <a:pt x="13" y="2225"/>
                  </a:lnTo>
                  <a:lnTo>
                    <a:pt x="22" y="2213"/>
                  </a:lnTo>
                  <a:lnTo>
                    <a:pt x="32" y="2201"/>
                  </a:lnTo>
                  <a:lnTo>
                    <a:pt x="42" y="2191"/>
                  </a:lnTo>
                  <a:lnTo>
                    <a:pt x="54" y="2184"/>
                  </a:lnTo>
                  <a:lnTo>
                    <a:pt x="66" y="2177"/>
                  </a:lnTo>
                  <a:lnTo>
                    <a:pt x="80" y="2173"/>
                  </a:lnTo>
                  <a:lnTo>
                    <a:pt x="94" y="2170"/>
                  </a:lnTo>
                  <a:lnTo>
                    <a:pt x="109" y="2170"/>
                  </a:lnTo>
                  <a:lnTo>
                    <a:pt x="118" y="2170"/>
                  </a:lnTo>
                  <a:lnTo>
                    <a:pt x="126" y="2171"/>
                  </a:lnTo>
                  <a:lnTo>
                    <a:pt x="132" y="2174"/>
                  </a:lnTo>
                  <a:lnTo>
                    <a:pt x="139" y="2176"/>
                  </a:lnTo>
                  <a:lnTo>
                    <a:pt x="152" y="2184"/>
                  </a:lnTo>
                  <a:lnTo>
                    <a:pt x="166" y="2191"/>
                  </a:lnTo>
                  <a:lnTo>
                    <a:pt x="183" y="2198"/>
                  </a:lnTo>
                  <a:lnTo>
                    <a:pt x="198" y="2203"/>
                  </a:lnTo>
                  <a:lnTo>
                    <a:pt x="214" y="2206"/>
                  </a:lnTo>
                  <a:lnTo>
                    <a:pt x="228" y="2210"/>
                  </a:lnTo>
                  <a:lnTo>
                    <a:pt x="260" y="2214"/>
                  </a:lnTo>
                  <a:lnTo>
                    <a:pt x="295" y="2219"/>
                  </a:lnTo>
                  <a:lnTo>
                    <a:pt x="334" y="2218"/>
                  </a:lnTo>
                  <a:lnTo>
                    <a:pt x="369" y="2216"/>
                  </a:lnTo>
                  <a:lnTo>
                    <a:pt x="403" y="2215"/>
                  </a:lnTo>
                  <a:lnTo>
                    <a:pt x="443" y="2214"/>
                  </a:lnTo>
                  <a:lnTo>
                    <a:pt x="470" y="2214"/>
                  </a:lnTo>
                  <a:lnTo>
                    <a:pt x="494" y="2214"/>
                  </a:lnTo>
                  <a:lnTo>
                    <a:pt x="506" y="2214"/>
                  </a:lnTo>
                  <a:lnTo>
                    <a:pt x="518" y="2215"/>
                  </a:lnTo>
                  <a:lnTo>
                    <a:pt x="531" y="2217"/>
                  </a:lnTo>
                  <a:lnTo>
                    <a:pt x="544" y="2219"/>
                  </a:lnTo>
                  <a:lnTo>
                    <a:pt x="555" y="2223"/>
                  </a:lnTo>
                  <a:lnTo>
                    <a:pt x="566" y="2225"/>
                  </a:lnTo>
                  <a:lnTo>
                    <a:pt x="577" y="2228"/>
                  </a:lnTo>
                  <a:lnTo>
                    <a:pt x="589" y="2231"/>
                  </a:lnTo>
                  <a:lnTo>
                    <a:pt x="596" y="2236"/>
                  </a:lnTo>
                  <a:lnTo>
                    <a:pt x="603" y="2241"/>
                  </a:lnTo>
                  <a:lnTo>
                    <a:pt x="608" y="2247"/>
                  </a:lnTo>
                  <a:lnTo>
                    <a:pt x="614" y="2254"/>
                  </a:lnTo>
                  <a:lnTo>
                    <a:pt x="617" y="2261"/>
                  </a:lnTo>
                  <a:lnTo>
                    <a:pt x="620" y="2270"/>
                  </a:lnTo>
                  <a:lnTo>
                    <a:pt x="622" y="2279"/>
                  </a:lnTo>
                  <a:lnTo>
                    <a:pt x="622" y="2286"/>
                  </a:lnTo>
                  <a:lnTo>
                    <a:pt x="622" y="2298"/>
                  </a:lnTo>
                  <a:lnTo>
                    <a:pt x="620" y="2309"/>
                  </a:lnTo>
                  <a:lnTo>
                    <a:pt x="618" y="2319"/>
                  </a:lnTo>
                  <a:lnTo>
                    <a:pt x="616" y="2327"/>
                  </a:lnTo>
                  <a:lnTo>
                    <a:pt x="613" y="2337"/>
                  </a:lnTo>
                  <a:lnTo>
                    <a:pt x="611" y="2347"/>
                  </a:lnTo>
                  <a:lnTo>
                    <a:pt x="609" y="2357"/>
                  </a:lnTo>
                  <a:lnTo>
                    <a:pt x="608" y="2368"/>
                  </a:lnTo>
                  <a:lnTo>
                    <a:pt x="609" y="2373"/>
                  </a:lnTo>
                  <a:lnTo>
                    <a:pt x="611" y="2376"/>
                  </a:lnTo>
                  <a:lnTo>
                    <a:pt x="613" y="2380"/>
                  </a:lnTo>
                  <a:lnTo>
                    <a:pt x="615" y="2382"/>
                  </a:lnTo>
                  <a:lnTo>
                    <a:pt x="620" y="2389"/>
                  </a:lnTo>
                  <a:lnTo>
                    <a:pt x="626" y="2396"/>
                  </a:lnTo>
                  <a:lnTo>
                    <a:pt x="630" y="2405"/>
                  </a:lnTo>
                  <a:lnTo>
                    <a:pt x="635" y="2415"/>
                  </a:lnTo>
                  <a:lnTo>
                    <a:pt x="638" y="2418"/>
                  </a:lnTo>
                  <a:lnTo>
                    <a:pt x="642" y="2421"/>
                  </a:lnTo>
                  <a:lnTo>
                    <a:pt x="645" y="2423"/>
                  </a:lnTo>
                  <a:lnTo>
                    <a:pt x="651" y="2425"/>
                  </a:lnTo>
                  <a:lnTo>
                    <a:pt x="656" y="2423"/>
                  </a:lnTo>
                  <a:lnTo>
                    <a:pt x="661" y="2422"/>
                  </a:lnTo>
                  <a:lnTo>
                    <a:pt x="666" y="2421"/>
                  </a:lnTo>
                  <a:lnTo>
                    <a:pt x="670" y="2418"/>
                  </a:lnTo>
                  <a:lnTo>
                    <a:pt x="678" y="2413"/>
                  </a:lnTo>
                  <a:lnTo>
                    <a:pt x="684" y="2406"/>
                  </a:lnTo>
                  <a:lnTo>
                    <a:pt x="692" y="2400"/>
                  </a:lnTo>
                  <a:lnTo>
                    <a:pt x="699" y="2393"/>
                  </a:lnTo>
                  <a:lnTo>
                    <a:pt x="703" y="2391"/>
                  </a:lnTo>
                  <a:lnTo>
                    <a:pt x="708" y="2389"/>
                  </a:lnTo>
                  <a:lnTo>
                    <a:pt x="712" y="2388"/>
                  </a:lnTo>
                  <a:lnTo>
                    <a:pt x="717" y="2388"/>
                  </a:lnTo>
                  <a:lnTo>
                    <a:pt x="723" y="2388"/>
                  </a:lnTo>
                  <a:lnTo>
                    <a:pt x="728" y="2389"/>
                  </a:lnTo>
                  <a:lnTo>
                    <a:pt x="733" y="2391"/>
                  </a:lnTo>
                  <a:lnTo>
                    <a:pt x="737" y="2393"/>
                  </a:lnTo>
                  <a:lnTo>
                    <a:pt x="744" y="2399"/>
                  </a:lnTo>
                  <a:lnTo>
                    <a:pt x="750" y="2406"/>
                  </a:lnTo>
                  <a:lnTo>
                    <a:pt x="755" y="2415"/>
                  </a:lnTo>
                  <a:lnTo>
                    <a:pt x="761" y="2423"/>
                  </a:lnTo>
                  <a:lnTo>
                    <a:pt x="764" y="2434"/>
                  </a:lnTo>
                  <a:lnTo>
                    <a:pt x="768" y="2444"/>
                  </a:lnTo>
                  <a:lnTo>
                    <a:pt x="801" y="2426"/>
                  </a:lnTo>
                  <a:lnTo>
                    <a:pt x="832" y="2409"/>
                  </a:lnTo>
                  <a:lnTo>
                    <a:pt x="847" y="2403"/>
                  </a:lnTo>
                  <a:lnTo>
                    <a:pt x="862" y="2398"/>
                  </a:lnTo>
                  <a:lnTo>
                    <a:pt x="877" y="2392"/>
                  </a:lnTo>
                  <a:lnTo>
                    <a:pt x="892" y="2387"/>
                  </a:lnTo>
                  <a:lnTo>
                    <a:pt x="908" y="2384"/>
                  </a:lnTo>
                  <a:lnTo>
                    <a:pt x="923" y="2380"/>
                  </a:lnTo>
                  <a:lnTo>
                    <a:pt x="938" y="2377"/>
                  </a:lnTo>
                  <a:lnTo>
                    <a:pt x="955" y="2375"/>
                  </a:lnTo>
                  <a:lnTo>
                    <a:pt x="989" y="2372"/>
                  </a:lnTo>
                  <a:lnTo>
                    <a:pt x="1026" y="2371"/>
                  </a:lnTo>
                  <a:lnTo>
                    <a:pt x="1038" y="2372"/>
                  </a:lnTo>
                  <a:lnTo>
                    <a:pt x="1049" y="2373"/>
                  </a:lnTo>
                  <a:lnTo>
                    <a:pt x="1060" y="2375"/>
                  </a:lnTo>
                  <a:lnTo>
                    <a:pt x="1070" y="2377"/>
                  </a:lnTo>
                  <a:lnTo>
                    <a:pt x="1079" y="2378"/>
                  </a:lnTo>
                  <a:lnTo>
                    <a:pt x="1090" y="2380"/>
                  </a:lnTo>
                  <a:lnTo>
                    <a:pt x="1101" y="2381"/>
                  </a:lnTo>
                  <a:lnTo>
                    <a:pt x="1113" y="2382"/>
                  </a:lnTo>
                  <a:lnTo>
                    <a:pt x="1120" y="2381"/>
                  </a:lnTo>
                  <a:lnTo>
                    <a:pt x="1126" y="2380"/>
                  </a:lnTo>
                  <a:lnTo>
                    <a:pt x="1132" y="2378"/>
                  </a:lnTo>
                  <a:lnTo>
                    <a:pt x="1138" y="2376"/>
                  </a:lnTo>
                  <a:lnTo>
                    <a:pt x="1148" y="2369"/>
                  </a:lnTo>
                  <a:lnTo>
                    <a:pt x="1158" y="2363"/>
                  </a:lnTo>
                  <a:lnTo>
                    <a:pt x="1168" y="2355"/>
                  </a:lnTo>
                  <a:lnTo>
                    <a:pt x="1178" y="2349"/>
                  </a:lnTo>
                  <a:lnTo>
                    <a:pt x="1184" y="2347"/>
                  </a:lnTo>
                  <a:lnTo>
                    <a:pt x="1189" y="2345"/>
                  </a:lnTo>
                  <a:lnTo>
                    <a:pt x="1196" y="2344"/>
                  </a:lnTo>
                  <a:lnTo>
                    <a:pt x="1202" y="2342"/>
                  </a:lnTo>
                  <a:lnTo>
                    <a:pt x="1210" y="2344"/>
                  </a:lnTo>
                  <a:lnTo>
                    <a:pt x="1216" y="2345"/>
                  </a:lnTo>
                  <a:lnTo>
                    <a:pt x="1223" y="2347"/>
                  </a:lnTo>
                  <a:lnTo>
                    <a:pt x="1228" y="2349"/>
                  </a:lnTo>
                  <a:lnTo>
                    <a:pt x="1235" y="2350"/>
                  </a:lnTo>
                  <a:lnTo>
                    <a:pt x="1241" y="2352"/>
                  </a:lnTo>
                  <a:lnTo>
                    <a:pt x="1248" y="2353"/>
                  </a:lnTo>
                  <a:lnTo>
                    <a:pt x="1254" y="2354"/>
                  </a:lnTo>
                  <a:lnTo>
                    <a:pt x="1266" y="2353"/>
                  </a:lnTo>
                  <a:lnTo>
                    <a:pt x="1277" y="2352"/>
                  </a:lnTo>
                  <a:lnTo>
                    <a:pt x="1288" y="2350"/>
                  </a:lnTo>
                  <a:lnTo>
                    <a:pt x="1297" y="2349"/>
                  </a:lnTo>
                  <a:lnTo>
                    <a:pt x="1307" y="2347"/>
                  </a:lnTo>
                  <a:lnTo>
                    <a:pt x="1317" y="2345"/>
                  </a:lnTo>
                  <a:lnTo>
                    <a:pt x="1328" y="2344"/>
                  </a:lnTo>
                  <a:lnTo>
                    <a:pt x="1340" y="2342"/>
                  </a:lnTo>
                  <a:lnTo>
                    <a:pt x="1350" y="2344"/>
                  </a:lnTo>
                  <a:lnTo>
                    <a:pt x="1361" y="2346"/>
                  </a:lnTo>
                  <a:lnTo>
                    <a:pt x="1370" y="2348"/>
                  </a:lnTo>
                  <a:lnTo>
                    <a:pt x="1380" y="2352"/>
                  </a:lnTo>
                  <a:lnTo>
                    <a:pt x="1388" y="2358"/>
                  </a:lnTo>
                  <a:lnTo>
                    <a:pt x="1396" y="2363"/>
                  </a:lnTo>
                  <a:lnTo>
                    <a:pt x="1402" y="2369"/>
                  </a:lnTo>
                  <a:lnTo>
                    <a:pt x="1410" y="2377"/>
                  </a:lnTo>
                  <a:lnTo>
                    <a:pt x="1415" y="2385"/>
                  </a:lnTo>
                  <a:lnTo>
                    <a:pt x="1421" y="2394"/>
                  </a:lnTo>
                  <a:lnTo>
                    <a:pt x="1425" y="2403"/>
                  </a:lnTo>
                  <a:lnTo>
                    <a:pt x="1428" y="2413"/>
                  </a:lnTo>
                  <a:lnTo>
                    <a:pt x="1431" y="2422"/>
                  </a:lnTo>
                  <a:lnTo>
                    <a:pt x="1434" y="2433"/>
                  </a:lnTo>
                  <a:lnTo>
                    <a:pt x="1435" y="2444"/>
                  </a:lnTo>
                  <a:lnTo>
                    <a:pt x="1436" y="2455"/>
                  </a:lnTo>
                  <a:lnTo>
                    <a:pt x="1436" y="2473"/>
                  </a:lnTo>
                  <a:lnTo>
                    <a:pt x="1436" y="2490"/>
                  </a:lnTo>
                  <a:lnTo>
                    <a:pt x="1436" y="2507"/>
                  </a:lnTo>
                  <a:lnTo>
                    <a:pt x="1436" y="2526"/>
                  </a:lnTo>
                  <a:lnTo>
                    <a:pt x="1436" y="2533"/>
                  </a:lnTo>
                  <a:lnTo>
                    <a:pt x="1438" y="2538"/>
                  </a:lnTo>
                  <a:lnTo>
                    <a:pt x="1440" y="2544"/>
                  </a:lnTo>
                  <a:lnTo>
                    <a:pt x="1442" y="2549"/>
                  </a:lnTo>
                  <a:lnTo>
                    <a:pt x="1445" y="2554"/>
                  </a:lnTo>
                  <a:lnTo>
                    <a:pt x="1448" y="2560"/>
                  </a:lnTo>
                  <a:lnTo>
                    <a:pt x="1449" y="2566"/>
                  </a:lnTo>
                  <a:lnTo>
                    <a:pt x="1450" y="2573"/>
                  </a:lnTo>
                  <a:lnTo>
                    <a:pt x="1449" y="2593"/>
                  </a:lnTo>
                  <a:lnTo>
                    <a:pt x="1445" y="2611"/>
                  </a:lnTo>
                  <a:lnTo>
                    <a:pt x="1442" y="2629"/>
                  </a:lnTo>
                  <a:lnTo>
                    <a:pt x="1438" y="2646"/>
                  </a:lnTo>
                  <a:lnTo>
                    <a:pt x="1434" y="2662"/>
                  </a:lnTo>
                  <a:lnTo>
                    <a:pt x="1430" y="2679"/>
                  </a:lnTo>
                  <a:lnTo>
                    <a:pt x="1428" y="2698"/>
                  </a:lnTo>
                  <a:lnTo>
                    <a:pt x="1427" y="2718"/>
                  </a:lnTo>
                  <a:lnTo>
                    <a:pt x="1427" y="2735"/>
                  </a:lnTo>
                  <a:lnTo>
                    <a:pt x="1429" y="2751"/>
                  </a:lnTo>
                  <a:lnTo>
                    <a:pt x="1431" y="2765"/>
                  </a:lnTo>
                  <a:lnTo>
                    <a:pt x="1435" y="2779"/>
                  </a:lnTo>
                  <a:lnTo>
                    <a:pt x="1441" y="2808"/>
                  </a:lnTo>
                  <a:lnTo>
                    <a:pt x="1450" y="2839"/>
                  </a:lnTo>
                  <a:lnTo>
                    <a:pt x="1456" y="2853"/>
                  </a:lnTo>
                  <a:lnTo>
                    <a:pt x="1464" y="2867"/>
                  </a:lnTo>
                  <a:lnTo>
                    <a:pt x="1472" y="2879"/>
                  </a:lnTo>
                  <a:lnTo>
                    <a:pt x="1481" y="2891"/>
                  </a:lnTo>
                  <a:lnTo>
                    <a:pt x="1485" y="2895"/>
                  </a:lnTo>
                  <a:lnTo>
                    <a:pt x="1491" y="2901"/>
                  </a:lnTo>
                  <a:lnTo>
                    <a:pt x="1496" y="2904"/>
                  </a:lnTo>
                  <a:lnTo>
                    <a:pt x="1503" y="2908"/>
                  </a:lnTo>
                  <a:lnTo>
                    <a:pt x="1509" y="2912"/>
                  </a:lnTo>
                  <a:lnTo>
                    <a:pt x="1516" y="2914"/>
                  </a:lnTo>
                  <a:lnTo>
                    <a:pt x="1523" y="2916"/>
                  </a:lnTo>
                  <a:lnTo>
                    <a:pt x="1531" y="2917"/>
                  </a:lnTo>
                  <a:lnTo>
                    <a:pt x="1562" y="2919"/>
                  </a:lnTo>
                  <a:lnTo>
                    <a:pt x="1590" y="2918"/>
                  </a:lnTo>
                  <a:lnTo>
                    <a:pt x="1598" y="2919"/>
                  </a:lnTo>
                  <a:lnTo>
                    <a:pt x="1604" y="2920"/>
                  </a:lnTo>
                  <a:lnTo>
                    <a:pt x="1611" y="2921"/>
                  </a:lnTo>
                  <a:lnTo>
                    <a:pt x="1617" y="2924"/>
                  </a:lnTo>
                  <a:lnTo>
                    <a:pt x="1623" y="2926"/>
                  </a:lnTo>
                  <a:lnTo>
                    <a:pt x="1629" y="2930"/>
                  </a:lnTo>
                  <a:lnTo>
                    <a:pt x="1634" y="2934"/>
                  </a:lnTo>
                  <a:lnTo>
                    <a:pt x="1640" y="2940"/>
                  </a:lnTo>
                  <a:lnTo>
                    <a:pt x="1648" y="2951"/>
                  </a:lnTo>
                  <a:lnTo>
                    <a:pt x="1655" y="2962"/>
                  </a:lnTo>
                  <a:lnTo>
                    <a:pt x="1659" y="2973"/>
                  </a:lnTo>
                  <a:lnTo>
                    <a:pt x="1661" y="2985"/>
                  </a:lnTo>
                  <a:lnTo>
                    <a:pt x="1665" y="3010"/>
                  </a:lnTo>
                  <a:lnTo>
                    <a:pt x="1668" y="3038"/>
                  </a:lnTo>
                  <a:lnTo>
                    <a:pt x="1559" y="3312"/>
                  </a:lnTo>
                  <a:lnTo>
                    <a:pt x="1564" y="3321"/>
                  </a:lnTo>
                  <a:lnTo>
                    <a:pt x="1570" y="3327"/>
                  </a:lnTo>
                  <a:lnTo>
                    <a:pt x="1576" y="3333"/>
                  </a:lnTo>
                  <a:lnTo>
                    <a:pt x="1583" y="3337"/>
                  </a:lnTo>
                  <a:lnTo>
                    <a:pt x="1599" y="3345"/>
                  </a:lnTo>
                  <a:lnTo>
                    <a:pt x="1615" y="3354"/>
                  </a:lnTo>
                  <a:lnTo>
                    <a:pt x="1623" y="3361"/>
                  </a:lnTo>
                  <a:lnTo>
                    <a:pt x="1630" y="3368"/>
                  </a:lnTo>
                  <a:lnTo>
                    <a:pt x="1634" y="3376"/>
                  </a:lnTo>
                  <a:lnTo>
                    <a:pt x="1639" y="3385"/>
                  </a:lnTo>
                  <a:lnTo>
                    <a:pt x="1642" y="3393"/>
                  </a:lnTo>
                  <a:lnTo>
                    <a:pt x="1644" y="3403"/>
                  </a:lnTo>
                  <a:lnTo>
                    <a:pt x="1645" y="3413"/>
                  </a:lnTo>
                  <a:lnTo>
                    <a:pt x="1645" y="3424"/>
                  </a:lnTo>
                  <a:lnTo>
                    <a:pt x="1645" y="3442"/>
                  </a:lnTo>
                  <a:lnTo>
                    <a:pt x="1645" y="3458"/>
                  </a:lnTo>
                  <a:lnTo>
                    <a:pt x="1645" y="3474"/>
                  </a:lnTo>
                  <a:lnTo>
                    <a:pt x="1645" y="3493"/>
                  </a:lnTo>
                  <a:lnTo>
                    <a:pt x="1646" y="3503"/>
                  </a:lnTo>
                  <a:lnTo>
                    <a:pt x="1650" y="3513"/>
                  </a:lnTo>
                  <a:lnTo>
                    <a:pt x="1653" y="3523"/>
                  </a:lnTo>
                  <a:lnTo>
                    <a:pt x="1659" y="3530"/>
                  </a:lnTo>
                  <a:lnTo>
                    <a:pt x="1666" y="3537"/>
                  </a:lnTo>
                  <a:lnTo>
                    <a:pt x="1673" y="3543"/>
                  </a:lnTo>
                  <a:lnTo>
                    <a:pt x="1683" y="3549"/>
                  </a:lnTo>
                  <a:lnTo>
                    <a:pt x="1693" y="3553"/>
                  </a:lnTo>
                  <a:lnTo>
                    <a:pt x="1704" y="3557"/>
                  </a:lnTo>
                  <a:lnTo>
                    <a:pt x="1714" y="3560"/>
                  </a:lnTo>
                  <a:lnTo>
                    <a:pt x="1726" y="3563"/>
                  </a:lnTo>
                  <a:lnTo>
                    <a:pt x="1738" y="3565"/>
                  </a:lnTo>
                  <a:lnTo>
                    <a:pt x="1762" y="3567"/>
                  </a:lnTo>
                  <a:lnTo>
                    <a:pt x="1786" y="3567"/>
                  </a:lnTo>
                  <a:lnTo>
                    <a:pt x="1791" y="3567"/>
                  </a:lnTo>
                  <a:lnTo>
                    <a:pt x="1796" y="3566"/>
                  </a:lnTo>
                  <a:lnTo>
                    <a:pt x="1801" y="3565"/>
                  </a:lnTo>
                  <a:lnTo>
                    <a:pt x="1806" y="3563"/>
                  </a:lnTo>
                  <a:lnTo>
                    <a:pt x="1814" y="3557"/>
                  </a:lnTo>
                  <a:lnTo>
                    <a:pt x="1820" y="3550"/>
                  </a:lnTo>
                  <a:lnTo>
                    <a:pt x="1827" y="3541"/>
                  </a:lnTo>
                  <a:lnTo>
                    <a:pt x="1832" y="3532"/>
                  </a:lnTo>
                  <a:lnTo>
                    <a:pt x="1838" y="3522"/>
                  </a:lnTo>
                  <a:lnTo>
                    <a:pt x="1842" y="3511"/>
                  </a:lnTo>
                  <a:lnTo>
                    <a:pt x="1846" y="3501"/>
                  </a:lnTo>
                  <a:lnTo>
                    <a:pt x="1852" y="3491"/>
                  </a:lnTo>
                  <a:lnTo>
                    <a:pt x="1857" y="3482"/>
                  </a:lnTo>
                  <a:lnTo>
                    <a:pt x="1863" y="3473"/>
                  </a:lnTo>
                  <a:lnTo>
                    <a:pt x="1870" y="3466"/>
                  </a:lnTo>
                  <a:lnTo>
                    <a:pt x="1877" y="3460"/>
                  </a:lnTo>
                  <a:lnTo>
                    <a:pt x="1882" y="3458"/>
                  </a:lnTo>
                  <a:lnTo>
                    <a:pt x="1887" y="3457"/>
                  </a:lnTo>
                  <a:lnTo>
                    <a:pt x="1893" y="3456"/>
                  </a:lnTo>
                  <a:lnTo>
                    <a:pt x="1898" y="3456"/>
                  </a:lnTo>
                  <a:lnTo>
                    <a:pt x="1901" y="3456"/>
                  </a:lnTo>
                  <a:lnTo>
                    <a:pt x="1904" y="3458"/>
                  </a:lnTo>
                  <a:lnTo>
                    <a:pt x="1907" y="3460"/>
                  </a:lnTo>
                  <a:lnTo>
                    <a:pt x="1909" y="3464"/>
                  </a:lnTo>
                  <a:lnTo>
                    <a:pt x="1912" y="3470"/>
                  </a:lnTo>
                  <a:lnTo>
                    <a:pt x="1917" y="3475"/>
                  </a:lnTo>
                  <a:lnTo>
                    <a:pt x="1923" y="3479"/>
                  </a:lnTo>
                  <a:lnTo>
                    <a:pt x="1929" y="3481"/>
                  </a:lnTo>
                  <a:lnTo>
                    <a:pt x="1935" y="3482"/>
                  </a:lnTo>
                  <a:lnTo>
                    <a:pt x="1940" y="3483"/>
                  </a:lnTo>
                  <a:lnTo>
                    <a:pt x="1952" y="3484"/>
                  </a:lnTo>
                  <a:lnTo>
                    <a:pt x="1965" y="3483"/>
                  </a:lnTo>
                  <a:lnTo>
                    <a:pt x="1976" y="3483"/>
                  </a:lnTo>
                  <a:lnTo>
                    <a:pt x="1984" y="3482"/>
                  </a:lnTo>
                  <a:lnTo>
                    <a:pt x="1994" y="3480"/>
                  </a:lnTo>
                  <a:lnTo>
                    <a:pt x="2003" y="3478"/>
                  </a:lnTo>
                  <a:lnTo>
                    <a:pt x="2019" y="3471"/>
                  </a:lnTo>
                  <a:lnTo>
                    <a:pt x="2034" y="3464"/>
                  </a:lnTo>
                  <a:lnTo>
                    <a:pt x="2049" y="3457"/>
                  </a:lnTo>
                  <a:lnTo>
                    <a:pt x="2065" y="3451"/>
                  </a:lnTo>
                  <a:lnTo>
                    <a:pt x="2074" y="3448"/>
                  </a:lnTo>
                  <a:lnTo>
                    <a:pt x="2084" y="3446"/>
                  </a:lnTo>
                  <a:lnTo>
                    <a:pt x="2093" y="3445"/>
                  </a:lnTo>
                  <a:lnTo>
                    <a:pt x="2103" y="3444"/>
                  </a:lnTo>
                  <a:lnTo>
                    <a:pt x="2124" y="3444"/>
                  </a:lnTo>
                  <a:lnTo>
                    <a:pt x="2142" y="3444"/>
                  </a:lnTo>
                  <a:lnTo>
                    <a:pt x="2159" y="3444"/>
                  </a:lnTo>
                  <a:lnTo>
                    <a:pt x="2180" y="3444"/>
                  </a:lnTo>
                  <a:lnTo>
                    <a:pt x="2195" y="3445"/>
                  </a:lnTo>
                  <a:lnTo>
                    <a:pt x="2210" y="3446"/>
                  </a:lnTo>
                  <a:lnTo>
                    <a:pt x="2223" y="3448"/>
                  </a:lnTo>
                  <a:lnTo>
                    <a:pt x="2237" y="3452"/>
                  </a:lnTo>
                  <a:lnTo>
                    <a:pt x="2250" y="3454"/>
                  </a:lnTo>
                  <a:lnTo>
                    <a:pt x="2263" y="3456"/>
                  </a:lnTo>
                  <a:lnTo>
                    <a:pt x="2278" y="3458"/>
                  </a:lnTo>
                  <a:lnTo>
                    <a:pt x="2293" y="3458"/>
                  </a:lnTo>
                  <a:lnTo>
                    <a:pt x="2293" y="3458"/>
                  </a:lnTo>
                  <a:lnTo>
                    <a:pt x="2314" y="3446"/>
                  </a:lnTo>
                  <a:lnTo>
                    <a:pt x="2333" y="3437"/>
                  </a:lnTo>
                  <a:lnTo>
                    <a:pt x="2352" y="3427"/>
                  </a:lnTo>
                  <a:lnTo>
                    <a:pt x="2370" y="3419"/>
                  </a:lnTo>
                  <a:lnTo>
                    <a:pt x="2388" y="3412"/>
                  </a:lnTo>
                  <a:lnTo>
                    <a:pt x="2408" y="3405"/>
                  </a:lnTo>
                  <a:lnTo>
                    <a:pt x="2429" y="3400"/>
                  </a:lnTo>
                  <a:lnTo>
                    <a:pt x="2453" y="3393"/>
                  </a:lnTo>
                  <a:lnTo>
                    <a:pt x="2492" y="3385"/>
                  </a:lnTo>
                  <a:lnTo>
                    <a:pt x="2528" y="3375"/>
                  </a:lnTo>
                  <a:lnTo>
                    <a:pt x="2562" y="3367"/>
                  </a:lnTo>
                  <a:lnTo>
                    <a:pt x="2595" y="3360"/>
                  </a:lnTo>
                  <a:lnTo>
                    <a:pt x="2628" y="3354"/>
                  </a:lnTo>
                  <a:lnTo>
                    <a:pt x="2663" y="3350"/>
                  </a:lnTo>
                  <a:lnTo>
                    <a:pt x="2699" y="3347"/>
                  </a:lnTo>
                  <a:lnTo>
                    <a:pt x="2739" y="3346"/>
                  </a:lnTo>
                  <a:lnTo>
                    <a:pt x="2776" y="3346"/>
                  </a:lnTo>
                  <a:lnTo>
                    <a:pt x="2810" y="3347"/>
                  </a:lnTo>
                  <a:lnTo>
                    <a:pt x="2840" y="3347"/>
                  </a:lnTo>
                  <a:lnTo>
                    <a:pt x="2870" y="3348"/>
                  </a:lnTo>
                  <a:lnTo>
                    <a:pt x="2900" y="3348"/>
                  </a:lnTo>
                  <a:lnTo>
                    <a:pt x="2932" y="3349"/>
                  </a:lnTo>
                  <a:lnTo>
                    <a:pt x="2965" y="3349"/>
                  </a:lnTo>
                  <a:lnTo>
                    <a:pt x="3002" y="3349"/>
                  </a:lnTo>
                  <a:lnTo>
                    <a:pt x="3016" y="3348"/>
                  </a:lnTo>
                  <a:lnTo>
                    <a:pt x="3030" y="3347"/>
                  </a:lnTo>
                  <a:lnTo>
                    <a:pt x="3042" y="3345"/>
                  </a:lnTo>
                  <a:lnTo>
                    <a:pt x="3054" y="3341"/>
                  </a:lnTo>
                  <a:lnTo>
                    <a:pt x="3079" y="3335"/>
                  </a:lnTo>
                  <a:lnTo>
                    <a:pt x="3106" y="3326"/>
                  </a:lnTo>
                  <a:lnTo>
                    <a:pt x="3138" y="3320"/>
                  </a:lnTo>
                  <a:lnTo>
                    <a:pt x="3167" y="3316"/>
                  </a:lnTo>
                  <a:lnTo>
                    <a:pt x="3180" y="3311"/>
                  </a:lnTo>
                  <a:lnTo>
                    <a:pt x="3193" y="3306"/>
                  </a:lnTo>
                  <a:lnTo>
                    <a:pt x="3199" y="3303"/>
                  </a:lnTo>
                  <a:lnTo>
                    <a:pt x="3206" y="3298"/>
                  </a:lnTo>
                  <a:lnTo>
                    <a:pt x="3212" y="3293"/>
                  </a:lnTo>
                  <a:lnTo>
                    <a:pt x="3218" y="3287"/>
                  </a:lnTo>
                  <a:lnTo>
                    <a:pt x="3224" y="3280"/>
                  </a:lnTo>
                  <a:lnTo>
                    <a:pt x="3229" y="3273"/>
                  </a:lnTo>
                  <a:lnTo>
                    <a:pt x="3233" y="3266"/>
                  </a:lnTo>
                  <a:lnTo>
                    <a:pt x="3237" y="3258"/>
                  </a:lnTo>
                  <a:lnTo>
                    <a:pt x="3243" y="3244"/>
                  </a:lnTo>
                  <a:lnTo>
                    <a:pt x="3246" y="3228"/>
                  </a:lnTo>
                  <a:lnTo>
                    <a:pt x="3249" y="3213"/>
                  </a:lnTo>
                  <a:lnTo>
                    <a:pt x="3253" y="3197"/>
                  </a:lnTo>
                  <a:lnTo>
                    <a:pt x="3258" y="3181"/>
                  </a:lnTo>
                  <a:lnTo>
                    <a:pt x="3265" y="3164"/>
                  </a:lnTo>
                  <a:lnTo>
                    <a:pt x="3279" y="3136"/>
                  </a:lnTo>
                  <a:lnTo>
                    <a:pt x="3291" y="3111"/>
                  </a:lnTo>
                  <a:lnTo>
                    <a:pt x="3302" y="3087"/>
                  </a:lnTo>
                  <a:lnTo>
                    <a:pt x="3313" y="3057"/>
                  </a:lnTo>
                  <a:lnTo>
                    <a:pt x="3323" y="3028"/>
                  </a:lnTo>
                  <a:lnTo>
                    <a:pt x="3332" y="3002"/>
                  </a:lnTo>
                  <a:lnTo>
                    <a:pt x="3338" y="2989"/>
                  </a:lnTo>
                  <a:lnTo>
                    <a:pt x="3345" y="2979"/>
                  </a:lnTo>
                  <a:lnTo>
                    <a:pt x="3350" y="2973"/>
                  </a:lnTo>
                  <a:lnTo>
                    <a:pt x="3354" y="2969"/>
                  </a:lnTo>
                  <a:lnTo>
                    <a:pt x="3360" y="2963"/>
                  </a:lnTo>
                  <a:lnTo>
                    <a:pt x="3367" y="2959"/>
                  </a:lnTo>
                  <a:lnTo>
                    <a:pt x="3382" y="2951"/>
                  </a:lnTo>
                  <a:lnTo>
                    <a:pt x="3397" y="2944"/>
                  </a:lnTo>
                  <a:lnTo>
                    <a:pt x="3412" y="2941"/>
                  </a:lnTo>
                  <a:lnTo>
                    <a:pt x="3426" y="2938"/>
                  </a:lnTo>
                  <a:lnTo>
                    <a:pt x="3441" y="2934"/>
                  </a:lnTo>
                  <a:lnTo>
                    <a:pt x="3458" y="2932"/>
                  </a:lnTo>
                  <a:lnTo>
                    <a:pt x="3474" y="2929"/>
                  </a:lnTo>
                  <a:lnTo>
                    <a:pt x="3491" y="2924"/>
                  </a:lnTo>
                  <a:lnTo>
                    <a:pt x="3491" y="2924"/>
                  </a:lnTo>
                  <a:lnTo>
                    <a:pt x="3494" y="2909"/>
                  </a:lnTo>
                  <a:lnTo>
                    <a:pt x="3499" y="2895"/>
                  </a:lnTo>
                  <a:lnTo>
                    <a:pt x="3504" y="2881"/>
                  </a:lnTo>
                  <a:lnTo>
                    <a:pt x="3511" y="2867"/>
                  </a:lnTo>
                  <a:lnTo>
                    <a:pt x="3516" y="2852"/>
                  </a:lnTo>
                  <a:lnTo>
                    <a:pt x="3520" y="2838"/>
                  </a:lnTo>
                  <a:lnTo>
                    <a:pt x="3523" y="2824"/>
                  </a:lnTo>
                  <a:lnTo>
                    <a:pt x="3525" y="2810"/>
                  </a:lnTo>
                  <a:lnTo>
                    <a:pt x="3525" y="2795"/>
                  </a:lnTo>
                  <a:lnTo>
                    <a:pt x="3525" y="2782"/>
                  </a:lnTo>
                  <a:lnTo>
                    <a:pt x="3525" y="2768"/>
                  </a:lnTo>
                  <a:lnTo>
                    <a:pt x="3525" y="2753"/>
                  </a:lnTo>
                  <a:lnTo>
                    <a:pt x="3526" y="2743"/>
                  </a:lnTo>
                  <a:lnTo>
                    <a:pt x="3527" y="2735"/>
                  </a:lnTo>
                  <a:lnTo>
                    <a:pt x="3529" y="2726"/>
                  </a:lnTo>
                  <a:lnTo>
                    <a:pt x="3533" y="2718"/>
                  </a:lnTo>
                  <a:lnTo>
                    <a:pt x="3536" y="2712"/>
                  </a:lnTo>
                  <a:lnTo>
                    <a:pt x="3542" y="2705"/>
                  </a:lnTo>
                  <a:lnTo>
                    <a:pt x="3547" y="2699"/>
                  </a:lnTo>
                  <a:lnTo>
                    <a:pt x="3553" y="2692"/>
                  </a:lnTo>
                  <a:lnTo>
                    <a:pt x="3581" y="2671"/>
                  </a:lnTo>
                  <a:lnTo>
                    <a:pt x="3612" y="2647"/>
                  </a:lnTo>
                  <a:lnTo>
                    <a:pt x="3630" y="2630"/>
                  </a:lnTo>
                  <a:lnTo>
                    <a:pt x="3648" y="2615"/>
                  </a:lnTo>
                  <a:lnTo>
                    <a:pt x="3656" y="2607"/>
                  </a:lnTo>
                  <a:lnTo>
                    <a:pt x="3665" y="2601"/>
                  </a:lnTo>
                  <a:lnTo>
                    <a:pt x="3676" y="2594"/>
                  </a:lnTo>
                  <a:lnTo>
                    <a:pt x="3688" y="2589"/>
                  </a:lnTo>
                  <a:lnTo>
                    <a:pt x="3704" y="2582"/>
                  </a:lnTo>
                  <a:lnTo>
                    <a:pt x="3719" y="2577"/>
                  </a:lnTo>
                  <a:lnTo>
                    <a:pt x="3733" y="2573"/>
                  </a:lnTo>
                  <a:lnTo>
                    <a:pt x="3747" y="2568"/>
                  </a:lnTo>
                  <a:lnTo>
                    <a:pt x="3760" y="2565"/>
                  </a:lnTo>
                  <a:lnTo>
                    <a:pt x="3774" y="2560"/>
                  </a:lnTo>
                  <a:lnTo>
                    <a:pt x="3788" y="2552"/>
                  </a:lnTo>
                  <a:lnTo>
                    <a:pt x="3802" y="2543"/>
                  </a:lnTo>
                  <a:lnTo>
                    <a:pt x="3809" y="2539"/>
                  </a:lnTo>
                  <a:lnTo>
                    <a:pt x="3815" y="2534"/>
                  </a:lnTo>
                  <a:lnTo>
                    <a:pt x="3819" y="2528"/>
                  </a:lnTo>
                  <a:lnTo>
                    <a:pt x="3824" y="2523"/>
                  </a:lnTo>
                  <a:lnTo>
                    <a:pt x="3831" y="2511"/>
                  </a:lnTo>
                  <a:lnTo>
                    <a:pt x="3838" y="2499"/>
                  </a:lnTo>
                  <a:lnTo>
                    <a:pt x="3843" y="2486"/>
                  </a:lnTo>
                  <a:lnTo>
                    <a:pt x="3850" y="2473"/>
                  </a:lnTo>
                  <a:lnTo>
                    <a:pt x="3857" y="2461"/>
                  </a:lnTo>
                  <a:lnTo>
                    <a:pt x="3867" y="2448"/>
                  </a:lnTo>
                  <a:lnTo>
                    <a:pt x="3879" y="2432"/>
                  </a:lnTo>
                  <a:lnTo>
                    <a:pt x="3889" y="2417"/>
                  </a:lnTo>
                  <a:lnTo>
                    <a:pt x="3897" y="2402"/>
                  </a:lnTo>
                  <a:lnTo>
                    <a:pt x="3903" y="2386"/>
                  </a:lnTo>
                  <a:lnTo>
                    <a:pt x="3908" y="2369"/>
                  </a:lnTo>
                  <a:lnTo>
                    <a:pt x="3912" y="2352"/>
                  </a:lnTo>
                  <a:lnTo>
                    <a:pt x="3917" y="2334"/>
                  </a:lnTo>
                  <a:lnTo>
                    <a:pt x="3920" y="2313"/>
                  </a:lnTo>
                  <a:lnTo>
                    <a:pt x="3927" y="2286"/>
                  </a:lnTo>
                  <a:lnTo>
                    <a:pt x="3936" y="2263"/>
                  </a:lnTo>
                  <a:lnTo>
                    <a:pt x="3939" y="2251"/>
                  </a:lnTo>
                  <a:lnTo>
                    <a:pt x="3943" y="2238"/>
                  </a:lnTo>
                  <a:lnTo>
                    <a:pt x="3945" y="2225"/>
                  </a:lnTo>
                  <a:lnTo>
                    <a:pt x="3946" y="2210"/>
                  </a:lnTo>
                  <a:lnTo>
                    <a:pt x="3945" y="2197"/>
                  </a:lnTo>
                  <a:lnTo>
                    <a:pt x="3943" y="2186"/>
                  </a:lnTo>
                  <a:lnTo>
                    <a:pt x="3940" y="2175"/>
                  </a:lnTo>
                  <a:lnTo>
                    <a:pt x="3937" y="2162"/>
                  </a:lnTo>
                  <a:lnTo>
                    <a:pt x="3951" y="2151"/>
                  </a:lnTo>
                  <a:lnTo>
                    <a:pt x="3965" y="2139"/>
                  </a:lnTo>
                  <a:lnTo>
                    <a:pt x="3981" y="2133"/>
                  </a:lnTo>
                  <a:lnTo>
                    <a:pt x="3997" y="2128"/>
                  </a:lnTo>
                  <a:lnTo>
                    <a:pt x="4003" y="2123"/>
                  </a:lnTo>
                  <a:lnTo>
                    <a:pt x="4008" y="2119"/>
                  </a:lnTo>
                  <a:lnTo>
                    <a:pt x="4010" y="2116"/>
                  </a:lnTo>
                  <a:lnTo>
                    <a:pt x="4012" y="2112"/>
                  </a:lnTo>
                  <a:lnTo>
                    <a:pt x="4013" y="2109"/>
                  </a:lnTo>
                  <a:lnTo>
                    <a:pt x="4013" y="2105"/>
                  </a:lnTo>
                  <a:lnTo>
                    <a:pt x="4013" y="2098"/>
                  </a:lnTo>
                  <a:lnTo>
                    <a:pt x="4012" y="2092"/>
                  </a:lnTo>
                  <a:lnTo>
                    <a:pt x="4010" y="2087"/>
                  </a:lnTo>
                  <a:lnTo>
                    <a:pt x="4007" y="2081"/>
                  </a:lnTo>
                  <a:lnTo>
                    <a:pt x="4002" y="2070"/>
                  </a:lnTo>
                  <a:lnTo>
                    <a:pt x="3995" y="2061"/>
                  </a:lnTo>
                  <a:lnTo>
                    <a:pt x="3990" y="2051"/>
                  </a:lnTo>
                  <a:lnTo>
                    <a:pt x="3985" y="2040"/>
                  </a:lnTo>
                  <a:lnTo>
                    <a:pt x="3983" y="2035"/>
                  </a:lnTo>
                  <a:lnTo>
                    <a:pt x="3980" y="2029"/>
                  </a:lnTo>
                  <a:lnTo>
                    <a:pt x="3979" y="2023"/>
                  </a:lnTo>
                  <a:lnTo>
                    <a:pt x="3979" y="2016"/>
                  </a:lnTo>
                  <a:lnTo>
                    <a:pt x="3979" y="2013"/>
                  </a:lnTo>
                  <a:lnTo>
                    <a:pt x="3980" y="2010"/>
                  </a:lnTo>
                  <a:lnTo>
                    <a:pt x="3981" y="2007"/>
                  </a:lnTo>
                  <a:lnTo>
                    <a:pt x="3984" y="2004"/>
                  </a:lnTo>
                  <a:lnTo>
                    <a:pt x="3988" y="1999"/>
                  </a:lnTo>
                  <a:lnTo>
                    <a:pt x="3993" y="1996"/>
                  </a:lnTo>
                  <a:lnTo>
                    <a:pt x="3999" y="1991"/>
                  </a:lnTo>
                  <a:lnTo>
                    <a:pt x="4005" y="1987"/>
                  </a:lnTo>
                  <a:lnTo>
                    <a:pt x="4011" y="1983"/>
                  </a:lnTo>
                  <a:lnTo>
                    <a:pt x="4015" y="1977"/>
                  </a:lnTo>
                  <a:lnTo>
                    <a:pt x="4026" y="1963"/>
                  </a:lnTo>
                  <a:lnTo>
                    <a:pt x="4034" y="1950"/>
                  </a:lnTo>
                  <a:lnTo>
                    <a:pt x="4039" y="1944"/>
                  </a:lnTo>
                  <a:lnTo>
                    <a:pt x="4042" y="1937"/>
                  </a:lnTo>
                  <a:lnTo>
                    <a:pt x="4046" y="1930"/>
                  </a:lnTo>
                  <a:lnTo>
                    <a:pt x="4049" y="1921"/>
                  </a:lnTo>
                  <a:lnTo>
                    <a:pt x="4059" y="1892"/>
                  </a:lnTo>
                  <a:lnTo>
                    <a:pt x="4070" y="1866"/>
                  </a:lnTo>
                  <a:lnTo>
                    <a:pt x="4075" y="1854"/>
                  </a:lnTo>
                  <a:lnTo>
                    <a:pt x="4082" y="1841"/>
                  </a:lnTo>
                  <a:lnTo>
                    <a:pt x="4091" y="1828"/>
                  </a:lnTo>
                  <a:lnTo>
                    <a:pt x="4099" y="1814"/>
                  </a:lnTo>
                  <a:lnTo>
                    <a:pt x="4107" y="1807"/>
                  </a:lnTo>
                  <a:lnTo>
                    <a:pt x="4114" y="1800"/>
                  </a:lnTo>
                  <a:lnTo>
                    <a:pt x="4122" y="1796"/>
                  </a:lnTo>
                  <a:lnTo>
                    <a:pt x="4132" y="1793"/>
                  </a:lnTo>
                  <a:lnTo>
                    <a:pt x="4151" y="1788"/>
                  </a:lnTo>
                  <a:lnTo>
                    <a:pt x="4173" y="1784"/>
                  </a:lnTo>
                  <a:lnTo>
                    <a:pt x="4203" y="1777"/>
                  </a:lnTo>
                  <a:lnTo>
                    <a:pt x="4223" y="1770"/>
                  </a:lnTo>
                  <a:lnTo>
                    <a:pt x="4244" y="1766"/>
                  </a:lnTo>
                  <a:lnTo>
                    <a:pt x="4274" y="1760"/>
                  </a:lnTo>
                  <a:lnTo>
                    <a:pt x="4274" y="1760"/>
                  </a:lnTo>
                  <a:lnTo>
                    <a:pt x="4271" y="1755"/>
                  </a:lnTo>
                  <a:lnTo>
                    <a:pt x="4269" y="1748"/>
                  </a:lnTo>
                  <a:lnTo>
                    <a:pt x="4270" y="1738"/>
                  </a:lnTo>
                  <a:lnTo>
                    <a:pt x="4271" y="1727"/>
                  </a:lnTo>
                  <a:lnTo>
                    <a:pt x="4274" y="1716"/>
                  </a:lnTo>
                  <a:lnTo>
                    <a:pt x="4277" y="1706"/>
                  </a:lnTo>
                  <a:lnTo>
                    <a:pt x="4287" y="1689"/>
                  </a:lnTo>
                  <a:lnTo>
                    <a:pt x="4297" y="1672"/>
                  </a:lnTo>
                  <a:lnTo>
                    <a:pt x="4308" y="1655"/>
                  </a:lnTo>
                  <a:lnTo>
                    <a:pt x="4316" y="1636"/>
                  </a:lnTo>
                  <a:lnTo>
                    <a:pt x="4320" y="1628"/>
                  </a:lnTo>
                  <a:lnTo>
                    <a:pt x="4323" y="1617"/>
                  </a:lnTo>
                  <a:lnTo>
                    <a:pt x="4325" y="1606"/>
                  </a:lnTo>
                  <a:lnTo>
                    <a:pt x="4325" y="1595"/>
                  </a:lnTo>
                  <a:lnTo>
                    <a:pt x="4324" y="1581"/>
                  </a:lnTo>
                  <a:lnTo>
                    <a:pt x="4321" y="1569"/>
                  </a:lnTo>
                  <a:lnTo>
                    <a:pt x="4318" y="1556"/>
                  </a:lnTo>
                  <a:lnTo>
                    <a:pt x="4316" y="1543"/>
                  </a:lnTo>
                  <a:lnTo>
                    <a:pt x="4317" y="1536"/>
                  </a:lnTo>
                  <a:lnTo>
                    <a:pt x="4318" y="1529"/>
                  </a:lnTo>
                  <a:lnTo>
                    <a:pt x="4320" y="1523"/>
                  </a:lnTo>
                  <a:lnTo>
                    <a:pt x="4323" y="1517"/>
                  </a:lnTo>
                  <a:lnTo>
                    <a:pt x="4328" y="1507"/>
                  </a:lnTo>
                  <a:lnTo>
                    <a:pt x="4336" y="1496"/>
                  </a:lnTo>
                  <a:lnTo>
                    <a:pt x="4343" y="1486"/>
                  </a:lnTo>
                  <a:lnTo>
                    <a:pt x="4351" y="1476"/>
                  </a:lnTo>
                  <a:lnTo>
                    <a:pt x="4358" y="1464"/>
                  </a:lnTo>
                  <a:lnTo>
                    <a:pt x="4364" y="1451"/>
                  </a:lnTo>
                  <a:lnTo>
                    <a:pt x="4374" y="1423"/>
                  </a:lnTo>
                  <a:lnTo>
                    <a:pt x="4380" y="1397"/>
                  </a:lnTo>
                  <a:lnTo>
                    <a:pt x="4385" y="1373"/>
                  </a:lnTo>
                  <a:lnTo>
                    <a:pt x="4391" y="1349"/>
                  </a:lnTo>
                  <a:lnTo>
                    <a:pt x="4395" y="1325"/>
                  </a:lnTo>
                  <a:lnTo>
                    <a:pt x="4402" y="1300"/>
                  </a:lnTo>
                  <a:lnTo>
                    <a:pt x="4409" y="1274"/>
                  </a:lnTo>
                  <a:lnTo>
                    <a:pt x="4420" y="1247"/>
                  </a:lnTo>
                  <a:lnTo>
                    <a:pt x="4433" y="1220"/>
                  </a:lnTo>
                  <a:lnTo>
                    <a:pt x="4447" y="1197"/>
                  </a:lnTo>
                  <a:lnTo>
                    <a:pt x="4460" y="1174"/>
                  </a:lnTo>
                  <a:lnTo>
                    <a:pt x="4472" y="1152"/>
                  </a:lnTo>
                  <a:lnTo>
                    <a:pt x="4477" y="1142"/>
                  </a:lnTo>
                  <a:lnTo>
                    <a:pt x="4483" y="1131"/>
                  </a:lnTo>
                  <a:lnTo>
                    <a:pt x="4487" y="1120"/>
                  </a:lnTo>
                  <a:lnTo>
                    <a:pt x="4491" y="1108"/>
                  </a:lnTo>
                  <a:lnTo>
                    <a:pt x="4494" y="1095"/>
                  </a:lnTo>
                  <a:lnTo>
                    <a:pt x="4497" y="1082"/>
                  </a:lnTo>
                  <a:lnTo>
                    <a:pt x="4499" y="1068"/>
                  </a:lnTo>
                  <a:lnTo>
                    <a:pt x="4499" y="1054"/>
                  </a:lnTo>
                  <a:lnTo>
                    <a:pt x="4498" y="1040"/>
                  </a:lnTo>
                  <a:lnTo>
                    <a:pt x="4496" y="1027"/>
                  </a:lnTo>
                  <a:lnTo>
                    <a:pt x="4492" y="1015"/>
                  </a:lnTo>
                  <a:lnTo>
                    <a:pt x="4488" y="1004"/>
                  </a:lnTo>
                  <a:lnTo>
                    <a:pt x="4483" y="994"/>
                  </a:lnTo>
                  <a:lnTo>
                    <a:pt x="4476" y="984"/>
                  </a:lnTo>
                  <a:lnTo>
                    <a:pt x="4470" y="974"/>
                  </a:lnTo>
                  <a:lnTo>
                    <a:pt x="4462" y="965"/>
                  </a:lnTo>
                  <a:lnTo>
                    <a:pt x="4445" y="948"/>
                  </a:lnTo>
                  <a:lnTo>
                    <a:pt x="4425" y="930"/>
                  </a:lnTo>
                  <a:lnTo>
                    <a:pt x="4406" y="911"/>
                  </a:lnTo>
                  <a:lnTo>
                    <a:pt x="4386" y="891"/>
                  </a:lnTo>
                  <a:lnTo>
                    <a:pt x="4368" y="868"/>
                  </a:lnTo>
                  <a:lnTo>
                    <a:pt x="4351" y="848"/>
                  </a:lnTo>
                  <a:lnTo>
                    <a:pt x="4342" y="838"/>
                  </a:lnTo>
                  <a:lnTo>
                    <a:pt x="4331" y="830"/>
                  </a:lnTo>
                  <a:lnTo>
                    <a:pt x="4326" y="828"/>
                  </a:lnTo>
                  <a:lnTo>
                    <a:pt x="4320" y="825"/>
                  </a:lnTo>
                  <a:lnTo>
                    <a:pt x="4313" y="823"/>
                  </a:lnTo>
                  <a:lnTo>
                    <a:pt x="4305" y="821"/>
                  </a:lnTo>
                  <a:lnTo>
                    <a:pt x="4290" y="820"/>
                  </a:lnTo>
                  <a:lnTo>
                    <a:pt x="4275" y="819"/>
                  </a:lnTo>
                  <a:lnTo>
                    <a:pt x="4261" y="819"/>
                  </a:lnTo>
                  <a:lnTo>
                    <a:pt x="4248" y="820"/>
                  </a:lnTo>
                  <a:lnTo>
                    <a:pt x="4235" y="820"/>
                  </a:lnTo>
                  <a:lnTo>
                    <a:pt x="4221" y="819"/>
                  </a:lnTo>
                  <a:lnTo>
                    <a:pt x="4215" y="818"/>
                  </a:lnTo>
                  <a:lnTo>
                    <a:pt x="4207" y="815"/>
                  </a:lnTo>
                  <a:lnTo>
                    <a:pt x="4201" y="813"/>
                  </a:lnTo>
                  <a:lnTo>
                    <a:pt x="4193" y="810"/>
                  </a:lnTo>
                  <a:lnTo>
                    <a:pt x="4173" y="799"/>
                  </a:lnTo>
                  <a:lnTo>
                    <a:pt x="4154" y="789"/>
                  </a:lnTo>
                  <a:lnTo>
                    <a:pt x="4146" y="785"/>
                  </a:lnTo>
                  <a:lnTo>
                    <a:pt x="4136" y="782"/>
                  </a:lnTo>
                  <a:lnTo>
                    <a:pt x="4125" y="780"/>
                  </a:lnTo>
                  <a:lnTo>
                    <a:pt x="4113" y="779"/>
                  </a:lnTo>
                  <a:lnTo>
                    <a:pt x="4101" y="780"/>
                  </a:lnTo>
                  <a:lnTo>
                    <a:pt x="4089" y="783"/>
                  </a:lnTo>
                  <a:lnTo>
                    <a:pt x="4080" y="787"/>
                  </a:lnTo>
                  <a:lnTo>
                    <a:pt x="4069" y="792"/>
                  </a:lnTo>
                  <a:lnTo>
                    <a:pt x="4059" y="796"/>
                  </a:lnTo>
                  <a:lnTo>
                    <a:pt x="4049" y="800"/>
                  </a:lnTo>
                  <a:lnTo>
                    <a:pt x="4038" y="803"/>
                  </a:lnTo>
                  <a:lnTo>
                    <a:pt x="4025" y="805"/>
                  </a:lnTo>
                  <a:lnTo>
                    <a:pt x="4020" y="803"/>
                  </a:lnTo>
                  <a:lnTo>
                    <a:pt x="4016" y="801"/>
                  </a:lnTo>
                  <a:lnTo>
                    <a:pt x="4013" y="797"/>
                  </a:lnTo>
                  <a:lnTo>
                    <a:pt x="4011" y="792"/>
                  </a:lnTo>
                  <a:lnTo>
                    <a:pt x="4007" y="780"/>
                  </a:lnTo>
                  <a:lnTo>
                    <a:pt x="4005" y="768"/>
                  </a:lnTo>
                  <a:lnTo>
                    <a:pt x="4003" y="759"/>
                  </a:lnTo>
                  <a:lnTo>
                    <a:pt x="4000" y="751"/>
                  </a:lnTo>
                  <a:lnTo>
                    <a:pt x="3997" y="744"/>
                  </a:lnTo>
                  <a:lnTo>
                    <a:pt x="3993" y="737"/>
                  </a:lnTo>
                  <a:lnTo>
                    <a:pt x="3985" y="724"/>
                  </a:lnTo>
                  <a:lnTo>
                    <a:pt x="3975" y="710"/>
                  </a:lnTo>
                  <a:lnTo>
                    <a:pt x="3954" y="677"/>
                  </a:lnTo>
                  <a:lnTo>
                    <a:pt x="3937" y="649"/>
                  </a:lnTo>
                  <a:lnTo>
                    <a:pt x="3927" y="636"/>
                  </a:lnTo>
                  <a:lnTo>
                    <a:pt x="3918" y="622"/>
                  </a:lnTo>
                  <a:lnTo>
                    <a:pt x="3907" y="608"/>
                  </a:lnTo>
                  <a:lnTo>
                    <a:pt x="3893" y="594"/>
                  </a:lnTo>
                  <a:lnTo>
                    <a:pt x="3885" y="587"/>
                  </a:lnTo>
                  <a:lnTo>
                    <a:pt x="3878" y="581"/>
                  </a:lnTo>
                  <a:lnTo>
                    <a:pt x="3869" y="577"/>
                  </a:lnTo>
                  <a:lnTo>
                    <a:pt x="3862" y="572"/>
                  </a:lnTo>
                  <a:lnTo>
                    <a:pt x="3844" y="567"/>
                  </a:lnTo>
                  <a:lnTo>
                    <a:pt x="3827" y="564"/>
                  </a:lnTo>
                  <a:lnTo>
                    <a:pt x="3809" y="560"/>
                  </a:lnTo>
                  <a:lnTo>
                    <a:pt x="3790" y="557"/>
                  </a:lnTo>
                  <a:lnTo>
                    <a:pt x="3781" y="556"/>
                  </a:lnTo>
                  <a:lnTo>
                    <a:pt x="3771" y="553"/>
                  </a:lnTo>
                  <a:lnTo>
                    <a:pt x="3760" y="551"/>
                  </a:lnTo>
                  <a:lnTo>
                    <a:pt x="3750" y="546"/>
                  </a:lnTo>
                  <a:lnTo>
                    <a:pt x="3729" y="538"/>
                  </a:lnTo>
                  <a:lnTo>
                    <a:pt x="3709" y="530"/>
                  </a:lnTo>
                  <a:lnTo>
                    <a:pt x="3691" y="523"/>
                  </a:lnTo>
                  <a:lnTo>
                    <a:pt x="3669" y="513"/>
                  </a:lnTo>
                  <a:lnTo>
                    <a:pt x="3653" y="504"/>
                  </a:lnTo>
                  <a:lnTo>
                    <a:pt x="3640" y="496"/>
                  </a:lnTo>
                  <a:lnTo>
                    <a:pt x="3626" y="487"/>
                  </a:lnTo>
                  <a:lnTo>
                    <a:pt x="3610" y="479"/>
                  </a:lnTo>
                  <a:lnTo>
                    <a:pt x="3598" y="475"/>
                  </a:lnTo>
                  <a:lnTo>
                    <a:pt x="3585" y="471"/>
                  </a:lnTo>
                  <a:lnTo>
                    <a:pt x="3580" y="469"/>
                  </a:lnTo>
                  <a:lnTo>
                    <a:pt x="3574" y="465"/>
                  </a:lnTo>
                  <a:lnTo>
                    <a:pt x="3570" y="462"/>
                  </a:lnTo>
                  <a:lnTo>
                    <a:pt x="3566" y="457"/>
                  </a:lnTo>
                  <a:lnTo>
                    <a:pt x="3559" y="448"/>
                  </a:lnTo>
                  <a:lnTo>
                    <a:pt x="3555" y="438"/>
                  </a:lnTo>
                  <a:lnTo>
                    <a:pt x="3552" y="430"/>
                  </a:lnTo>
                  <a:lnTo>
                    <a:pt x="3547" y="421"/>
                  </a:lnTo>
                  <a:lnTo>
                    <a:pt x="3544" y="413"/>
                  </a:lnTo>
                  <a:lnTo>
                    <a:pt x="3539" y="404"/>
                  </a:lnTo>
                  <a:lnTo>
                    <a:pt x="3533" y="395"/>
                  </a:lnTo>
                  <a:lnTo>
                    <a:pt x="3527" y="387"/>
                  </a:lnTo>
                  <a:lnTo>
                    <a:pt x="3504" y="366"/>
                  </a:lnTo>
                  <a:lnTo>
                    <a:pt x="3482" y="348"/>
                  </a:lnTo>
                  <a:lnTo>
                    <a:pt x="3461" y="333"/>
                  </a:lnTo>
                  <a:lnTo>
                    <a:pt x="3438" y="319"/>
                  </a:lnTo>
                  <a:lnTo>
                    <a:pt x="3415" y="306"/>
                  </a:lnTo>
                  <a:lnTo>
                    <a:pt x="3392" y="294"/>
                  </a:lnTo>
                  <a:lnTo>
                    <a:pt x="3367" y="282"/>
                  </a:lnTo>
                  <a:lnTo>
                    <a:pt x="3339" y="269"/>
                  </a:lnTo>
                  <a:lnTo>
                    <a:pt x="3327" y="262"/>
                  </a:lnTo>
                  <a:lnTo>
                    <a:pt x="3317" y="256"/>
                  </a:lnTo>
                  <a:lnTo>
                    <a:pt x="3309" y="247"/>
                  </a:lnTo>
                  <a:lnTo>
                    <a:pt x="3301" y="240"/>
                  </a:lnTo>
                  <a:lnTo>
                    <a:pt x="3292" y="232"/>
                  </a:lnTo>
                  <a:lnTo>
                    <a:pt x="3283" y="227"/>
                  </a:lnTo>
                  <a:lnTo>
                    <a:pt x="3277" y="225"/>
                  </a:lnTo>
                  <a:lnTo>
                    <a:pt x="3272" y="222"/>
                  </a:lnTo>
                  <a:lnTo>
                    <a:pt x="3266" y="221"/>
                  </a:lnTo>
                  <a:lnTo>
                    <a:pt x="3260" y="221"/>
                  </a:lnTo>
                  <a:lnTo>
                    <a:pt x="3251" y="221"/>
                  </a:lnTo>
                  <a:lnTo>
                    <a:pt x="3244" y="224"/>
                  </a:lnTo>
                  <a:lnTo>
                    <a:pt x="3236" y="225"/>
                  </a:lnTo>
                  <a:lnTo>
                    <a:pt x="3230" y="227"/>
                  </a:lnTo>
                  <a:lnTo>
                    <a:pt x="3217" y="233"/>
                  </a:lnTo>
                  <a:lnTo>
                    <a:pt x="3204" y="240"/>
                  </a:lnTo>
                  <a:lnTo>
                    <a:pt x="3192" y="246"/>
                  </a:lnTo>
                  <a:lnTo>
                    <a:pt x="3178" y="253"/>
                  </a:lnTo>
                  <a:lnTo>
                    <a:pt x="3171" y="255"/>
                  </a:lnTo>
                  <a:lnTo>
                    <a:pt x="3164" y="256"/>
                  </a:lnTo>
                  <a:lnTo>
                    <a:pt x="3156" y="257"/>
                  </a:lnTo>
                  <a:lnTo>
                    <a:pt x="3148" y="258"/>
                  </a:lnTo>
                  <a:lnTo>
                    <a:pt x="3142" y="257"/>
                  </a:lnTo>
                  <a:lnTo>
                    <a:pt x="3137" y="257"/>
                  </a:lnTo>
                  <a:lnTo>
                    <a:pt x="3131" y="255"/>
                  </a:lnTo>
                  <a:lnTo>
                    <a:pt x="3126" y="253"/>
                  </a:lnTo>
                  <a:lnTo>
                    <a:pt x="3117" y="247"/>
                  </a:lnTo>
                  <a:lnTo>
                    <a:pt x="3110" y="240"/>
                  </a:lnTo>
                  <a:lnTo>
                    <a:pt x="3102" y="232"/>
                  </a:lnTo>
                  <a:lnTo>
                    <a:pt x="3094" y="225"/>
                  </a:lnTo>
                  <a:lnTo>
                    <a:pt x="3085" y="217"/>
                  </a:lnTo>
                  <a:lnTo>
                    <a:pt x="3075" y="211"/>
                  </a:lnTo>
                  <a:lnTo>
                    <a:pt x="3055" y="202"/>
                  </a:lnTo>
                  <a:lnTo>
                    <a:pt x="3034" y="193"/>
                  </a:lnTo>
                  <a:lnTo>
                    <a:pt x="3027" y="189"/>
                  </a:lnTo>
                  <a:lnTo>
                    <a:pt x="3019" y="182"/>
                  </a:lnTo>
                  <a:lnTo>
                    <a:pt x="3017" y="179"/>
                  </a:lnTo>
                  <a:lnTo>
                    <a:pt x="3015" y="175"/>
                  </a:lnTo>
                  <a:lnTo>
                    <a:pt x="3014" y="171"/>
                  </a:lnTo>
                  <a:lnTo>
                    <a:pt x="3014" y="165"/>
                  </a:lnTo>
                  <a:lnTo>
                    <a:pt x="3014" y="147"/>
                  </a:lnTo>
                  <a:lnTo>
                    <a:pt x="3016" y="130"/>
                  </a:lnTo>
                  <a:lnTo>
                    <a:pt x="3020" y="113"/>
                  </a:lnTo>
                  <a:lnTo>
                    <a:pt x="3028" y="95"/>
                  </a:lnTo>
                  <a:lnTo>
                    <a:pt x="3035" y="83"/>
                  </a:lnTo>
                  <a:lnTo>
                    <a:pt x="3043" y="72"/>
                  </a:lnTo>
                  <a:lnTo>
                    <a:pt x="3047" y="67"/>
                  </a:lnTo>
                  <a:lnTo>
                    <a:pt x="3049" y="62"/>
                  </a:lnTo>
                  <a:lnTo>
                    <a:pt x="3052" y="55"/>
                  </a:lnTo>
                  <a:lnTo>
                    <a:pt x="3053" y="47"/>
                  </a:lnTo>
                  <a:lnTo>
                    <a:pt x="3053" y="44"/>
                  </a:lnTo>
                  <a:lnTo>
                    <a:pt x="3052" y="40"/>
                  </a:lnTo>
                  <a:lnTo>
                    <a:pt x="3049" y="38"/>
                  </a:lnTo>
                  <a:lnTo>
                    <a:pt x="3047" y="35"/>
                  </a:lnTo>
                  <a:lnTo>
                    <a:pt x="3042" y="31"/>
                  </a:lnTo>
                  <a:lnTo>
                    <a:pt x="3035" y="28"/>
                  </a:lnTo>
                  <a:lnTo>
                    <a:pt x="3019" y="24"/>
                  </a:lnTo>
                  <a:lnTo>
                    <a:pt x="3002" y="19"/>
                  </a:lnTo>
                  <a:lnTo>
                    <a:pt x="2990" y="14"/>
                  </a:lnTo>
                  <a:lnTo>
                    <a:pt x="2980" y="8"/>
                  </a:lnTo>
                  <a:lnTo>
                    <a:pt x="2975" y="4"/>
                  </a:lnTo>
                  <a:lnTo>
                    <a:pt x="2969" y="2"/>
                  </a:lnTo>
                  <a:lnTo>
                    <a:pt x="2963" y="1"/>
                  </a:lnTo>
                  <a:lnTo>
                    <a:pt x="2956" y="0"/>
                  </a:lnTo>
                  <a:lnTo>
                    <a:pt x="2939" y="0"/>
                  </a:lnTo>
                  <a:lnTo>
                    <a:pt x="2924" y="0"/>
                  </a:lnTo>
                  <a:lnTo>
                    <a:pt x="2908" y="0"/>
                  </a:lnTo>
                  <a:lnTo>
                    <a:pt x="2891" y="0"/>
                  </a:lnTo>
                  <a:lnTo>
                    <a:pt x="2882" y="1"/>
                  </a:lnTo>
                  <a:lnTo>
                    <a:pt x="2874" y="2"/>
                  </a:lnTo>
                  <a:lnTo>
                    <a:pt x="2868" y="4"/>
                  </a:lnTo>
                  <a:lnTo>
                    <a:pt x="2860" y="8"/>
                  </a:lnTo>
                  <a:lnTo>
                    <a:pt x="2854" y="10"/>
                  </a:lnTo>
                  <a:lnTo>
                    <a:pt x="2846" y="12"/>
                  </a:lnTo>
                  <a:lnTo>
                    <a:pt x="2839" y="14"/>
                  </a:lnTo>
                  <a:lnTo>
                    <a:pt x="2830" y="14"/>
                  </a:lnTo>
                  <a:lnTo>
                    <a:pt x="2816" y="14"/>
                  </a:lnTo>
                  <a:lnTo>
                    <a:pt x="2803" y="14"/>
                  </a:lnTo>
                  <a:lnTo>
                    <a:pt x="2790" y="14"/>
                  </a:lnTo>
                  <a:lnTo>
                    <a:pt x="2776" y="14"/>
                  </a:lnTo>
                  <a:lnTo>
                    <a:pt x="2766" y="15"/>
                  </a:lnTo>
                  <a:lnTo>
                    <a:pt x="2759" y="17"/>
                  </a:lnTo>
                  <a:lnTo>
                    <a:pt x="2752" y="20"/>
                  </a:lnTo>
                  <a:lnTo>
                    <a:pt x="2746" y="25"/>
                  </a:lnTo>
                  <a:lnTo>
                    <a:pt x="2733" y="36"/>
                  </a:lnTo>
                  <a:lnTo>
                    <a:pt x="2719" y="47"/>
                  </a:lnTo>
                  <a:lnTo>
                    <a:pt x="2698" y="63"/>
                  </a:lnTo>
                  <a:lnTo>
                    <a:pt x="2681" y="78"/>
                  </a:lnTo>
                  <a:lnTo>
                    <a:pt x="2663" y="93"/>
                  </a:lnTo>
                  <a:lnTo>
                    <a:pt x="2643" y="109"/>
                  </a:lnTo>
                  <a:lnTo>
                    <a:pt x="2625" y="124"/>
                  </a:lnTo>
                  <a:lnTo>
                    <a:pt x="2607" y="137"/>
                  </a:lnTo>
                  <a:lnTo>
                    <a:pt x="2588" y="147"/>
                  </a:lnTo>
                  <a:lnTo>
                    <a:pt x="2571" y="157"/>
                  </a:lnTo>
                  <a:lnTo>
                    <a:pt x="2532" y="172"/>
                  </a:lnTo>
                  <a:lnTo>
                    <a:pt x="2489" y="188"/>
                  </a:lnTo>
                  <a:lnTo>
                    <a:pt x="2472" y="194"/>
                  </a:lnTo>
                  <a:lnTo>
                    <a:pt x="2455" y="202"/>
                  </a:lnTo>
                  <a:lnTo>
                    <a:pt x="2440" y="211"/>
                  </a:lnTo>
                  <a:lnTo>
                    <a:pt x="2426" y="218"/>
                  </a:lnTo>
                  <a:lnTo>
                    <a:pt x="2398" y="234"/>
                  </a:lnTo>
                  <a:lnTo>
                    <a:pt x="2372" y="251"/>
                  </a:lnTo>
                  <a:lnTo>
                    <a:pt x="2345" y="266"/>
                  </a:lnTo>
                  <a:lnTo>
                    <a:pt x="2317" y="281"/>
                  </a:lnTo>
                  <a:lnTo>
                    <a:pt x="2302" y="287"/>
                  </a:lnTo>
                  <a:lnTo>
                    <a:pt x="2286" y="293"/>
                  </a:lnTo>
                  <a:lnTo>
                    <a:pt x="2270" y="298"/>
                  </a:lnTo>
                  <a:lnTo>
                    <a:pt x="2251" y="302"/>
                  </a:lnTo>
                  <a:lnTo>
                    <a:pt x="2243" y="306"/>
                  </a:lnTo>
                  <a:lnTo>
                    <a:pt x="2234" y="310"/>
                  </a:lnTo>
                  <a:lnTo>
                    <a:pt x="2227" y="314"/>
                  </a:lnTo>
                  <a:lnTo>
                    <a:pt x="2221" y="319"/>
                  </a:lnTo>
                  <a:lnTo>
                    <a:pt x="2213" y="323"/>
                  </a:lnTo>
                  <a:lnTo>
                    <a:pt x="2207" y="327"/>
                  </a:lnTo>
                  <a:lnTo>
                    <a:pt x="2198" y="329"/>
                  </a:lnTo>
                  <a:lnTo>
                    <a:pt x="2190" y="330"/>
                  </a:lnTo>
                  <a:lnTo>
                    <a:pt x="2179" y="330"/>
                  </a:lnTo>
                  <a:lnTo>
                    <a:pt x="2169" y="328"/>
                  </a:lnTo>
                  <a:lnTo>
                    <a:pt x="2160" y="325"/>
                  </a:lnTo>
                  <a:lnTo>
                    <a:pt x="2152" y="320"/>
                  </a:lnTo>
                  <a:lnTo>
                    <a:pt x="2145" y="314"/>
                  </a:lnTo>
                  <a:lnTo>
                    <a:pt x="2139" y="308"/>
                  </a:lnTo>
                  <a:lnTo>
                    <a:pt x="2132" y="300"/>
                  </a:lnTo>
                  <a:lnTo>
                    <a:pt x="2128" y="292"/>
                  </a:lnTo>
                  <a:lnTo>
                    <a:pt x="2118" y="273"/>
                  </a:lnTo>
                  <a:lnTo>
                    <a:pt x="2111" y="254"/>
                  </a:lnTo>
                  <a:lnTo>
                    <a:pt x="2104" y="232"/>
                  </a:lnTo>
                  <a:lnTo>
                    <a:pt x="2097" y="211"/>
                  </a:lnTo>
                  <a:lnTo>
                    <a:pt x="2097" y="211"/>
                  </a:lnTo>
                  <a:lnTo>
                    <a:pt x="2075" y="209"/>
                  </a:lnTo>
                  <a:lnTo>
                    <a:pt x="2056" y="207"/>
                  </a:lnTo>
                  <a:lnTo>
                    <a:pt x="2037" y="204"/>
                  </a:lnTo>
                  <a:lnTo>
                    <a:pt x="2019" y="201"/>
                  </a:lnTo>
                  <a:lnTo>
                    <a:pt x="2002" y="197"/>
                  </a:lnTo>
                  <a:lnTo>
                    <a:pt x="1982" y="193"/>
                  </a:lnTo>
                  <a:lnTo>
                    <a:pt x="1963" y="191"/>
                  </a:lnTo>
                  <a:lnTo>
                    <a:pt x="1941" y="191"/>
                  </a:lnTo>
                  <a:lnTo>
                    <a:pt x="1931" y="191"/>
                  </a:lnTo>
                  <a:lnTo>
                    <a:pt x="1921" y="192"/>
                  </a:lnTo>
                  <a:lnTo>
                    <a:pt x="1912" y="194"/>
                  </a:lnTo>
                  <a:lnTo>
                    <a:pt x="1903" y="198"/>
                  </a:lnTo>
                  <a:lnTo>
                    <a:pt x="1895" y="201"/>
                  </a:lnTo>
                  <a:lnTo>
                    <a:pt x="1887" y="205"/>
                  </a:lnTo>
                  <a:lnTo>
                    <a:pt x="1880" y="209"/>
                  </a:lnTo>
                  <a:lnTo>
                    <a:pt x="1872" y="215"/>
                  </a:lnTo>
                  <a:lnTo>
                    <a:pt x="1866" y="221"/>
                  </a:lnTo>
                  <a:lnTo>
                    <a:pt x="1859" y="228"/>
                  </a:lnTo>
                  <a:lnTo>
                    <a:pt x="1853" y="235"/>
                  </a:lnTo>
                  <a:lnTo>
                    <a:pt x="1847" y="243"/>
                  </a:lnTo>
                  <a:lnTo>
                    <a:pt x="1835" y="259"/>
                  </a:lnTo>
                  <a:lnTo>
                    <a:pt x="1825" y="278"/>
                  </a:lnTo>
                  <a:lnTo>
                    <a:pt x="1805" y="310"/>
                  </a:lnTo>
                  <a:lnTo>
                    <a:pt x="1786" y="339"/>
                  </a:lnTo>
                  <a:lnTo>
                    <a:pt x="1777" y="353"/>
                  </a:lnTo>
                  <a:lnTo>
                    <a:pt x="1768" y="368"/>
                  </a:lnTo>
                  <a:lnTo>
                    <a:pt x="1761" y="384"/>
                  </a:lnTo>
                  <a:lnTo>
                    <a:pt x="1755" y="404"/>
                  </a:lnTo>
                  <a:lnTo>
                    <a:pt x="1747" y="415"/>
                  </a:lnTo>
                  <a:lnTo>
                    <a:pt x="1738" y="427"/>
                  </a:lnTo>
                  <a:lnTo>
                    <a:pt x="1732" y="449"/>
                  </a:lnTo>
                  <a:lnTo>
                    <a:pt x="1726" y="470"/>
                  </a:lnTo>
                  <a:lnTo>
                    <a:pt x="1722" y="490"/>
                  </a:lnTo>
                  <a:lnTo>
                    <a:pt x="1719" y="509"/>
                  </a:lnTo>
                  <a:lnTo>
                    <a:pt x="1714" y="528"/>
                  </a:lnTo>
                  <a:lnTo>
                    <a:pt x="1709" y="548"/>
                  </a:lnTo>
                  <a:lnTo>
                    <a:pt x="1702" y="567"/>
                  </a:lnTo>
                  <a:lnTo>
                    <a:pt x="1693" y="589"/>
                  </a:lnTo>
                  <a:lnTo>
                    <a:pt x="1686" y="602"/>
                  </a:lnTo>
                  <a:lnTo>
                    <a:pt x="1679" y="611"/>
                  </a:lnTo>
                  <a:lnTo>
                    <a:pt x="1670" y="622"/>
                  </a:lnTo>
                  <a:lnTo>
                    <a:pt x="1663" y="634"/>
                  </a:lnTo>
                  <a:lnTo>
                    <a:pt x="1656" y="646"/>
                  </a:lnTo>
                  <a:lnTo>
                    <a:pt x="1651" y="657"/>
                  </a:lnTo>
                  <a:lnTo>
                    <a:pt x="1647" y="662"/>
                  </a:lnTo>
                  <a:lnTo>
                    <a:pt x="1644" y="666"/>
                  </a:lnTo>
                  <a:lnTo>
                    <a:pt x="1639" y="670"/>
                  </a:lnTo>
                  <a:lnTo>
                    <a:pt x="1633" y="672"/>
                  </a:lnTo>
                  <a:lnTo>
                    <a:pt x="1633" y="67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55">
              <a:extLst>
                <a:ext uri="{FF2B5EF4-FFF2-40B4-BE49-F238E27FC236}">
                  <a16:creationId xmlns:a16="http://schemas.microsoft.com/office/drawing/2014/main" id="{9D9F9076-4CA3-4B9D-AFED-2AFF0955C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7000" y="4806951"/>
              <a:ext cx="969963" cy="701675"/>
            </a:xfrm>
            <a:custGeom>
              <a:avLst/>
              <a:gdLst>
                <a:gd name="T0" fmla="*/ 437 w 2442"/>
                <a:gd name="T1" fmla="*/ 127 h 1769"/>
                <a:gd name="T2" fmla="*/ 394 w 2442"/>
                <a:gd name="T3" fmla="*/ 212 h 1769"/>
                <a:gd name="T4" fmla="*/ 355 w 2442"/>
                <a:gd name="T5" fmla="*/ 330 h 1769"/>
                <a:gd name="T6" fmla="*/ 248 w 2442"/>
                <a:gd name="T7" fmla="*/ 425 h 1769"/>
                <a:gd name="T8" fmla="*/ 164 w 2442"/>
                <a:gd name="T9" fmla="*/ 535 h 1769"/>
                <a:gd name="T10" fmla="*/ 115 w 2442"/>
                <a:gd name="T11" fmla="*/ 642 h 1769"/>
                <a:gd name="T12" fmla="*/ 18 w 2442"/>
                <a:gd name="T13" fmla="*/ 1163 h 1769"/>
                <a:gd name="T14" fmla="*/ 3 w 2442"/>
                <a:gd name="T15" fmla="*/ 1238 h 1769"/>
                <a:gd name="T16" fmla="*/ 154 w 2442"/>
                <a:gd name="T17" fmla="*/ 1217 h 1769"/>
                <a:gd name="T18" fmla="*/ 214 w 2442"/>
                <a:gd name="T19" fmla="*/ 1252 h 1769"/>
                <a:gd name="T20" fmla="*/ 251 w 2442"/>
                <a:gd name="T21" fmla="*/ 1336 h 1769"/>
                <a:gd name="T22" fmla="*/ 297 w 2442"/>
                <a:gd name="T23" fmla="*/ 1437 h 1769"/>
                <a:gd name="T24" fmla="*/ 289 w 2442"/>
                <a:gd name="T25" fmla="*/ 1539 h 1769"/>
                <a:gd name="T26" fmla="*/ 402 w 2442"/>
                <a:gd name="T27" fmla="*/ 1534 h 1769"/>
                <a:gd name="T28" fmla="*/ 467 w 2442"/>
                <a:gd name="T29" fmla="*/ 1522 h 1769"/>
                <a:gd name="T30" fmla="*/ 563 w 2442"/>
                <a:gd name="T31" fmla="*/ 1579 h 1769"/>
                <a:gd name="T32" fmla="*/ 703 w 2442"/>
                <a:gd name="T33" fmla="*/ 1590 h 1769"/>
                <a:gd name="T34" fmla="*/ 884 w 2442"/>
                <a:gd name="T35" fmla="*/ 1652 h 1769"/>
                <a:gd name="T36" fmla="*/ 1065 w 2442"/>
                <a:gd name="T37" fmla="*/ 1735 h 1769"/>
                <a:gd name="T38" fmla="*/ 1137 w 2442"/>
                <a:gd name="T39" fmla="*/ 1766 h 1769"/>
                <a:gd name="T40" fmla="*/ 1188 w 2442"/>
                <a:gd name="T41" fmla="*/ 1701 h 1769"/>
                <a:gd name="T42" fmla="*/ 1206 w 2442"/>
                <a:gd name="T43" fmla="*/ 1627 h 1769"/>
                <a:gd name="T44" fmla="*/ 1297 w 2442"/>
                <a:gd name="T45" fmla="*/ 1582 h 1769"/>
                <a:gd name="T46" fmla="*/ 1411 w 2442"/>
                <a:gd name="T47" fmla="*/ 1495 h 1769"/>
                <a:gd name="T48" fmla="*/ 1675 w 2442"/>
                <a:gd name="T49" fmla="*/ 1532 h 1769"/>
                <a:gd name="T50" fmla="*/ 1917 w 2442"/>
                <a:gd name="T51" fmla="*/ 1589 h 1769"/>
                <a:gd name="T52" fmla="*/ 2023 w 2442"/>
                <a:gd name="T53" fmla="*/ 1576 h 1769"/>
                <a:gd name="T54" fmla="*/ 2179 w 2442"/>
                <a:gd name="T55" fmla="*/ 1587 h 1769"/>
                <a:gd name="T56" fmla="*/ 2205 w 2442"/>
                <a:gd name="T57" fmla="*/ 1505 h 1769"/>
                <a:gd name="T58" fmla="*/ 2256 w 2442"/>
                <a:gd name="T59" fmla="*/ 1431 h 1769"/>
                <a:gd name="T60" fmla="*/ 2250 w 2442"/>
                <a:gd name="T61" fmla="*/ 1382 h 1769"/>
                <a:gd name="T62" fmla="*/ 2225 w 2442"/>
                <a:gd name="T63" fmla="*/ 1328 h 1769"/>
                <a:gd name="T64" fmla="*/ 2308 w 2442"/>
                <a:gd name="T65" fmla="*/ 1288 h 1769"/>
                <a:gd name="T66" fmla="*/ 2382 w 2442"/>
                <a:gd name="T67" fmla="*/ 1306 h 1769"/>
                <a:gd name="T68" fmla="*/ 2406 w 2442"/>
                <a:gd name="T69" fmla="*/ 1199 h 1769"/>
                <a:gd name="T70" fmla="*/ 2299 w 2442"/>
                <a:gd name="T71" fmla="*/ 1163 h 1769"/>
                <a:gd name="T72" fmla="*/ 2288 w 2442"/>
                <a:gd name="T73" fmla="*/ 1064 h 1769"/>
                <a:gd name="T74" fmla="*/ 2270 w 2442"/>
                <a:gd name="T75" fmla="*/ 993 h 1769"/>
                <a:gd name="T76" fmla="*/ 2113 w 2442"/>
                <a:gd name="T77" fmla="*/ 933 h 1769"/>
                <a:gd name="T78" fmla="*/ 2005 w 2442"/>
                <a:gd name="T79" fmla="*/ 948 h 1769"/>
                <a:gd name="T80" fmla="*/ 2002 w 2442"/>
                <a:gd name="T81" fmla="*/ 750 h 1769"/>
                <a:gd name="T82" fmla="*/ 1956 w 2442"/>
                <a:gd name="T83" fmla="*/ 635 h 1769"/>
                <a:gd name="T84" fmla="*/ 1975 w 2442"/>
                <a:gd name="T85" fmla="*/ 567 h 1769"/>
                <a:gd name="T86" fmla="*/ 1969 w 2442"/>
                <a:gd name="T87" fmla="*/ 467 h 1769"/>
                <a:gd name="T88" fmla="*/ 1943 w 2442"/>
                <a:gd name="T89" fmla="*/ 338 h 1769"/>
                <a:gd name="T90" fmla="*/ 1872 w 2442"/>
                <a:gd name="T91" fmla="*/ 269 h 1769"/>
                <a:gd name="T92" fmla="*/ 1796 w 2442"/>
                <a:gd name="T93" fmla="*/ 192 h 1769"/>
                <a:gd name="T94" fmla="*/ 1703 w 2442"/>
                <a:gd name="T95" fmla="*/ 195 h 1769"/>
                <a:gd name="T96" fmla="*/ 1598 w 2442"/>
                <a:gd name="T97" fmla="*/ 181 h 1769"/>
                <a:gd name="T98" fmla="*/ 1518 w 2442"/>
                <a:gd name="T99" fmla="*/ 199 h 1769"/>
                <a:gd name="T100" fmla="*/ 1455 w 2442"/>
                <a:gd name="T101" fmla="*/ 141 h 1769"/>
                <a:gd name="T102" fmla="*/ 1400 w 2442"/>
                <a:gd name="T103" fmla="*/ 113 h 1769"/>
                <a:gd name="T104" fmla="*/ 1322 w 2442"/>
                <a:gd name="T105" fmla="*/ 119 h 1769"/>
                <a:gd name="T106" fmla="*/ 1222 w 2442"/>
                <a:gd name="T107" fmla="*/ 44 h 1769"/>
                <a:gd name="T108" fmla="*/ 1128 w 2442"/>
                <a:gd name="T109" fmla="*/ 20 h 1769"/>
                <a:gd name="T110" fmla="*/ 1031 w 2442"/>
                <a:gd name="T111" fmla="*/ 1 h 1769"/>
                <a:gd name="T112" fmla="*/ 936 w 2442"/>
                <a:gd name="T113" fmla="*/ 7 h 1769"/>
                <a:gd name="T114" fmla="*/ 887 w 2442"/>
                <a:gd name="T115" fmla="*/ 39 h 1769"/>
                <a:gd name="T116" fmla="*/ 802 w 2442"/>
                <a:gd name="T117" fmla="*/ 23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42" h="1769">
                  <a:moveTo>
                    <a:pt x="606" y="9"/>
                  </a:moveTo>
                  <a:lnTo>
                    <a:pt x="585" y="28"/>
                  </a:lnTo>
                  <a:lnTo>
                    <a:pt x="565" y="46"/>
                  </a:lnTo>
                  <a:lnTo>
                    <a:pt x="545" y="60"/>
                  </a:lnTo>
                  <a:lnTo>
                    <a:pt x="526" y="73"/>
                  </a:lnTo>
                  <a:lnTo>
                    <a:pt x="505" y="86"/>
                  </a:lnTo>
                  <a:lnTo>
                    <a:pt x="484" y="98"/>
                  </a:lnTo>
                  <a:lnTo>
                    <a:pt x="461" y="111"/>
                  </a:lnTo>
                  <a:lnTo>
                    <a:pt x="437" y="127"/>
                  </a:lnTo>
                  <a:lnTo>
                    <a:pt x="431" y="131"/>
                  </a:lnTo>
                  <a:lnTo>
                    <a:pt x="425" y="135"/>
                  </a:lnTo>
                  <a:lnTo>
                    <a:pt x="420" y="141"/>
                  </a:lnTo>
                  <a:lnTo>
                    <a:pt x="416" y="146"/>
                  </a:lnTo>
                  <a:lnTo>
                    <a:pt x="408" y="157"/>
                  </a:lnTo>
                  <a:lnTo>
                    <a:pt x="403" y="170"/>
                  </a:lnTo>
                  <a:lnTo>
                    <a:pt x="399" y="183"/>
                  </a:lnTo>
                  <a:lnTo>
                    <a:pt x="396" y="197"/>
                  </a:lnTo>
                  <a:lnTo>
                    <a:pt x="394" y="212"/>
                  </a:lnTo>
                  <a:lnTo>
                    <a:pt x="393" y="227"/>
                  </a:lnTo>
                  <a:lnTo>
                    <a:pt x="391" y="240"/>
                  </a:lnTo>
                  <a:lnTo>
                    <a:pt x="389" y="251"/>
                  </a:lnTo>
                  <a:lnTo>
                    <a:pt x="385" y="260"/>
                  </a:lnTo>
                  <a:lnTo>
                    <a:pt x="382" y="270"/>
                  </a:lnTo>
                  <a:lnTo>
                    <a:pt x="373" y="290"/>
                  </a:lnTo>
                  <a:lnTo>
                    <a:pt x="365" y="311"/>
                  </a:lnTo>
                  <a:lnTo>
                    <a:pt x="359" y="321"/>
                  </a:lnTo>
                  <a:lnTo>
                    <a:pt x="355" y="330"/>
                  </a:lnTo>
                  <a:lnTo>
                    <a:pt x="349" y="337"/>
                  </a:lnTo>
                  <a:lnTo>
                    <a:pt x="343" y="345"/>
                  </a:lnTo>
                  <a:lnTo>
                    <a:pt x="330" y="357"/>
                  </a:lnTo>
                  <a:lnTo>
                    <a:pt x="316" y="367"/>
                  </a:lnTo>
                  <a:lnTo>
                    <a:pt x="301" y="378"/>
                  </a:lnTo>
                  <a:lnTo>
                    <a:pt x="286" y="389"/>
                  </a:lnTo>
                  <a:lnTo>
                    <a:pt x="270" y="401"/>
                  </a:lnTo>
                  <a:lnTo>
                    <a:pt x="255" y="415"/>
                  </a:lnTo>
                  <a:lnTo>
                    <a:pt x="248" y="425"/>
                  </a:lnTo>
                  <a:lnTo>
                    <a:pt x="242" y="433"/>
                  </a:lnTo>
                  <a:lnTo>
                    <a:pt x="237" y="442"/>
                  </a:lnTo>
                  <a:lnTo>
                    <a:pt x="233" y="452"/>
                  </a:lnTo>
                  <a:lnTo>
                    <a:pt x="230" y="460"/>
                  </a:lnTo>
                  <a:lnTo>
                    <a:pt x="226" y="470"/>
                  </a:lnTo>
                  <a:lnTo>
                    <a:pt x="220" y="479"/>
                  </a:lnTo>
                  <a:lnTo>
                    <a:pt x="213" y="488"/>
                  </a:lnTo>
                  <a:lnTo>
                    <a:pt x="188" y="513"/>
                  </a:lnTo>
                  <a:lnTo>
                    <a:pt x="164" y="535"/>
                  </a:lnTo>
                  <a:lnTo>
                    <a:pt x="153" y="546"/>
                  </a:lnTo>
                  <a:lnTo>
                    <a:pt x="143" y="557"/>
                  </a:lnTo>
                  <a:lnTo>
                    <a:pt x="139" y="565"/>
                  </a:lnTo>
                  <a:lnTo>
                    <a:pt x="136" y="573"/>
                  </a:lnTo>
                  <a:lnTo>
                    <a:pt x="132" y="580"/>
                  </a:lnTo>
                  <a:lnTo>
                    <a:pt x="129" y="589"/>
                  </a:lnTo>
                  <a:lnTo>
                    <a:pt x="123" y="608"/>
                  </a:lnTo>
                  <a:lnTo>
                    <a:pt x="119" y="626"/>
                  </a:lnTo>
                  <a:lnTo>
                    <a:pt x="115" y="642"/>
                  </a:lnTo>
                  <a:lnTo>
                    <a:pt x="110" y="662"/>
                  </a:lnTo>
                  <a:lnTo>
                    <a:pt x="110" y="662"/>
                  </a:lnTo>
                  <a:lnTo>
                    <a:pt x="24" y="1144"/>
                  </a:lnTo>
                  <a:lnTo>
                    <a:pt x="25" y="1145"/>
                  </a:lnTo>
                  <a:lnTo>
                    <a:pt x="25" y="1147"/>
                  </a:lnTo>
                  <a:lnTo>
                    <a:pt x="25" y="1151"/>
                  </a:lnTo>
                  <a:lnTo>
                    <a:pt x="22" y="1156"/>
                  </a:lnTo>
                  <a:lnTo>
                    <a:pt x="20" y="1159"/>
                  </a:lnTo>
                  <a:lnTo>
                    <a:pt x="18" y="1163"/>
                  </a:lnTo>
                  <a:lnTo>
                    <a:pt x="13" y="1177"/>
                  </a:lnTo>
                  <a:lnTo>
                    <a:pt x="7" y="1190"/>
                  </a:lnTo>
                  <a:lnTo>
                    <a:pt x="4" y="1197"/>
                  </a:lnTo>
                  <a:lnTo>
                    <a:pt x="2" y="1202"/>
                  </a:lnTo>
                  <a:lnTo>
                    <a:pt x="0" y="1208"/>
                  </a:lnTo>
                  <a:lnTo>
                    <a:pt x="0" y="1214"/>
                  </a:lnTo>
                  <a:lnTo>
                    <a:pt x="2" y="1226"/>
                  </a:lnTo>
                  <a:lnTo>
                    <a:pt x="3" y="1238"/>
                  </a:lnTo>
                  <a:lnTo>
                    <a:pt x="3" y="1238"/>
                  </a:lnTo>
                  <a:lnTo>
                    <a:pt x="19" y="1240"/>
                  </a:lnTo>
                  <a:lnTo>
                    <a:pt x="35" y="1241"/>
                  </a:lnTo>
                  <a:lnTo>
                    <a:pt x="52" y="1243"/>
                  </a:lnTo>
                  <a:lnTo>
                    <a:pt x="67" y="1244"/>
                  </a:lnTo>
                  <a:lnTo>
                    <a:pt x="94" y="1235"/>
                  </a:lnTo>
                  <a:lnTo>
                    <a:pt x="116" y="1226"/>
                  </a:lnTo>
                  <a:lnTo>
                    <a:pt x="128" y="1223"/>
                  </a:lnTo>
                  <a:lnTo>
                    <a:pt x="140" y="1220"/>
                  </a:lnTo>
                  <a:lnTo>
                    <a:pt x="154" y="1217"/>
                  </a:lnTo>
                  <a:lnTo>
                    <a:pt x="168" y="1216"/>
                  </a:lnTo>
                  <a:lnTo>
                    <a:pt x="177" y="1217"/>
                  </a:lnTo>
                  <a:lnTo>
                    <a:pt x="184" y="1221"/>
                  </a:lnTo>
                  <a:lnTo>
                    <a:pt x="191" y="1229"/>
                  </a:lnTo>
                  <a:lnTo>
                    <a:pt x="196" y="1239"/>
                  </a:lnTo>
                  <a:lnTo>
                    <a:pt x="200" y="1243"/>
                  </a:lnTo>
                  <a:lnTo>
                    <a:pt x="204" y="1247"/>
                  </a:lnTo>
                  <a:lnTo>
                    <a:pt x="208" y="1250"/>
                  </a:lnTo>
                  <a:lnTo>
                    <a:pt x="214" y="1252"/>
                  </a:lnTo>
                  <a:lnTo>
                    <a:pt x="218" y="1254"/>
                  </a:lnTo>
                  <a:lnTo>
                    <a:pt x="223" y="1256"/>
                  </a:lnTo>
                  <a:lnTo>
                    <a:pt x="227" y="1259"/>
                  </a:lnTo>
                  <a:lnTo>
                    <a:pt x="230" y="1265"/>
                  </a:lnTo>
                  <a:lnTo>
                    <a:pt x="235" y="1279"/>
                  </a:lnTo>
                  <a:lnTo>
                    <a:pt x="237" y="1292"/>
                  </a:lnTo>
                  <a:lnTo>
                    <a:pt x="240" y="1306"/>
                  </a:lnTo>
                  <a:lnTo>
                    <a:pt x="244" y="1320"/>
                  </a:lnTo>
                  <a:lnTo>
                    <a:pt x="251" y="1336"/>
                  </a:lnTo>
                  <a:lnTo>
                    <a:pt x="259" y="1351"/>
                  </a:lnTo>
                  <a:lnTo>
                    <a:pt x="268" y="1364"/>
                  </a:lnTo>
                  <a:lnTo>
                    <a:pt x="276" y="1377"/>
                  </a:lnTo>
                  <a:lnTo>
                    <a:pt x="285" y="1390"/>
                  </a:lnTo>
                  <a:lnTo>
                    <a:pt x="291" y="1404"/>
                  </a:lnTo>
                  <a:lnTo>
                    <a:pt x="294" y="1412"/>
                  </a:lnTo>
                  <a:lnTo>
                    <a:pt x="296" y="1419"/>
                  </a:lnTo>
                  <a:lnTo>
                    <a:pt x="297" y="1428"/>
                  </a:lnTo>
                  <a:lnTo>
                    <a:pt x="297" y="1437"/>
                  </a:lnTo>
                  <a:lnTo>
                    <a:pt x="297" y="1452"/>
                  </a:lnTo>
                  <a:lnTo>
                    <a:pt x="295" y="1465"/>
                  </a:lnTo>
                  <a:lnTo>
                    <a:pt x="291" y="1478"/>
                  </a:lnTo>
                  <a:lnTo>
                    <a:pt x="287" y="1490"/>
                  </a:lnTo>
                  <a:lnTo>
                    <a:pt x="278" y="1512"/>
                  </a:lnTo>
                  <a:lnTo>
                    <a:pt x="270" y="1535"/>
                  </a:lnTo>
                  <a:lnTo>
                    <a:pt x="270" y="1535"/>
                  </a:lnTo>
                  <a:lnTo>
                    <a:pt x="280" y="1537"/>
                  </a:lnTo>
                  <a:lnTo>
                    <a:pt x="289" y="1539"/>
                  </a:lnTo>
                  <a:lnTo>
                    <a:pt x="299" y="1541"/>
                  </a:lnTo>
                  <a:lnTo>
                    <a:pt x="309" y="1541"/>
                  </a:lnTo>
                  <a:lnTo>
                    <a:pt x="326" y="1541"/>
                  </a:lnTo>
                  <a:lnTo>
                    <a:pt x="340" y="1541"/>
                  </a:lnTo>
                  <a:lnTo>
                    <a:pt x="355" y="1541"/>
                  </a:lnTo>
                  <a:lnTo>
                    <a:pt x="372" y="1541"/>
                  </a:lnTo>
                  <a:lnTo>
                    <a:pt x="383" y="1540"/>
                  </a:lnTo>
                  <a:lnTo>
                    <a:pt x="393" y="1538"/>
                  </a:lnTo>
                  <a:lnTo>
                    <a:pt x="402" y="1534"/>
                  </a:lnTo>
                  <a:lnTo>
                    <a:pt x="409" y="1529"/>
                  </a:lnTo>
                  <a:lnTo>
                    <a:pt x="418" y="1524"/>
                  </a:lnTo>
                  <a:lnTo>
                    <a:pt x="426" y="1521"/>
                  </a:lnTo>
                  <a:lnTo>
                    <a:pt x="436" y="1518"/>
                  </a:lnTo>
                  <a:lnTo>
                    <a:pt x="447" y="1517"/>
                  </a:lnTo>
                  <a:lnTo>
                    <a:pt x="453" y="1517"/>
                  </a:lnTo>
                  <a:lnTo>
                    <a:pt x="459" y="1518"/>
                  </a:lnTo>
                  <a:lnTo>
                    <a:pt x="463" y="1520"/>
                  </a:lnTo>
                  <a:lnTo>
                    <a:pt x="467" y="1522"/>
                  </a:lnTo>
                  <a:lnTo>
                    <a:pt x="476" y="1527"/>
                  </a:lnTo>
                  <a:lnTo>
                    <a:pt x="484" y="1534"/>
                  </a:lnTo>
                  <a:lnTo>
                    <a:pt x="491" y="1540"/>
                  </a:lnTo>
                  <a:lnTo>
                    <a:pt x="500" y="1548"/>
                  </a:lnTo>
                  <a:lnTo>
                    <a:pt x="509" y="1555"/>
                  </a:lnTo>
                  <a:lnTo>
                    <a:pt x="518" y="1562"/>
                  </a:lnTo>
                  <a:lnTo>
                    <a:pt x="533" y="1568"/>
                  </a:lnTo>
                  <a:lnTo>
                    <a:pt x="548" y="1575"/>
                  </a:lnTo>
                  <a:lnTo>
                    <a:pt x="563" y="1579"/>
                  </a:lnTo>
                  <a:lnTo>
                    <a:pt x="575" y="1583"/>
                  </a:lnTo>
                  <a:lnTo>
                    <a:pt x="590" y="1586"/>
                  </a:lnTo>
                  <a:lnTo>
                    <a:pt x="605" y="1588"/>
                  </a:lnTo>
                  <a:lnTo>
                    <a:pt x="620" y="1589"/>
                  </a:lnTo>
                  <a:lnTo>
                    <a:pt x="637" y="1590"/>
                  </a:lnTo>
                  <a:lnTo>
                    <a:pt x="654" y="1590"/>
                  </a:lnTo>
                  <a:lnTo>
                    <a:pt x="669" y="1590"/>
                  </a:lnTo>
                  <a:lnTo>
                    <a:pt x="686" y="1590"/>
                  </a:lnTo>
                  <a:lnTo>
                    <a:pt x="703" y="1590"/>
                  </a:lnTo>
                  <a:lnTo>
                    <a:pt x="717" y="1590"/>
                  </a:lnTo>
                  <a:lnTo>
                    <a:pt x="731" y="1593"/>
                  </a:lnTo>
                  <a:lnTo>
                    <a:pt x="743" y="1596"/>
                  </a:lnTo>
                  <a:lnTo>
                    <a:pt x="755" y="1602"/>
                  </a:lnTo>
                  <a:lnTo>
                    <a:pt x="777" y="1613"/>
                  </a:lnTo>
                  <a:lnTo>
                    <a:pt x="804" y="1623"/>
                  </a:lnTo>
                  <a:lnTo>
                    <a:pt x="834" y="1632"/>
                  </a:lnTo>
                  <a:lnTo>
                    <a:pt x="861" y="1642"/>
                  </a:lnTo>
                  <a:lnTo>
                    <a:pt x="884" y="1652"/>
                  </a:lnTo>
                  <a:lnTo>
                    <a:pt x="908" y="1661"/>
                  </a:lnTo>
                  <a:lnTo>
                    <a:pt x="932" y="1672"/>
                  </a:lnTo>
                  <a:lnTo>
                    <a:pt x="956" y="1683"/>
                  </a:lnTo>
                  <a:lnTo>
                    <a:pt x="982" y="1695"/>
                  </a:lnTo>
                  <a:lnTo>
                    <a:pt x="1009" y="1708"/>
                  </a:lnTo>
                  <a:lnTo>
                    <a:pt x="1025" y="1714"/>
                  </a:lnTo>
                  <a:lnTo>
                    <a:pt x="1038" y="1720"/>
                  </a:lnTo>
                  <a:lnTo>
                    <a:pt x="1051" y="1727"/>
                  </a:lnTo>
                  <a:lnTo>
                    <a:pt x="1065" y="1735"/>
                  </a:lnTo>
                  <a:lnTo>
                    <a:pt x="1078" y="1745"/>
                  </a:lnTo>
                  <a:lnTo>
                    <a:pt x="1090" y="1756"/>
                  </a:lnTo>
                  <a:lnTo>
                    <a:pt x="1095" y="1762"/>
                  </a:lnTo>
                  <a:lnTo>
                    <a:pt x="1101" y="1765"/>
                  </a:lnTo>
                  <a:lnTo>
                    <a:pt x="1109" y="1768"/>
                  </a:lnTo>
                  <a:lnTo>
                    <a:pt x="1117" y="1769"/>
                  </a:lnTo>
                  <a:lnTo>
                    <a:pt x="1124" y="1768"/>
                  </a:lnTo>
                  <a:lnTo>
                    <a:pt x="1131" y="1767"/>
                  </a:lnTo>
                  <a:lnTo>
                    <a:pt x="1137" y="1766"/>
                  </a:lnTo>
                  <a:lnTo>
                    <a:pt x="1143" y="1764"/>
                  </a:lnTo>
                  <a:lnTo>
                    <a:pt x="1148" y="1761"/>
                  </a:lnTo>
                  <a:lnTo>
                    <a:pt x="1153" y="1757"/>
                  </a:lnTo>
                  <a:lnTo>
                    <a:pt x="1158" y="1753"/>
                  </a:lnTo>
                  <a:lnTo>
                    <a:pt x="1163" y="1749"/>
                  </a:lnTo>
                  <a:lnTo>
                    <a:pt x="1171" y="1739"/>
                  </a:lnTo>
                  <a:lnTo>
                    <a:pt x="1178" y="1727"/>
                  </a:lnTo>
                  <a:lnTo>
                    <a:pt x="1184" y="1715"/>
                  </a:lnTo>
                  <a:lnTo>
                    <a:pt x="1188" y="1701"/>
                  </a:lnTo>
                  <a:lnTo>
                    <a:pt x="1191" y="1691"/>
                  </a:lnTo>
                  <a:lnTo>
                    <a:pt x="1192" y="1683"/>
                  </a:lnTo>
                  <a:lnTo>
                    <a:pt x="1192" y="1674"/>
                  </a:lnTo>
                  <a:lnTo>
                    <a:pt x="1193" y="1664"/>
                  </a:lnTo>
                  <a:lnTo>
                    <a:pt x="1193" y="1657"/>
                  </a:lnTo>
                  <a:lnTo>
                    <a:pt x="1195" y="1648"/>
                  </a:lnTo>
                  <a:lnTo>
                    <a:pt x="1198" y="1640"/>
                  </a:lnTo>
                  <a:lnTo>
                    <a:pt x="1202" y="1631"/>
                  </a:lnTo>
                  <a:lnTo>
                    <a:pt x="1206" y="1627"/>
                  </a:lnTo>
                  <a:lnTo>
                    <a:pt x="1212" y="1623"/>
                  </a:lnTo>
                  <a:lnTo>
                    <a:pt x="1217" y="1620"/>
                  </a:lnTo>
                  <a:lnTo>
                    <a:pt x="1222" y="1618"/>
                  </a:lnTo>
                  <a:lnTo>
                    <a:pt x="1234" y="1615"/>
                  </a:lnTo>
                  <a:lnTo>
                    <a:pt x="1247" y="1612"/>
                  </a:lnTo>
                  <a:lnTo>
                    <a:pt x="1261" y="1606"/>
                  </a:lnTo>
                  <a:lnTo>
                    <a:pt x="1274" y="1600"/>
                  </a:lnTo>
                  <a:lnTo>
                    <a:pt x="1286" y="1591"/>
                  </a:lnTo>
                  <a:lnTo>
                    <a:pt x="1297" y="1582"/>
                  </a:lnTo>
                  <a:lnTo>
                    <a:pt x="1316" y="1563"/>
                  </a:lnTo>
                  <a:lnTo>
                    <a:pt x="1336" y="1544"/>
                  </a:lnTo>
                  <a:lnTo>
                    <a:pt x="1344" y="1534"/>
                  </a:lnTo>
                  <a:lnTo>
                    <a:pt x="1354" y="1524"/>
                  </a:lnTo>
                  <a:lnTo>
                    <a:pt x="1364" y="1517"/>
                  </a:lnTo>
                  <a:lnTo>
                    <a:pt x="1375" y="1509"/>
                  </a:lnTo>
                  <a:lnTo>
                    <a:pt x="1386" y="1502"/>
                  </a:lnTo>
                  <a:lnTo>
                    <a:pt x="1398" y="1498"/>
                  </a:lnTo>
                  <a:lnTo>
                    <a:pt x="1411" y="1495"/>
                  </a:lnTo>
                  <a:lnTo>
                    <a:pt x="1427" y="1494"/>
                  </a:lnTo>
                  <a:lnTo>
                    <a:pt x="1451" y="1495"/>
                  </a:lnTo>
                  <a:lnTo>
                    <a:pt x="1474" y="1495"/>
                  </a:lnTo>
                  <a:lnTo>
                    <a:pt x="1496" y="1497"/>
                  </a:lnTo>
                  <a:lnTo>
                    <a:pt x="1517" y="1499"/>
                  </a:lnTo>
                  <a:lnTo>
                    <a:pt x="1557" y="1505"/>
                  </a:lnTo>
                  <a:lnTo>
                    <a:pt x="1596" y="1511"/>
                  </a:lnTo>
                  <a:lnTo>
                    <a:pt x="1635" y="1521"/>
                  </a:lnTo>
                  <a:lnTo>
                    <a:pt x="1675" y="1532"/>
                  </a:lnTo>
                  <a:lnTo>
                    <a:pt x="1717" y="1542"/>
                  </a:lnTo>
                  <a:lnTo>
                    <a:pt x="1762" y="1555"/>
                  </a:lnTo>
                  <a:lnTo>
                    <a:pt x="1801" y="1567"/>
                  </a:lnTo>
                  <a:lnTo>
                    <a:pt x="1835" y="1578"/>
                  </a:lnTo>
                  <a:lnTo>
                    <a:pt x="1852" y="1582"/>
                  </a:lnTo>
                  <a:lnTo>
                    <a:pt x="1869" y="1587"/>
                  </a:lnTo>
                  <a:lnTo>
                    <a:pt x="1888" y="1589"/>
                  </a:lnTo>
                  <a:lnTo>
                    <a:pt x="1908" y="1590"/>
                  </a:lnTo>
                  <a:lnTo>
                    <a:pt x="1917" y="1589"/>
                  </a:lnTo>
                  <a:lnTo>
                    <a:pt x="1926" y="1587"/>
                  </a:lnTo>
                  <a:lnTo>
                    <a:pt x="1932" y="1585"/>
                  </a:lnTo>
                  <a:lnTo>
                    <a:pt x="1940" y="1581"/>
                  </a:lnTo>
                  <a:lnTo>
                    <a:pt x="1946" y="1578"/>
                  </a:lnTo>
                  <a:lnTo>
                    <a:pt x="1954" y="1575"/>
                  </a:lnTo>
                  <a:lnTo>
                    <a:pt x="1961" y="1574"/>
                  </a:lnTo>
                  <a:lnTo>
                    <a:pt x="1970" y="1573"/>
                  </a:lnTo>
                  <a:lnTo>
                    <a:pt x="1998" y="1574"/>
                  </a:lnTo>
                  <a:lnTo>
                    <a:pt x="2023" y="1576"/>
                  </a:lnTo>
                  <a:lnTo>
                    <a:pt x="2045" y="1579"/>
                  </a:lnTo>
                  <a:lnTo>
                    <a:pt x="2067" y="1583"/>
                  </a:lnTo>
                  <a:lnTo>
                    <a:pt x="2089" y="1588"/>
                  </a:lnTo>
                  <a:lnTo>
                    <a:pt x="2111" y="1592"/>
                  </a:lnTo>
                  <a:lnTo>
                    <a:pt x="2135" y="1596"/>
                  </a:lnTo>
                  <a:lnTo>
                    <a:pt x="2163" y="1600"/>
                  </a:lnTo>
                  <a:lnTo>
                    <a:pt x="2163" y="1600"/>
                  </a:lnTo>
                  <a:lnTo>
                    <a:pt x="2172" y="1594"/>
                  </a:lnTo>
                  <a:lnTo>
                    <a:pt x="2179" y="1587"/>
                  </a:lnTo>
                  <a:lnTo>
                    <a:pt x="2183" y="1583"/>
                  </a:lnTo>
                  <a:lnTo>
                    <a:pt x="2187" y="1579"/>
                  </a:lnTo>
                  <a:lnTo>
                    <a:pt x="2189" y="1575"/>
                  </a:lnTo>
                  <a:lnTo>
                    <a:pt x="2191" y="1569"/>
                  </a:lnTo>
                  <a:lnTo>
                    <a:pt x="2197" y="1556"/>
                  </a:lnTo>
                  <a:lnTo>
                    <a:pt x="2200" y="1542"/>
                  </a:lnTo>
                  <a:lnTo>
                    <a:pt x="2202" y="1529"/>
                  </a:lnTo>
                  <a:lnTo>
                    <a:pt x="2203" y="1518"/>
                  </a:lnTo>
                  <a:lnTo>
                    <a:pt x="2205" y="1505"/>
                  </a:lnTo>
                  <a:lnTo>
                    <a:pt x="2207" y="1492"/>
                  </a:lnTo>
                  <a:lnTo>
                    <a:pt x="2211" y="1480"/>
                  </a:lnTo>
                  <a:lnTo>
                    <a:pt x="2217" y="1466"/>
                  </a:lnTo>
                  <a:lnTo>
                    <a:pt x="2223" y="1458"/>
                  </a:lnTo>
                  <a:lnTo>
                    <a:pt x="2229" y="1453"/>
                  </a:lnTo>
                  <a:lnTo>
                    <a:pt x="2237" y="1447"/>
                  </a:lnTo>
                  <a:lnTo>
                    <a:pt x="2244" y="1442"/>
                  </a:lnTo>
                  <a:lnTo>
                    <a:pt x="2251" y="1438"/>
                  </a:lnTo>
                  <a:lnTo>
                    <a:pt x="2256" y="1431"/>
                  </a:lnTo>
                  <a:lnTo>
                    <a:pt x="2258" y="1428"/>
                  </a:lnTo>
                  <a:lnTo>
                    <a:pt x="2260" y="1425"/>
                  </a:lnTo>
                  <a:lnTo>
                    <a:pt x="2261" y="1420"/>
                  </a:lnTo>
                  <a:lnTo>
                    <a:pt x="2261" y="1416"/>
                  </a:lnTo>
                  <a:lnTo>
                    <a:pt x="2261" y="1407"/>
                  </a:lnTo>
                  <a:lnTo>
                    <a:pt x="2259" y="1400"/>
                  </a:lnTo>
                  <a:lnTo>
                    <a:pt x="2257" y="1393"/>
                  </a:lnTo>
                  <a:lnTo>
                    <a:pt x="2254" y="1387"/>
                  </a:lnTo>
                  <a:lnTo>
                    <a:pt x="2250" y="1382"/>
                  </a:lnTo>
                  <a:lnTo>
                    <a:pt x="2244" y="1377"/>
                  </a:lnTo>
                  <a:lnTo>
                    <a:pt x="2239" y="1372"/>
                  </a:lnTo>
                  <a:lnTo>
                    <a:pt x="2232" y="1367"/>
                  </a:lnTo>
                  <a:lnTo>
                    <a:pt x="2219" y="1360"/>
                  </a:lnTo>
                  <a:lnTo>
                    <a:pt x="2205" y="1351"/>
                  </a:lnTo>
                  <a:lnTo>
                    <a:pt x="2191" y="1343"/>
                  </a:lnTo>
                  <a:lnTo>
                    <a:pt x="2178" y="1332"/>
                  </a:lnTo>
                  <a:lnTo>
                    <a:pt x="2203" y="1330"/>
                  </a:lnTo>
                  <a:lnTo>
                    <a:pt x="2225" y="1328"/>
                  </a:lnTo>
                  <a:lnTo>
                    <a:pt x="2246" y="1324"/>
                  </a:lnTo>
                  <a:lnTo>
                    <a:pt x="2270" y="1318"/>
                  </a:lnTo>
                  <a:lnTo>
                    <a:pt x="2277" y="1315"/>
                  </a:lnTo>
                  <a:lnTo>
                    <a:pt x="2283" y="1310"/>
                  </a:lnTo>
                  <a:lnTo>
                    <a:pt x="2287" y="1306"/>
                  </a:lnTo>
                  <a:lnTo>
                    <a:pt x="2292" y="1301"/>
                  </a:lnTo>
                  <a:lnTo>
                    <a:pt x="2297" y="1295"/>
                  </a:lnTo>
                  <a:lnTo>
                    <a:pt x="2303" y="1291"/>
                  </a:lnTo>
                  <a:lnTo>
                    <a:pt x="2308" y="1288"/>
                  </a:lnTo>
                  <a:lnTo>
                    <a:pt x="2315" y="1286"/>
                  </a:lnTo>
                  <a:lnTo>
                    <a:pt x="2325" y="1288"/>
                  </a:lnTo>
                  <a:lnTo>
                    <a:pt x="2334" y="1290"/>
                  </a:lnTo>
                  <a:lnTo>
                    <a:pt x="2341" y="1293"/>
                  </a:lnTo>
                  <a:lnTo>
                    <a:pt x="2349" y="1296"/>
                  </a:lnTo>
                  <a:lnTo>
                    <a:pt x="2357" y="1301"/>
                  </a:lnTo>
                  <a:lnTo>
                    <a:pt x="2364" y="1304"/>
                  </a:lnTo>
                  <a:lnTo>
                    <a:pt x="2373" y="1306"/>
                  </a:lnTo>
                  <a:lnTo>
                    <a:pt x="2382" y="1306"/>
                  </a:lnTo>
                  <a:lnTo>
                    <a:pt x="2398" y="1306"/>
                  </a:lnTo>
                  <a:lnTo>
                    <a:pt x="2414" y="1304"/>
                  </a:lnTo>
                  <a:lnTo>
                    <a:pt x="2429" y="1299"/>
                  </a:lnTo>
                  <a:lnTo>
                    <a:pt x="2442" y="1294"/>
                  </a:lnTo>
                  <a:lnTo>
                    <a:pt x="2442" y="1294"/>
                  </a:lnTo>
                  <a:lnTo>
                    <a:pt x="2428" y="1261"/>
                  </a:lnTo>
                  <a:lnTo>
                    <a:pt x="2416" y="1230"/>
                  </a:lnTo>
                  <a:lnTo>
                    <a:pt x="2411" y="1215"/>
                  </a:lnTo>
                  <a:lnTo>
                    <a:pt x="2406" y="1199"/>
                  </a:lnTo>
                  <a:lnTo>
                    <a:pt x="2402" y="1182"/>
                  </a:lnTo>
                  <a:lnTo>
                    <a:pt x="2400" y="1163"/>
                  </a:lnTo>
                  <a:lnTo>
                    <a:pt x="2384" y="1161"/>
                  </a:lnTo>
                  <a:lnTo>
                    <a:pt x="2369" y="1160"/>
                  </a:lnTo>
                  <a:lnTo>
                    <a:pt x="2355" y="1158"/>
                  </a:lnTo>
                  <a:lnTo>
                    <a:pt x="2339" y="1158"/>
                  </a:lnTo>
                  <a:lnTo>
                    <a:pt x="2325" y="1161"/>
                  </a:lnTo>
                  <a:lnTo>
                    <a:pt x="2311" y="1163"/>
                  </a:lnTo>
                  <a:lnTo>
                    <a:pt x="2299" y="1163"/>
                  </a:lnTo>
                  <a:lnTo>
                    <a:pt x="2288" y="1163"/>
                  </a:lnTo>
                  <a:lnTo>
                    <a:pt x="2277" y="1163"/>
                  </a:lnTo>
                  <a:lnTo>
                    <a:pt x="2265" y="1163"/>
                  </a:lnTo>
                  <a:lnTo>
                    <a:pt x="2267" y="1144"/>
                  </a:lnTo>
                  <a:lnTo>
                    <a:pt x="2271" y="1127"/>
                  </a:lnTo>
                  <a:lnTo>
                    <a:pt x="2276" y="1112"/>
                  </a:lnTo>
                  <a:lnTo>
                    <a:pt x="2281" y="1095"/>
                  </a:lnTo>
                  <a:lnTo>
                    <a:pt x="2285" y="1080"/>
                  </a:lnTo>
                  <a:lnTo>
                    <a:pt x="2288" y="1064"/>
                  </a:lnTo>
                  <a:lnTo>
                    <a:pt x="2292" y="1047"/>
                  </a:lnTo>
                  <a:lnTo>
                    <a:pt x="2293" y="1027"/>
                  </a:lnTo>
                  <a:lnTo>
                    <a:pt x="2292" y="1021"/>
                  </a:lnTo>
                  <a:lnTo>
                    <a:pt x="2291" y="1014"/>
                  </a:lnTo>
                  <a:lnTo>
                    <a:pt x="2288" y="1009"/>
                  </a:lnTo>
                  <a:lnTo>
                    <a:pt x="2284" y="1005"/>
                  </a:lnTo>
                  <a:lnTo>
                    <a:pt x="2281" y="1000"/>
                  </a:lnTo>
                  <a:lnTo>
                    <a:pt x="2276" y="996"/>
                  </a:lnTo>
                  <a:lnTo>
                    <a:pt x="2270" y="993"/>
                  </a:lnTo>
                  <a:lnTo>
                    <a:pt x="2264" y="991"/>
                  </a:lnTo>
                  <a:lnTo>
                    <a:pt x="2237" y="981"/>
                  </a:lnTo>
                  <a:lnTo>
                    <a:pt x="2209" y="970"/>
                  </a:lnTo>
                  <a:lnTo>
                    <a:pt x="2185" y="957"/>
                  </a:lnTo>
                  <a:lnTo>
                    <a:pt x="2162" y="945"/>
                  </a:lnTo>
                  <a:lnTo>
                    <a:pt x="2151" y="941"/>
                  </a:lnTo>
                  <a:lnTo>
                    <a:pt x="2140" y="937"/>
                  </a:lnTo>
                  <a:lnTo>
                    <a:pt x="2128" y="934"/>
                  </a:lnTo>
                  <a:lnTo>
                    <a:pt x="2113" y="933"/>
                  </a:lnTo>
                  <a:lnTo>
                    <a:pt x="2099" y="934"/>
                  </a:lnTo>
                  <a:lnTo>
                    <a:pt x="2086" y="937"/>
                  </a:lnTo>
                  <a:lnTo>
                    <a:pt x="2075" y="939"/>
                  </a:lnTo>
                  <a:lnTo>
                    <a:pt x="2063" y="942"/>
                  </a:lnTo>
                  <a:lnTo>
                    <a:pt x="2051" y="945"/>
                  </a:lnTo>
                  <a:lnTo>
                    <a:pt x="2039" y="947"/>
                  </a:lnTo>
                  <a:lnTo>
                    <a:pt x="2027" y="950"/>
                  </a:lnTo>
                  <a:lnTo>
                    <a:pt x="2012" y="951"/>
                  </a:lnTo>
                  <a:lnTo>
                    <a:pt x="2005" y="948"/>
                  </a:lnTo>
                  <a:lnTo>
                    <a:pt x="1998" y="945"/>
                  </a:lnTo>
                  <a:lnTo>
                    <a:pt x="2001" y="919"/>
                  </a:lnTo>
                  <a:lnTo>
                    <a:pt x="2003" y="898"/>
                  </a:lnTo>
                  <a:lnTo>
                    <a:pt x="2005" y="875"/>
                  </a:lnTo>
                  <a:lnTo>
                    <a:pt x="2007" y="850"/>
                  </a:lnTo>
                  <a:lnTo>
                    <a:pt x="2007" y="813"/>
                  </a:lnTo>
                  <a:lnTo>
                    <a:pt x="2005" y="781"/>
                  </a:lnTo>
                  <a:lnTo>
                    <a:pt x="2004" y="766"/>
                  </a:lnTo>
                  <a:lnTo>
                    <a:pt x="2002" y="750"/>
                  </a:lnTo>
                  <a:lnTo>
                    <a:pt x="1998" y="734"/>
                  </a:lnTo>
                  <a:lnTo>
                    <a:pt x="1993" y="715"/>
                  </a:lnTo>
                  <a:lnTo>
                    <a:pt x="1987" y="701"/>
                  </a:lnTo>
                  <a:lnTo>
                    <a:pt x="1981" y="688"/>
                  </a:lnTo>
                  <a:lnTo>
                    <a:pt x="1974" y="676"/>
                  </a:lnTo>
                  <a:lnTo>
                    <a:pt x="1968" y="665"/>
                  </a:lnTo>
                  <a:lnTo>
                    <a:pt x="1962" y="654"/>
                  </a:lnTo>
                  <a:lnTo>
                    <a:pt x="1958" y="642"/>
                  </a:lnTo>
                  <a:lnTo>
                    <a:pt x="1956" y="635"/>
                  </a:lnTo>
                  <a:lnTo>
                    <a:pt x="1955" y="629"/>
                  </a:lnTo>
                  <a:lnTo>
                    <a:pt x="1954" y="622"/>
                  </a:lnTo>
                  <a:lnTo>
                    <a:pt x="1954" y="615"/>
                  </a:lnTo>
                  <a:lnTo>
                    <a:pt x="1955" y="605"/>
                  </a:lnTo>
                  <a:lnTo>
                    <a:pt x="1957" y="596"/>
                  </a:lnTo>
                  <a:lnTo>
                    <a:pt x="1960" y="589"/>
                  </a:lnTo>
                  <a:lnTo>
                    <a:pt x="1966" y="581"/>
                  </a:lnTo>
                  <a:lnTo>
                    <a:pt x="1970" y="575"/>
                  </a:lnTo>
                  <a:lnTo>
                    <a:pt x="1975" y="567"/>
                  </a:lnTo>
                  <a:lnTo>
                    <a:pt x="1980" y="559"/>
                  </a:lnTo>
                  <a:lnTo>
                    <a:pt x="1983" y="550"/>
                  </a:lnTo>
                  <a:lnTo>
                    <a:pt x="1980" y="536"/>
                  </a:lnTo>
                  <a:lnTo>
                    <a:pt x="1976" y="522"/>
                  </a:lnTo>
                  <a:lnTo>
                    <a:pt x="1974" y="511"/>
                  </a:lnTo>
                  <a:lnTo>
                    <a:pt x="1974" y="501"/>
                  </a:lnTo>
                  <a:lnTo>
                    <a:pt x="1973" y="492"/>
                  </a:lnTo>
                  <a:lnTo>
                    <a:pt x="1972" y="481"/>
                  </a:lnTo>
                  <a:lnTo>
                    <a:pt x="1969" y="467"/>
                  </a:lnTo>
                  <a:lnTo>
                    <a:pt x="1967" y="455"/>
                  </a:lnTo>
                  <a:lnTo>
                    <a:pt x="1964" y="442"/>
                  </a:lnTo>
                  <a:lnTo>
                    <a:pt x="1962" y="428"/>
                  </a:lnTo>
                  <a:lnTo>
                    <a:pt x="1959" y="412"/>
                  </a:lnTo>
                  <a:lnTo>
                    <a:pt x="1956" y="399"/>
                  </a:lnTo>
                  <a:lnTo>
                    <a:pt x="1953" y="385"/>
                  </a:lnTo>
                  <a:lnTo>
                    <a:pt x="1949" y="370"/>
                  </a:lnTo>
                  <a:lnTo>
                    <a:pt x="1947" y="353"/>
                  </a:lnTo>
                  <a:lnTo>
                    <a:pt x="1943" y="338"/>
                  </a:lnTo>
                  <a:lnTo>
                    <a:pt x="1939" y="327"/>
                  </a:lnTo>
                  <a:lnTo>
                    <a:pt x="1934" y="319"/>
                  </a:lnTo>
                  <a:lnTo>
                    <a:pt x="1929" y="309"/>
                  </a:lnTo>
                  <a:lnTo>
                    <a:pt x="1924" y="299"/>
                  </a:lnTo>
                  <a:lnTo>
                    <a:pt x="1914" y="291"/>
                  </a:lnTo>
                  <a:lnTo>
                    <a:pt x="1903" y="284"/>
                  </a:lnTo>
                  <a:lnTo>
                    <a:pt x="1893" y="279"/>
                  </a:lnTo>
                  <a:lnTo>
                    <a:pt x="1882" y="275"/>
                  </a:lnTo>
                  <a:lnTo>
                    <a:pt x="1872" y="269"/>
                  </a:lnTo>
                  <a:lnTo>
                    <a:pt x="1861" y="264"/>
                  </a:lnTo>
                  <a:lnTo>
                    <a:pt x="1850" y="257"/>
                  </a:lnTo>
                  <a:lnTo>
                    <a:pt x="1839" y="250"/>
                  </a:lnTo>
                  <a:lnTo>
                    <a:pt x="1829" y="241"/>
                  </a:lnTo>
                  <a:lnTo>
                    <a:pt x="1822" y="230"/>
                  </a:lnTo>
                  <a:lnTo>
                    <a:pt x="1815" y="219"/>
                  </a:lnTo>
                  <a:lnTo>
                    <a:pt x="1810" y="210"/>
                  </a:lnTo>
                  <a:lnTo>
                    <a:pt x="1804" y="200"/>
                  </a:lnTo>
                  <a:lnTo>
                    <a:pt x="1796" y="192"/>
                  </a:lnTo>
                  <a:lnTo>
                    <a:pt x="1791" y="189"/>
                  </a:lnTo>
                  <a:lnTo>
                    <a:pt x="1786" y="187"/>
                  </a:lnTo>
                  <a:lnTo>
                    <a:pt x="1781" y="186"/>
                  </a:lnTo>
                  <a:lnTo>
                    <a:pt x="1774" y="186"/>
                  </a:lnTo>
                  <a:lnTo>
                    <a:pt x="1758" y="186"/>
                  </a:lnTo>
                  <a:lnTo>
                    <a:pt x="1744" y="188"/>
                  </a:lnTo>
                  <a:lnTo>
                    <a:pt x="1730" y="190"/>
                  </a:lnTo>
                  <a:lnTo>
                    <a:pt x="1717" y="192"/>
                  </a:lnTo>
                  <a:lnTo>
                    <a:pt x="1703" y="195"/>
                  </a:lnTo>
                  <a:lnTo>
                    <a:pt x="1690" y="197"/>
                  </a:lnTo>
                  <a:lnTo>
                    <a:pt x="1675" y="199"/>
                  </a:lnTo>
                  <a:lnTo>
                    <a:pt x="1659" y="200"/>
                  </a:lnTo>
                  <a:lnTo>
                    <a:pt x="1647" y="199"/>
                  </a:lnTo>
                  <a:lnTo>
                    <a:pt x="1637" y="196"/>
                  </a:lnTo>
                  <a:lnTo>
                    <a:pt x="1626" y="192"/>
                  </a:lnTo>
                  <a:lnTo>
                    <a:pt x="1618" y="188"/>
                  </a:lnTo>
                  <a:lnTo>
                    <a:pt x="1608" y="184"/>
                  </a:lnTo>
                  <a:lnTo>
                    <a:pt x="1598" y="181"/>
                  </a:lnTo>
                  <a:lnTo>
                    <a:pt x="1588" y="178"/>
                  </a:lnTo>
                  <a:lnTo>
                    <a:pt x="1576" y="177"/>
                  </a:lnTo>
                  <a:lnTo>
                    <a:pt x="1566" y="178"/>
                  </a:lnTo>
                  <a:lnTo>
                    <a:pt x="1557" y="181"/>
                  </a:lnTo>
                  <a:lnTo>
                    <a:pt x="1550" y="184"/>
                  </a:lnTo>
                  <a:lnTo>
                    <a:pt x="1542" y="188"/>
                  </a:lnTo>
                  <a:lnTo>
                    <a:pt x="1535" y="192"/>
                  </a:lnTo>
                  <a:lnTo>
                    <a:pt x="1527" y="196"/>
                  </a:lnTo>
                  <a:lnTo>
                    <a:pt x="1518" y="199"/>
                  </a:lnTo>
                  <a:lnTo>
                    <a:pt x="1510" y="200"/>
                  </a:lnTo>
                  <a:lnTo>
                    <a:pt x="1503" y="199"/>
                  </a:lnTo>
                  <a:lnTo>
                    <a:pt x="1499" y="198"/>
                  </a:lnTo>
                  <a:lnTo>
                    <a:pt x="1494" y="197"/>
                  </a:lnTo>
                  <a:lnTo>
                    <a:pt x="1489" y="195"/>
                  </a:lnTo>
                  <a:lnTo>
                    <a:pt x="1482" y="188"/>
                  </a:lnTo>
                  <a:lnTo>
                    <a:pt x="1475" y="181"/>
                  </a:lnTo>
                  <a:lnTo>
                    <a:pt x="1464" y="161"/>
                  </a:lnTo>
                  <a:lnTo>
                    <a:pt x="1455" y="141"/>
                  </a:lnTo>
                  <a:lnTo>
                    <a:pt x="1450" y="130"/>
                  </a:lnTo>
                  <a:lnTo>
                    <a:pt x="1445" y="119"/>
                  </a:lnTo>
                  <a:lnTo>
                    <a:pt x="1443" y="114"/>
                  </a:lnTo>
                  <a:lnTo>
                    <a:pt x="1440" y="110"/>
                  </a:lnTo>
                  <a:lnTo>
                    <a:pt x="1435" y="108"/>
                  </a:lnTo>
                  <a:lnTo>
                    <a:pt x="1430" y="107"/>
                  </a:lnTo>
                  <a:lnTo>
                    <a:pt x="1419" y="108"/>
                  </a:lnTo>
                  <a:lnTo>
                    <a:pt x="1408" y="109"/>
                  </a:lnTo>
                  <a:lnTo>
                    <a:pt x="1400" y="113"/>
                  </a:lnTo>
                  <a:lnTo>
                    <a:pt x="1390" y="116"/>
                  </a:lnTo>
                  <a:lnTo>
                    <a:pt x="1381" y="119"/>
                  </a:lnTo>
                  <a:lnTo>
                    <a:pt x="1371" y="121"/>
                  </a:lnTo>
                  <a:lnTo>
                    <a:pt x="1362" y="123"/>
                  </a:lnTo>
                  <a:lnTo>
                    <a:pt x="1351" y="123"/>
                  </a:lnTo>
                  <a:lnTo>
                    <a:pt x="1343" y="123"/>
                  </a:lnTo>
                  <a:lnTo>
                    <a:pt x="1336" y="122"/>
                  </a:lnTo>
                  <a:lnTo>
                    <a:pt x="1328" y="121"/>
                  </a:lnTo>
                  <a:lnTo>
                    <a:pt x="1322" y="119"/>
                  </a:lnTo>
                  <a:lnTo>
                    <a:pt x="1309" y="115"/>
                  </a:lnTo>
                  <a:lnTo>
                    <a:pt x="1297" y="107"/>
                  </a:lnTo>
                  <a:lnTo>
                    <a:pt x="1285" y="100"/>
                  </a:lnTo>
                  <a:lnTo>
                    <a:pt x="1274" y="91"/>
                  </a:lnTo>
                  <a:lnTo>
                    <a:pt x="1265" y="81"/>
                  </a:lnTo>
                  <a:lnTo>
                    <a:pt x="1254" y="71"/>
                  </a:lnTo>
                  <a:lnTo>
                    <a:pt x="1244" y="63"/>
                  </a:lnTo>
                  <a:lnTo>
                    <a:pt x="1233" y="53"/>
                  </a:lnTo>
                  <a:lnTo>
                    <a:pt x="1222" y="44"/>
                  </a:lnTo>
                  <a:lnTo>
                    <a:pt x="1212" y="36"/>
                  </a:lnTo>
                  <a:lnTo>
                    <a:pt x="1199" y="29"/>
                  </a:lnTo>
                  <a:lnTo>
                    <a:pt x="1186" y="25"/>
                  </a:lnTo>
                  <a:lnTo>
                    <a:pt x="1179" y="23"/>
                  </a:lnTo>
                  <a:lnTo>
                    <a:pt x="1172" y="22"/>
                  </a:lnTo>
                  <a:lnTo>
                    <a:pt x="1165" y="21"/>
                  </a:lnTo>
                  <a:lnTo>
                    <a:pt x="1157" y="20"/>
                  </a:lnTo>
                  <a:lnTo>
                    <a:pt x="1141" y="20"/>
                  </a:lnTo>
                  <a:lnTo>
                    <a:pt x="1128" y="20"/>
                  </a:lnTo>
                  <a:lnTo>
                    <a:pt x="1114" y="20"/>
                  </a:lnTo>
                  <a:lnTo>
                    <a:pt x="1099" y="20"/>
                  </a:lnTo>
                  <a:lnTo>
                    <a:pt x="1089" y="20"/>
                  </a:lnTo>
                  <a:lnTo>
                    <a:pt x="1078" y="17"/>
                  </a:lnTo>
                  <a:lnTo>
                    <a:pt x="1068" y="14"/>
                  </a:lnTo>
                  <a:lnTo>
                    <a:pt x="1059" y="10"/>
                  </a:lnTo>
                  <a:lnTo>
                    <a:pt x="1051" y="7"/>
                  </a:lnTo>
                  <a:lnTo>
                    <a:pt x="1041" y="3"/>
                  </a:lnTo>
                  <a:lnTo>
                    <a:pt x="1031" y="1"/>
                  </a:lnTo>
                  <a:lnTo>
                    <a:pt x="1019" y="0"/>
                  </a:lnTo>
                  <a:lnTo>
                    <a:pt x="1002" y="0"/>
                  </a:lnTo>
                  <a:lnTo>
                    <a:pt x="987" y="0"/>
                  </a:lnTo>
                  <a:lnTo>
                    <a:pt x="971" y="0"/>
                  </a:lnTo>
                  <a:lnTo>
                    <a:pt x="953" y="0"/>
                  </a:lnTo>
                  <a:lnTo>
                    <a:pt x="949" y="1"/>
                  </a:lnTo>
                  <a:lnTo>
                    <a:pt x="945" y="2"/>
                  </a:lnTo>
                  <a:lnTo>
                    <a:pt x="941" y="5"/>
                  </a:lnTo>
                  <a:lnTo>
                    <a:pt x="936" y="7"/>
                  </a:lnTo>
                  <a:lnTo>
                    <a:pt x="930" y="13"/>
                  </a:lnTo>
                  <a:lnTo>
                    <a:pt x="924" y="20"/>
                  </a:lnTo>
                  <a:lnTo>
                    <a:pt x="918" y="27"/>
                  </a:lnTo>
                  <a:lnTo>
                    <a:pt x="911" y="34"/>
                  </a:lnTo>
                  <a:lnTo>
                    <a:pt x="907" y="36"/>
                  </a:lnTo>
                  <a:lnTo>
                    <a:pt x="904" y="38"/>
                  </a:lnTo>
                  <a:lnTo>
                    <a:pt x="899" y="39"/>
                  </a:lnTo>
                  <a:lnTo>
                    <a:pt x="894" y="40"/>
                  </a:lnTo>
                  <a:lnTo>
                    <a:pt x="887" y="39"/>
                  </a:lnTo>
                  <a:lnTo>
                    <a:pt x="880" y="37"/>
                  </a:lnTo>
                  <a:lnTo>
                    <a:pt x="875" y="35"/>
                  </a:lnTo>
                  <a:lnTo>
                    <a:pt x="868" y="32"/>
                  </a:lnTo>
                  <a:lnTo>
                    <a:pt x="863" y="28"/>
                  </a:lnTo>
                  <a:lnTo>
                    <a:pt x="857" y="25"/>
                  </a:lnTo>
                  <a:lnTo>
                    <a:pt x="850" y="24"/>
                  </a:lnTo>
                  <a:lnTo>
                    <a:pt x="843" y="23"/>
                  </a:lnTo>
                  <a:lnTo>
                    <a:pt x="822" y="23"/>
                  </a:lnTo>
                  <a:lnTo>
                    <a:pt x="802" y="23"/>
                  </a:lnTo>
                  <a:lnTo>
                    <a:pt x="784" y="23"/>
                  </a:lnTo>
                  <a:lnTo>
                    <a:pt x="762" y="23"/>
                  </a:lnTo>
                  <a:lnTo>
                    <a:pt x="606" y="9"/>
                  </a:lnTo>
                  <a:lnTo>
                    <a:pt x="606" y="9"/>
                  </a:lnTo>
                  <a:close/>
                </a:path>
              </a:pathLst>
            </a:custGeom>
            <a:solidFill>
              <a:srgbClr val="3B61AC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56">
              <a:extLst>
                <a:ext uri="{FF2B5EF4-FFF2-40B4-BE49-F238E27FC236}">
                  <a16:creationId xmlns:a16="http://schemas.microsoft.com/office/drawing/2014/main" id="{98AD982C-3F01-4622-98B5-D44687302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37000" y="4806951"/>
              <a:ext cx="969963" cy="701675"/>
            </a:xfrm>
            <a:custGeom>
              <a:avLst/>
              <a:gdLst>
                <a:gd name="T0" fmla="*/ 437 w 2442"/>
                <a:gd name="T1" fmla="*/ 127 h 1769"/>
                <a:gd name="T2" fmla="*/ 394 w 2442"/>
                <a:gd name="T3" fmla="*/ 212 h 1769"/>
                <a:gd name="T4" fmla="*/ 355 w 2442"/>
                <a:gd name="T5" fmla="*/ 330 h 1769"/>
                <a:gd name="T6" fmla="*/ 248 w 2442"/>
                <a:gd name="T7" fmla="*/ 425 h 1769"/>
                <a:gd name="T8" fmla="*/ 164 w 2442"/>
                <a:gd name="T9" fmla="*/ 535 h 1769"/>
                <a:gd name="T10" fmla="*/ 115 w 2442"/>
                <a:gd name="T11" fmla="*/ 642 h 1769"/>
                <a:gd name="T12" fmla="*/ 18 w 2442"/>
                <a:gd name="T13" fmla="*/ 1163 h 1769"/>
                <a:gd name="T14" fmla="*/ 3 w 2442"/>
                <a:gd name="T15" fmla="*/ 1238 h 1769"/>
                <a:gd name="T16" fmla="*/ 154 w 2442"/>
                <a:gd name="T17" fmla="*/ 1217 h 1769"/>
                <a:gd name="T18" fmla="*/ 214 w 2442"/>
                <a:gd name="T19" fmla="*/ 1252 h 1769"/>
                <a:gd name="T20" fmla="*/ 251 w 2442"/>
                <a:gd name="T21" fmla="*/ 1336 h 1769"/>
                <a:gd name="T22" fmla="*/ 297 w 2442"/>
                <a:gd name="T23" fmla="*/ 1437 h 1769"/>
                <a:gd name="T24" fmla="*/ 289 w 2442"/>
                <a:gd name="T25" fmla="*/ 1539 h 1769"/>
                <a:gd name="T26" fmla="*/ 402 w 2442"/>
                <a:gd name="T27" fmla="*/ 1534 h 1769"/>
                <a:gd name="T28" fmla="*/ 467 w 2442"/>
                <a:gd name="T29" fmla="*/ 1522 h 1769"/>
                <a:gd name="T30" fmla="*/ 563 w 2442"/>
                <a:gd name="T31" fmla="*/ 1579 h 1769"/>
                <a:gd name="T32" fmla="*/ 703 w 2442"/>
                <a:gd name="T33" fmla="*/ 1590 h 1769"/>
                <a:gd name="T34" fmla="*/ 884 w 2442"/>
                <a:gd name="T35" fmla="*/ 1652 h 1769"/>
                <a:gd name="T36" fmla="*/ 1065 w 2442"/>
                <a:gd name="T37" fmla="*/ 1735 h 1769"/>
                <a:gd name="T38" fmla="*/ 1137 w 2442"/>
                <a:gd name="T39" fmla="*/ 1766 h 1769"/>
                <a:gd name="T40" fmla="*/ 1188 w 2442"/>
                <a:gd name="T41" fmla="*/ 1701 h 1769"/>
                <a:gd name="T42" fmla="*/ 1206 w 2442"/>
                <a:gd name="T43" fmla="*/ 1627 h 1769"/>
                <a:gd name="T44" fmla="*/ 1297 w 2442"/>
                <a:gd name="T45" fmla="*/ 1582 h 1769"/>
                <a:gd name="T46" fmla="*/ 1411 w 2442"/>
                <a:gd name="T47" fmla="*/ 1495 h 1769"/>
                <a:gd name="T48" fmla="*/ 1675 w 2442"/>
                <a:gd name="T49" fmla="*/ 1532 h 1769"/>
                <a:gd name="T50" fmla="*/ 1917 w 2442"/>
                <a:gd name="T51" fmla="*/ 1589 h 1769"/>
                <a:gd name="T52" fmla="*/ 2023 w 2442"/>
                <a:gd name="T53" fmla="*/ 1576 h 1769"/>
                <a:gd name="T54" fmla="*/ 2179 w 2442"/>
                <a:gd name="T55" fmla="*/ 1587 h 1769"/>
                <a:gd name="T56" fmla="*/ 2205 w 2442"/>
                <a:gd name="T57" fmla="*/ 1505 h 1769"/>
                <a:gd name="T58" fmla="*/ 2256 w 2442"/>
                <a:gd name="T59" fmla="*/ 1431 h 1769"/>
                <a:gd name="T60" fmla="*/ 2250 w 2442"/>
                <a:gd name="T61" fmla="*/ 1382 h 1769"/>
                <a:gd name="T62" fmla="*/ 2225 w 2442"/>
                <a:gd name="T63" fmla="*/ 1328 h 1769"/>
                <a:gd name="T64" fmla="*/ 2308 w 2442"/>
                <a:gd name="T65" fmla="*/ 1288 h 1769"/>
                <a:gd name="T66" fmla="*/ 2382 w 2442"/>
                <a:gd name="T67" fmla="*/ 1306 h 1769"/>
                <a:gd name="T68" fmla="*/ 2406 w 2442"/>
                <a:gd name="T69" fmla="*/ 1199 h 1769"/>
                <a:gd name="T70" fmla="*/ 2299 w 2442"/>
                <a:gd name="T71" fmla="*/ 1163 h 1769"/>
                <a:gd name="T72" fmla="*/ 2288 w 2442"/>
                <a:gd name="T73" fmla="*/ 1064 h 1769"/>
                <a:gd name="T74" fmla="*/ 2270 w 2442"/>
                <a:gd name="T75" fmla="*/ 993 h 1769"/>
                <a:gd name="T76" fmla="*/ 2113 w 2442"/>
                <a:gd name="T77" fmla="*/ 933 h 1769"/>
                <a:gd name="T78" fmla="*/ 2005 w 2442"/>
                <a:gd name="T79" fmla="*/ 948 h 1769"/>
                <a:gd name="T80" fmla="*/ 2002 w 2442"/>
                <a:gd name="T81" fmla="*/ 750 h 1769"/>
                <a:gd name="T82" fmla="*/ 1956 w 2442"/>
                <a:gd name="T83" fmla="*/ 635 h 1769"/>
                <a:gd name="T84" fmla="*/ 1975 w 2442"/>
                <a:gd name="T85" fmla="*/ 567 h 1769"/>
                <a:gd name="T86" fmla="*/ 1969 w 2442"/>
                <a:gd name="T87" fmla="*/ 467 h 1769"/>
                <a:gd name="T88" fmla="*/ 1943 w 2442"/>
                <a:gd name="T89" fmla="*/ 338 h 1769"/>
                <a:gd name="T90" fmla="*/ 1872 w 2442"/>
                <a:gd name="T91" fmla="*/ 269 h 1769"/>
                <a:gd name="T92" fmla="*/ 1796 w 2442"/>
                <a:gd name="T93" fmla="*/ 192 h 1769"/>
                <a:gd name="T94" fmla="*/ 1703 w 2442"/>
                <a:gd name="T95" fmla="*/ 195 h 1769"/>
                <a:gd name="T96" fmla="*/ 1598 w 2442"/>
                <a:gd name="T97" fmla="*/ 181 h 1769"/>
                <a:gd name="T98" fmla="*/ 1518 w 2442"/>
                <a:gd name="T99" fmla="*/ 199 h 1769"/>
                <a:gd name="T100" fmla="*/ 1455 w 2442"/>
                <a:gd name="T101" fmla="*/ 141 h 1769"/>
                <a:gd name="T102" fmla="*/ 1400 w 2442"/>
                <a:gd name="T103" fmla="*/ 113 h 1769"/>
                <a:gd name="T104" fmla="*/ 1322 w 2442"/>
                <a:gd name="T105" fmla="*/ 119 h 1769"/>
                <a:gd name="T106" fmla="*/ 1222 w 2442"/>
                <a:gd name="T107" fmla="*/ 44 h 1769"/>
                <a:gd name="T108" fmla="*/ 1128 w 2442"/>
                <a:gd name="T109" fmla="*/ 20 h 1769"/>
                <a:gd name="T110" fmla="*/ 1031 w 2442"/>
                <a:gd name="T111" fmla="*/ 1 h 1769"/>
                <a:gd name="T112" fmla="*/ 936 w 2442"/>
                <a:gd name="T113" fmla="*/ 7 h 1769"/>
                <a:gd name="T114" fmla="*/ 887 w 2442"/>
                <a:gd name="T115" fmla="*/ 39 h 1769"/>
                <a:gd name="T116" fmla="*/ 802 w 2442"/>
                <a:gd name="T117" fmla="*/ 23 h 1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42" h="1769">
                  <a:moveTo>
                    <a:pt x="606" y="9"/>
                  </a:moveTo>
                  <a:lnTo>
                    <a:pt x="585" y="28"/>
                  </a:lnTo>
                  <a:lnTo>
                    <a:pt x="565" y="46"/>
                  </a:lnTo>
                  <a:lnTo>
                    <a:pt x="545" y="60"/>
                  </a:lnTo>
                  <a:lnTo>
                    <a:pt x="526" y="73"/>
                  </a:lnTo>
                  <a:lnTo>
                    <a:pt x="505" y="86"/>
                  </a:lnTo>
                  <a:lnTo>
                    <a:pt x="484" y="98"/>
                  </a:lnTo>
                  <a:lnTo>
                    <a:pt x="461" y="111"/>
                  </a:lnTo>
                  <a:lnTo>
                    <a:pt x="437" y="127"/>
                  </a:lnTo>
                  <a:lnTo>
                    <a:pt x="431" y="131"/>
                  </a:lnTo>
                  <a:lnTo>
                    <a:pt x="425" y="135"/>
                  </a:lnTo>
                  <a:lnTo>
                    <a:pt x="420" y="141"/>
                  </a:lnTo>
                  <a:lnTo>
                    <a:pt x="416" y="146"/>
                  </a:lnTo>
                  <a:lnTo>
                    <a:pt x="408" y="157"/>
                  </a:lnTo>
                  <a:lnTo>
                    <a:pt x="403" y="170"/>
                  </a:lnTo>
                  <a:lnTo>
                    <a:pt x="399" y="183"/>
                  </a:lnTo>
                  <a:lnTo>
                    <a:pt x="396" y="197"/>
                  </a:lnTo>
                  <a:lnTo>
                    <a:pt x="394" y="212"/>
                  </a:lnTo>
                  <a:lnTo>
                    <a:pt x="393" y="227"/>
                  </a:lnTo>
                  <a:lnTo>
                    <a:pt x="391" y="240"/>
                  </a:lnTo>
                  <a:lnTo>
                    <a:pt x="389" y="251"/>
                  </a:lnTo>
                  <a:lnTo>
                    <a:pt x="385" y="260"/>
                  </a:lnTo>
                  <a:lnTo>
                    <a:pt x="382" y="270"/>
                  </a:lnTo>
                  <a:lnTo>
                    <a:pt x="373" y="290"/>
                  </a:lnTo>
                  <a:lnTo>
                    <a:pt x="365" y="311"/>
                  </a:lnTo>
                  <a:lnTo>
                    <a:pt x="359" y="321"/>
                  </a:lnTo>
                  <a:lnTo>
                    <a:pt x="355" y="330"/>
                  </a:lnTo>
                  <a:lnTo>
                    <a:pt x="349" y="337"/>
                  </a:lnTo>
                  <a:lnTo>
                    <a:pt x="343" y="345"/>
                  </a:lnTo>
                  <a:lnTo>
                    <a:pt x="330" y="357"/>
                  </a:lnTo>
                  <a:lnTo>
                    <a:pt x="316" y="367"/>
                  </a:lnTo>
                  <a:lnTo>
                    <a:pt x="301" y="378"/>
                  </a:lnTo>
                  <a:lnTo>
                    <a:pt x="286" y="389"/>
                  </a:lnTo>
                  <a:lnTo>
                    <a:pt x="270" y="401"/>
                  </a:lnTo>
                  <a:lnTo>
                    <a:pt x="255" y="415"/>
                  </a:lnTo>
                  <a:lnTo>
                    <a:pt x="248" y="425"/>
                  </a:lnTo>
                  <a:lnTo>
                    <a:pt x="242" y="433"/>
                  </a:lnTo>
                  <a:lnTo>
                    <a:pt x="237" y="442"/>
                  </a:lnTo>
                  <a:lnTo>
                    <a:pt x="233" y="452"/>
                  </a:lnTo>
                  <a:lnTo>
                    <a:pt x="230" y="460"/>
                  </a:lnTo>
                  <a:lnTo>
                    <a:pt x="226" y="470"/>
                  </a:lnTo>
                  <a:lnTo>
                    <a:pt x="220" y="479"/>
                  </a:lnTo>
                  <a:lnTo>
                    <a:pt x="213" y="488"/>
                  </a:lnTo>
                  <a:lnTo>
                    <a:pt x="188" y="513"/>
                  </a:lnTo>
                  <a:lnTo>
                    <a:pt x="164" y="535"/>
                  </a:lnTo>
                  <a:lnTo>
                    <a:pt x="153" y="546"/>
                  </a:lnTo>
                  <a:lnTo>
                    <a:pt x="143" y="557"/>
                  </a:lnTo>
                  <a:lnTo>
                    <a:pt x="139" y="565"/>
                  </a:lnTo>
                  <a:lnTo>
                    <a:pt x="136" y="573"/>
                  </a:lnTo>
                  <a:lnTo>
                    <a:pt x="132" y="580"/>
                  </a:lnTo>
                  <a:lnTo>
                    <a:pt x="129" y="589"/>
                  </a:lnTo>
                  <a:lnTo>
                    <a:pt x="123" y="608"/>
                  </a:lnTo>
                  <a:lnTo>
                    <a:pt x="119" y="626"/>
                  </a:lnTo>
                  <a:lnTo>
                    <a:pt x="115" y="642"/>
                  </a:lnTo>
                  <a:lnTo>
                    <a:pt x="110" y="662"/>
                  </a:lnTo>
                  <a:lnTo>
                    <a:pt x="110" y="662"/>
                  </a:lnTo>
                  <a:lnTo>
                    <a:pt x="24" y="1144"/>
                  </a:lnTo>
                  <a:lnTo>
                    <a:pt x="25" y="1145"/>
                  </a:lnTo>
                  <a:lnTo>
                    <a:pt x="25" y="1147"/>
                  </a:lnTo>
                  <a:lnTo>
                    <a:pt x="25" y="1151"/>
                  </a:lnTo>
                  <a:lnTo>
                    <a:pt x="22" y="1156"/>
                  </a:lnTo>
                  <a:lnTo>
                    <a:pt x="20" y="1159"/>
                  </a:lnTo>
                  <a:lnTo>
                    <a:pt x="18" y="1163"/>
                  </a:lnTo>
                  <a:lnTo>
                    <a:pt x="13" y="1177"/>
                  </a:lnTo>
                  <a:lnTo>
                    <a:pt x="7" y="1190"/>
                  </a:lnTo>
                  <a:lnTo>
                    <a:pt x="4" y="1197"/>
                  </a:lnTo>
                  <a:lnTo>
                    <a:pt x="2" y="1202"/>
                  </a:lnTo>
                  <a:lnTo>
                    <a:pt x="0" y="1208"/>
                  </a:lnTo>
                  <a:lnTo>
                    <a:pt x="0" y="1214"/>
                  </a:lnTo>
                  <a:lnTo>
                    <a:pt x="2" y="1226"/>
                  </a:lnTo>
                  <a:lnTo>
                    <a:pt x="3" y="1238"/>
                  </a:lnTo>
                  <a:lnTo>
                    <a:pt x="3" y="1238"/>
                  </a:lnTo>
                  <a:lnTo>
                    <a:pt x="19" y="1240"/>
                  </a:lnTo>
                  <a:lnTo>
                    <a:pt x="35" y="1241"/>
                  </a:lnTo>
                  <a:lnTo>
                    <a:pt x="52" y="1243"/>
                  </a:lnTo>
                  <a:lnTo>
                    <a:pt x="67" y="1244"/>
                  </a:lnTo>
                  <a:lnTo>
                    <a:pt x="94" y="1235"/>
                  </a:lnTo>
                  <a:lnTo>
                    <a:pt x="116" y="1226"/>
                  </a:lnTo>
                  <a:lnTo>
                    <a:pt x="128" y="1223"/>
                  </a:lnTo>
                  <a:lnTo>
                    <a:pt x="140" y="1220"/>
                  </a:lnTo>
                  <a:lnTo>
                    <a:pt x="154" y="1217"/>
                  </a:lnTo>
                  <a:lnTo>
                    <a:pt x="168" y="1216"/>
                  </a:lnTo>
                  <a:lnTo>
                    <a:pt x="177" y="1217"/>
                  </a:lnTo>
                  <a:lnTo>
                    <a:pt x="184" y="1221"/>
                  </a:lnTo>
                  <a:lnTo>
                    <a:pt x="191" y="1229"/>
                  </a:lnTo>
                  <a:lnTo>
                    <a:pt x="196" y="1239"/>
                  </a:lnTo>
                  <a:lnTo>
                    <a:pt x="200" y="1243"/>
                  </a:lnTo>
                  <a:lnTo>
                    <a:pt x="204" y="1247"/>
                  </a:lnTo>
                  <a:lnTo>
                    <a:pt x="208" y="1250"/>
                  </a:lnTo>
                  <a:lnTo>
                    <a:pt x="214" y="1252"/>
                  </a:lnTo>
                  <a:lnTo>
                    <a:pt x="218" y="1254"/>
                  </a:lnTo>
                  <a:lnTo>
                    <a:pt x="223" y="1256"/>
                  </a:lnTo>
                  <a:lnTo>
                    <a:pt x="227" y="1259"/>
                  </a:lnTo>
                  <a:lnTo>
                    <a:pt x="230" y="1265"/>
                  </a:lnTo>
                  <a:lnTo>
                    <a:pt x="235" y="1279"/>
                  </a:lnTo>
                  <a:lnTo>
                    <a:pt x="237" y="1292"/>
                  </a:lnTo>
                  <a:lnTo>
                    <a:pt x="240" y="1306"/>
                  </a:lnTo>
                  <a:lnTo>
                    <a:pt x="244" y="1320"/>
                  </a:lnTo>
                  <a:lnTo>
                    <a:pt x="251" y="1336"/>
                  </a:lnTo>
                  <a:lnTo>
                    <a:pt x="259" y="1351"/>
                  </a:lnTo>
                  <a:lnTo>
                    <a:pt x="268" y="1364"/>
                  </a:lnTo>
                  <a:lnTo>
                    <a:pt x="276" y="1377"/>
                  </a:lnTo>
                  <a:lnTo>
                    <a:pt x="285" y="1390"/>
                  </a:lnTo>
                  <a:lnTo>
                    <a:pt x="291" y="1404"/>
                  </a:lnTo>
                  <a:lnTo>
                    <a:pt x="294" y="1412"/>
                  </a:lnTo>
                  <a:lnTo>
                    <a:pt x="296" y="1419"/>
                  </a:lnTo>
                  <a:lnTo>
                    <a:pt x="297" y="1428"/>
                  </a:lnTo>
                  <a:lnTo>
                    <a:pt x="297" y="1437"/>
                  </a:lnTo>
                  <a:lnTo>
                    <a:pt x="297" y="1452"/>
                  </a:lnTo>
                  <a:lnTo>
                    <a:pt x="295" y="1465"/>
                  </a:lnTo>
                  <a:lnTo>
                    <a:pt x="291" y="1478"/>
                  </a:lnTo>
                  <a:lnTo>
                    <a:pt x="287" y="1490"/>
                  </a:lnTo>
                  <a:lnTo>
                    <a:pt x="278" y="1512"/>
                  </a:lnTo>
                  <a:lnTo>
                    <a:pt x="270" y="1535"/>
                  </a:lnTo>
                  <a:lnTo>
                    <a:pt x="270" y="1535"/>
                  </a:lnTo>
                  <a:lnTo>
                    <a:pt x="280" y="1537"/>
                  </a:lnTo>
                  <a:lnTo>
                    <a:pt x="289" y="1539"/>
                  </a:lnTo>
                  <a:lnTo>
                    <a:pt x="299" y="1541"/>
                  </a:lnTo>
                  <a:lnTo>
                    <a:pt x="309" y="1541"/>
                  </a:lnTo>
                  <a:lnTo>
                    <a:pt x="326" y="1541"/>
                  </a:lnTo>
                  <a:lnTo>
                    <a:pt x="340" y="1541"/>
                  </a:lnTo>
                  <a:lnTo>
                    <a:pt x="355" y="1541"/>
                  </a:lnTo>
                  <a:lnTo>
                    <a:pt x="372" y="1541"/>
                  </a:lnTo>
                  <a:lnTo>
                    <a:pt x="383" y="1540"/>
                  </a:lnTo>
                  <a:lnTo>
                    <a:pt x="393" y="1538"/>
                  </a:lnTo>
                  <a:lnTo>
                    <a:pt x="402" y="1534"/>
                  </a:lnTo>
                  <a:lnTo>
                    <a:pt x="409" y="1529"/>
                  </a:lnTo>
                  <a:lnTo>
                    <a:pt x="418" y="1524"/>
                  </a:lnTo>
                  <a:lnTo>
                    <a:pt x="426" y="1521"/>
                  </a:lnTo>
                  <a:lnTo>
                    <a:pt x="436" y="1518"/>
                  </a:lnTo>
                  <a:lnTo>
                    <a:pt x="447" y="1517"/>
                  </a:lnTo>
                  <a:lnTo>
                    <a:pt x="453" y="1517"/>
                  </a:lnTo>
                  <a:lnTo>
                    <a:pt x="459" y="1518"/>
                  </a:lnTo>
                  <a:lnTo>
                    <a:pt x="463" y="1520"/>
                  </a:lnTo>
                  <a:lnTo>
                    <a:pt x="467" y="1522"/>
                  </a:lnTo>
                  <a:lnTo>
                    <a:pt x="476" y="1527"/>
                  </a:lnTo>
                  <a:lnTo>
                    <a:pt x="484" y="1534"/>
                  </a:lnTo>
                  <a:lnTo>
                    <a:pt x="491" y="1540"/>
                  </a:lnTo>
                  <a:lnTo>
                    <a:pt x="500" y="1548"/>
                  </a:lnTo>
                  <a:lnTo>
                    <a:pt x="509" y="1555"/>
                  </a:lnTo>
                  <a:lnTo>
                    <a:pt x="518" y="1562"/>
                  </a:lnTo>
                  <a:lnTo>
                    <a:pt x="533" y="1568"/>
                  </a:lnTo>
                  <a:lnTo>
                    <a:pt x="548" y="1575"/>
                  </a:lnTo>
                  <a:lnTo>
                    <a:pt x="563" y="1579"/>
                  </a:lnTo>
                  <a:lnTo>
                    <a:pt x="575" y="1583"/>
                  </a:lnTo>
                  <a:lnTo>
                    <a:pt x="590" y="1586"/>
                  </a:lnTo>
                  <a:lnTo>
                    <a:pt x="605" y="1588"/>
                  </a:lnTo>
                  <a:lnTo>
                    <a:pt x="620" y="1589"/>
                  </a:lnTo>
                  <a:lnTo>
                    <a:pt x="637" y="1590"/>
                  </a:lnTo>
                  <a:lnTo>
                    <a:pt x="654" y="1590"/>
                  </a:lnTo>
                  <a:lnTo>
                    <a:pt x="669" y="1590"/>
                  </a:lnTo>
                  <a:lnTo>
                    <a:pt x="686" y="1590"/>
                  </a:lnTo>
                  <a:lnTo>
                    <a:pt x="703" y="1590"/>
                  </a:lnTo>
                  <a:lnTo>
                    <a:pt x="717" y="1590"/>
                  </a:lnTo>
                  <a:lnTo>
                    <a:pt x="731" y="1593"/>
                  </a:lnTo>
                  <a:lnTo>
                    <a:pt x="743" y="1596"/>
                  </a:lnTo>
                  <a:lnTo>
                    <a:pt x="755" y="1602"/>
                  </a:lnTo>
                  <a:lnTo>
                    <a:pt x="777" y="1613"/>
                  </a:lnTo>
                  <a:lnTo>
                    <a:pt x="804" y="1623"/>
                  </a:lnTo>
                  <a:lnTo>
                    <a:pt x="834" y="1632"/>
                  </a:lnTo>
                  <a:lnTo>
                    <a:pt x="861" y="1642"/>
                  </a:lnTo>
                  <a:lnTo>
                    <a:pt x="884" y="1652"/>
                  </a:lnTo>
                  <a:lnTo>
                    <a:pt x="908" y="1661"/>
                  </a:lnTo>
                  <a:lnTo>
                    <a:pt x="932" y="1672"/>
                  </a:lnTo>
                  <a:lnTo>
                    <a:pt x="956" y="1683"/>
                  </a:lnTo>
                  <a:lnTo>
                    <a:pt x="982" y="1695"/>
                  </a:lnTo>
                  <a:lnTo>
                    <a:pt x="1009" y="1708"/>
                  </a:lnTo>
                  <a:lnTo>
                    <a:pt x="1025" y="1714"/>
                  </a:lnTo>
                  <a:lnTo>
                    <a:pt x="1038" y="1720"/>
                  </a:lnTo>
                  <a:lnTo>
                    <a:pt x="1051" y="1727"/>
                  </a:lnTo>
                  <a:lnTo>
                    <a:pt x="1065" y="1735"/>
                  </a:lnTo>
                  <a:lnTo>
                    <a:pt x="1078" y="1745"/>
                  </a:lnTo>
                  <a:lnTo>
                    <a:pt x="1090" y="1756"/>
                  </a:lnTo>
                  <a:lnTo>
                    <a:pt x="1095" y="1762"/>
                  </a:lnTo>
                  <a:lnTo>
                    <a:pt x="1101" y="1765"/>
                  </a:lnTo>
                  <a:lnTo>
                    <a:pt x="1109" y="1768"/>
                  </a:lnTo>
                  <a:lnTo>
                    <a:pt x="1117" y="1769"/>
                  </a:lnTo>
                  <a:lnTo>
                    <a:pt x="1124" y="1768"/>
                  </a:lnTo>
                  <a:lnTo>
                    <a:pt x="1131" y="1767"/>
                  </a:lnTo>
                  <a:lnTo>
                    <a:pt x="1137" y="1766"/>
                  </a:lnTo>
                  <a:lnTo>
                    <a:pt x="1143" y="1764"/>
                  </a:lnTo>
                  <a:lnTo>
                    <a:pt x="1148" y="1761"/>
                  </a:lnTo>
                  <a:lnTo>
                    <a:pt x="1153" y="1757"/>
                  </a:lnTo>
                  <a:lnTo>
                    <a:pt x="1158" y="1753"/>
                  </a:lnTo>
                  <a:lnTo>
                    <a:pt x="1163" y="1749"/>
                  </a:lnTo>
                  <a:lnTo>
                    <a:pt x="1171" y="1739"/>
                  </a:lnTo>
                  <a:lnTo>
                    <a:pt x="1178" y="1727"/>
                  </a:lnTo>
                  <a:lnTo>
                    <a:pt x="1184" y="1715"/>
                  </a:lnTo>
                  <a:lnTo>
                    <a:pt x="1188" y="1701"/>
                  </a:lnTo>
                  <a:lnTo>
                    <a:pt x="1191" y="1691"/>
                  </a:lnTo>
                  <a:lnTo>
                    <a:pt x="1192" y="1683"/>
                  </a:lnTo>
                  <a:lnTo>
                    <a:pt x="1192" y="1674"/>
                  </a:lnTo>
                  <a:lnTo>
                    <a:pt x="1193" y="1664"/>
                  </a:lnTo>
                  <a:lnTo>
                    <a:pt x="1193" y="1657"/>
                  </a:lnTo>
                  <a:lnTo>
                    <a:pt x="1195" y="1648"/>
                  </a:lnTo>
                  <a:lnTo>
                    <a:pt x="1198" y="1640"/>
                  </a:lnTo>
                  <a:lnTo>
                    <a:pt x="1202" y="1631"/>
                  </a:lnTo>
                  <a:lnTo>
                    <a:pt x="1206" y="1627"/>
                  </a:lnTo>
                  <a:lnTo>
                    <a:pt x="1212" y="1623"/>
                  </a:lnTo>
                  <a:lnTo>
                    <a:pt x="1217" y="1620"/>
                  </a:lnTo>
                  <a:lnTo>
                    <a:pt x="1222" y="1618"/>
                  </a:lnTo>
                  <a:lnTo>
                    <a:pt x="1234" y="1615"/>
                  </a:lnTo>
                  <a:lnTo>
                    <a:pt x="1247" y="1612"/>
                  </a:lnTo>
                  <a:lnTo>
                    <a:pt x="1261" y="1606"/>
                  </a:lnTo>
                  <a:lnTo>
                    <a:pt x="1274" y="1600"/>
                  </a:lnTo>
                  <a:lnTo>
                    <a:pt x="1286" y="1591"/>
                  </a:lnTo>
                  <a:lnTo>
                    <a:pt x="1297" y="1582"/>
                  </a:lnTo>
                  <a:lnTo>
                    <a:pt x="1316" y="1563"/>
                  </a:lnTo>
                  <a:lnTo>
                    <a:pt x="1336" y="1544"/>
                  </a:lnTo>
                  <a:lnTo>
                    <a:pt x="1344" y="1534"/>
                  </a:lnTo>
                  <a:lnTo>
                    <a:pt x="1354" y="1524"/>
                  </a:lnTo>
                  <a:lnTo>
                    <a:pt x="1364" y="1517"/>
                  </a:lnTo>
                  <a:lnTo>
                    <a:pt x="1375" y="1509"/>
                  </a:lnTo>
                  <a:lnTo>
                    <a:pt x="1386" y="1502"/>
                  </a:lnTo>
                  <a:lnTo>
                    <a:pt x="1398" y="1498"/>
                  </a:lnTo>
                  <a:lnTo>
                    <a:pt x="1411" y="1495"/>
                  </a:lnTo>
                  <a:lnTo>
                    <a:pt x="1427" y="1494"/>
                  </a:lnTo>
                  <a:lnTo>
                    <a:pt x="1451" y="1495"/>
                  </a:lnTo>
                  <a:lnTo>
                    <a:pt x="1474" y="1495"/>
                  </a:lnTo>
                  <a:lnTo>
                    <a:pt x="1496" y="1497"/>
                  </a:lnTo>
                  <a:lnTo>
                    <a:pt x="1517" y="1499"/>
                  </a:lnTo>
                  <a:lnTo>
                    <a:pt x="1557" y="1505"/>
                  </a:lnTo>
                  <a:lnTo>
                    <a:pt x="1596" y="1511"/>
                  </a:lnTo>
                  <a:lnTo>
                    <a:pt x="1635" y="1521"/>
                  </a:lnTo>
                  <a:lnTo>
                    <a:pt x="1675" y="1532"/>
                  </a:lnTo>
                  <a:lnTo>
                    <a:pt x="1717" y="1542"/>
                  </a:lnTo>
                  <a:lnTo>
                    <a:pt x="1762" y="1555"/>
                  </a:lnTo>
                  <a:lnTo>
                    <a:pt x="1801" y="1567"/>
                  </a:lnTo>
                  <a:lnTo>
                    <a:pt x="1835" y="1578"/>
                  </a:lnTo>
                  <a:lnTo>
                    <a:pt x="1852" y="1582"/>
                  </a:lnTo>
                  <a:lnTo>
                    <a:pt x="1869" y="1587"/>
                  </a:lnTo>
                  <a:lnTo>
                    <a:pt x="1888" y="1589"/>
                  </a:lnTo>
                  <a:lnTo>
                    <a:pt x="1908" y="1590"/>
                  </a:lnTo>
                  <a:lnTo>
                    <a:pt x="1917" y="1589"/>
                  </a:lnTo>
                  <a:lnTo>
                    <a:pt x="1926" y="1587"/>
                  </a:lnTo>
                  <a:lnTo>
                    <a:pt x="1932" y="1585"/>
                  </a:lnTo>
                  <a:lnTo>
                    <a:pt x="1940" y="1581"/>
                  </a:lnTo>
                  <a:lnTo>
                    <a:pt x="1946" y="1578"/>
                  </a:lnTo>
                  <a:lnTo>
                    <a:pt x="1954" y="1575"/>
                  </a:lnTo>
                  <a:lnTo>
                    <a:pt x="1961" y="1574"/>
                  </a:lnTo>
                  <a:lnTo>
                    <a:pt x="1970" y="1573"/>
                  </a:lnTo>
                  <a:lnTo>
                    <a:pt x="1998" y="1574"/>
                  </a:lnTo>
                  <a:lnTo>
                    <a:pt x="2023" y="1576"/>
                  </a:lnTo>
                  <a:lnTo>
                    <a:pt x="2045" y="1579"/>
                  </a:lnTo>
                  <a:lnTo>
                    <a:pt x="2067" y="1583"/>
                  </a:lnTo>
                  <a:lnTo>
                    <a:pt x="2089" y="1588"/>
                  </a:lnTo>
                  <a:lnTo>
                    <a:pt x="2111" y="1592"/>
                  </a:lnTo>
                  <a:lnTo>
                    <a:pt x="2135" y="1596"/>
                  </a:lnTo>
                  <a:lnTo>
                    <a:pt x="2163" y="1600"/>
                  </a:lnTo>
                  <a:lnTo>
                    <a:pt x="2163" y="1600"/>
                  </a:lnTo>
                  <a:lnTo>
                    <a:pt x="2172" y="1594"/>
                  </a:lnTo>
                  <a:lnTo>
                    <a:pt x="2179" y="1587"/>
                  </a:lnTo>
                  <a:lnTo>
                    <a:pt x="2183" y="1583"/>
                  </a:lnTo>
                  <a:lnTo>
                    <a:pt x="2187" y="1579"/>
                  </a:lnTo>
                  <a:lnTo>
                    <a:pt x="2189" y="1575"/>
                  </a:lnTo>
                  <a:lnTo>
                    <a:pt x="2191" y="1569"/>
                  </a:lnTo>
                  <a:lnTo>
                    <a:pt x="2197" y="1556"/>
                  </a:lnTo>
                  <a:lnTo>
                    <a:pt x="2200" y="1542"/>
                  </a:lnTo>
                  <a:lnTo>
                    <a:pt x="2202" y="1529"/>
                  </a:lnTo>
                  <a:lnTo>
                    <a:pt x="2203" y="1518"/>
                  </a:lnTo>
                  <a:lnTo>
                    <a:pt x="2205" y="1505"/>
                  </a:lnTo>
                  <a:lnTo>
                    <a:pt x="2207" y="1492"/>
                  </a:lnTo>
                  <a:lnTo>
                    <a:pt x="2211" y="1480"/>
                  </a:lnTo>
                  <a:lnTo>
                    <a:pt x="2217" y="1466"/>
                  </a:lnTo>
                  <a:lnTo>
                    <a:pt x="2223" y="1458"/>
                  </a:lnTo>
                  <a:lnTo>
                    <a:pt x="2229" y="1453"/>
                  </a:lnTo>
                  <a:lnTo>
                    <a:pt x="2237" y="1447"/>
                  </a:lnTo>
                  <a:lnTo>
                    <a:pt x="2244" y="1442"/>
                  </a:lnTo>
                  <a:lnTo>
                    <a:pt x="2251" y="1438"/>
                  </a:lnTo>
                  <a:lnTo>
                    <a:pt x="2256" y="1431"/>
                  </a:lnTo>
                  <a:lnTo>
                    <a:pt x="2258" y="1428"/>
                  </a:lnTo>
                  <a:lnTo>
                    <a:pt x="2260" y="1425"/>
                  </a:lnTo>
                  <a:lnTo>
                    <a:pt x="2261" y="1420"/>
                  </a:lnTo>
                  <a:lnTo>
                    <a:pt x="2261" y="1416"/>
                  </a:lnTo>
                  <a:lnTo>
                    <a:pt x="2261" y="1407"/>
                  </a:lnTo>
                  <a:lnTo>
                    <a:pt x="2259" y="1400"/>
                  </a:lnTo>
                  <a:lnTo>
                    <a:pt x="2257" y="1393"/>
                  </a:lnTo>
                  <a:lnTo>
                    <a:pt x="2254" y="1387"/>
                  </a:lnTo>
                  <a:lnTo>
                    <a:pt x="2250" y="1382"/>
                  </a:lnTo>
                  <a:lnTo>
                    <a:pt x="2244" y="1377"/>
                  </a:lnTo>
                  <a:lnTo>
                    <a:pt x="2239" y="1372"/>
                  </a:lnTo>
                  <a:lnTo>
                    <a:pt x="2232" y="1367"/>
                  </a:lnTo>
                  <a:lnTo>
                    <a:pt x="2219" y="1360"/>
                  </a:lnTo>
                  <a:lnTo>
                    <a:pt x="2205" y="1351"/>
                  </a:lnTo>
                  <a:lnTo>
                    <a:pt x="2191" y="1343"/>
                  </a:lnTo>
                  <a:lnTo>
                    <a:pt x="2178" y="1332"/>
                  </a:lnTo>
                  <a:lnTo>
                    <a:pt x="2203" y="1330"/>
                  </a:lnTo>
                  <a:lnTo>
                    <a:pt x="2225" y="1328"/>
                  </a:lnTo>
                  <a:lnTo>
                    <a:pt x="2246" y="1324"/>
                  </a:lnTo>
                  <a:lnTo>
                    <a:pt x="2270" y="1318"/>
                  </a:lnTo>
                  <a:lnTo>
                    <a:pt x="2277" y="1315"/>
                  </a:lnTo>
                  <a:lnTo>
                    <a:pt x="2283" y="1310"/>
                  </a:lnTo>
                  <a:lnTo>
                    <a:pt x="2287" y="1306"/>
                  </a:lnTo>
                  <a:lnTo>
                    <a:pt x="2292" y="1301"/>
                  </a:lnTo>
                  <a:lnTo>
                    <a:pt x="2297" y="1295"/>
                  </a:lnTo>
                  <a:lnTo>
                    <a:pt x="2303" y="1291"/>
                  </a:lnTo>
                  <a:lnTo>
                    <a:pt x="2308" y="1288"/>
                  </a:lnTo>
                  <a:lnTo>
                    <a:pt x="2315" y="1286"/>
                  </a:lnTo>
                  <a:lnTo>
                    <a:pt x="2325" y="1288"/>
                  </a:lnTo>
                  <a:lnTo>
                    <a:pt x="2334" y="1290"/>
                  </a:lnTo>
                  <a:lnTo>
                    <a:pt x="2341" y="1293"/>
                  </a:lnTo>
                  <a:lnTo>
                    <a:pt x="2349" y="1296"/>
                  </a:lnTo>
                  <a:lnTo>
                    <a:pt x="2357" y="1301"/>
                  </a:lnTo>
                  <a:lnTo>
                    <a:pt x="2364" y="1304"/>
                  </a:lnTo>
                  <a:lnTo>
                    <a:pt x="2373" y="1306"/>
                  </a:lnTo>
                  <a:lnTo>
                    <a:pt x="2382" y="1306"/>
                  </a:lnTo>
                  <a:lnTo>
                    <a:pt x="2398" y="1306"/>
                  </a:lnTo>
                  <a:lnTo>
                    <a:pt x="2414" y="1304"/>
                  </a:lnTo>
                  <a:lnTo>
                    <a:pt x="2429" y="1299"/>
                  </a:lnTo>
                  <a:lnTo>
                    <a:pt x="2442" y="1294"/>
                  </a:lnTo>
                  <a:lnTo>
                    <a:pt x="2442" y="1294"/>
                  </a:lnTo>
                  <a:lnTo>
                    <a:pt x="2428" y="1261"/>
                  </a:lnTo>
                  <a:lnTo>
                    <a:pt x="2416" y="1230"/>
                  </a:lnTo>
                  <a:lnTo>
                    <a:pt x="2411" y="1215"/>
                  </a:lnTo>
                  <a:lnTo>
                    <a:pt x="2406" y="1199"/>
                  </a:lnTo>
                  <a:lnTo>
                    <a:pt x="2402" y="1182"/>
                  </a:lnTo>
                  <a:lnTo>
                    <a:pt x="2400" y="1163"/>
                  </a:lnTo>
                  <a:lnTo>
                    <a:pt x="2384" y="1161"/>
                  </a:lnTo>
                  <a:lnTo>
                    <a:pt x="2369" y="1160"/>
                  </a:lnTo>
                  <a:lnTo>
                    <a:pt x="2355" y="1158"/>
                  </a:lnTo>
                  <a:lnTo>
                    <a:pt x="2339" y="1158"/>
                  </a:lnTo>
                  <a:lnTo>
                    <a:pt x="2325" y="1161"/>
                  </a:lnTo>
                  <a:lnTo>
                    <a:pt x="2311" y="1163"/>
                  </a:lnTo>
                  <a:lnTo>
                    <a:pt x="2299" y="1163"/>
                  </a:lnTo>
                  <a:lnTo>
                    <a:pt x="2288" y="1163"/>
                  </a:lnTo>
                  <a:lnTo>
                    <a:pt x="2277" y="1163"/>
                  </a:lnTo>
                  <a:lnTo>
                    <a:pt x="2265" y="1163"/>
                  </a:lnTo>
                  <a:lnTo>
                    <a:pt x="2267" y="1144"/>
                  </a:lnTo>
                  <a:lnTo>
                    <a:pt x="2271" y="1127"/>
                  </a:lnTo>
                  <a:lnTo>
                    <a:pt x="2276" y="1112"/>
                  </a:lnTo>
                  <a:lnTo>
                    <a:pt x="2281" y="1095"/>
                  </a:lnTo>
                  <a:lnTo>
                    <a:pt x="2285" y="1080"/>
                  </a:lnTo>
                  <a:lnTo>
                    <a:pt x="2288" y="1064"/>
                  </a:lnTo>
                  <a:lnTo>
                    <a:pt x="2292" y="1047"/>
                  </a:lnTo>
                  <a:lnTo>
                    <a:pt x="2293" y="1027"/>
                  </a:lnTo>
                  <a:lnTo>
                    <a:pt x="2292" y="1021"/>
                  </a:lnTo>
                  <a:lnTo>
                    <a:pt x="2291" y="1014"/>
                  </a:lnTo>
                  <a:lnTo>
                    <a:pt x="2288" y="1009"/>
                  </a:lnTo>
                  <a:lnTo>
                    <a:pt x="2284" y="1005"/>
                  </a:lnTo>
                  <a:lnTo>
                    <a:pt x="2281" y="1000"/>
                  </a:lnTo>
                  <a:lnTo>
                    <a:pt x="2276" y="996"/>
                  </a:lnTo>
                  <a:lnTo>
                    <a:pt x="2270" y="993"/>
                  </a:lnTo>
                  <a:lnTo>
                    <a:pt x="2264" y="991"/>
                  </a:lnTo>
                  <a:lnTo>
                    <a:pt x="2237" y="981"/>
                  </a:lnTo>
                  <a:lnTo>
                    <a:pt x="2209" y="970"/>
                  </a:lnTo>
                  <a:lnTo>
                    <a:pt x="2185" y="957"/>
                  </a:lnTo>
                  <a:lnTo>
                    <a:pt x="2162" y="945"/>
                  </a:lnTo>
                  <a:lnTo>
                    <a:pt x="2151" y="941"/>
                  </a:lnTo>
                  <a:lnTo>
                    <a:pt x="2140" y="937"/>
                  </a:lnTo>
                  <a:lnTo>
                    <a:pt x="2128" y="934"/>
                  </a:lnTo>
                  <a:lnTo>
                    <a:pt x="2113" y="933"/>
                  </a:lnTo>
                  <a:lnTo>
                    <a:pt x="2099" y="934"/>
                  </a:lnTo>
                  <a:lnTo>
                    <a:pt x="2086" y="937"/>
                  </a:lnTo>
                  <a:lnTo>
                    <a:pt x="2075" y="939"/>
                  </a:lnTo>
                  <a:lnTo>
                    <a:pt x="2063" y="942"/>
                  </a:lnTo>
                  <a:lnTo>
                    <a:pt x="2051" y="945"/>
                  </a:lnTo>
                  <a:lnTo>
                    <a:pt x="2039" y="947"/>
                  </a:lnTo>
                  <a:lnTo>
                    <a:pt x="2027" y="950"/>
                  </a:lnTo>
                  <a:lnTo>
                    <a:pt x="2012" y="951"/>
                  </a:lnTo>
                  <a:lnTo>
                    <a:pt x="2005" y="948"/>
                  </a:lnTo>
                  <a:lnTo>
                    <a:pt x="1998" y="945"/>
                  </a:lnTo>
                  <a:lnTo>
                    <a:pt x="2001" y="919"/>
                  </a:lnTo>
                  <a:lnTo>
                    <a:pt x="2003" y="898"/>
                  </a:lnTo>
                  <a:lnTo>
                    <a:pt x="2005" y="875"/>
                  </a:lnTo>
                  <a:lnTo>
                    <a:pt x="2007" y="850"/>
                  </a:lnTo>
                  <a:lnTo>
                    <a:pt x="2007" y="813"/>
                  </a:lnTo>
                  <a:lnTo>
                    <a:pt x="2005" y="781"/>
                  </a:lnTo>
                  <a:lnTo>
                    <a:pt x="2004" y="766"/>
                  </a:lnTo>
                  <a:lnTo>
                    <a:pt x="2002" y="750"/>
                  </a:lnTo>
                  <a:lnTo>
                    <a:pt x="1998" y="734"/>
                  </a:lnTo>
                  <a:lnTo>
                    <a:pt x="1993" y="715"/>
                  </a:lnTo>
                  <a:lnTo>
                    <a:pt x="1987" y="701"/>
                  </a:lnTo>
                  <a:lnTo>
                    <a:pt x="1981" y="688"/>
                  </a:lnTo>
                  <a:lnTo>
                    <a:pt x="1974" y="676"/>
                  </a:lnTo>
                  <a:lnTo>
                    <a:pt x="1968" y="665"/>
                  </a:lnTo>
                  <a:lnTo>
                    <a:pt x="1962" y="654"/>
                  </a:lnTo>
                  <a:lnTo>
                    <a:pt x="1958" y="642"/>
                  </a:lnTo>
                  <a:lnTo>
                    <a:pt x="1956" y="635"/>
                  </a:lnTo>
                  <a:lnTo>
                    <a:pt x="1955" y="629"/>
                  </a:lnTo>
                  <a:lnTo>
                    <a:pt x="1954" y="622"/>
                  </a:lnTo>
                  <a:lnTo>
                    <a:pt x="1954" y="615"/>
                  </a:lnTo>
                  <a:lnTo>
                    <a:pt x="1955" y="605"/>
                  </a:lnTo>
                  <a:lnTo>
                    <a:pt x="1957" y="596"/>
                  </a:lnTo>
                  <a:lnTo>
                    <a:pt x="1960" y="589"/>
                  </a:lnTo>
                  <a:lnTo>
                    <a:pt x="1966" y="581"/>
                  </a:lnTo>
                  <a:lnTo>
                    <a:pt x="1970" y="575"/>
                  </a:lnTo>
                  <a:lnTo>
                    <a:pt x="1975" y="567"/>
                  </a:lnTo>
                  <a:lnTo>
                    <a:pt x="1980" y="559"/>
                  </a:lnTo>
                  <a:lnTo>
                    <a:pt x="1983" y="550"/>
                  </a:lnTo>
                  <a:lnTo>
                    <a:pt x="1980" y="536"/>
                  </a:lnTo>
                  <a:lnTo>
                    <a:pt x="1976" y="522"/>
                  </a:lnTo>
                  <a:lnTo>
                    <a:pt x="1974" y="511"/>
                  </a:lnTo>
                  <a:lnTo>
                    <a:pt x="1974" y="501"/>
                  </a:lnTo>
                  <a:lnTo>
                    <a:pt x="1973" y="492"/>
                  </a:lnTo>
                  <a:lnTo>
                    <a:pt x="1972" y="481"/>
                  </a:lnTo>
                  <a:lnTo>
                    <a:pt x="1969" y="467"/>
                  </a:lnTo>
                  <a:lnTo>
                    <a:pt x="1967" y="455"/>
                  </a:lnTo>
                  <a:lnTo>
                    <a:pt x="1964" y="442"/>
                  </a:lnTo>
                  <a:lnTo>
                    <a:pt x="1962" y="428"/>
                  </a:lnTo>
                  <a:lnTo>
                    <a:pt x="1959" y="412"/>
                  </a:lnTo>
                  <a:lnTo>
                    <a:pt x="1956" y="399"/>
                  </a:lnTo>
                  <a:lnTo>
                    <a:pt x="1953" y="385"/>
                  </a:lnTo>
                  <a:lnTo>
                    <a:pt x="1949" y="370"/>
                  </a:lnTo>
                  <a:lnTo>
                    <a:pt x="1947" y="353"/>
                  </a:lnTo>
                  <a:lnTo>
                    <a:pt x="1943" y="338"/>
                  </a:lnTo>
                  <a:lnTo>
                    <a:pt x="1939" y="327"/>
                  </a:lnTo>
                  <a:lnTo>
                    <a:pt x="1934" y="319"/>
                  </a:lnTo>
                  <a:lnTo>
                    <a:pt x="1929" y="309"/>
                  </a:lnTo>
                  <a:lnTo>
                    <a:pt x="1924" y="299"/>
                  </a:lnTo>
                  <a:lnTo>
                    <a:pt x="1914" y="291"/>
                  </a:lnTo>
                  <a:lnTo>
                    <a:pt x="1903" y="284"/>
                  </a:lnTo>
                  <a:lnTo>
                    <a:pt x="1893" y="279"/>
                  </a:lnTo>
                  <a:lnTo>
                    <a:pt x="1882" y="275"/>
                  </a:lnTo>
                  <a:lnTo>
                    <a:pt x="1872" y="269"/>
                  </a:lnTo>
                  <a:lnTo>
                    <a:pt x="1861" y="264"/>
                  </a:lnTo>
                  <a:lnTo>
                    <a:pt x="1850" y="257"/>
                  </a:lnTo>
                  <a:lnTo>
                    <a:pt x="1839" y="250"/>
                  </a:lnTo>
                  <a:lnTo>
                    <a:pt x="1829" y="241"/>
                  </a:lnTo>
                  <a:lnTo>
                    <a:pt x="1822" y="230"/>
                  </a:lnTo>
                  <a:lnTo>
                    <a:pt x="1815" y="219"/>
                  </a:lnTo>
                  <a:lnTo>
                    <a:pt x="1810" y="210"/>
                  </a:lnTo>
                  <a:lnTo>
                    <a:pt x="1804" y="200"/>
                  </a:lnTo>
                  <a:lnTo>
                    <a:pt x="1796" y="192"/>
                  </a:lnTo>
                  <a:lnTo>
                    <a:pt x="1791" y="189"/>
                  </a:lnTo>
                  <a:lnTo>
                    <a:pt x="1786" y="187"/>
                  </a:lnTo>
                  <a:lnTo>
                    <a:pt x="1781" y="186"/>
                  </a:lnTo>
                  <a:lnTo>
                    <a:pt x="1774" y="186"/>
                  </a:lnTo>
                  <a:lnTo>
                    <a:pt x="1758" y="186"/>
                  </a:lnTo>
                  <a:lnTo>
                    <a:pt x="1744" y="188"/>
                  </a:lnTo>
                  <a:lnTo>
                    <a:pt x="1730" y="190"/>
                  </a:lnTo>
                  <a:lnTo>
                    <a:pt x="1717" y="192"/>
                  </a:lnTo>
                  <a:lnTo>
                    <a:pt x="1703" y="195"/>
                  </a:lnTo>
                  <a:lnTo>
                    <a:pt x="1690" y="197"/>
                  </a:lnTo>
                  <a:lnTo>
                    <a:pt x="1675" y="199"/>
                  </a:lnTo>
                  <a:lnTo>
                    <a:pt x="1659" y="200"/>
                  </a:lnTo>
                  <a:lnTo>
                    <a:pt x="1647" y="199"/>
                  </a:lnTo>
                  <a:lnTo>
                    <a:pt x="1637" y="196"/>
                  </a:lnTo>
                  <a:lnTo>
                    <a:pt x="1626" y="192"/>
                  </a:lnTo>
                  <a:lnTo>
                    <a:pt x="1618" y="188"/>
                  </a:lnTo>
                  <a:lnTo>
                    <a:pt x="1608" y="184"/>
                  </a:lnTo>
                  <a:lnTo>
                    <a:pt x="1598" y="181"/>
                  </a:lnTo>
                  <a:lnTo>
                    <a:pt x="1588" y="178"/>
                  </a:lnTo>
                  <a:lnTo>
                    <a:pt x="1576" y="177"/>
                  </a:lnTo>
                  <a:lnTo>
                    <a:pt x="1566" y="178"/>
                  </a:lnTo>
                  <a:lnTo>
                    <a:pt x="1557" y="181"/>
                  </a:lnTo>
                  <a:lnTo>
                    <a:pt x="1550" y="184"/>
                  </a:lnTo>
                  <a:lnTo>
                    <a:pt x="1542" y="188"/>
                  </a:lnTo>
                  <a:lnTo>
                    <a:pt x="1535" y="192"/>
                  </a:lnTo>
                  <a:lnTo>
                    <a:pt x="1527" y="196"/>
                  </a:lnTo>
                  <a:lnTo>
                    <a:pt x="1518" y="199"/>
                  </a:lnTo>
                  <a:lnTo>
                    <a:pt x="1510" y="200"/>
                  </a:lnTo>
                  <a:lnTo>
                    <a:pt x="1503" y="199"/>
                  </a:lnTo>
                  <a:lnTo>
                    <a:pt x="1499" y="198"/>
                  </a:lnTo>
                  <a:lnTo>
                    <a:pt x="1494" y="197"/>
                  </a:lnTo>
                  <a:lnTo>
                    <a:pt x="1489" y="195"/>
                  </a:lnTo>
                  <a:lnTo>
                    <a:pt x="1482" y="188"/>
                  </a:lnTo>
                  <a:lnTo>
                    <a:pt x="1475" y="181"/>
                  </a:lnTo>
                  <a:lnTo>
                    <a:pt x="1464" y="161"/>
                  </a:lnTo>
                  <a:lnTo>
                    <a:pt x="1455" y="141"/>
                  </a:lnTo>
                  <a:lnTo>
                    <a:pt x="1450" y="130"/>
                  </a:lnTo>
                  <a:lnTo>
                    <a:pt x="1445" y="119"/>
                  </a:lnTo>
                  <a:lnTo>
                    <a:pt x="1443" y="114"/>
                  </a:lnTo>
                  <a:lnTo>
                    <a:pt x="1440" y="110"/>
                  </a:lnTo>
                  <a:lnTo>
                    <a:pt x="1435" y="108"/>
                  </a:lnTo>
                  <a:lnTo>
                    <a:pt x="1430" y="107"/>
                  </a:lnTo>
                  <a:lnTo>
                    <a:pt x="1419" y="108"/>
                  </a:lnTo>
                  <a:lnTo>
                    <a:pt x="1408" y="109"/>
                  </a:lnTo>
                  <a:lnTo>
                    <a:pt x="1400" y="113"/>
                  </a:lnTo>
                  <a:lnTo>
                    <a:pt x="1390" y="116"/>
                  </a:lnTo>
                  <a:lnTo>
                    <a:pt x="1381" y="119"/>
                  </a:lnTo>
                  <a:lnTo>
                    <a:pt x="1371" y="121"/>
                  </a:lnTo>
                  <a:lnTo>
                    <a:pt x="1362" y="123"/>
                  </a:lnTo>
                  <a:lnTo>
                    <a:pt x="1351" y="123"/>
                  </a:lnTo>
                  <a:lnTo>
                    <a:pt x="1343" y="123"/>
                  </a:lnTo>
                  <a:lnTo>
                    <a:pt x="1336" y="122"/>
                  </a:lnTo>
                  <a:lnTo>
                    <a:pt x="1328" y="121"/>
                  </a:lnTo>
                  <a:lnTo>
                    <a:pt x="1322" y="119"/>
                  </a:lnTo>
                  <a:lnTo>
                    <a:pt x="1309" y="115"/>
                  </a:lnTo>
                  <a:lnTo>
                    <a:pt x="1297" y="107"/>
                  </a:lnTo>
                  <a:lnTo>
                    <a:pt x="1285" y="100"/>
                  </a:lnTo>
                  <a:lnTo>
                    <a:pt x="1274" y="91"/>
                  </a:lnTo>
                  <a:lnTo>
                    <a:pt x="1265" y="81"/>
                  </a:lnTo>
                  <a:lnTo>
                    <a:pt x="1254" y="71"/>
                  </a:lnTo>
                  <a:lnTo>
                    <a:pt x="1244" y="63"/>
                  </a:lnTo>
                  <a:lnTo>
                    <a:pt x="1233" y="53"/>
                  </a:lnTo>
                  <a:lnTo>
                    <a:pt x="1222" y="44"/>
                  </a:lnTo>
                  <a:lnTo>
                    <a:pt x="1212" y="36"/>
                  </a:lnTo>
                  <a:lnTo>
                    <a:pt x="1199" y="29"/>
                  </a:lnTo>
                  <a:lnTo>
                    <a:pt x="1186" y="25"/>
                  </a:lnTo>
                  <a:lnTo>
                    <a:pt x="1179" y="23"/>
                  </a:lnTo>
                  <a:lnTo>
                    <a:pt x="1172" y="22"/>
                  </a:lnTo>
                  <a:lnTo>
                    <a:pt x="1165" y="21"/>
                  </a:lnTo>
                  <a:lnTo>
                    <a:pt x="1157" y="20"/>
                  </a:lnTo>
                  <a:lnTo>
                    <a:pt x="1141" y="20"/>
                  </a:lnTo>
                  <a:lnTo>
                    <a:pt x="1128" y="20"/>
                  </a:lnTo>
                  <a:lnTo>
                    <a:pt x="1114" y="20"/>
                  </a:lnTo>
                  <a:lnTo>
                    <a:pt x="1099" y="20"/>
                  </a:lnTo>
                  <a:lnTo>
                    <a:pt x="1089" y="20"/>
                  </a:lnTo>
                  <a:lnTo>
                    <a:pt x="1078" y="17"/>
                  </a:lnTo>
                  <a:lnTo>
                    <a:pt x="1068" y="14"/>
                  </a:lnTo>
                  <a:lnTo>
                    <a:pt x="1059" y="10"/>
                  </a:lnTo>
                  <a:lnTo>
                    <a:pt x="1051" y="7"/>
                  </a:lnTo>
                  <a:lnTo>
                    <a:pt x="1041" y="3"/>
                  </a:lnTo>
                  <a:lnTo>
                    <a:pt x="1031" y="1"/>
                  </a:lnTo>
                  <a:lnTo>
                    <a:pt x="1019" y="0"/>
                  </a:lnTo>
                  <a:lnTo>
                    <a:pt x="1002" y="0"/>
                  </a:lnTo>
                  <a:lnTo>
                    <a:pt x="987" y="0"/>
                  </a:lnTo>
                  <a:lnTo>
                    <a:pt x="971" y="0"/>
                  </a:lnTo>
                  <a:lnTo>
                    <a:pt x="953" y="0"/>
                  </a:lnTo>
                  <a:lnTo>
                    <a:pt x="949" y="1"/>
                  </a:lnTo>
                  <a:lnTo>
                    <a:pt x="945" y="2"/>
                  </a:lnTo>
                  <a:lnTo>
                    <a:pt x="941" y="5"/>
                  </a:lnTo>
                  <a:lnTo>
                    <a:pt x="936" y="7"/>
                  </a:lnTo>
                  <a:lnTo>
                    <a:pt x="930" y="13"/>
                  </a:lnTo>
                  <a:lnTo>
                    <a:pt x="924" y="20"/>
                  </a:lnTo>
                  <a:lnTo>
                    <a:pt x="918" y="27"/>
                  </a:lnTo>
                  <a:lnTo>
                    <a:pt x="911" y="34"/>
                  </a:lnTo>
                  <a:lnTo>
                    <a:pt x="907" y="36"/>
                  </a:lnTo>
                  <a:lnTo>
                    <a:pt x="904" y="38"/>
                  </a:lnTo>
                  <a:lnTo>
                    <a:pt x="899" y="39"/>
                  </a:lnTo>
                  <a:lnTo>
                    <a:pt x="894" y="40"/>
                  </a:lnTo>
                  <a:lnTo>
                    <a:pt x="887" y="39"/>
                  </a:lnTo>
                  <a:lnTo>
                    <a:pt x="880" y="37"/>
                  </a:lnTo>
                  <a:lnTo>
                    <a:pt x="875" y="35"/>
                  </a:lnTo>
                  <a:lnTo>
                    <a:pt x="868" y="32"/>
                  </a:lnTo>
                  <a:lnTo>
                    <a:pt x="863" y="28"/>
                  </a:lnTo>
                  <a:lnTo>
                    <a:pt x="857" y="25"/>
                  </a:lnTo>
                  <a:lnTo>
                    <a:pt x="850" y="24"/>
                  </a:lnTo>
                  <a:lnTo>
                    <a:pt x="843" y="23"/>
                  </a:lnTo>
                  <a:lnTo>
                    <a:pt x="822" y="23"/>
                  </a:lnTo>
                  <a:lnTo>
                    <a:pt x="802" y="23"/>
                  </a:lnTo>
                  <a:lnTo>
                    <a:pt x="784" y="23"/>
                  </a:lnTo>
                  <a:lnTo>
                    <a:pt x="762" y="23"/>
                  </a:lnTo>
                  <a:lnTo>
                    <a:pt x="606" y="9"/>
                  </a:lnTo>
                  <a:lnTo>
                    <a:pt x="606" y="9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57">
              <a:extLst>
                <a:ext uri="{FF2B5EF4-FFF2-40B4-BE49-F238E27FC236}">
                  <a16:creationId xmlns:a16="http://schemas.microsoft.com/office/drawing/2014/main" id="{78C96B40-D964-4D64-8D55-D96D7028B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5700" y="4370388"/>
              <a:ext cx="1346200" cy="950913"/>
            </a:xfrm>
            <a:custGeom>
              <a:avLst/>
              <a:gdLst>
                <a:gd name="T0" fmla="*/ 871 w 3393"/>
                <a:gd name="T1" fmla="*/ 162 h 2394"/>
                <a:gd name="T2" fmla="*/ 737 w 3393"/>
                <a:gd name="T3" fmla="*/ 226 h 2394"/>
                <a:gd name="T4" fmla="*/ 635 w 3393"/>
                <a:gd name="T5" fmla="*/ 432 h 2394"/>
                <a:gd name="T6" fmla="*/ 532 w 3393"/>
                <a:gd name="T7" fmla="*/ 567 h 2394"/>
                <a:gd name="T8" fmla="*/ 411 w 3393"/>
                <a:gd name="T9" fmla="*/ 795 h 2394"/>
                <a:gd name="T10" fmla="*/ 290 w 3393"/>
                <a:gd name="T11" fmla="*/ 955 h 2394"/>
                <a:gd name="T12" fmla="*/ 86 w 3393"/>
                <a:gd name="T13" fmla="*/ 1020 h 2394"/>
                <a:gd name="T14" fmla="*/ 244 w 3393"/>
                <a:gd name="T15" fmla="*/ 1124 h 2394"/>
                <a:gd name="T16" fmla="*/ 318 w 3393"/>
                <a:gd name="T17" fmla="*/ 1120 h 2394"/>
                <a:gd name="T18" fmla="*/ 445 w 3393"/>
                <a:gd name="T19" fmla="*/ 1107 h 2394"/>
                <a:gd name="T20" fmla="*/ 580 w 3393"/>
                <a:gd name="T21" fmla="*/ 1125 h 2394"/>
                <a:gd name="T22" fmla="*/ 722 w 3393"/>
                <a:gd name="T23" fmla="*/ 1221 h 2394"/>
                <a:gd name="T24" fmla="*/ 834 w 3393"/>
                <a:gd name="T25" fmla="*/ 1210 h 2394"/>
                <a:gd name="T26" fmla="*/ 912 w 3393"/>
                <a:gd name="T27" fmla="*/ 1299 h 2394"/>
                <a:gd name="T28" fmla="*/ 1031 w 3393"/>
                <a:gd name="T29" fmla="*/ 1296 h 2394"/>
                <a:gd name="T30" fmla="*/ 1185 w 3393"/>
                <a:gd name="T31" fmla="*/ 1289 h 2394"/>
                <a:gd name="T32" fmla="*/ 1297 w 3393"/>
                <a:gd name="T33" fmla="*/ 1384 h 2394"/>
                <a:gd name="T34" fmla="*/ 1358 w 3393"/>
                <a:gd name="T35" fmla="*/ 1542 h 2394"/>
                <a:gd name="T36" fmla="*/ 1360 w 3393"/>
                <a:gd name="T37" fmla="*/ 1681 h 2394"/>
                <a:gd name="T38" fmla="*/ 1381 w 3393"/>
                <a:gd name="T39" fmla="*/ 1801 h 2394"/>
                <a:gd name="T40" fmla="*/ 1406 w 3393"/>
                <a:gd name="T41" fmla="*/ 2051 h 2394"/>
                <a:gd name="T42" fmla="*/ 1579 w 3393"/>
                <a:gd name="T43" fmla="*/ 2057 h 2394"/>
                <a:gd name="T44" fmla="*/ 1682 w 3393"/>
                <a:gd name="T45" fmla="*/ 2164 h 2394"/>
                <a:gd name="T46" fmla="*/ 1749 w 3393"/>
                <a:gd name="T47" fmla="*/ 2258 h 2394"/>
                <a:gd name="T48" fmla="*/ 1853 w 3393"/>
                <a:gd name="T49" fmla="*/ 2382 h 2394"/>
                <a:gd name="T50" fmla="*/ 1867 w 3393"/>
                <a:gd name="T51" fmla="*/ 2297 h 2394"/>
                <a:gd name="T52" fmla="*/ 2086 w 3393"/>
                <a:gd name="T53" fmla="*/ 2147 h 2394"/>
                <a:gd name="T54" fmla="*/ 2393 w 3393"/>
                <a:gd name="T55" fmla="*/ 1943 h 2394"/>
                <a:gd name="T56" fmla="*/ 2520 w 3393"/>
                <a:gd name="T57" fmla="*/ 1883 h 2394"/>
                <a:gd name="T58" fmla="*/ 2676 w 3393"/>
                <a:gd name="T59" fmla="*/ 1817 h 2394"/>
                <a:gd name="T60" fmla="*/ 2815 w 3393"/>
                <a:gd name="T61" fmla="*/ 1824 h 2394"/>
                <a:gd name="T62" fmla="*/ 2932 w 3393"/>
                <a:gd name="T63" fmla="*/ 1808 h 2394"/>
                <a:gd name="T64" fmla="*/ 3048 w 3393"/>
                <a:gd name="T65" fmla="*/ 1723 h 2394"/>
                <a:gd name="T66" fmla="*/ 3150 w 3393"/>
                <a:gd name="T67" fmla="*/ 1689 h 2394"/>
                <a:gd name="T68" fmla="*/ 3213 w 3393"/>
                <a:gd name="T69" fmla="*/ 1540 h 2394"/>
                <a:gd name="T70" fmla="*/ 3393 w 3393"/>
                <a:gd name="T71" fmla="*/ 1478 h 2394"/>
                <a:gd name="T72" fmla="*/ 3339 w 3393"/>
                <a:gd name="T73" fmla="*/ 1411 h 2394"/>
                <a:gd name="T74" fmla="*/ 3203 w 3393"/>
                <a:gd name="T75" fmla="*/ 1391 h 2394"/>
                <a:gd name="T76" fmla="*/ 3188 w 3393"/>
                <a:gd name="T77" fmla="*/ 1284 h 2394"/>
                <a:gd name="T78" fmla="*/ 3003 w 3393"/>
                <a:gd name="T79" fmla="*/ 1281 h 2394"/>
                <a:gd name="T80" fmla="*/ 2861 w 3393"/>
                <a:gd name="T81" fmla="*/ 1309 h 2394"/>
                <a:gd name="T82" fmla="*/ 2801 w 3393"/>
                <a:gd name="T83" fmla="*/ 1303 h 2394"/>
                <a:gd name="T84" fmla="*/ 2729 w 3393"/>
                <a:gd name="T85" fmla="*/ 1397 h 2394"/>
                <a:gd name="T86" fmla="*/ 2588 w 3393"/>
                <a:gd name="T87" fmla="*/ 1343 h 2394"/>
                <a:gd name="T88" fmla="*/ 2561 w 3393"/>
                <a:gd name="T89" fmla="*/ 1191 h 2394"/>
                <a:gd name="T90" fmla="*/ 2586 w 3393"/>
                <a:gd name="T91" fmla="*/ 781 h 2394"/>
                <a:gd name="T92" fmla="*/ 2454 w 3393"/>
                <a:gd name="T93" fmla="*/ 744 h 2394"/>
                <a:gd name="T94" fmla="*/ 2369 w 3393"/>
                <a:gd name="T95" fmla="*/ 595 h 2394"/>
                <a:gd name="T96" fmla="*/ 2386 w 3393"/>
                <a:gd name="T97" fmla="*/ 390 h 2394"/>
                <a:gd name="T98" fmla="*/ 2369 w 3393"/>
                <a:gd name="T99" fmla="*/ 252 h 2394"/>
                <a:gd name="T100" fmla="*/ 2278 w 3393"/>
                <a:gd name="T101" fmla="*/ 172 h 2394"/>
                <a:gd name="T102" fmla="*/ 2161 w 3393"/>
                <a:gd name="T103" fmla="*/ 177 h 2394"/>
                <a:gd name="T104" fmla="*/ 2064 w 3393"/>
                <a:gd name="T105" fmla="*/ 210 h 2394"/>
                <a:gd name="T106" fmla="*/ 1876 w 3393"/>
                <a:gd name="T107" fmla="*/ 207 h 2394"/>
                <a:gd name="T108" fmla="*/ 1688 w 3393"/>
                <a:gd name="T109" fmla="*/ 236 h 2394"/>
                <a:gd name="T110" fmla="*/ 1616 w 3393"/>
                <a:gd name="T111" fmla="*/ 243 h 2394"/>
                <a:gd name="T112" fmla="*/ 1553 w 3393"/>
                <a:gd name="T113" fmla="*/ 212 h 2394"/>
                <a:gd name="T114" fmla="*/ 1560 w 3393"/>
                <a:gd name="T115" fmla="*/ 109 h 2394"/>
                <a:gd name="T116" fmla="*/ 1456 w 3393"/>
                <a:gd name="T117" fmla="*/ 45 h 2394"/>
                <a:gd name="T118" fmla="*/ 1121 w 3393"/>
                <a:gd name="T119" fmla="*/ 28 h 2394"/>
                <a:gd name="T120" fmla="*/ 970 w 3393"/>
                <a:gd name="T121" fmla="*/ 31 h 2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93" h="2394">
                  <a:moveTo>
                    <a:pt x="951" y="55"/>
                  </a:moveTo>
                  <a:lnTo>
                    <a:pt x="947" y="63"/>
                  </a:lnTo>
                  <a:lnTo>
                    <a:pt x="944" y="70"/>
                  </a:lnTo>
                  <a:lnTo>
                    <a:pt x="939" y="76"/>
                  </a:lnTo>
                  <a:lnTo>
                    <a:pt x="934" y="82"/>
                  </a:lnTo>
                  <a:lnTo>
                    <a:pt x="924" y="93"/>
                  </a:lnTo>
                  <a:lnTo>
                    <a:pt x="913" y="106"/>
                  </a:lnTo>
                  <a:lnTo>
                    <a:pt x="903" y="122"/>
                  </a:lnTo>
                  <a:lnTo>
                    <a:pt x="894" y="136"/>
                  </a:lnTo>
                  <a:lnTo>
                    <a:pt x="890" y="143"/>
                  </a:lnTo>
                  <a:lnTo>
                    <a:pt x="884" y="150"/>
                  </a:lnTo>
                  <a:lnTo>
                    <a:pt x="879" y="155"/>
                  </a:lnTo>
                  <a:lnTo>
                    <a:pt x="871" y="162"/>
                  </a:lnTo>
                  <a:lnTo>
                    <a:pt x="863" y="167"/>
                  </a:lnTo>
                  <a:lnTo>
                    <a:pt x="854" y="171"/>
                  </a:lnTo>
                  <a:lnTo>
                    <a:pt x="846" y="175"/>
                  </a:lnTo>
                  <a:lnTo>
                    <a:pt x="838" y="179"/>
                  </a:lnTo>
                  <a:lnTo>
                    <a:pt x="825" y="187"/>
                  </a:lnTo>
                  <a:lnTo>
                    <a:pt x="815" y="194"/>
                  </a:lnTo>
                  <a:lnTo>
                    <a:pt x="805" y="203"/>
                  </a:lnTo>
                  <a:lnTo>
                    <a:pt x="792" y="209"/>
                  </a:lnTo>
                  <a:lnTo>
                    <a:pt x="782" y="214"/>
                  </a:lnTo>
                  <a:lnTo>
                    <a:pt x="770" y="215"/>
                  </a:lnTo>
                  <a:lnTo>
                    <a:pt x="759" y="217"/>
                  </a:lnTo>
                  <a:lnTo>
                    <a:pt x="748" y="221"/>
                  </a:lnTo>
                  <a:lnTo>
                    <a:pt x="737" y="226"/>
                  </a:lnTo>
                  <a:lnTo>
                    <a:pt x="730" y="233"/>
                  </a:lnTo>
                  <a:lnTo>
                    <a:pt x="723" y="241"/>
                  </a:lnTo>
                  <a:lnTo>
                    <a:pt x="717" y="249"/>
                  </a:lnTo>
                  <a:lnTo>
                    <a:pt x="708" y="269"/>
                  </a:lnTo>
                  <a:lnTo>
                    <a:pt x="700" y="290"/>
                  </a:lnTo>
                  <a:lnTo>
                    <a:pt x="690" y="317"/>
                  </a:lnTo>
                  <a:lnTo>
                    <a:pt x="682" y="341"/>
                  </a:lnTo>
                  <a:lnTo>
                    <a:pt x="673" y="365"/>
                  </a:lnTo>
                  <a:lnTo>
                    <a:pt x="661" y="392"/>
                  </a:lnTo>
                  <a:lnTo>
                    <a:pt x="652" y="403"/>
                  </a:lnTo>
                  <a:lnTo>
                    <a:pt x="645" y="414"/>
                  </a:lnTo>
                  <a:lnTo>
                    <a:pt x="639" y="423"/>
                  </a:lnTo>
                  <a:lnTo>
                    <a:pt x="635" y="432"/>
                  </a:lnTo>
                  <a:lnTo>
                    <a:pt x="629" y="439"/>
                  </a:lnTo>
                  <a:lnTo>
                    <a:pt x="622" y="448"/>
                  </a:lnTo>
                  <a:lnTo>
                    <a:pt x="601" y="463"/>
                  </a:lnTo>
                  <a:lnTo>
                    <a:pt x="583" y="477"/>
                  </a:lnTo>
                  <a:lnTo>
                    <a:pt x="574" y="485"/>
                  </a:lnTo>
                  <a:lnTo>
                    <a:pt x="567" y="492"/>
                  </a:lnTo>
                  <a:lnTo>
                    <a:pt x="559" y="501"/>
                  </a:lnTo>
                  <a:lnTo>
                    <a:pt x="552" y="512"/>
                  </a:lnTo>
                  <a:lnTo>
                    <a:pt x="546" y="521"/>
                  </a:lnTo>
                  <a:lnTo>
                    <a:pt x="542" y="531"/>
                  </a:lnTo>
                  <a:lnTo>
                    <a:pt x="539" y="540"/>
                  </a:lnTo>
                  <a:lnTo>
                    <a:pt x="535" y="549"/>
                  </a:lnTo>
                  <a:lnTo>
                    <a:pt x="532" y="567"/>
                  </a:lnTo>
                  <a:lnTo>
                    <a:pt x="529" y="585"/>
                  </a:lnTo>
                  <a:lnTo>
                    <a:pt x="527" y="622"/>
                  </a:lnTo>
                  <a:lnTo>
                    <a:pt x="524" y="663"/>
                  </a:lnTo>
                  <a:lnTo>
                    <a:pt x="520" y="679"/>
                  </a:lnTo>
                  <a:lnTo>
                    <a:pt x="515" y="694"/>
                  </a:lnTo>
                  <a:lnTo>
                    <a:pt x="508" y="707"/>
                  </a:lnTo>
                  <a:lnTo>
                    <a:pt x="500" y="719"/>
                  </a:lnTo>
                  <a:lnTo>
                    <a:pt x="490" y="730"/>
                  </a:lnTo>
                  <a:lnTo>
                    <a:pt x="480" y="739"/>
                  </a:lnTo>
                  <a:lnTo>
                    <a:pt x="470" y="748"/>
                  </a:lnTo>
                  <a:lnTo>
                    <a:pt x="458" y="758"/>
                  </a:lnTo>
                  <a:lnTo>
                    <a:pt x="435" y="775"/>
                  </a:lnTo>
                  <a:lnTo>
                    <a:pt x="411" y="795"/>
                  </a:lnTo>
                  <a:lnTo>
                    <a:pt x="400" y="805"/>
                  </a:lnTo>
                  <a:lnTo>
                    <a:pt x="390" y="817"/>
                  </a:lnTo>
                  <a:lnTo>
                    <a:pt x="381" y="831"/>
                  </a:lnTo>
                  <a:lnTo>
                    <a:pt x="372" y="845"/>
                  </a:lnTo>
                  <a:lnTo>
                    <a:pt x="362" y="867"/>
                  </a:lnTo>
                  <a:lnTo>
                    <a:pt x="351" y="886"/>
                  </a:lnTo>
                  <a:lnTo>
                    <a:pt x="340" y="905"/>
                  </a:lnTo>
                  <a:lnTo>
                    <a:pt x="328" y="921"/>
                  </a:lnTo>
                  <a:lnTo>
                    <a:pt x="322" y="928"/>
                  </a:lnTo>
                  <a:lnTo>
                    <a:pt x="315" y="936"/>
                  </a:lnTo>
                  <a:lnTo>
                    <a:pt x="308" y="943"/>
                  </a:lnTo>
                  <a:lnTo>
                    <a:pt x="299" y="949"/>
                  </a:lnTo>
                  <a:lnTo>
                    <a:pt x="290" y="955"/>
                  </a:lnTo>
                  <a:lnTo>
                    <a:pt x="282" y="961"/>
                  </a:lnTo>
                  <a:lnTo>
                    <a:pt x="271" y="966"/>
                  </a:lnTo>
                  <a:lnTo>
                    <a:pt x="260" y="972"/>
                  </a:lnTo>
                  <a:lnTo>
                    <a:pt x="243" y="978"/>
                  </a:lnTo>
                  <a:lnTo>
                    <a:pt x="225" y="982"/>
                  </a:lnTo>
                  <a:lnTo>
                    <a:pt x="209" y="985"/>
                  </a:lnTo>
                  <a:lnTo>
                    <a:pt x="193" y="986"/>
                  </a:lnTo>
                  <a:lnTo>
                    <a:pt x="177" y="988"/>
                  </a:lnTo>
                  <a:lnTo>
                    <a:pt x="161" y="990"/>
                  </a:lnTo>
                  <a:lnTo>
                    <a:pt x="143" y="993"/>
                  </a:lnTo>
                  <a:lnTo>
                    <a:pt x="125" y="1000"/>
                  </a:lnTo>
                  <a:lnTo>
                    <a:pt x="104" y="1009"/>
                  </a:lnTo>
                  <a:lnTo>
                    <a:pt x="86" y="1020"/>
                  </a:lnTo>
                  <a:lnTo>
                    <a:pt x="70" y="1031"/>
                  </a:lnTo>
                  <a:lnTo>
                    <a:pt x="55" y="1044"/>
                  </a:lnTo>
                  <a:lnTo>
                    <a:pt x="40" y="1058"/>
                  </a:lnTo>
                  <a:lnTo>
                    <a:pt x="27" y="1073"/>
                  </a:lnTo>
                  <a:lnTo>
                    <a:pt x="13" y="1090"/>
                  </a:lnTo>
                  <a:lnTo>
                    <a:pt x="0" y="1109"/>
                  </a:lnTo>
                  <a:lnTo>
                    <a:pt x="0" y="1109"/>
                  </a:lnTo>
                  <a:lnTo>
                    <a:pt x="156" y="1123"/>
                  </a:lnTo>
                  <a:lnTo>
                    <a:pt x="178" y="1123"/>
                  </a:lnTo>
                  <a:lnTo>
                    <a:pt x="196" y="1123"/>
                  </a:lnTo>
                  <a:lnTo>
                    <a:pt x="216" y="1123"/>
                  </a:lnTo>
                  <a:lnTo>
                    <a:pt x="237" y="1123"/>
                  </a:lnTo>
                  <a:lnTo>
                    <a:pt x="244" y="1124"/>
                  </a:lnTo>
                  <a:lnTo>
                    <a:pt x="251" y="1125"/>
                  </a:lnTo>
                  <a:lnTo>
                    <a:pt x="257" y="1128"/>
                  </a:lnTo>
                  <a:lnTo>
                    <a:pt x="262" y="1132"/>
                  </a:lnTo>
                  <a:lnTo>
                    <a:pt x="269" y="1135"/>
                  </a:lnTo>
                  <a:lnTo>
                    <a:pt x="274" y="1137"/>
                  </a:lnTo>
                  <a:lnTo>
                    <a:pt x="281" y="1139"/>
                  </a:lnTo>
                  <a:lnTo>
                    <a:pt x="288" y="1140"/>
                  </a:lnTo>
                  <a:lnTo>
                    <a:pt x="293" y="1139"/>
                  </a:lnTo>
                  <a:lnTo>
                    <a:pt x="298" y="1138"/>
                  </a:lnTo>
                  <a:lnTo>
                    <a:pt x="301" y="1136"/>
                  </a:lnTo>
                  <a:lnTo>
                    <a:pt x="305" y="1134"/>
                  </a:lnTo>
                  <a:lnTo>
                    <a:pt x="312" y="1127"/>
                  </a:lnTo>
                  <a:lnTo>
                    <a:pt x="318" y="1120"/>
                  </a:lnTo>
                  <a:lnTo>
                    <a:pt x="324" y="1113"/>
                  </a:lnTo>
                  <a:lnTo>
                    <a:pt x="330" y="1107"/>
                  </a:lnTo>
                  <a:lnTo>
                    <a:pt x="335" y="1105"/>
                  </a:lnTo>
                  <a:lnTo>
                    <a:pt x="339" y="1102"/>
                  </a:lnTo>
                  <a:lnTo>
                    <a:pt x="343" y="1101"/>
                  </a:lnTo>
                  <a:lnTo>
                    <a:pt x="347" y="1100"/>
                  </a:lnTo>
                  <a:lnTo>
                    <a:pt x="365" y="1100"/>
                  </a:lnTo>
                  <a:lnTo>
                    <a:pt x="381" y="1100"/>
                  </a:lnTo>
                  <a:lnTo>
                    <a:pt x="396" y="1100"/>
                  </a:lnTo>
                  <a:lnTo>
                    <a:pt x="413" y="1100"/>
                  </a:lnTo>
                  <a:lnTo>
                    <a:pt x="425" y="1101"/>
                  </a:lnTo>
                  <a:lnTo>
                    <a:pt x="435" y="1103"/>
                  </a:lnTo>
                  <a:lnTo>
                    <a:pt x="445" y="1107"/>
                  </a:lnTo>
                  <a:lnTo>
                    <a:pt x="453" y="1110"/>
                  </a:lnTo>
                  <a:lnTo>
                    <a:pt x="462" y="1114"/>
                  </a:lnTo>
                  <a:lnTo>
                    <a:pt x="472" y="1117"/>
                  </a:lnTo>
                  <a:lnTo>
                    <a:pt x="483" y="1120"/>
                  </a:lnTo>
                  <a:lnTo>
                    <a:pt x="493" y="1120"/>
                  </a:lnTo>
                  <a:lnTo>
                    <a:pt x="508" y="1120"/>
                  </a:lnTo>
                  <a:lnTo>
                    <a:pt x="522" y="1120"/>
                  </a:lnTo>
                  <a:lnTo>
                    <a:pt x="535" y="1120"/>
                  </a:lnTo>
                  <a:lnTo>
                    <a:pt x="551" y="1120"/>
                  </a:lnTo>
                  <a:lnTo>
                    <a:pt x="559" y="1121"/>
                  </a:lnTo>
                  <a:lnTo>
                    <a:pt x="566" y="1122"/>
                  </a:lnTo>
                  <a:lnTo>
                    <a:pt x="573" y="1123"/>
                  </a:lnTo>
                  <a:lnTo>
                    <a:pt x="580" y="1125"/>
                  </a:lnTo>
                  <a:lnTo>
                    <a:pt x="593" y="1129"/>
                  </a:lnTo>
                  <a:lnTo>
                    <a:pt x="606" y="1136"/>
                  </a:lnTo>
                  <a:lnTo>
                    <a:pt x="616" y="1144"/>
                  </a:lnTo>
                  <a:lnTo>
                    <a:pt x="627" y="1153"/>
                  </a:lnTo>
                  <a:lnTo>
                    <a:pt x="638" y="1163"/>
                  </a:lnTo>
                  <a:lnTo>
                    <a:pt x="648" y="1171"/>
                  </a:lnTo>
                  <a:lnTo>
                    <a:pt x="659" y="1181"/>
                  </a:lnTo>
                  <a:lnTo>
                    <a:pt x="668" y="1191"/>
                  </a:lnTo>
                  <a:lnTo>
                    <a:pt x="679" y="1200"/>
                  </a:lnTo>
                  <a:lnTo>
                    <a:pt x="691" y="1207"/>
                  </a:lnTo>
                  <a:lnTo>
                    <a:pt x="703" y="1215"/>
                  </a:lnTo>
                  <a:lnTo>
                    <a:pt x="716" y="1219"/>
                  </a:lnTo>
                  <a:lnTo>
                    <a:pt x="722" y="1221"/>
                  </a:lnTo>
                  <a:lnTo>
                    <a:pt x="730" y="1222"/>
                  </a:lnTo>
                  <a:lnTo>
                    <a:pt x="737" y="1223"/>
                  </a:lnTo>
                  <a:lnTo>
                    <a:pt x="745" y="1223"/>
                  </a:lnTo>
                  <a:lnTo>
                    <a:pt x="756" y="1223"/>
                  </a:lnTo>
                  <a:lnTo>
                    <a:pt x="765" y="1221"/>
                  </a:lnTo>
                  <a:lnTo>
                    <a:pt x="775" y="1219"/>
                  </a:lnTo>
                  <a:lnTo>
                    <a:pt x="784" y="1216"/>
                  </a:lnTo>
                  <a:lnTo>
                    <a:pt x="794" y="1213"/>
                  </a:lnTo>
                  <a:lnTo>
                    <a:pt x="802" y="1209"/>
                  </a:lnTo>
                  <a:lnTo>
                    <a:pt x="813" y="1208"/>
                  </a:lnTo>
                  <a:lnTo>
                    <a:pt x="824" y="1207"/>
                  </a:lnTo>
                  <a:lnTo>
                    <a:pt x="829" y="1208"/>
                  </a:lnTo>
                  <a:lnTo>
                    <a:pt x="834" y="1210"/>
                  </a:lnTo>
                  <a:lnTo>
                    <a:pt x="837" y="1214"/>
                  </a:lnTo>
                  <a:lnTo>
                    <a:pt x="839" y="1219"/>
                  </a:lnTo>
                  <a:lnTo>
                    <a:pt x="844" y="1230"/>
                  </a:lnTo>
                  <a:lnTo>
                    <a:pt x="849" y="1241"/>
                  </a:lnTo>
                  <a:lnTo>
                    <a:pt x="858" y="1261"/>
                  </a:lnTo>
                  <a:lnTo>
                    <a:pt x="869" y="1281"/>
                  </a:lnTo>
                  <a:lnTo>
                    <a:pt x="876" y="1288"/>
                  </a:lnTo>
                  <a:lnTo>
                    <a:pt x="883" y="1295"/>
                  </a:lnTo>
                  <a:lnTo>
                    <a:pt x="888" y="1297"/>
                  </a:lnTo>
                  <a:lnTo>
                    <a:pt x="893" y="1298"/>
                  </a:lnTo>
                  <a:lnTo>
                    <a:pt x="897" y="1299"/>
                  </a:lnTo>
                  <a:lnTo>
                    <a:pt x="904" y="1300"/>
                  </a:lnTo>
                  <a:lnTo>
                    <a:pt x="912" y="1299"/>
                  </a:lnTo>
                  <a:lnTo>
                    <a:pt x="921" y="1296"/>
                  </a:lnTo>
                  <a:lnTo>
                    <a:pt x="929" y="1292"/>
                  </a:lnTo>
                  <a:lnTo>
                    <a:pt x="936" y="1288"/>
                  </a:lnTo>
                  <a:lnTo>
                    <a:pt x="944" y="1284"/>
                  </a:lnTo>
                  <a:lnTo>
                    <a:pt x="951" y="1281"/>
                  </a:lnTo>
                  <a:lnTo>
                    <a:pt x="960" y="1278"/>
                  </a:lnTo>
                  <a:lnTo>
                    <a:pt x="970" y="1277"/>
                  </a:lnTo>
                  <a:lnTo>
                    <a:pt x="982" y="1278"/>
                  </a:lnTo>
                  <a:lnTo>
                    <a:pt x="992" y="1281"/>
                  </a:lnTo>
                  <a:lnTo>
                    <a:pt x="1002" y="1284"/>
                  </a:lnTo>
                  <a:lnTo>
                    <a:pt x="1012" y="1288"/>
                  </a:lnTo>
                  <a:lnTo>
                    <a:pt x="1020" y="1292"/>
                  </a:lnTo>
                  <a:lnTo>
                    <a:pt x="1031" y="1296"/>
                  </a:lnTo>
                  <a:lnTo>
                    <a:pt x="1041" y="1299"/>
                  </a:lnTo>
                  <a:lnTo>
                    <a:pt x="1053" y="1300"/>
                  </a:lnTo>
                  <a:lnTo>
                    <a:pt x="1069" y="1299"/>
                  </a:lnTo>
                  <a:lnTo>
                    <a:pt x="1084" y="1297"/>
                  </a:lnTo>
                  <a:lnTo>
                    <a:pt x="1097" y="1295"/>
                  </a:lnTo>
                  <a:lnTo>
                    <a:pt x="1111" y="1292"/>
                  </a:lnTo>
                  <a:lnTo>
                    <a:pt x="1124" y="1290"/>
                  </a:lnTo>
                  <a:lnTo>
                    <a:pt x="1138" y="1288"/>
                  </a:lnTo>
                  <a:lnTo>
                    <a:pt x="1152" y="1286"/>
                  </a:lnTo>
                  <a:lnTo>
                    <a:pt x="1168" y="1286"/>
                  </a:lnTo>
                  <a:lnTo>
                    <a:pt x="1175" y="1286"/>
                  </a:lnTo>
                  <a:lnTo>
                    <a:pt x="1180" y="1287"/>
                  </a:lnTo>
                  <a:lnTo>
                    <a:pt x="1185" y="1289"/>
                  </a:lnTo>
                  <a:lnTo>
                    <a:pt x="1190" y="1292"/>
                  </a:lnTo>
                  <a:lnTo>
                    <a:pt x="1198" y="1300"/>
                  </a:lnTo>
                  <a:lnTo>
                    <a:pt x="1204" y="1310"/>
                  </a:lnTo>
                  <a:lnTo>
                    <a:pt x="1209" y="1319"/>
                  </a:lnTo>
                  <a:lnTo>
                    <a:pt x="1216" y="1330"/>
                  </a:lnTo>
                  <a:lnTo>
                    <a:pt x="1223" y="1341"/>
                  </a:lnTo>
                  <a:lnTo>
                    <a:pt x="1233" y="1350"/>
                  </a:lnTo>
                  <a:lnTo>
                    <a:pt x="1244" y="1357"/>
                  </a:lnTo>
                  <a:lnTo>
                    <a:pt x="1255" y="1364"/>
                  </a:lnTo>
                  <a:lnTo>
                    <a:pt x="1266" y="1369"/>
                  </a:lnTo>
                  <a:lnTo>
                    <a:pt x="1276" y="1375"/>
                  </a:lnTo>
                  <a:lnTo>
                    <a:pt x="1287" y="1379"/>
                  </a:lnTo>
                  <a:lnTo>
                    <a:pt x="1297" y="1384"/>
                  </a:lnTo>
                  <a:lnTo>
                    <a:pt x="1308" y="1391"/>
                  </a:lnTo>
                  <a:lnTo>
                    <a:pt x="1318" y="1399"/>
                  </a:lnTo>
                  <a:lnTo>
                    <a:pt x="1323" y="1409"/>
                  </a:lnTo>
                  <a:lnTo>
                    <a:pt x="1328" y="1419"/>
                  </a:lnTo>
                  <a:lnTo>
                    <a:pt x="1333" y="1427"/>
                  </a:lnTo>
                  <a:lnTo>
                    <a:pt x="1337" y="1438"/>
                  </a:lnTo>
                  <a:lnTo>
                    <a:pt x="1341" y="1453"/>
                  </a:lnTo>
                  <a:lnTo>
                    <a:pt x="1343" y="1470"/>
                  </a:lnTo>
                  <a:lnTo>
                    <a:pt x="1347" y="1485"/>
                  </a:lnTo>
                  <a:lnTo>
                    <a:pt x="1350" y="1499"/>
                  </a:lnTo>
                  <a:lnTo>
                    <a:pt x="1353" y="1512"/>
                  </a:lnTo>
                  <a:lnTo>
                    <a:pt x="1356" y="1528"/>
                  </a:lnTo>
                  <a:lnTo>
                    <a:pt x="1358" y="1542"/>
                  </a:lnTo>
                  <a:lnTo>
                    <a:pt x="1361" y="1555"/>
                  </a:lnTo>
                  <a:lnTo>
                    <a:pt x="1363" y="1567"/>
                  </a:lnTo>
                  <a:lnTo>
                    <a:pt x="1366" y="1581"/>
                  </a:lnTo>
                  <a:lnTo>
                    <a:pt x="1367" y="1592"/>
                  </a:lnTo>
                  <a:lnTo>
                    <a:pt x="1368" y="1601"/>
                  </a:lnTo>
                  <a:lnTo>
                    <a:pt x="1368" y="1611"/>
                  </a:lnTo>
                  <a:lnTo>
                    <a:pt x="1370" y="1622"/>
                  </a:lnTo>
                  <a:lnTo>
                    <a:pt x="1374" y="1636"/>
                  </a:lnTo>
                  <a:lnTo>
                    <a:pt x="1377" y="1650"/>
                  </a:lnTo>
                  <a:lnTo>
                    <a:pt x="1374" y="1659"/>
                  </a:lnTo>
                  <a:lnTo>
                    <a:pt x="1369" y="1667"/>
                  </a:lnTo>
                  <a:lnTo>
                    <a:pt x="1364" y="1675"/>
                  </a:lnTo>
                  <a:lnTo>
                    <a:pt x="1360" y="1681"/>
                  </a:lnTo>
                  <a:lnTo>
                    <a:pt x="1354" y="1689"/>
                  </a:lnTo>
                  <a:lnTo>
                    <a:pt x="1351" y="1696"/>
                  </a:lnTo>
                  <a:lnTo>
                    <a:pt x="1349" y="1705"/>
                  </a:lnTo>
                  <a:lnTo>
                    <a:pt x="1348" y="1715"/>
                  </a:lnTo>
                  <a:lnTo>
                    <a:pt x="1348" y="1722"/>
                  </a:lnTo>
                  <a:lnTo>
                    <a:pt x="1349" y="1729"/>
                  </a:lnTo>
                  <a:lnTo>
                    <a:pt x="1350" y="1735"/>
                  </a:lnTo>
                  <a:lnTo>
                    <a:pt x="1352" y="1742"/>
                  </a:lnTo>
                  <a:lnTo>
                    <a:pt x="1356" y="1754"/>
                  </a:lnTo>
                  <a:lnTo>
                    <a:pt x="1362" y="1765"/>
                  </a:lnTo>
                  <a:lnTo>
                    <a:pt x="1368" y="1776"/>
                  </a:lnTo>
                  <a:lnTo>
                    <a:pt x="1375" y="1788"/>
                  </a:lnTo>
                  <a:lnTo>
                    <a:pt x="1381" y="1801"/>
                  </a:lnTo>
                  <a:lnTo>
                    <a:pt x="1387" y="1815"/>
                  </a:lnTo>
                  <a:lnTo>
                    <a:pt x="1392" y="1834"/>
                  </a:lnTo>
                  <a:lnTo>
                    <a:pt x="1396" y="1850"/>
                  </a:lnTo>
                  <a:lnTo>
                    <a:pt x="1398" y="1866"/>
                  </a:lnTo>
                  <a:lnTo>
                    <a:pt x="1399" y="1881"/>
                  </a:lnTo>
                  <a:lnTo>
                    <a:pt x="1401" y="1913"/>
                  </a:lnTo>
                  <a:lnTo>
                    <a:pt x="1401" y="1950"/>
                  </a:lnTo>
                  <a:lnTo>
                    <a:pt x="1399" y="1975"/>
                  </a:lnTo>
                  <a:lnTo>
                    <a:pt x="1397" y="1998"/>
                  </a:lnTo>
                  <a:lnTo>
                    <a:pt x="1395" y="2019"/>
                  </a:lnTo>
                  <a:lnTo>
                    <a:pt x="1392" y="2045"/>
                  </a:lnTo>
                  <a:lnTo>
                    <a:pt x="1399" y="2048"/>
                  </a:lnTo>
                  <a:lnTo>
                    <a:pt x="1406" y="2051"/>
                  </a:lnTo>
                  <a:lnTo>
                    <a:pt x="1421" y="2050"/>
                  </a:lnTo>
                  <a:lnTo>
                    <a:pt x="1433" y="2047"/>
                  </a:lnTo>
                  <a:lnTo>
                    <a:pt x="1445" y="2045"/>
                  </a:lnTo>
                  <a:lnTo>
                    <a:pt x="1457" y="2042"/>
                  </a:lnTo>
                  <a:lnTo>
                    <a:pt x="1469" y="2039"/>
                  </a:lnTo>
                  <a:lnTo>
                    <a:pt x="1480" y="2037"/>
                  </a:lnTo>
                  <a:lnTo>
                    <a:pt x="1493" y="2034"/>
                  </a:lnTo>
                  <a:lnTo>
                    <a:pt x="1507" y="2033"/>
                  </a:lnTo>
                  <a:lnTo>
                    <a:pt x="1522" y="2034"/>
                  </a:lnTo>
                  <a:lnTo>
                    <a:pt x="1534" y="2037"/>
                  </a:lnTo>
                  <a:lnTo>
                    <a:pt x="1545" y="2041"/>
                  </a:lnTo>
                  <a:lnTo>
                    <a:pt x="1556" y="2045"/>
                  </a:lnTo>
                  <a:lnTo>
                    <a:pt x="1579" y="2057"/>
                  </a:lnTo>
                  <a:lnTo>
                    <a:pt x="1603" y="2070"/>
                  </a:lnTo>
                  <a:lnTo>
                    <a:pt x="1631" y="2081"/>
                  </a:lnTo>
                  <a:lnTo>
                    <a:pt x="1658" y="2091"/>
                  </a:lnTo>
                  <a:lnTo>
                    <a:pt x="1664" y="2093"/>
                  </a:lnTo>
                  <a:lnTo>
                    <a:pt x="1670" y="2096"/>
                  </a:lnTo>
                  <a:lnTo>
                    <a:pt x="1675" y="2100"/>
                  </a:lnTo>
                  <a:lnTo>
                    <a:pt x="1678" y="2105"/>
                  </a:lnTo>
                  <a:lnTo>
                    <a:pt x="1682" y="2109"/>
                  </a:lnTo>
                  <a:lnTo>
                    <a:pt x="1685" y="2114"/>
                  </a:lnTo>
                  <a:lnTo>
                    <a:pt x="1686" y="2121"/>
                  </a:lnTo>
                  <a:lnTo>
                    <a:pt x="1687" y="2127"/>
                  </a:lnTo>
                  <a:lnTo>
                    <a:pt x="1686" y="2147"/>
                  </a:lnTo>
                  <a:lnTo>
                    <a:pt x="1682" y="2164"/>
                  </a:lnTo>
                  <a:lnTo>
                    <a:pt x="1679" y="2180"/>
                  </a:lnTo>
                  <a:lnTo>
                    <a:pt x="1675" y="2195"/>
                  </a:lnTo>
                  <a:lnTo>
                    <a:pt x="1670" y="2212"/>
                  </a:lnTo>
                  <a:lnTo>
                    <a:pt x="1665" y="2227"/>
                  </a:lnTo>
                  <a:lnTo>
                    <a:pt x="1661" y="2244"/>
                  </a:lnTo>
                  <a:lnTo>
                    <a:pt x="1659" y="2263"/>
                  </a:lnTo>
                  <a:lnTo>
                    <a:pt x="1671" y="2263"/>
                  </a:lnTo>
                  <a:lnTo>
                    <a:pt x="1682" y="2263"/>
                  </a:lnTo>
                  <a:lnTo>
                    <a:pt x="1693" y="2263"/>
                  </a:lnTo>
                  <a:lnTo>
                    <a:pt x="1705" y="2263"/>
                  </a:lnTo>
                  <a:lnTo>
                    <a:pt x="1719" y="2261"/>
                  </a:lnTo>
                  <a:lnTo>
                    <a:pt x="1733" y="2258"/>
                  </a:lnTo>
                  <a:lnTo>
                    <a:pt x="1749" y="2258"/>
                  </a:lnTo>
                  <a:lnTo>
                    <a:pt x="1763" y="2260"/>
                  </a:lnTo>
                  <a:lnTo>
                    <a:pt x="1778" y="2261"/>
                  </a:lnTo>
                  <a:lnTo>
                    <a:pt x="1794" y="2263"/>
                  </a:lnTo>
                  <a:lnTo>
                    <a:pt x="1796" y="2282"/>
                  </a:lnTo>
                  <a:lnTo>
                    <a:pt x="1800" y="2299"/>
                  </a:lnTo>
                  <a:lnTo>
                    <a:pt x="1805" y="2315"/>
                  </a:lnTo>
                  <a:lnTo>
                    <a:pt x="1810" y="2330"/>
                  </a:lnTo>
                  <a:lnTo>
                    <a:pt x="1822" y="2361"/>
                  </a:lnTo>
                  <a:lnTo>
                    <a:pt x="1836" y="2394"/>
                  </a:lnTo>
                  <a:lnTo>
                    <a:pt x="1836" y="2394"/>
                  </a:lnTo>
                  <a:lnTo>
                    <a:pt x="1842" y="2391"/>
                  </a:lnTo>
                  <a:lnTo>
                    <a:pt x="1848" y="2386"/>
                  </a:lnTo>
                  <a:lnTo>
                    <a:pt x="1853" y="2382"/>
                  </a:lnTo>
                  <a:lnTo>
                    <a:pt x="1857" y="2377"/>
                  </a:lnTo>
                  <a:lnTo>
                    <a:pt x="1862" y="2371"/>
                  </a:lnTo>
                  <a:lnTo>
                    <a:pt x="1864" y="2365"/>
                  </a:lnTo>
                  <a:lnTo>
                    <a:pt x="1865" y="2358"/>
                  </a:lnTo>
                  <a:lnTo>
                    <a:pt x="1866" y="2351"/>
                  </a:lnTo>
                  <a:lnTo>
                    <a:pt x="1866" y="2343"/>
                  </a:lnTo>
                  <a:lnTo>
                    <a:pt x="1865" y="2337"/>
                  </a:lnTo>
                  <a:lnTo>
                    <a:pt x="1864" y="2330"/>
                  </a:lnTo>
                  <a:lnTo>
                    <a:pt x="1862" y="2324"/>
                  </a:lnTo>
                  <a:lnTo>
                    <a:pt x="1857" y="2313"/>
                  </a:lnTo>
                  <a:lnTo>
                    <a:pt x="1852" y="2300"/>
                  </a:lnTo>
                  <a:lnTo>
                    <a:pt x="1861" y="2299"/>
                  </a:lnTo>
                  <a:lnTo>
                    <a:pt x="1867" y="2297"/>
                  </a:lnTo>
                  <a:lnTo>
                    <a:pt x="1875" y="2295"/>
                  </a:lnTo>
                  <a:lnTo>
                    <a:pt x="1881" y="2291"/>
                  </a:lnTo>
                  <a:lnTo>
                    <a:pt x="1892" y="2284"/>
                  </a:lnTo>
                  <a:lnTo>
                    <a:pt x="1903" y="2274"/>
                  </a:lnTo>
                  <a:lnTo>
                    <a:pt x="1913" y="2263"/>
                  </a:lnTo>
                  <a:lnTo>
                    <a:pt x="1922" y="2253"/>
                  </a:lnTo>
                  <a:lnTo>
                    <a:pt x="1934" y="2243"/>
                  </a:lnTo>
                  <a:lnTo>
                    <a:pt x="1947" y="2233"/>
                  </a:lnTo>
                  <a:lnTo>
                    <a:pt x="1978" y="2213"/>
                  </a:lnTo>
                  <a:lnTo>
                    <a:pt x="2008" y="2195"/>
                  </a:lnTo>
                  <a:lnTo>
                    <a:pt x="2033" y="2178"/>
                  </a:lnTo>
                  <a:lnTo>
                    <a:pt x="2059" y="2162"/>
                  </a:lnTo>
                  <a:lnTo>
                    <a:pt x="2086" y="2147"/>
                  </a:lnTo>
                  <a:lnTo>
                    <a:pt x="2113" y="2131"/>
                  </a:lnTo>
                  <a:lnTo>
                    <a:pt x="2143" y="2113"/>
                  </a:lnTo>
                  <a:lnTo>
                    <a:pt x="2174" y="2095"/>
                  </a:lnTo>
                  <a:lnTo>
                    <a:pt x="2193" y="2084"/>
                  </a:lnTo>
                  <a:lnTo>
                    <a:pt x="2212" y="2073"/>
                  </a:lnTo>
                  <a:lnTo>
                    <a:pt x="2228" y="2061"/>
                  </a:lnTo>
                  <a:lnTo>
                    <a:pt x="2243" y="2051"/>
                  </a:lnTo>
                  <a:lnTo>
                    <a:pt x="2273" y="2028"/>
                  </a:lnTo>
                  <a:lnTo>
                    <a:pt x="2301" y="2005"/>
                  </a:lnTo>
                  <a:lnTo>
                    <a:pt x="2329" y="1983"/>
                  </a:lnTo>
                  <a:lnTo>
                    <a:pt x="2360" y="1962"/>
                  </a:lnTo>
                  <a:lnTo>
                    <a:pt x="2376" y="1952"/>
                  </a:lnTo>
                  <a:lnTo>
                    <a:pt x="2393" y="1943"/>
                  </a:lnTo>
                  <a:lnTo>
                    <a:pt x="2412" y="1933"/>
                  </a:lnTo>
                  <a:lnTo>
                    <a:pt x="2432" y="1924"/>
                  </a:lnTo>
                  <a:lnTo>
                    <a:pt x="2444" y="1919"/>
                  </a:lnTo>
                  <a:lnTo>
                    <a:pt x="2454" y="1912"/>
                  </a:lnTo>
                  <a:lnTo>
                    <a:pt x="2462" y="1906"/>
                  </a:lnTo>
                  <a:lnTo>
                    <a:pt x="2471" y="1898"/>
                  </a:lnTo>
                  <a:lnTo>
                    <a:pt x="2478" y="1892"/>
                  </a:lnTo>
                  <a:lnTo>
                    <a:pt x="2488" y="1888"/>
                  </a:lnTo>
                  <a:lnTo>
                    <a:pt x="2494" y="1885"/>
                  </a:lnTo>
                  <a:lnTo>
                    <a:pt x="2499" y="1883"/>
                  </a:lnTo>
                  <a:lnTo>
                    <a:pt x="2504" y="1883"/>
                  </a:lnTo>
                  <a:lnTo>
                    <a:pt x="2511" y="1882"/>
                  </a:lnTo>
                  <a:lnTo>
                    <a:pt x="2520" y="1883"/>
                  </a:lnTo>
                  <a:lnTo>
                    <a:pt x="2527" y="1886"/>
                  </a:lnTo>
                  <a:lnTo>
                    <a:pt x="2536" y="1890"/>
                  </a:lnTo>
                  <a:lnTo>
                    <a:pt x="2544" y="1891"/>
                  </a:lnTo>
                  <a:lnTo>
                    <a:pt x="2553" y="1891"/>
                  </a:lnTo>
                  <a:lnTo>
                    <a:pt x="2561" y="1890"/>
                  </a:lnTo>
                  <a:lnTo>
                    <a:pt x="2568" y="1888"/>
                  </a:lnTo>
                  <a:lnTo>
                    <a:pt x="2576" y="1885"/>
                  </a:lnTo>
                  <a:lnTo>
                    <a:pt x="2589" y="1879"/>
                  </a:lnTo>
                  <a:lnTo>
                    <a:pt x="2601" y="1870"/>
                  </a:lnTo>
                  <a:lnTo>
                    <a:pt x="2624" y="1852"/>
                  </a:lnTo>
                  <a:lnTo>
                    <a:pt x="2651" y="1832"/>
                  </a:lnTo>
                  <a:lnTo>
                    <a:pt x="2664" y="1824"/>
                  </a:lnTo>
                  <a:lnTo>
                    <a:pt x="2676" y="1817"/>
                  </a:lnTo>
                  <a:lnTo>
                    <a:pt x="2689" y="1812"/>
                  </a:lnTo>
                  <a:lnTo>
                    <a:pt x="2701" y="1808"/>
                  </a:lnTo>
                  <a:lnTo>
                    <a:pt x="2714" y="1805"/>
                  </a:lnTo>
                  <a:lnTo>
                    <a:pt x="2727" y="1803"/>
                  </a:lnTo>
                  <a:lnTo>
                    <a:pt x="2741" y="1801"/>
                  </a:lnTo>
                  <a:lnTo>
                    <a:pt x="2756" y="1801"/>
                  </a:lnTo>
                  <a:lnTo>
                    <a:pt x="2764" y="1801"/>
                  </a:lnTo>
                  <a:lnTo>
                    <a:pt x="2770" y="1802"/>
                  </a:lnTo>
                  <a:lnTo>
                    <a:pt x="2777" y="1804"/>
                  </a:lnTo>
                  <a:lnTo>
                    <a:pt x="2783" y="1807"/>
                  </a:lnTo>
                  <a:lnTo>
                    <a:pt x="2794" y="1812"/>
                  </a:lnTo>
                  <a:lnTo>
                    <a:pt x="2805" y="1818"/>
                  </a:lnTo>
                  <a:lnTo>
                    <a:pt x="2815" y="1824"/>
                  </a:lnTo>
                  <a:lnTo>
                    <a:pt x="2827" y="1829"/>
                  </a:lnTo>
                  <a:lnTo>
                    <a:pt x="2834" y="1831"/>
                  </a:lnTo>
                  <a:lnTo>
                    <a:pt x="2840" y="1834"/>
                  </a:lnTo>
                  <a:lnTo>
                    <a:pt x="2847" y="1835"/>
                  </a:lnTo>
                  <a:lnTo>
                    <a:pt x="2854" y="1835"/>
                  </a:lnTo>
                  <a:lnTo>
                    <a:pt x="2873" y="1835"/>
                  </a:lnTo>
                  <a:lnTo>
                    <a:pt x="2889" y="1834"/>
                  </a:lnTo>
                  <a:lnTo>
                    <a:pt x="2898" y="1832"/>
                  </a:lnTo>
                  <a:lnTo>
                    <a:pt x="2905" y="1829"/>
                  </a:lnTo>
                  <a:lnTo>
                    <a:pt x="2913" y="1826"/>
                  </a:lnTo>
                  <a:lnTo>
                    <a:pt x="2920" y="1821"/>
                  </a:lnTo>
                  <a:lnTo>
                    <a:pt x="2927" y="1814"/>
                  </a:lnTo>
                  <a:lnTo>
                    <a:pt x="2932" y="1808"/>
                  </a:lnTo>
                  <a:lnTo>
                    <a:pt x="2936" y="1800"/>
                  </a:lnTo>
                  <a:lnTo>
                    <a:pt x="2940" y="1792"/>
                  </a:lnTo>
                  <a:lnTo>
                    <a:pt x="2944" y="1785"/>
                  </a:lnTo>
                  <a:lnTo>
                    <a:pt x="2947" y="1778"/>
                  </a:lnTo>
                  <a:lnTo>
                    <a:pt x="2953" y="1771"/>
                  </a:lnTo>
                  <a:lnTo>
                    <a:pt x="2959" y="1764"/>
                  </a:lnTo>
                  <a:lnTo>
                    <a:pt x="2971" y="1755"/>
                  </a:lnTo>
                  <a:lnTo>
                    <a:pt x="2984" y="1746"/>
                  </a:lnTo>
                  <a:lnTo>
                    <a:pt x="2996" y="1740"/>
                  </a:lnTo>
                  <a:lnTo>
                    <a:pt x="3008" y="1734"/>
                  </a:lnTo>
                  <a:lnTo>
                    <a:pt x="3020" y="1730"/>
                  </a:lnTo>
                  <a:lnTo>
                    <a:pt x="3033" y="1727"/>
                  </a:lnTo>
                  <a:lnTo>
                    <a:pt x="3048" y="1723"/>
                  </a:lnTo>
                  <a:lnTo>
                    <a:pt x="3063" y="1720"/>
                  </a:lnTo>
                  <a:lnTo>
                    <a:pt x="3076" y="1714"/>
                  </a:lnTo>
                  <a:lnTo>
                    <a:pt x="3089" y="1708"/>
                  </a:lnTo>
                  <a:lnTo>
                    <a:pt x="3103" y="1708"/>
                  </a:lnTo>
                  <a:lnTo>
                    <a:pt x="3116" y="1708"/>
                  </a:lnTo>
                  <a:lnTo>
                    <a:pt x="3129" y="1708"/>
                  </a:lnTo>
                  <a:lnTo>
                    <a:pt x="3144" y="1708"/>
                  </a:lnTo>
                  <a:lnTo>
                    <a:pt x="3148" y="1708"/>
                  </a:lnTo>
                  <a:lnTo>
                    <a:pt x="3152" y="1709"/>
                  </a:lnTo>
                  <a:lnTo>
                    <a:pt x="3152" y="1709"/>
                  </a:lnTo>
                  <a:lnTo>
                    <a:pt x="3151" y="1704"/>
                  </a:lnTo>
                  <a:lnTo>
                    <a:pt x="3149" y="1700"/>
                  </a:lnTo>
                  <a:lnTo>
                    <a:pt x="3150" y="1689"/>
                  </a:lnTo>
                  <a:lnTo>
                    <a:pt x="3151" y="1679"/>
                  </a:lnTo>
                  <a:lnTo>
                    <a:pt x="3154" y="1669"/>
                  </a:lnTo>
                  <a:lnTo>
                    <a:pt x="3156" y="1661"/>
                  </a:lnTo>
                  <a:lnTo>
                    <a:pt x="3160" y="1642"/>
                  </a:lnTo>
                  <a:lnTo>
                    <a:pt x="3163" y="1622"/>
                  </a:lnTo>
                  <a:lnTo>
                    <a:pt x="3166" y="1602"/>
                  </a:lnTo>
                  <a:lnTo>
                    <a:pt x="3170" y="1585"/>
                  </a:lnTo>
                  <a:lnTo>
                    <a:pt x="3173" y="1578"/>
                  </a:lnTo>
                  <a:lnTo>
                    <a:pt x="3176" y="1570"/>
                  </a:lnTo>
                  <a:lnTo>
                    <a:pt x="3182" y="1564"/>
                  </a:lnTo>
                  <a:lnTo>
                    <a:pt x="3189" y="1557"/>
                  </a:lnTo>
                  <a:lnTo>
                    <a:pt x="3201" y="1548"/>
                  </a:lnTo>
                  <a:lnTo>
                    <a:pt x="3213" y="1540"/>
                  </a:lnTo>
                  <a:lnTo>
                    <a:pt x="3226" y="1533"/>
                  </a:lnTo>
                  <a:lnTo>
                    <a:pt x="3238" y="1526"/>
                  </a:lnTo>
                  <a:lnTo>
                    <a:pt x="3250" y="1520"/>
                  </a:lnTo>
                  <a:lnTo>
                    <a:pt x="3260" y="1515"/>
                  </a:lnTo>
                  <a:lnTo>
                    <a:pt x="3273" y="1511"/>
                  </a:lnTo>
                  <a:lnTo>
                    <a:pt x="3285" y="1506"/>
                  </a:lnTo>
                  <a:lnTo>
                    <a:pt x="3297" y="1503"/>
                  </a:lnTo>
                  <a:lnTo>
                    <a:pt x="3310" y="1500"/>
                  </a:lnTo>
                  <a:lnTo>
                    <a:pt x="3323" y="1498"/>
                  </a:lnTo>
                  <a:lnTo>
                    <a:pt x="3336" y="1495"/>
                  </a:lnTo>
                  <a:lnTo>
                    <a:pt x="3363" y="1493"/>
                  </a:lnTo>
                  <a:lnTo>
                    <a:pt x="3393" y="1493"/>
                  </a:lnTo>
                  <a:lnTo>
                    <a:pt x="3393" y="1478"/>
                  </a:lnTo>
                  <a:lnTo>
                    <a:pt x="3393" y="1464"/>
                  </a:lnTo>
                  <a:lnTo>
                    <a:pt x="3393" y="1459"/>
                  </a:lnTo>
                  <a:lnTo>
                    <a:pt x="3391" y="1454"/>
                  </a:lnTo>
                  <a:lnTo>
                    <a:pt x="3389" y="1451"/>
                  </a:lnTo>
                  <a:lnTo>
                    <a:pt x="3386" y="1447"/>
                  </a:lnTo>
                  <a:lnTo>
                    <a:pt x="3379" y="1440"/>
                  </a:lnTo>
                  <a:lnTo>
                    <a:pt x="3372" y="1434"/>
                  </a:lnTo>
                  <a:lnTo>
                    <a:pt x="3364" y="1426"/>
                  </a:lnTo>
                  <a:lnTo>
                    <a:pt x="3358" y="1419"/>
                  </a:lnTo>
                  <a:lnTo>
                    <a:pt x="3353" y="1416"/>
                  </a:lnTo>
                  <a:lnTo>
                    <a:pt x="3349" y="1413"/>
                  </a:lnTo>
                  <a:lnTo>
                    <a:pt x="3345" y="1412"/>
                  </a:lnTo>
                  <a:lnTo>
                    <a:pt x="3339" y="1411"/>
                  </a:lnTo>
                  <a:lnTo>
                    <a:pt x="3325" y="1411"/>
                  </a:lnTo>
                  <a:lnTo>
                    <a:pt x="3312" y="1411"/>
                  </a:lnTo>
                  <a:lnTo>
                    <a:pt x="3299" y="1411"/>
                  </a:lnTo>
                  <a:lnTo>
                    <a:pt x="3285" y="1411"/>
                  </a:lnTo>
                  <a:lnTo>
                    <a:pt x="3258" y="1412"/>
                  </a:lnTo>
                  <a:lnTo>
                    <a:pt x="3231" y="1411"/>
                  </a:lnTo>
                  <a:lnTo>
                    <a:pt x="3226" y="1410"/>
                  </a:lnTo>
                  <a:lnTo>
                    <a:pt x="3220" y="1408"/>
                  </a:lnTo>
                  <a:lnTo>
                    <a:pt x="3215" y="1406"/>
                  </a:lnTo>
                  <a:lnTo>
                    <a:pt x="3211" y="1404"/>
                  </a:lnTo>
                  <a:lnTo>
                    <a:pt x="3208" y="1399"/>
                  </a:lnTo>
                  <a:lnTo>
                    <a:pt x="3205" y="1396"/>
                  </a:lnTo>
                  <a:lnTo>
                    <a:pt x="3203" y="1391"/>
                  </a:lnTo>
                  <a:lnTo>
                    <a:pt x="3203" y="1385"/>
                  </a:lnTo>
                  <a:lnTo>
                    <a:pt x="3203" y="1371"/>
                  </a:lnTo>
                  <a:lnTo>
                    <a:pt x="3204" y="1358"/>
                  </a:lnTo>
                  <a:lnTo>
                    <a:pt x="3206" y="1346"/>
                  </a:lnTo>
                  <a:lnTo>
                    <a:pt x="3210" y="1335"/>
                  </a:lnTo>
                  <a:lnTo>
                    <a:pt x="3213" y="1323"/>
                  </a:lnTo>
                  <a:lnTo>
                    <a:pt x="3218" y="1311"/>
                  </a:lnTo>
                  <a:lnTo>
                    <a:pt x="3224" y="1300"/>
                  </a:lnTo>
                  <a:lnTo>
                    <a:pt x="3231" y="1288"/>
                  </a:lnTo>
                  <a:lnTo>
                    <a:pt x="3231" y="1288"/>
                  </a:lnTo>
                  <a:lnTo>
                    <a:pt x="3216" y="1288"/>
                  </a:lnTo>
                  <a:lnTo>
                    <a:pt x="3201" y="1286"/>
                  </a:lnTo>
                  <a:lnTo>
                    <a:pt x="3188" y="1284"/>
                  </a:lnTo>
                  <a:lnTo>
                    <a:pt x="3175" y="1282"/>
                  </a:lnTo>
                  <a:lnTo>
                    <a:pt x="3161" y="1278"/>
                  </a:lnTo>
                  <a:lnTo>
                    <a:pt x="3148" y="1276"/>
                  </a:lnTo>
                  <a:lnTo>
                    <a:pt x="3133" y="1275"/>
                  </a:lnTo>
                  <a:lnTo>
                    <a:pt x="3118" y="1274"/>
                  </a:lnTo>
                  <a:lnTo>
                    <a:pt x="3097" y="1274"/>
                  </a:lnTo>
                  <a:lnTo>
                    <a:pt x="3080" y="1274"/>
                  </a:lnTo>
                  <a:lnTo>
                    <a:pt x="3062" y="1274"/>
                  </a:lnTo>
                  <a:lnTo>
                    <a:pt x="3041" y="1274"/>
                  </a:lnTo>
                  <a:lnTo>
                    <a:pt x="3031" y="1275"/>
                  </a:lnTo>
                  <a:lnTo>
                    <a:pt x="3022" y="1276"/>
                  </a:lnTo>
                  <a:lnTo>
                    <a:pt x="3012" y="1278"/>
                  </a:lnTo>
                  <a:lnTo>
                    <a:pt x="3003" y="1281"/>
                  </a:lnTo>
                  <a:lnTo>
                    <a:pt x="2987" y="1287"/>
                  </a:lnTo>
                  <a:lnTo>
                    <a:pt x="2972" y="1294"/>
                  </a:lnTo>
                  <a:lnTo>
                    <a:pt x="2957" y="1301"/>
                  </a:lnTo>
                  <a:lnTo>
                    <a:pt x="2941" y="1308"/>
                  </a:lnTo>
                  <a:lnTo>
                    <a:pt x="2932" y="1310"/>
                  </a:lnTo>
                  <a:lnTo>
                    <a:pt x="2922" y="1312"/>
                  </a:lnTo>
                  <a:lnTo>
                    <a:pt x="2914" y="1313"/>
                  </a:lnTo>
                  <a:lnTo>
                    <a:pt x="2903" y="1313"/>
                  </a:lnTo>
                  <a:lnTo>
                    <a:pt x="2890" y="1314"/>
                  </a:lnTo>
                  <a:lnTo>
                    <a:pt x="2878" y="1313"/>
                  </a:lnTo>
                  <a:lnTo>
                    <a:pt x="2873" y="1312"/>
                  </a:lnTo>
                  <a:lnTo>
                    <a:pt x="2867" y="1311"/>
                  </a:lnTo>
                  <a:lnTo>
                    <a:pt x="2861" y="1309"/>
                  </a:lnTo>
                  <a:lnTo>
                    <a:pt x="2855" y="1305"/>
                  </a:lnTo>
                  <a:lnTo>
                    <a:pt x="2850" y="1300"/>
                  </a:lnTo>
                  <a:lnTo>
                    <a:pt x="2847" y="1294"/>
                  </a:lnTo>
                  <a:lnTo>
                    <a:pt x="2845" y="1290"/>
                  </a:lnTo>
                  <a:lnTo>
                    <a:pt x="2842" y="1288"/>
                  </a:lnTo>
                  <a:lnTo>
                    <a:pt x="2839" y="1286"/>
                  </a:lnTo>
                  <a:lnTo>
                    <a:pt x="2836" y="1286"/>
                  </a:lnTo>
                  <a:lnTo>
                    <a:pt x="2831" y="1286"/>
                  </a:lnTo>
                  <a:lnTo>
                    <a:pt x="2825" y="1287"/>
                  </a:lnTo>
                  <a:lnTo>
                    <a:pt x="2820" y="1288"/>
                  </a:lnTo>
                  <a:lnTo>
                    <a:pt x="2815" y="1290"/>
                  </a:lnTo>
                  <a:lnTo>
                    <a:pt x="2808" y="1296"/>
                  </a:lnTo>
                  <a:lnTo>
                    <a:pt x="2801" y="1303"/>
                  </a:lnTo>
                  <a:lnTo>
                    <a:pt x="2795" y="1312"/>
                  </a:lnTo>
                  <a:lnTo>
                    <a:pt x="2790" y="1321"/>
                  </a:lnTo>
                  <a:lnTo>
                    <a:pt x="2784" y="1331"/>
                  </a:lnTo>
                  <a:lnTo>
                    <a:pt x="2780" y="1341"/>
                  </a:lnTo>
                  <a:lnTo>
                    <a:pt x="2776" y="1352"/>
                  </a:lnTo>
                  <a:lnTo>
                    <a:pt x="2770" y="1362"/>
                  </a:lnTo>
                  <a:lnTo>
                    <a:pt x="2765" y="1371"/>
                  </a:lnTo>
                  <a:lnTo>
                    <a:pt x="2758" y="1380"/>
                  </a:lnTo>
                  <a:lnTo>
                    <a:pt x="2752" y="1387"/>
                  </a:lnTo>
                  <a:lnTo>
                    <a:pt x="2744" y="1393"/>
                  </a:lnTo>
                  <a:lnTo>
                    <a:pt x="2739" y="1395"/>
                  </a:lnTo>
                  <a:lnTo>
                    <a:pt x="2734" y="1396"/>
                  </a:lnTo>
                  <a:lnTo>
                    <a:pt x="2729" y="1397"/>
                  </a:lnTo>
                  <a:lnTo>
                    <a:pt x="2724" y="1397"/>
                  </a:lnTo>
                  <a:lnTo>
                    <a:pt x="2700" y="1397"/>
                  </a:lnTo>
                  <a:lnTo>
                    <a:pt x="2676" y="1395"/>
                  </a:lnTo>
                  <a:lnTo>
                    <a:pt x="2664" y="1393"/>
                  </a:lnTo>
                  <a:lnTo>
                    <a:pt x="2652" y="1390"/>
                  </a:lnTo>
                  <a:lnTo>
                    <a:pt x="2642" y="1387"/>
                  </a:lnTo>
                  <a:lnTo>
                    <a:pt x="2631" y="1383"/>
                  </a:lnTo>
                  <a:lnTo>
                    <a:pt x="2621" y="1379"/>
                  </a:lnTo>
                  <a:lnTo>
                    <a:pt x="2611" y="1373"/>
                  </a:lnTo>
                  <a:lnTo>
                    <a:pt x="2604" y="1367"/>
                  </a:lnTo>
                  <a:lnTo>
                    <a:pt x="2597" y="1360"/>
                  </a:lnTo>
                  <a:lnTo>
                    <a:pt x="2591" y="1353"/>
                  </a:lnTo>
                  <a:lnTo>
                    <a:pt x="2588" y="1343"/>
                  </a:lnTo>
                  <a:lnTo>
                    <a:pt x="2584" y="1333"/>
                  </a:lnTo>
                  <a:lnTo>
                    <a:pt x="2583" y="1323"/>
                  </a:lnTo>
                  <a:lnTo>
                    <a:pt x="2583" y="1304"/>
                  </a:lnTo>
                  <a:lnTo>
                    <a:pt x="2583" y="1288"/>
                  </a:lnTo>
                  <a:lnTo>
                    <a:pt x="2583" y="1272"/>
                  </a:lnTo>
                  <a:lnTo>
                    <a:pt x="2583" y="1254"/>
                  </a:lnTo>
                  <a:lnTo>
                    <a:pt x="2583" y="1243"/>
                  </a:lnTo>
                  <a:lnTo>
                    <a:pt x="2582" y="1233"/>
                  </a:lnTo>
                  <a:lnTo>
                    <a:pt x="2580" y="1223"/>
                  </a:lnTo>
                  <a:lnTo>
                    <a:pt x="2577" y="1215"/>
                  </a:lnTo>
                  <a:lnTo>
                    <a:pt x="2572" y="1206"/>
                  </a:lnTo>
                  <a:lnTo>
                    <a:pt x="2568" y="1198"/>
                  </a:lnTo>
                  <a:lnTo>
                    <a:pt x="2561" y="1191"/>
                  </a:lnTo>
                  <a:lnTo>
                    <a:pt x="2553" y="1184"/>
                  </a:lnTo>
                  <a:lnTo>
                    <a:pt x="2537" y="1175"/>
                  </a:lnTo>
                  <a:lnTo>
                    <a:pt x="2521" y="1167"/>
                  </a:lnTo>
                  <a:lnTo>
                    <a:pt x="2514" y="1163"/>
                  </a:lnTo>
                  <a:lnTo>
                    <a:pt x="2508" y="1157"/>
                  </a:lnTo>
                  <a:lnTo>
                    <a:pt x="2502" y="1151"/>
                  </a:lnTo>
                  <a:lnTo>
                    <a:pt x="2497" y="1142"/>
                  </a:lnTo>
                  <a:lnTo>
                    <a:pt x="2606" y="868"/>
                  </a:lnTo>
                  <a:lnTo>
                    <a:pt x="2603" y="840"/>
                  </a:lnTo>
                  <a:lnTo>
                    <a:pt x="2599" y="815"/>
                  </a:lnTo>
                  <a:lnTo>
                    <a:pt x="2597" y="803"/>
                  </a:lnTo>
                  <a:lnTo>
                    <a:pt x="2593" y="792"/>
                  </a:lnTo>
                  <a:lnTo>
                    <a:pt x="2586" y="781"/>
                  </a:lnTo>
                  <a:lnTo>
                    <a:pt x="2578" y="770"/>
                  </a:lnTo>
                  <a:lnTo>
                    <a:pt x="2572" y="764"/>
                  </a:lnTo>
                  <a:lnTo>
                    <a:pt x="2567" y="760"/>
                  </a:lnTo>
                  <a:lnTo>
                    <a:pt x="2561" y="756"/>
                  </a:lnTo>
                  <a:lnTo>
                    <a:pt x="2555" y="754"/>
                  </a:lnTo>
                  <a:lnTo>
                    <a:pt x="2549" y="751"/>
                  </a:lnTo>
                  <a:lnTo>
                    <a:pt x="2542" y="750"/>
                  </a:lnTo>
                  <a:lnTo>
                    <a:pt x="2536" y="749"/>
                  </a:lnTo>
                  <a:lnTo>
                    <a:pt x="2528" y="748"/>
                  </a:lnTo>
                  <a:lnTo>
                    <a:pt x="2500" y="749"/>
                  </a:lnTo>
                  <a:lnTo>
                    <a:pt x="2469" y="747"/>
                  </a:lnTo>
                  <a:lnTo>
                    <a:pt x="2461" y="746"/>
                  </a:lnTo>
                  <a:lnTo>
                    <a:pt x="2454" y="744"/>
                  </a:lnTo>
                  <a:lnTo>
                    <a:pt x="2447" y="742"/>
                  </a:lnTo>
                  <a:lnTo>
                    <a:pt x="2441" y="738"/>
                  </a:lnTo>
                  <a:lnTo>
                    <a:pt x="2434" y="734"/>
                  </a:lnTo>
                  <a:lnTo>
                    <a:pt x="2429" y="731"/>
                  </a:lnTo>
                  <a:lnTo>
                    <a:pt x="2423" y="725"/>
                  </a:lnTo>
                  <a:lnTo>
                    <a:pt x="2419" y="721"/>
                  </a:lnTo>
                  <a:lnTo>
                    <a:pt x="2410" y="709"/>
                  </a:lnTo>
                  <a:lnTo>
                    <a:pt x="2402" y="697"/>
                  </a:lnTo>
                  <a:lnTo>
                    <a:pt x="2394" y="683"/>
                  </a:lnTo>
                  <a:lnTo>
                    <a:pt x="2388" y="669"/>
                  </a:lnTo>
                  <a:lnTo>
                    <a:pt x="2379" y="638"/>
                  </a:lnTo>
                  <a:lnTo>
                    <a:pt x="2373" y="609"/>
                  </a:lnTo>
                  <a:lnTo>
                    <a:pt x="2369" y="595"/>
                  </a:lnTo>
                  <a:lnTo>
                    <a:pt x="2367" y="581"/>
                  </a:lnTo>
                  <a:lnTo>
                    <a:pt x="2365" y="565"/>
                  </a:lnTo>
                  <a:lnTo>
                    <a:pt x="2365" y="548"/>
                  </a:lnTo>
                  <a:lnTo>
                    <a:pt x="2366" y="528"/>
                  </a:lnTo>
                  <a:lnTo>
                    <a:pt x="2368" y="509"/>
                  </a:lnTo>
                  <a:lnTo>
                    <a:pt x="2372" y="492"/>
                  </a:lnTo>
                  <a:lnTo>
                    <a:pt x="2376" y="476"/>
                  </a:lnTo>
                  <a:lnTo>
                    <a:pt x="2380" y="459"/>
                  </a:lnTo>
                  <a:lnTo>
                    <a:pt x="2383" y="441"/>
                  </a:lnTo>
                  <a:lnTo>
                    <a:pt x="2387" y="423"/>
                  </a:lnTo>
                  <a:lnTo>
                    <a:pt x="2388" y="403"/>
                  </a:lnTo>
                  <a:lnTo>
                    <a:pt x="2387" y="396"/>
                  </a:lnTo>
                  <a:lnTo>
                    <a:pt x="2386" y="390"/>
                  </a:lnTo>
                  <a:lnTo>
                    <a:pt x="2383" y="384"/>
                  </a:lnTo>
                  <a:lnTo>
                    <a:pt x="2380" y="379"/>
                  </a:lnTo>
                  <a:lnTo>
                    <a:pt x="2378" y="374"/>
                  </a:lnTo>
                  <a:lnTo>
                    <a:pt x="2376" y="368"/>
                  </a:lnTo>
                  <a:lnTo>
                    <a:pt x="2374" y="363"/>
                  </a:lnTo>
                  <a:lnTo>
                    <a:pt x="2374" y="356"/>
                  </a:lnTo>
                  <a:lnTo>
                    <a:pt x="2374" y="337"/>
                  </a:lnTo>
                  <a:lnTo>
                    <a:pt x="2374" y="320"/>
                  </a:lnTo>
                  <a:lnTo>
                    <a:pt x="2374" y="303"/>
                  </a:lnTo>
                  <a:lnTo>
                    <a:pt x="2374" y="285"/>
                  </a:lnTo>
                  <a:lnTo>
                    <a:pt x="2373" y="274"/>
                  </a:lnTo>
                  <a:lnTo>
                    <a:pt x="2372" y="263"/>
                  </a:lnTo>
                  <a:lnTo>
                    <a:pt x="2369" y="252"/>
                  </a:lnTo>
                  <a:lnTo>
                    <a:pt x="2366" y="243"/>
                  </a:lnTo>
                  <a:lnTo>
                    <a:pt x="2363" y="233"/>
                  </a:lnTo>
                  <a:lnTo>
                    <a:pt x="2359" y="224"/>
                  </a:lnTo>
                  <a:lnTo>
                    <a:pt x="2353" y="215"/>
                  </a:lnTo>
                  <a:lnTo>
                    <a:pt x="2348" y="207"/>
                  </a:lnTo>
                  <a:lnTo>
                    <a:pt x="2340" y="199"/>
                  </a:lnTo>
                  <a:lnTo>
                    <a:pt x="2334" y="193"/>
                  </a:lnTo>
                  <a:lnTo>
                    <a:pt x="2326" y="188"/>
                  </a:lnTo>
                  <a:lnTo>
                    <a:pt x="2318" y="182"/>
                  </a:lnTo>
                  <a:lnTo>
                    <a:pt x="2308" y="178"/>
                  </a:lnTo>
                  <a:lnTo>
                    <a:pt x="2299" y="176"/>
                  </a:lnTo>
                  <a:lnTo>
                    <a:pt x="2288" y="174"/>
                  </a:lnTo>
                  <a:lnTo>
                    <a:pt x="2278" y="172"/>
                  </a:lnTo>
                  <a:lnTo>
                    <a:pt x="2266" y="174"/>
                  </a:lnTo>
                  <a:lnTo>
                    <a:pt x="2255" y="175"/>
                  </a:lnTo>
                  <a:lnTo>
                    <a:pt x="2245" y="177"/>
                  </a:lnTo>
                  <a:lnTo>
                    <a:pt x="2235" y="179"/>
                  </a:lnTo>
                  <a:lnTo>
                    <a:pt x="2226" y="180"/>
                  </a:lnTo>
                  <a:lnTo>
                    <a:pt x="2215" y="182"/>
                  </a:lnTo>
                  <a:lnTo>
                    <a:pt x="2204" y="183"/>
                  </a:lnTo>
                  <a:lnTo>
                    <a:pt x="2192" y="184"/>
                  </a:lnTo>
                  <a:lnTo>
                    <a:pt x="2186" y="183"/>
                  </a:lnTo>
                  <a:lnTo>
                    <a:pt x="2179" y="182"/>
                  </a:lnTo>
                  <a:lnTo>
                    <a:pt x="2173" y="180"/>
                  </a:lnTo>
                  <a:lnTo>
                    <a:pt x="2166" y="179"/>
                  </a:lnTo>
                  <a:lnTo>
                    <a:pt x="2161" y="177"/>
                  </a:lnTo>
                  <a:lnTo>
                    <a:pt x="2154" y="175"/>
                  </a:lnTo>
                  <a:lnTo>
                    <a:pt x="2148" y="174"/>
                  </a:lnTo>
                  <a:lnTo>
                    <a:pt x="2140" y="172"/>
                  </a:lnTo>
                  <a:lnTo>
                    <a:pt x="2134" y="174"/>
                  </a:lnTo>
                  <a:lnTo>
                    <a:pt x="2127" y="175"/>
                  </a:lnTo>
                  <a:lnTo>
                    <a:pt x="2122" y="177"/>
                  </a:lnTo>
                  <a:lnTo>
                    <a:pt x="2116" y="179"/>
                  </a:lnTo>
                  <a:lnTo>
                    <a:pt x="2106" y="185"/>
                  </a:lnTo>
                  <a:lnTo>
                    <a:pt x="2096" y="193"/>
                  </a:lnTo>
                  <a:lnTo>
                    <a:pt x="2086" y="199"/>
                  </a:lnTo>
                  <a:lnTo>
                    <a:pt x="2076" y="206"/>
                  </a:lnTo>
                  <a:lnTo>
                    <a:pt x="2070" y="208"/>
                  </a:lnTo>
                  <a:lnTo>
                    <a:pt x="2064" y="210"/>
                  </a:lnTo>
                  <a:lnTo>
                    <a:pt x="2058" y="211"/>
                  </a:lnTo>
                  <a:lnTo>
                    <a:pt x="2051" y="212"/>
                  </a:lnTo>
                  <a:lnTo>
                    <a:pt x="2039" y="211"/>
                  </a:lnTo>
                  <a:lnTo>
                    <a:pt x="2028" y="210"/>
                  </a:lnTo>
                  <a:lnTo>
                    <a:pt x="2017" y="208"/>
                  </a:lnTo>
                  <a:lnTo>
                    <a:pt x="2008" y="207"/>
                  </a:lnTo>
                  <a:lnTo>
                    <a:pt x="1998" y="205"/>
                  </a:lnTo>
                  <a:lnTo>
                    <a:pt x="1987" y="203"/>
                  </a:lnTo>
                  <a:lnTo>
                    <a:pt x="1976" y="202"/>
                  </a:lnTo>
                  <a:lnTo>
                    <a:pt x="1964" y="201"/>
                  </a:lnTo>
                  <a:lnTo>
                    <a:pt x="1927" y="202"/>
                  </a:lnTo>
                  <a:lnTo>
                    <a:pt x="1893" y="205"/>
                  </a:lnTo>
                  <a:lnTo>
                    <a:pt x="1876" y="207"/>
                  </a:lnTo>
                  <a:lnTo>
                    <a:pt x="1861" y="210"/>
                  </a:lnTo>
                  <a:lnTo>
                    <a:pt x="1846" y="214"/>
                  </a:lnTo>
                  <a:lnTo>
                    <a:pt x="1830" y="217"/>
                  </a:lnTo>
                  <a:lnTo>
                    <a:pt x="1815" y="222"/>
                  </a:lnTo>
                  <a:lnTo>
                    <a:pt x="1800" y="228"/>
                  </a:lnTo>
                  <a:lnTo>
                    <a:pt x="1785" y="233"/>
                  </a:lnTo>
                  <a:lnTo>
                    <a:pt x="1770" y="239"/>
                  </a:lnTo>
                  <a:lnTo>
                    <a:pt x="1739" y="256"/>
                  </a:lnTo>
                  <a:lnTo>
                    <a:pt x="1706" y="274"/>
                  </a:lnTo>
                  <a:lnTo>
                    <a:pt x="1702" y="264"/>
                  </a:lnTo>
                  <a:lnTo>
                    <a:pt x="1699" y="253"/>
                  </a:lnTo>
                  <a:lnTo>
                    <a:pt x="1693" y="245"/>
                  </a:lnTo>
                  <a:lnTo>
                    <a:pt x="1688" y="236"/>
                  </a:lnTo>
                  <a:lnTo>
                    <a:pt x="1682" y="229"/>
                  </a:lnTo>
                  <a:lnTo>
                    <a:pt x="1675" y="223"/>
                  </a:lnTo>
                  <a:lnTo>
                    <a:pt x="1671" y="221"/>
                  </a:lnTo>
                  <a:lnTo>
                    <a:pt x="1666" y="219"/>
                  </a:lnTo>
                  <a:lnTo>
                    <a:pt x="1661" y="218"/>
                  </a:lnTo>
                  <a:lnTo>
                    <a:pt x="1655" y="218"/>
                  </a:lnTo>
                  <a:lnTo>
                    <a:pt x="1650" y="218"/>
                  </a:lnTo>
                  <a:lnTo>
                    <a:pt x="1646" y="219"/>
                  </a:lnTo>
                  <a:lnTo>
                    <a:pt x="1641" y="221"/>
                  </a:lnTo>
                  <a:lnTo>
                    <a:pt x="1637" y="223"/>
                  </a:lnTo>
                  <a:lnTo>
                    <a:pt x="1630" y="230"/>
                  </a:lnTo>
                  <a:lnTo>
                    <a:pt x="1622" y="236"/>
                  </a:lnTo>
                  <a:lnTo>
                    <a:pt x="1616" y="243"/>
                  </a:lnTo>
                  <a:lnTo>
                    <a:pt x="1608" y="248"/>
                  </a:lnTo>
                  <a:lnTo>
                    <a:pt x="1604" y="251"/>
                  </a:lnTo>
                  <a:lnTo>
                    <a:pt x="1599" y="252"/>
                  </a:lnTo>
                  <a:lnTo>
                    <a:pt x="1594" y="253"/>
                  </a:lnTo>
                  <a:lnTo>
                    <a:pt x="1589" y="255"/>
                  </a:lnTo>
                  <a:lnTo>
                    <a:pt x="1583" y="253"/>
                  </a:lnTo>
                  <a:lnTo>
                    <a:pt x="1580" y="251"/>
                  </a:lnTo>
                  <a:lnTo>
                    <a:pt x="1576" y="248"/>
                  </a:lnTo>
                  <a:lnTo>
                    <a:pt x="1573" y="245"/>
                  </a:lnTo>
                  <a:lnTo>
                    <a:pt x="1568" y="235"/>
                  </a:lnTo>
                  <a:lnTo>
                    <a:pt x="1564" y="226"/>
                  </a:lnTo>
                  <a:lnTo>
                    <a:pt x="1558" y="219"/>
                  </a:lnTo>
                  <a:lnTo>
                    <a:pt x="1553" y="212"/>
                  </a:lnTo>
                  <a:lnTo>
                    <a:pt x="1551" y="210"/>
                  </a:lnTo>
                  <a:lnTo>
                    <a:pt x="1549" y="206"/>
                  </a:lnTo>
                  <a:lnTo>
                    <a:pt x="1547" y="203"/>
                  </a:lnTo>
                  <a:lnTo>
                    <a:pt x="1546" y="198"/>
                  </a:lnTo>
                  <a:lnTo>
                    <a:pt x="1547" y="187"/>
                  </a:lnTo>
                  <a:lnTo>
                    <a:pt x="1549" y="177"/>
                  </a:lnTo>
                  <a:lnTo>
                    <a:pt x="1551" y="167"/>
                  </a:lnTo>
                  <a:lnTo>
                    <a:pt x="1554" y="157"/>
                  </a:lnTo>
                  <a:lnTo>
                    <a:pt x="1556" y="149"/>
                  </a:lnTo>
                  <a:lnTo>
                    <a:pt x="1558" y="139"/>
                  </a:lnTo>
                  <a:lnTo>
                    <a:pt x="1560" y="128"/>
                  </a:lnTo>
                  <a:lnTo>
                    <a:pt x="1560" y="116"/>
                  </a:lnTo>
                  <a:lnTo>
                    <a:pt x="1560" y="109"/>
                  </a:lnTo>
                  <a:lnTo>
                    <a:pt x="1558" y="100"/>
                  </a:lnTo>
                  <a:lnTo>
                    <a:pt x="1555" y="91"/>
                  </a:lnTo>
                  <a:lnTo>
                    <a:pt x="1552" y="84"/>
                  </a:lnTo>
                  <a:lnTo>
                    <a:pt x="1546" y="77"/>
                  </a:lnTo>
                  <a:lnTo>
                    <a:pt x="1541" y="71"/>
                  </a:lnTo>
                  <a:lnTo>
                    <a:pt x="1534" y="66"/>
                  </a:lnTo>
                  <a:lnTo>
                    <a:pt x="1527" y="61"/>
                  </a:lnTo>
                  <a:lnTo>
                    <a:pt x="1515" y="58"/>
                  </a:lnTo>
                  <a:lnTo>
                    <a:pt x="1504" y="55"/>
                  </a:lnTo>
                  <a:lnTo>
                    <a:pt x="1493" y="53"/>
                  </a:lnTo>
                  <a:lnTo>
                    <a:pt x="1482" y="49"/>
                  </a:lnTo>
                  <a:lnTo>
                    <a:pt x="1469" y="47"/>
                  </a:lnTo>
                  <a:lnTo>
                    <a:pt x="1456" y="45"/>
                  </a:lnTo>
                  <a:lnTo>
                    <a:pt x="1444" y="44"/>
                  </a:lnTo>
                  <a:lnTo>
                    <a:pt x="1432" y="44"/>
                  </a:lnTo>
                  <a:lnTo>
                    <a:pt x="1408" y="44"/>
                  </a:lnTo>
                  <a:lnTo>
                    <a:pt x="1381" y="44"/>
                  </a:lnTo>
                  <a:lnTo>
                    <a:pt x="1341" y="45"/>
                  </a:lnTo>
                  <a:lnTo>
                    <a:pt x="1307" y="46"/>
                  </a:lnTo>
                  <a:lnTo>
                    <a:pt x="1272" y="48"/>
                  </a:lnTo>
                  <a:lnTo>
                    <a:pt x="1233" y="49"/>
                  </a:lnTo>
                  <a:lnTo>
                    <a:pt x="1198" y="44"/>
                  </a:lnTo>
                  <a:lnTo>
                    <a:pt x="1166" y="40"/>
                  </a:lnTo>
                  <a:lnTo>
                    <a:pt x="1152" y="36"/>
                  </a:lnTo>
                  <a:lnTo>
                    <a:pt x="1136" y="33"/>
                  </a:lnTo>
                  <a:lnTo>
                    <a:pt x="1121" y="28"/>
                  </a:lnTo>
                  <a:lnTo>
                    <a:pt x="1104" y="21"/>
                  </a:lnTo>
                  <a:lnTo>
                    <a:pt x="1090" y="14"/>
                  </a:lnTo>
                  <a:lnTo>
                    <a:pt x="1077" y="6"/>
                  </a:lnTo>
                  <a:lnTo>
                    <a:pt x="1070" y="4"/>
                  </a:lnTo>
                  <a:lnTo>
                    <a:pt x="1064" y="1"/>
                  </a:lnTo>
                  <a:lnTo>
                    <a:pt x="1056" y="0"/>
                  </a:lnTo>
                  <a:lnTo>
                    <a:pt x="1047" y="0"/>
                  </a:lnTo>
                  <a:lnTo>
                    <a:pt x="1032" y="0"/>
                  </a:lnTo>
                  <a:lnTo>
                    <a:pt x="1018" y="3"/>
                  </a:lnTo>
                  <a:lnTo>
                    <a:pt x="1004" y="7"/>
                  </a:lnTo>
                  <a:lnTo>
                    <a:pt x="992" y="14"/>
                  </a:lnTo>
                  <a:lnTo>
                    <a:pt x="980" y="21"/>
                  </a:lnTo>
                  <a:lnTo>
                    <a:pt x="970" y="31"/>
                  </a:lnTo>
                  <a:lnTo>
                    <a:pt x="960" y="43"/>
                  </a:lnTo>
                  <a:lnTo>
                    <a:pt x="951" y="55"/>
                  </a:lnTo>
                  <a:lnTo>
                    <a:pt x="951" y="55"/>
                  </a:lnTo>
                  <a:close/>
                </a:path>
              </a:pathLst>
            </a:custGeom>
            <a:solidFill>
              <a:srgbClr val="3B61AC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58">
              <a:extLst>
                <a:ext uri="{FF2B5EF4-FFF2-40B4-BE49-F238E27FC236}">
                  <a16:creationId xmlns:a16="http://schemas.microsoft.com/office/drawing/2014/main" id="{5FC0F347-BB4F-4D9F-829A-CFE54EBEC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5700" y="4370388"/>
              <a:ext cx="1346200" cy="950913"/>
            </a:xfrm>
            <a:custGeom>
              <a:avLst/>
              <a:gdLst>
                <a:gd name="T0" fmla="*/ 871 w 3393"/>
                <a:gd name="T1" fmla="*/ 162 h 2394"/>
                <a:gd name="T2" fmla="*/ 737 w 3393"/>
                <a:gd name="T3" fmla="*/ 226 h 2394"/>
                <a:gd name="T4" fmla="*/ 635 w 3393"/>
                <a:gd name="T5" fmla="*/ 432 h 2394"/>
                <a:gd name="T6" fmla="*/ 532 w 3393"/>
                <a:gd name="T7" fmla="*/ 567 h 2394"/>
                <a:gd name="T8" fmla="*/ 411 w 3393"/>
                <a:gd name="T9" fmla="*/ 795 h 2394"/>
                <a:gd name="T10" fmla="*/ 290 w 3393"/>
                <a:gd name="T11" fmla="*/ 955 h 2394"/>
                <a:gd name="T12" fmla="*/ 86 w 3393"/>
                <a:gd name="T13" fmla="*/ 1020 h 2394"/>
                <a:gd name="T14" fmla="*/ 244 w 3393"/>
                <a:gd name="T15" fmla="*/ 1124 h 2394"/>
                <a:gd name="T16" fmla="*/ 318 w 3393"/>
                <a:gd name="T17" fmla="*/ 1120 h 2394"/>
                <a:gd name="T18" fmla="*/ 445 w 3393"/>
                <a:gd name="T19" fmla="*/ 1107 h 2394"/>
                <a:gd name="T20" fmla="*/ 580 w 3393"/>
                <a:gd name="T21" fmla="*/ 1125 h 2394"/>
                <a:gd name="T22" fmla="*/ 722 w 3393"/>
                <a:gd name="T23" fmla="*/ 1221 h 2394"/>
                <a:gd name="T24" fmla="*/ 834 w 3393"/>
                <a:gd name="T25" fmla="*/ 1210 h 2394"/>
                <a:gd name="T26" fmla="*/ 912 w 3393"/>
                <a:gd name="T27" fmla="*/ 1299 h 2394"/>
                <a:gd name="T28" fmla="*/ 1031 w 3393"/>
                <a:gd name="T29" fmla="*/ 1296 h 2394"/>
                <a:gd name="T30" fmla="*/ 1185 w 3393"/>
                <a:gd name="T31" fmla="*/ 1289 h 2394"/>
                <a:gd name="T32" fmla="*/ 1297 w 3393"/>
                <a:gd name="T33" fmla="*/ 1384 h 2394"/>
                <a:gd name="T34" fmla="*/ 1358 w 3393"/>
                <a:gd name="T35" fmla="*/ 1542 h 2394"/>
                <a:gd name="T36" fmla="*/ 1360 w 3393"/>
                <a:gd name="T37" fmla="*/ 1681 h 2394"/>
                <a:gd name="T38" fmla="*/ 1381 w 3393"/>
                <a:gd name="T39" fmla="*/ 1801 h 2394"/>
                <a:gd name="T40" fmla="*/ 1406 w 3393"/>
                <a:gd name="T41" fmla="*/ 2051 h 2394"/>
                <a:gd name="T42" fmla="*/ 1579 w 3393"/>
                <a:gd name="T43" fmla="*/ 2057 h 2394"/>
                <a:gd name="T44" fmla="*/ 1682 w 3393"/>
                <a:gd name="T45" fmla="*/ 2164 h 2394"/>
                <a:gd name="T46" fmla="*/ 1749 w 3393"/>
                <a:gd name="T47" fmla="*/ 2258 h 2394"/>
                <a:gd name="T48" fmla="*/ 1853 w 3393"/>
                <a:gd name="T49" fmla="*/ 2382 h 2394"/>
                <a:gd name="T50" fmla="*/ 1867 w 3393"/>
                <a:gd name="T51" fmla="*/ 2297 h 2394"/>
                <a:gd name="T52" fmla="*/ 2086 w 3393"/>
                <a:gd name="T53" fmla="*/ 2147 h 2394"/>
                <a:gd name="T54" fmla="*/ 2393 w 3393"/>
                <a:gd name="T55" fmla="*/ 1943 h 2394"/>
                <a:gd name="T56" fmla="*/ 2520 w 3393"/>
                <a:gd name="T57" fmla="*/ 1883 h 2394"/>
                <a:gd name="T58" fmla="*/ 2676 w 3393"/>
                <a:gd name="T59" fmla="*/ 1817 h 2394"/>
                <a:gd name="T60" fmla="*/ 2815 w 3393"/>
                <a:gd name="T61" fmla="*/ 1824 h 2394"/>
                <a:gd name="T62" fmla="*/ 2932 w 3393"/>
                <a:gd name="T63" fmla="*/ 1808 h 2394"/>
                <a:gd name="T64" fmla="*/ 3048 w 3393"/>
                <a:gd name="T65" fmla="*/ 1723 h 2394"/>
                <a:gd name="T66" fmla="*/ 3150 w 3393"/>
                <a:gd name="T67" fmla="*/ 1689 h 2394"/>
                <a:gd name="T68" fmla="*/ 3213 w 3393"/>
                <a:gd name="T69" fmla="*/ 1540 h 2394"/>
                <a:gd name="T70" fmla="*/ 3393 w 3393"/>
                <a:gd name="T71" fmla="*/ 1478 h 2394"/>
                <a:gd name="T72" fmla="*/ 3339 w 3393"/>
                <a:gd name="T73" fmla="*/ 1411 h 2394"/>
                <a:gd name="T74" fmla="*/ 3203 w 3393"/>
                <a:gd name="T75" fmla="*/ 1391 h 2394"/>
                <a:gd name="T76" fmla="*/ 3188 w 3393"/>
                <a:gd name="T77" fmla="*/ 1284 h 2394"/>
                <a:gd name="T78" fmla="*/ 3003 w 3393"/>
                <a:gd name="T79" fmla="*/ 1281 h 2394"/>
                <a:gd name="T80" fmla="*/ 2861 w 3393"/>
                <a:gd name="T81" fmla="*/ 1309 h 2394"/>
                <a:gd name="T82" fmla="*/ 2801 w 3393"/>
                <a:gd name="T83" fmla="*/ 1303 h 2394"/>
                <a:gd name="T84" fmla="*/ 2729 w 3393"/>
                <a:gd name="T85" fmla="*/ 1397 h 2394"/>
                <a:gd name="T86" fmla="*/ 2588 w 3393"/>
                <a:gd name="T87" fmla="*/ 1343 h 2394"/>
                <a:gd name="T88" fmla="*/ 2561 w 3393"/>
                <a:gd name="T89" fmla="*/ 1191 h 2394"/>
                <a:gd name="T90" fmla="*/ 2586 w 3393"/>
                <a:gd name="T91" fmla="*/ 781 h 2394"/>
                <a:gd name="T92" fmla="*/ 2454 w 3393"/>
                <a:gd name="T93" fmla="*/ 744 h 2394"/>
                <a:gd name="T94" fmla="*/ 2369 w 3393"/>
                <a:gd name="T95" fmla="*/ 595 h 2394"/>
                <a:gd name="T96" fmla="*/ 2386 w 3393"/>
                <a:gd name="T97" fmla="*/ 390 h 2394"/>
                <a:gd name="T98" fmla="*/ 2369 w 3393"/>
                <a:gd name="T99" fmla="*/ 252 h 2394"/>
                <a:gd name="T100" fmla="*/ 2278 w 3393"/>
                <a:gd name="T101" fmla="*/ 172 h 2394"/>
                <a:gd name="T102" fmla="*/ 2161 w 3393"/>
                <a:gd name="T103" fmla="*/ 177 h 2394"/>
                <a:gd name="T104" fmla="*/ 2064 w 3393"/>
                <a:gd name="T105" fmla="*/ 210 h 2394"/>
                <a:gd name="T106" fmla="*/ 1876 w 3393"/>
                <a:gd name="T107" fmla="*/ 207 h 2394"/>
                <a:gd name="T108" fmla="*/ 1688 w 3393"/>
                <a:gd name="T109" fmla="*/ 236 h 2394"/>
                <a:gd name="T110" fmla="*/ 1616 w 3393"/>
                <a:gd name="T111" fmla="*/ 243 h 2394"/>
                <a:gd name="T112" fmla="*/ 1553 w 3393"/>
                <a:gd name="T113" fmla="*/ 212 h 2394"/>
                <a:gd name="T114" fmla="*/ 1560 w 3393"/>
                <a:gd name="T115" fmla="*/ 109 h 2394"/>
                <a:gd name="T116" fmla="*/ 1456 w 3393"/>
                <a:gd name="T117" fmla="*/ 45 h 2394"/>
                <a:gd name="T118" fmla="*/ 1121 w 3393"/>
                <a:gd name="T119" fmla="*/ 28 h 2394"/>
                <a:gd name="T120" fmla="*/ 970 w 3393"/>
                <a:gd name="T121" fmla="*/ 31 h 2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93" h="2394">
                  <a:moveTo>
                    <a:pt x="951" y="55"/>
                  </a:moveTo>
                  <a:lnTo>
                    <a:pt x="947" y="63"/>
                  </a:lnTo>
                  <a:lnTo>
                    <a:pt x="944" y="70"/>
                  </a:lnTo>
                  <a:lnTo>
                    <a:pt x="939" y="76"/>
                  </a:lnTo>
                  <a:lnTo>
                    <a:pt x="934" y="82"/>
                  </a:lnTo>
                  <a:lnTo>
                    <a:pt x="924" y="93"/>
                  </a:lnTo>
                  <a:lnTo>
                    <a:pt x="913" y="106"/>
                  </a:lnTo>
                  <a:lnTo>
                    <a:pt x="903" y="122"/>
                  </a:lnTo>
                  <a:lnTo>
                    <a:pt x="894" y="136"/>
                  </a:lnTo>
                  <a:lnTo>
                    <a:pt x="890" y="143"/>
                  </a:lnTo>
                  <a:lnTo>
                    <a:pt x="884" y="150"/>
                  </a:lnTo>
                  <a:lnTo>
                    <a:pt x="879" y="155"/>
                  </a:lnTo>
                  <a:lnTo>
                    <a:pt x="871" y="162"/>
                  </a:lnTo>
                  <a:lnTo>
                    <a:pt x="863" y="167"/>
                  </a:lnTo>
                  <a:lnTo>
                    <a:pt x="854" y="171"/>
                  </a:lnTo>
                  <a:lnTo>
                    <a:pt x="846" y="175"/>
                  </a:lnTo>
                  <a:lnTo>
                    <a:pt x="838" y="179"/>
                  </a:lnTo>
                  <a:lnTo>
                    <a:pt x="825" y="187"/>
                  </a:lnTo>
                  <a:lnTo>
                    <a:pt x="815" y="194"/>
                  </a:lnTo>
                  <a:lnTo>
                    <a:pt x="805" y="203"/>
                  </a:lnTo>
                  <a:lnTo>
                    <a:pt x="792" y="209"/>
                  </a:lnTo>
                  <a:lnTo>
                    <a:pt x="782" y="214"/>
                  </a:lnTo>
                  <a:lnTo>
                    <a:pt x="770" y="215"/>
                  </a:lnTo>
                  <a:lnTo>
                    <a:pt x="759" y="217"/>
                  </a:lnTo>
                  <a:lnTo>
                    <a:pt x="748" y="221"/>
                  </a:lnTo>
                  <a:lnTo>
                    <a:pt x="737" y="226"/>
                  </a:lnTo>
                  <a:lnTo>
                    <a:pt x="730" y="233"/>
                  </a:lnTo>
                  <a:lnTo>
                    <a:pt x="723" y="241"/>
                  </a:lnTo>
                  <a:lnTo>
                    <a:pt x="717" y="249"/>
                  </a:lnTo>
                  <a:lnTo>
                    <a:pt x="708" y="269"/>
                  </a:lnTo>
                  <a:lnTo>
                    <a:pt x="700" y="290"/>
                  </a:lnTo>
                  <a:lnTo>
                    <a:pt x="690" y="317"/>
                  </a:lnTo>
                  <a:lnTo>
                    <a:pt x="682" y="341"/>
                  </a:lnTo>
                  <a:lnTo>
                    <a:pt x="673" y="365"/>
                  </a:lnTo>
                  <a:lnTo>
                    <a:pt x="661" y="392"/>
                  </a:lnTo>
                  <a:lnTo>
                    <a:pt x="652" y="403"/>
                  </a:lnTo>
                  <a:lnTo>
                    <a:pt x="645" y="414"/>
                  </a:lnTo>
                  <a:lnTo>
                    <a:pt x="639" y="423"/>
                  </a:lnTo>
                  <a:lnTo>
                    <a:pt x="635" y="432"/>
                  </a:lnTo>
                  <a:lnTo>
                    <a:pt x="629" y="439"/>
                  </a:lnTo>
                  <a:lnTo>
                    <a:pt x="622" y="448"/>
                  </a:lnTo>
                  <a:lnTo>
                    <a:pt x="601" y="463"/>
                  </a:lnTo>
                  <a:lnTo>
                    <a:pt x="583" y="477"/>
                  </a:lnTo>
                  <a:lnTo>
                    <a:pt x="574" y="485"/>
                  </a:lnTo>
                  <a:lnTo>
                    <a:pt x="567" y="492"/>
                  </a:lnTo>
                  <a:lnTo>
                    <a:pt x="559" y="501"/>
                  </a:lnTo>
                  <a:lnTo>
                    <a:pt x="552" y="512"/>
                  </a:lnTo>
                  <a:lnTo>
                    <a:pt x="546" y="521"/>
                  </a:lnTo>
                  <a:lnTo>
                    <a:pt x="542" y="531"/>
                  </a:lnTo>
                  <a:lnTo>
                    <a:pt x="539" y="540"/>
                  </a:lnTo>
                  <a:lnTo>
                    <a:pt x="535" y="549"/>
                  </a:lnTo>
                  <a:lnTo>
                    <a:pt x="532" y="567"/>
                  </a:lnTo>
                  <a:lnTo>
                    <a:pt x="529" y="585"/>
                  </a:lnTo>
                  <a:lnTo>
                    <a:pt x="527" y="622"/>
                  </a:lnTo>
                  <a:lnTo>
                    <a:pt x="524" y="663"/>
                  </a:lnTo>
                  <a:lnTo>
                    <a:pt x="520" y="679"/>
                  </a:lnTo>
                  <a:lnTo>
                    <a:pt x="515" y="694"/>
                  </a:lnTo>
                  <a:lnTo>
                    <a:pt x="508" y="707"/>
                  </a:lnTo>
                  <a:lnTo>
                    <a:pt x="500" y="719"/>
                  </a:lnTo>
                  <a:lnTo>
                    <a:pt x="490" y="730"/>
                  </a:lnTo>
                  <a:lnTo>
                    <a:pt x="480" y="739"/>
                  </a:lnTo>
                  <a:lnTo>
                    <a:pt x="470" y="748"/>
                  </a:lnTo>
                  <a:lnTo>
                    <a:pt x="458" y="758"/>
                  </a:lnTo>
                  <a:lnTo>
                    <a:pt x="435" y="775"/>
                  </a:lnTo>
                  <a:lnTo>
                    <a:pt x="411" y="795"/>
                  </a:lnTo>
                  <a:lnTo>
                    <a:pt x="400" y="805"/>
                  </a:lnTo>
                  <a:lnTo>
                    <a:pt x="390" y="817"/>
                  </a:lnTo>
                  <a:lnTo>
                    <a:pt x="381" y="831"/>
                  </a:lnTo>
                  <a:lnTo>
                    <a:pt x="372" y="845"/>
                  </a:lnTo>
                  <a:lnTo>
                    <a:pt x="362" y="867"/>
                  </a:lnTo>
                  <a:lnTo>
                    <a:pt x="351" y="886"/>
                  </a:lnTo>
                  <a:lnTo>
                    <a:pt x="340" y="905"/>
                  </a:lnTo>
                  <a:lnTo>
                    <a:pt x="328" y="921"/>
                  </a:lnTo>
                  <a:lnTo>
                    <a:pt x="322" y="928"/>
                  </a:lnTo>
                  <a:lnTo>
                    <a:pt x="315" y="936"/>
                  </a:lnTo>
                  <a:lnTo>
                    <a:pt x="308" y="943"/>
                  </a:lnTo>
                  <a:lnTo>
                    <a:pt x="299" y="949"/>
                  </a:lnTo>
                  <a:lnTo>
                    <a:pt x="290" y="955"/>
                  </a:lnTo>
                  <a:lnTo>
                    <a:pt x="282" y="961"/>
                  </a:lnTo>
                  <a:lnTo>
                    <a:pt x="271" y="966"/>
                  </a:lnTo>
                  <a:lnTo>
                    <a:pt x="260" y="972"/>
                  </a:lnTo>
                  <a:lnTo>
                    <a:pt x="243" y="978"/>
                  </a:lnTo>
                  <a:lnTo>
                    <a:pt x="225" y="982"/>
                  </a:lnTo>
                  <a:lnTo>
                    <a:pt x="209" y="985"/>
                  </a:lnTo>
                  <a:lnTo>
                    <a:pt x="193" y="986"/>
                  </a:lnTo>
                  <a:lnTo>
                    <a:pt x="177" y="988"/>
                  </a:lnTo>
                  <a:lnTo>
                    <a:pt x="161" y="990"/>
                  </a:lnTo>
                  <a:lnTo>
                    <a:pt x="143" y="993"/>
                  </a:lnTo>
                  <a:lnTo>
                    <a:pt x="125" y="1000"/>
                  </a:lnTo>
                  <a:lnTo>
                    <a:pt x="104" y="1009"/>
                  </a:lnTo>
                  <a:lnTo>
                    <a:pt x="86" y="1020"/>
                  </a:lnTo>
                  <a:lnTo>
                    <a:pt x="70" y="1031"/>
                  </a:lnTo>
                  <a:lnTo>
                    <a:pt x="55" y="1044"/>
                  </a:lnTo>
                  <a:lnTo>
                    <a:pt x="40" y="1058"/>
                  </a:lnTo>
                  <a:lnTo>
                    <a:pt x="27" y="1073"/>
                  </a:lnTo>
                  <a:lnTo>
                    <a:pt x="13" y="1090"/>
                  </a:lnTo>
                  <a:lnTo>
                    <a:pt x="0" y="1109"/>
                  </a:lnTo>
                  <a:lnTo>
                    <a:pt x="0" y="1109"/>
                  </a:lnTo>
                  <a:lnTo>
                    <a:pt x="156" y="1123"/>
                  </a:lnTo>
                  <a:lnTo>
                    <a:pt x="178" y="1123"/>
                  </a:lnTo>
                  <a:lnTo>
                    <a:pt x="196" y="1123"/>
                  </a:lnTo>
                  <a:lnTo>
                    <a:pt x="216" y="1123"/>
                  </a:lnTo>
                  <a:lnTo>
                    <a:pt x="237" y="1123"/>
                  </a:lnTo>
                  <a:lnTo>
                    <a:pt x="244" y="1124"/>
                  </a:lnTo>
                  <a:lnTo>
                    <a:pt x="251" y="1125"/>
                  </a:lnTo>
                  <a:lnTo>
                    <a:pt x="257" y="1128"/>
                  </a:lnTo>
                  <a:lnTo>
                    <a:pt x="262" y="1132"/>
                  </a:lnTo>
                  <a:lnTo>
                    <a:pt x="269" y="1135"/>
                  </a:lnTo>
                  <a:lnTo>
                    <a:pt x="274" y="1137"/>
                  </a:lnTo>
                  <a:lnTo>
                    <a:pt x="281" y="1139"/>
                  </a:lnTo>
                  <a:lnTo>
                    <a:pt x="288" y="1140"/>
                  </a:lnTo>
                  <a:lnTo>
                    <a:pt x="293" y="1139"/>
                  </a:lnTo>
                  <a:lnTo>
                    <a:pt x="298" y="1138"/>
                  </a:lnTo>
                  <a:lnTo>
                    <a:pt x="301" y="1136"/>
                  </a:lnTo>
                  <a:lnTo>
                    <a:pt x="305" y="1134"/>
                  </a:lnTo>
                  <a:lnTo>
                    <a:pt x="312" y="1127"/>
                  </a:lnTo>
                  <a:lnTo>
                    <a:pt x="318" y="1120"/>
                  </a:lnTo>
                  <a:lnTo>
                    <a:pt x="324" y="1113"/>
                  </a:lnTo>
                  <a:lnTo>
                    <a:pt x="330" y="1107"/>
                  </a:lnTo>
                  <a:lnTo>
                    <a:pt x="335" y="1105"/>
                  </a:lnTo>
                  <a:lnTo>
                    <a:pt x="339" y="1102"/>
                  </a:lnTo>
                  <a:lnTo>
                    <a:pt x="343" y="1101"/>
                  </a:lnTo>
                  <a:lnTo>
                    <a:pt x="347" y="1100"/>
                  </a:lnTo>
                  <a:lnTo>
                    <a:pt x="365" y="1100"/>
                  </a:lnTo>
                  <a:lnTo>
                    <a:pt x="381" y="1100"/>
                  </a:lnTo>
                  <a:lnTo>
                    <a:pt x="396" y="1100"/>
                  </a:lnTo>
                  <a:lnTo>
                    <a:pt x="413" y="1100"/>
                  </a:lnTo>
                  <a:lnTo>
                    <a:pt x="425" y="1101"/>
                  </a:lnTo>
                  <a:lnTo>
                    <a:pt x="435" y="1103"/>
                  </a:lnTo>
                  <a:lnTo>
                    <a:pt x="445" y="1107"/>
                  </a:lnTo>
                  <a:lnTo>
                    <a:pt x="453" y="1110"/>
                  </a:lnTo>
                  <a:lnTo>
                    <a:pt x="462" y="1114"/>
                  </a:lnTo>
                  <a:lnTo>
                    <a:pt x="472" y="1117"/>
                  </a:lnTo>
                  <a:lnTo>
                    <a:pt x="483" y="1120"/>
                  </a:lnTo>
                  <a:lnTo>
                    <a:pt x="493" y="1120"/>
                  </a:lnTo>
                  <a:lnTo>
                    <a:pt x="508" y="1120"/>
                  </a:lnTo>
                  <a:lnTo>
                    <a:pt x="522" y="1120"/>
                  </a:lnTo>
                  <a:lnTo>
                    <a:pt x="535" y="1120"/>
                  </a:lnTo>
                  <a:lnTo>
                    <a:pt x="551" y="1120"/>
                  </a:lnTo>
                  <a:lnTo>
                    <a:pt x="559" y="1121"/>
                  </a:lnTo>
                  <a:lnTo>
                    <a:pt x="566" y="1122"/>
                  </a:lnTo>
                  <a:lnTo>
                    <a:pt x="573" y="1123"/>
                  </a:lnTo>
                  <a:lnTo>
                    <a:pt x="580" y="1125"/>
                  </a:lnTo>
                  <a:lnTo>
                    <a:pt x="593" y="1129"/>
                  </a:lnTo>
                  <a:lnTo>
                    <a:pt x="606" y="1136"/>
                  </a:lnTo>
                  <a:lnTo>
                    <a:pt x="616" y="1144"/>
                  </a:lnTo>
                  <a:lnTo>
                    <a:pt x="627" y="1153"/>
                  </a:lnTo>
                  <a:lnTo>
                    <a:pt x="638" y="1163"/>
                  </a:lnTo>
                  <a:lnTo>
                    <a:pt x="648" y="1171"/>
                  </a:lnTo>
                  <a:lnTo>
                    <a:pt x="659" y="1181"/>
                  </a:lnTo>
                  <a:lnTo>
                    <a:pt x="668" y="1191"/>
                  </a:lnTo>
                  <a:lnTo>
                    <a:pt x="679" y="1200"/>
                  </a:lnTo>
                  <a:lnTo>
                    <a:pt x="691" y="1207"/>
                  </a:lnTo>
                  <a:lnTo>
                    <a:pt x="703" y="1215"/>
                  </a:lnTo>
                  <a:lnTo>
                    <a:pt x="716" y="1219"/>
                  </a:lnTo>
                  <a:lnTo>
                    <a:pt x="722" y="1221"/>
                  </a:lnTo>
                  <a:lnTo>
                    <a:pt x="730" y="1222"/>
                  </a:lnTo>
                  <a:lnTo>
                    <a:pt x="737" y="1223"/>
                  </a:lnTo>
                  <a:lnTo>
                    <a:pt x="745" y="1223"/>
                  </a:lnTo>
                  <a:lnTo>
                    <a:pt x="756" y="1223"/>
                  </a:lnTo>
                  <a:lnTo>
                    <a:pt x="765" y="1221"/>
                  </a:lnTo>
                  <a:lnTo>
                    <a:pt x="775" y="1219"/>
                  </a:lnTo>
                  <a:lnTo>
                    <a:pt x="784" y="1216"/>
                  </a:lnTo>
                  <a:lnTo>
                    <a:pt x="794" y="1213"/>
                  </a:lnTo>
                  <a:lnTo>
                    <a:pt x="802" y="1209"/>
                  </a:lnTo>
                  <a:lnTo>
                    <a:pt x="813" y="1208"/>
                  </a:lnTo>
                  <a:lnTo>
                    <a:pt x="824" y="1207"/>
                  </a:lnTo>
                  <a:lnTo>
                    <a:pt x="829" y="1208"/>
                  </a:lnTo>
                  <a:lnTo>
                    <a:pt x="834" y="1210"/>
                  </a:lnTo>
                  <a:lnTo>
                    <a:pt x="837" y="1214"/>
                  </a:lnTo>
                  <a:lnTo>
                    <a:pt x="839" y="1219"/>
                  </a:lnTo>
                  <a:lnTo>
                    <a:pt x="844" y="1230"/>
                  </a:lnTo>
                  <a:lnTo>
                    <a:pt x="849" y="1241"/>
                  </a:lnTo>
                  <a:lnTo>
                    <a:pt x="858" y="1261"/>
                  </a:lnTo>
                  <a:lnTo>
                    <a:pt x="869" y="1281"/>
                  </a:lnTo>
                  <a:lnTo>
                    <a:pt x="876" y="1288"/>
                  </a:lnTo>
                  <a:lnTo>
                    <a:pt x="883" y="1295"/>
                  </a:lnTo>
                  <a:lnTo>
                    <a:pt x="888" y="1297"/>
                  </a:lnTo>
                  <a:lnTo>
                    <a:pt x="893" y="1298"/>
                  </a:lnTo>
                  <a:lnTo>
                    <a:pt x="897" y="1299"/>
                  </a:lnTo>
                  <a:lnTo>
                    <a:pt x="904" y="1300"/>
                  </a:lnTo>
                  <a:lnTo>
                    <a:pt x="912" y="1299"/>
                  </a:lnTo>
                  <a:lnTo>
                    <a:pt x="921" y="1296"/>
                  </a:lnTo>
                  <a:lnTo>
                    <a:pt x="929" y="1292"/>
                  </a:lnTo>
                  <a:lnTo>
                    <a:pt x="936" y="1288"/>
                  </a:lnTo>
                  <a:lnTo>
                    <a:pt x="944" y="1284"/>
                  </a:lnTo>
                  <a:lnTo>
                    <a:pt x="951" y="1281"/>
                  </a:lnTo>
                  <a:lnTo>
                    <a:pt x="960" y="1278"/>
                  </a:lnTo>
                  <a:lnTo>
                    <a:pt x="970" y="1277"/>
                  </a:lnTo>
                  <a:lnTo>
                    <a:pt x="982" y="1278"/>
                  </a:lnTo>
                  <a:lnTo>
                    <a:pt x="992" y="1281"/>
                  </a:lnTo>
                  <a:lnTo>
                    <a:pt x="1002" y="1284"/>
                  </a:lnTo>
                  <a:lnTo>
                    <a:pt x="1012" y="1288"/>
                  </a:lnTo>
                  <a:lnTo>
                    <a:pt x="1020" y="1292"/>
                  </a:lnTo>
                  <a:lnTo>
                    <a:pt x="1031" y="1296"/>
                  </a:lnTo>
                  <a:lnTo>
                    <a:pt x="1041" y="1299"/>
                  </a:lnTo>
                  <a:lnTo>
                    <a:pt x="1053" y="1300"/>
                  </a:lnTo>
                  <a:lnTo>
                    <a:pt x="1069" y="1299"/>
                  </a:lnTo>
                  <a:lnTo>
                    <a:pt x="1084" y="1297"/>
                  </a:lnTo>
                  <a:lnTo>
                    <a:pt x="1097" y="1295"/>
                  </a:lnTo>
                  <a:lnTo>
                    <a:pt x="1111" y="1292"/>
                  </a:lnTo>
                  <a:lnTo>
                    <a:pt x="1124" y="1290"/>
                  </a:lnTo>
                  <a:lnTo>
                    <a:pt x="1138" y="1288"/>
                  </a:lnTo>
                  <a:lnTo>
                    <a:pt x="1152" y="1286"/>
                  </a:lnTo>
                  <a:lnTo>
                    <a:pt x="1168" y="1286"/>
                  </a:lnTo>
                  <a:lnTo>
                    <a:pt x="1175" y="1286"/>
                  </a:lnTo>
                  <a:lnTo>
                    <a:pt x="1180" y="1287"/>
                  </a:lnTo>
                  <a:lnTo>
                    <a:pt x="1185" y="1289"/>
                  </a:lnTo>
                  <a:lnTo>
                    <a:pt x="1190" y="1292"/>
                  </a:lnTo>
                  <a:lnTo>
                    <a:pt x="1198" y="1300"/>
                  </a:lnTo>
                  <a:lnTo>
                    <a:pt x="1204" y="1310"/>
                  </a:lnTo>
                  <a:lnTo>
                    <a:pt x="1209" y="1319"/>
                  </a:lnTo>
                  <a:lnTo>
                    <a:pt x="1216" y="1330"/>
                  </a:lnTo>
                  <a:lnTo>
                    <a:pt x="1223" y="1341"/>
                  </a:lnTo>
                  <a:lnTo>
                    <a:pt x="1233" y="1350"/>
                  </a:lnTo>
                  <a:lnTo>
                    <a:pt x="1244" y="1357"/>
                  </a:lnTo>
                  <a:lnTo>
                    <a:pt x="1255" y="1364"/>
                  </a:lnTo>
                  <a:lnTo>
                    <a:pt x="1266" y="1369"/>
                  </a:lnTo>
                  <a:lnTo>
                    <a:pt x="1276" y="1375"/>
                  </a:lnTo>
                  <a:lnTo>
                    <a:pt x="1287" y="1379"/>
                  </a:lnTo>
                  <a:lnTo>
                    <a:pt x="1297" y="1384"/>
                  </a:lnTo>
                  <a:lnTo>
                    <a:pt x="1308" y="1391"/>
                  </a:lnTo>
                  <a:lnTo>
                    <a:pt x="1318" y="1399"/>
                  </a:lnTo>
                  <a:lnTo>
                    <a:pt x="1323" y="1409"/>
                  </a:lnTo>
                  <a:lnTo>
                    <a:pt x="1328" y="1419"/>
                  </a:lnTo>
                  <a:lnTo>
                    <a:pt x="1333" y="1427"/>
                  </a:lnTo>
                  <a:lnTo>
                    <a:pt x="1337" y="1438"/>
                  </a:lnTo>
                  <a:lnTo>
                    <a:pt x="1341" y="1453"/>
                  </a:lnTo>
                  <a:lnTo>
                    <a:pt x="1343" y="1470"/>
                  </a:lnTo>
                  <a:lnTo>
                    <a:pt x="1347" y="1485"/>
                  </a:lnTo>
                  <a:lnTo>
                    <a:pt x="1350" y="1499"/>
                  </a:lnTo>
                  <a:lnTo>
                    <a:pt x="1353" y="1512"/>
                  </a:lnTo>
                  <a:lnTo>
                    <a:pt x="1356" y="1528"/>
                  </a:lnTo>
                  <a:lnTo>
                    <a:pt x="1358" y="1542"/>
                  </a:lnTo>
                  <a:lnTo>
                    <a:pt x="1361" y="1555"/>
                  </a:lnTo>
                  <a:lnTo>
                    <a:pt x="1363" y="1567"/>
                  </a:lnTo>
                  <a:lnTo>
                    <a:pt x="1366" y="1581"/>
                  </a:lnTo>
                  <a:lnTo>
                    <a:pt x="1367" y="1592"/>
                  </a:lnTo>
                  <a:lnTo>
                    <a:pt x="1368" y="1601"/>
                  </a:lnTo>
                  <a:lnTo>
                    <a:pt x="1368" y="1611"/>
                  </a:lnTo>
                  <a:lnTo>
                    <a:pt x="1370" y="1622"/>
                  </a:lnTo>
                  <a:lnTo>
                    <a:pt x="1374" y="1636"/>
                  </a:lnTo>
                  <a:lnTo>
                    <a:pt x="1377" y="1650"/>
                  </a:lnTo>
                  <a:lnTo>
                    <a:pt x="1374" y="1659"/>
                  </a:lnTo>
                  <a:lnTo>
                    <a:pt x="1369" y="1667"/>
                  </a:lnTo>
                  <a:lnTo>
                    <a:pt x="1364" y="1675"/>
                  </a:lnTo>
                  <a:lnTo>
                    <a:pt x="1360" y="1681"/>
                  </a:lnTo>
                  <a:lnTo>
                    <a:pt x="1354" y="1689"/>
                  </a:lnTo>
                  <a:lnTo>
                    <a:pt x="1351" y="1696"/>
                  </a:lnTo>
                  <a:lnTo>
                    <a:pt x="1349" y="1705"/>
                  </a:lnTo>
                  <a:lnTo>
                    <a:pt x="1348" y="1715"/>
                  </a:lnTo>
                  <a:lnTo>
                    <a:pt x="1348" y="1722"/>
                  </a:lnTo>
                  <a:lnTo>
                    <a:pt x="1349" y="1729"/>
                  </a:lnTo>
                  <a:lnTo>
                    <a:pt x="1350" y="1735"/>
                  </a:lnTo>
                  <a:lnTo>
                    <a:pt x="1352" y="1742"/>
                  </a:lnTo>
                  <a:lnTo>
                    <a:pt x="1356" y="1754"/>
                  </a:lnTo>
                  <a:lnTo>
                    <a:pt x="1362" y="1765"/>
                  </a:lnTo>
                  <a:lnTo>
                    <a:pt x="1368" y="1776"/>
                  </a:lnTo>
                  <a:lnTo>
                    <a:pt x="1375" y="1788"/>
                  </a:lnTo>
                  <a:lnTo>
                    <a:pt x="1381" y="1801"/>
                  </a:lnTo>
                  <a:lnTo>
                    <a:pt x="1387" y="1815"/>
                  </a:lnTo>
                  <a:lnTo>
                    <a:pt x="1392" y="1834"/>
                  </a:lnTo>
                  <a:lnTo>
                    <a:pt x="1396" y="1850"/>
                  </a:lnTo>
                  <a:lnTo>
                    <a:pt x="1398" y="1866"/>
                  </a:lnTo>
                  <a:lnTo>
                    <a:pt x="1399" y="1881"/>
                  </a:lnTo>
                  <a:lnTo>
                    <a:pt x="1401" y="1913"/>
                  </a:lnTo>
                  <a:lnTo>
                    <a:pt x="1401" y="1950"/>
                  </a:lnTo>
                  <a:lnTo>
                    <a:pt x="1399" y="1975"/>
                  </a:lnTo>
                  <a:lnTo>
                    <a:pt x="1397" y="1998"/>
                  </a:lnTo>
                  <a:lnTo>
                    <a:pt x="1395" y="2019"/>
                  </a:lnTo>
                  <a:lnTo>
                    <a:pt x="1392" y="2045"/>
                  </a:lnTo>
                  <a:lnTo>
                    <a:pt x="1399" y="2048"/>
                  </a:lnTo>
                  <a:lnTo>
                    <a:pt x="1406" y="2051"/>
                  </a:lnTo>
                  <a:lnTo>
                    <a:pt x="1421" y="2050"/>
                  </a:lnTo>
                  <a:lnTo>
                    <a:pt x="1433" y="2047"/>
                  </a:lnTo>
                  <a:lnTo>
                    <a:pt x="1445" y="2045"/>
                  </a:lnTo>
                  <a:lnTo>
                    <a:pt x="1457" y="2042"/>
                  </a:lnTo>
                  <a:lnTo>
                    <a:pt x="1469" y="2039"/>
                  </a:lnTo>
                  <a:lnTo>
                    <a:pt x="1480" y="2037"/>
                  </a:lnTo>
                  <a:lnTo>
                    <a:pt x="1493" y="2034"/>
                  </a:lnTo>
                  <a:lnTo>
                    <a:pt x="1507" y="2033"/>
                  </a:lnTo>
                  <a:lnTo>
                    <a:pt x="1522" y="2034"/>
                  </a:lnTo>
                  <a:lnTo>
                    <a:pt x="1534" y="2037"/>
                  </a:lnTo>
                  <a:lnTo>
                    <a:pt x="1545" y="2041"/>
                  </a:lnTo>
                  <a:lnTo>
                    <a:pt x="1556" y="2045"/>
                  </a:lnTo>
                  <a:lnTo>
                    <a:pt x="1579" y="2057"/>
                  </a:lnTo>
                  <a:lnTo>
                    <a:pt x="1603" y="2070"/>
                  </a:lnTo>
                  <a:lnTo>
                    <a:pt x="1631" y="2081"/>
                  </a:lnTo>
                  <a:lnTo>
                    <a:pt x="1658" y="2091"/>
                  </a:lnTo>
                  <a:lnTo>
                    <a:pt x="1664" y="2093"/>
                  </a:lnTo>
                  <a:lnTo>
                    <a:pt x="1670" y="2096"/>
                  </a:lnTo>
                  <a:lnTo>
                    <a:pt x="1675" y="2100"/>
                  </a:lnTo>
                  <a:lnTo>
                    <a:pt x="1678" y="2105"/>
                  </a:lnTo>
                  <a:lnTo>
                    <a:pt x="1682" y="2109"/>
                  </a:lnTo>
                  <a:lnTo>
                    <a:pt x="1685" y="2114"/>
                  </a:lnTo>
                  <a:lnTo>
                    <a:pt x="1686" y="2121"/>
                  </a:lnTo>
                  <a:lnTo>
                    <a:pt x="1687" y="2127"/>
                  </a:lnTo>
                  <a:lnTo>
                    <a:pt x="1686" y="2147"/>
                  </a:lnTo>
                  <a:lnTo>
                    <a:pt x="1682" y="2164"/>
                  </a:lnTo>
                  <a:lnTo>
                    <a:pt x="1679" y="2180"/>
                  </a:lnTo>
                  <a:lnTo>
                    <a:pt x="1675" y="2195"/>
                  </a:lnTo>
                  <a:lnTo>
                    <a:pt x="1670" y="2212"/>
                  </a:lnTo>
                  <a:lnTo>
                    <a:pt x="1665" y="2227"/>
                  </a:lnTo>
                  <a:lnTo>
                    <a:pt x="1661" y="2244"/>
                  </a:lnTo>
                  <a:lnTo>
                    <a:pt x="1659" y="2263"/>
                  </a:lnTo>
                  <a:lnTo>
                    <a:pt x="1671" y="2263"/>
                  </a:lnTo>
                  <a:lnTo>
                    <a:pt x="1682" y="2263"/>
                  </a:lnTo>
                  <a:lnTo>
                    <a:pt x="1693" y="2263"/>
                  </a:lnTo>
                  <a:lnTo>
                    <a:pt x="1705" y="2263"/>
                  </a:lnTo>
                  <a:lnTo>
                    <a:pt x="1719" y="2261"/>
                  </a:lnTo>
                  <a:lnTo>
                    <a:pt x="1733" y="2258"/>
                  </a:lnTo>
                  <a:lnTo>
                    <a:pt x="1749" y="2258"/>
                  </a:lnTo>
                  <a:lnTo>
                    <a:pt x="1763" y="2260"/>
                  </a:lnTo>
                  <a:lnTo>
                    <a:pt x="1778" y="2261"/>
                  </a:lnTo>
                  <a:lnTo>
                    <a:pt x="1794" y="2263"/>
                  </a:lnTo>
                  <a:lnTo>
                    <a:pt x="1796" y="2282"/>
                  </a:lnTo>
                  <a:lnTo>
                    <a:pt x="1800" y="2299"/>
                  </a:lnTo>
                  <a:lnTo>
                    <a:pt x="1805" y="2315"/>
                  </a:lnTo>
                  <a:lnTo>
                    <a:pt x="1810" y="2330"/>
                  </a:lnTo>
                  <a:lnTo>
                    <a:pt x="1822" y="2361"/>
                  </a:lnTo>
                  <a:lnTo>
                    <a:pt x="1836" y="2394"/>
                  </a:lnTo>
                  <a:lnTo>
                    <a:pt x="1836" y="2394"/>
                  </a:lnTo>
                  <a:lnTo>
                    <a:pt x="1842" y="2391"/>
                  </a:lnTo>
                  <a:lnTo>
                    <a:pt x="1848" y="2386"/>
                  </a:lnTo>
                  <a:lnTo>
                    <a:pt x="1853" y="2382"/>
                  </a:lnTo>
                  <a:lnTo>
                    <a:pt x="1857" y="2377"/>
                  </a:lnTo>
                  <a:lnTo>
                    <a:pt x="1862" y="2371"/>
                  </a:lnTo>
                  <a:lnTo>
                    <a:pt x="1864" y="2365"/>
                  </a:lnTo>
                  <a:lnTo>
                    <a:pt x="1865" y="2358"/>
                  </a:lnTo>
                  <a:lnTo>
                    <a:pt x="1866" y="2351"/>
                  </a:lnTo>
                  <a:lnTo>
                    <a:pt x="1866" y="2343"/>
                  </a:lnTo>
                  <a:lnTo>
                    <a:pt x="1865" y="2337"/>
                  </a:lnTo>
                  <a:lnTo>
                    <a:pt x="1864" y="2330"/>
                  </a:lnTo>
                  <a:lnTo>
                    <a:pt x="1862" y="2324"/>
                  </a:lnTo>
                  <a:lnTo>
                    <a:pt x="1857" y="2313"/>
                  </a:lnTo>
                  <a:lnTo>
                    <a:pt x="1852" y="2300"/>
                  </a:lnTo>
                  <a:lnTo>
                    <a:pt x="1861" y="2299"/>
                  </a:lnTo>
                  <a:lnTo>
                    <a:pt x="1867" y="2297"/>
                  </a:lnTo>
                  <a:lnTo>
                    <a:pt x="1875" y="2295"/>
                  </a:lnTo>
                  <a:lnTo>
                    <a:pt x="1881" y="2291"/>
                  </a:lnTo>
                  <a:lnTo>
                    <a:pt x="1892" y="2284"/>
                  </a:lnTo>
                  <a:lnTo>
                    <a:pt x="1903" y="2274"/>
                  </a:lnTo>
                  <a:lnTo>
                    <a:pt x="1913" y="2263"/>
                  </a:lnTo>
                  <a:lnTo>
                    <a:pt x="1922" y="2253"/>
                  </a:lnTo>
                  <a:lnTo>
                    <a:pt x="1934" y="2243"/>
                  </a:lnTo>
                  <a:lnTo>
                    <a:pt x="1947" y="2233"/>
                  </a:lnTo>
                  <a:lnTo>
                    <a:pt x="1978" y="2213"/>
                  </a:lnTo>
                  <a:lnTo>
                    <a:pt x="2008" y="2195"/>
                  </a:lnTo>
                  <a:lnTo>
                    <a:pt x="2033" y="2178"/>
                  </a:lnTo>
                  <a:lnTo>
                    <a:pt x="2059" y="2162"/>
                  </a:lnTo>
                  <a:lnTo>
                    <a:pt x="2086" y="2147"/>
                  </a:lnTo>
                  <a:lnTo>
                    <a:pt x="2113" y="2131"/>
                  </a:lnTo>
                  <a:lnTo>
                    <a:pt x="2143" y="2113"/>
                  </a:lnTo>
                  <a:lnTo>
                    <a:pt x="2174" y="2095"/>
                  </a:lnTo>
                  <a:lnTo>
                    <a:pt x="2193" y="2084"/>
                  </a:lnTo>
                  <a:lnTo>
                    <a:pt x="2212" y="2073"/>
                  </a:lnTo>
                  <a:lnTo>
                    <a:pt x="2228" y="2061"/>
                  </a:lnTo>
                  <a:lnTo>
                    <a:pt x="2243" y="2051"/>
                  </a:lnTo>
                  <a:lnTo>
                    <a:pt x="2273" y="2028"/>
                  </a:lnTo>
                  <a:lnTo>
                    <a:pt x="2301" y="2005"/>
                  </a:lnTo>
                  <a:lnTo>
                    <a:pt x="2329" y="1983"/>
                  </a:lnTo>
                  <a:lnTo>
                    <a:pt x="2360" y="1962"/>
                  </a:lnTo>
                  <a:lnTo>
                    <a:pt x="2376" y="1952"/>
                  </a:lnTo>
                  <a:lnTo>
                    <a:pt x="2393" y="1943"/>
                  </a:lnTo>
                  <a:lnTo>
                    <a:pt x="2412" y="1933"/>
                  </a:lnTo>
                  <a:lnTo>
                    <a:pt x="2432" y="1924"/>
                  </a:lnTo>
                  <a:lnTo>
                    <a:pt x="2444" y="1919"/>
                  </a:lnTo>
                  <a:lnTo>
                    <a:pt x="2454" y="1912"/>
                  </a:lnTo>
                  <a:lnTo>
                    <a:pt x="2462" y="1906"/>
                  </a:lnTo>
                  <a:lnTo>
                    <a:pt x="2471" y="1898"/>
                  </a:lnTo>
                  <a:lnTo>
                    <a:pt x="2478" y="1892"/>
                  </a:lnTo>
                  <a:lnTo>
                    <a:pt x="2488" y="1888"/>
                  </a:lnTo>
                  <a:lnTo>
                    <a:pt x="2494" y="1885"/>
                  </a:lnTo>
                  <a:lnTo>
                    <a:pt x="2499" y="1883"/>
                  </a:lnTo>
                  <a:lnTo>
                    <a:pt x="2504" y="1883"/>
                  </a:lnTo>
                  <a:lnTo>
                    <a:pt x="2511" y="1882"/>
                  </a:lnTo>
                  <a:lnTo>
                    <a:pt x="2520" y="1883"/>
                  </a:lnTo>
                  <a:lnTo>
                    <a:pt x="2527" y="1886"/>
                  </a:lnTo>
                  <a:lnTo>
                    <a:pt x="2536" y="1890"/>
                  </a:lnTo>
                  <a:lnTo>
                    <a:pt x="2544" y="1891"/>
                  </a:lnTo>
                  <a:lnTo>
                    <a:pt x="2553" y="1891"/>
                  </a:lnTo>
                  <a:lnTo>
                    <a:pt x="2561" y="1890"/>
                  </a:lnTo>
                  <a:lnTo>
                    <a:pt x="2568" y="1888"/>
                  </a:lnTo>
                  <a:lnTo>
                    <a:pt x="2576" y="1885"/>
                  </a:lnTo>
                  <a:lnTo>
                    <a:pt x="2589" y="1879"/>
                  </a:lnTo>
                  <a:lnTo>
                    <a:pt x="2601" y="1870"/>
                  </a:lnTo>
                  <a:lnTo>
                    <a:pt x="2624" y="1852"/>
                  </a:lnTo>
                  <a:lnTo>
                    <a:pt x="2651" y="1832"/>
                  </a:lnTo>
                  <a:lnTo>
                    <a:pt x="2664" y="1824"/>
                  </a:lnTo>
                  <a:lnTo>
                    <a:pt x="2676" y="1817"/>
                  </a:lnTo>
                  <a:lnTo>
                    <a:pt x="2689" y="1812"/>
                  </a:lnTo>
                  <a:lnTo>
                    <a:pt x="2701" y="1808"/>
                  </a:lnTo>
                  <a:lnTo>
                    <a:pt x="2714" y="1805"/>
                  </a:lnTo>
                  <a:lnTo>
                    <a:pt x="2727" y="1803"/>
                  </a:lnTo>
                  <a:lnTo>
                    <a:pt x="2741" y="1801"/>
                  </a:lnTo>
                  <a:lnTo>
                    <a:pt x="2756" y="1801"/>
                  </a:lnTo>
                  <a:lnTo>
                    <a:pt x="2764" y="1801"/>
                  </a:lnTo>
                  <a:lnTo>
                    <a:pt x="2770" y="1802"/>
                  </a:lnTo>
                  <a:lnTo>
                    <a:pt x="2777" y="1804"/>
                  </a:lnTo>
                  <a:lnTo>
                    <a:pt x="2783" y="1807"/>
                  </a:lnTo>
                  <a:lnTo>
                    <a:pt x="2794" y="1812"/>
                  </a:lnTo>
                  <a:lnTo>
                    <a:pt x="2805" y="1818"/>
                  </a:lnTo>
                  <a:lnTo>
                    <a:pt x="2815" y="1824"/>
                  </a:lnTo>
                  <a:lnTo>
                    <a:pt x="2827" y="1829"/>
                  </a:lnTo>
                  <a:lnTo>
                    <a:pt x="2834" y="1831"/>
                  </a:lnTo>
                  <a:lnTo>
                    <a:pt x="2840" y="1834"/>
                  </a:lnTo>
                  <a:lnTo>
                    <a:pt x="2847" y="1835"/>
                  </a:lnTo>
                  <a:lnTo>
                    <a:pt x="2854" y="1835"/>
                  </a:lnTo>
                  <a:lnTo>
                    <a:pt x="2873" y="1835"/>
                  </a:lnTo>
                  <a:lnTo>
                    <a:pt x="2889" y="1834"/>
                  </a:lnTo>
                  <a:lnTo>
                    <a:pt x="2898" y="1832"/>
                  </a:lnTo>
                  <a:lnTo>
                    <a:pt x="2905" y="1829"/>
                  </a:lnTo>
                  <a:lnTo>
                    <a:pt x="2913" y="1826"/>
                  </a:lnTo>
                  <a:lnTo>
                    <a:pt x="2920" y="1821"/>
                  </a:lnTo>
                  <a:lnTo>
                    <a:pt x="2927" y="1814"/>
                  </a:lnTo>
                  <a:lnTo>
                    <a:pt x="2932" y="1808"/>
                  </a:lnTo>
                  <a:lnTo>
                    <a:pt x="2936" y="1800"/>
                  </a:lnTo>
                  <a:lnTo>
                    <a:pt x="2940" y="1792"/>
                  </a:lnTo>
                  <a:lnTo>
                    <a:pt x="2944" y="1785"/>
                  </a:lnTo>
                  <a:lnTo>
                    <a:pt x="2947" y="1778"/>
                  </a:lnTo>
                  <a:lnTo>
                    <a:pt x="2953" y="1771"/>
                  </a:lnTo>
                  <a:lnTo>
                    <a:pt x="2959" y="1764"/>
                  </a:lnTo>
                  <a:lnTo>
                    <a:pt x="2971" y="1755"/>
                  </a:lnTo>
                  <a:lnTo>
                    <a:pt x="2984" y="1746"/>
                  </a:lnTo>
                  <a:lnTo>
                    <a:pt x="2996" y="1740"/>
                  </a:lnTo>
                  <a:lnTo>
                    <a:pt x="3008" y="1734"/>
                  </a:lnTo>
                  <a:lnTo>
                    <a:pt x="3020" y="1730"/>
                  </a:lnTo>
                  <a:lnTo>
                    <a:pt x="3033" y="1727"/>
                  </a:lnTo>
                  <a:lnTo>
                    <a:pt x="3048" y="1723"/>
                  </a:lnTo>
                  <a:lnTo>
                    <a:pt x="3063" y="1720"/>
                  </a:lnTo>
                  <a:lnTo>
                    <a:pt x="3076" y="1714"/>
                  </a:lnTo>
                  <a:lnTo>
                    <a:pt x="3089" y="1708"/>
                  </a:lnTo>
                  <a:lnTo>
                    <a:pt x="3103" y="1708"/>
                  </a:lnTo>
                  <a:lnTo>
                    <a:pt x="3116" y="1708"/>
                  </a:lnTo>
                  <a:lnTo>
                    <a:pt x="3129" y="1708"/>
                  </a:lnTo>
                  <a:lnTo>
                    <a:pt x="3144" y="1708"/>
                  </a:lnTo>
                  <a:lnTo>
                    <a:pt x="3148" y="1708"/>
                  </a:lnTo>
                  <a:lnTo>
                    <a:pt x="3152" y="1709"/>
                  </a:lnTo>
                  <a:lnTo>
                    <a:pt x="3152" y="1709"/>
                  </a:lnTo>
                  <a:lnTo>
                    <a:pt x="3151" y="1704"/>
                  </a:lnTo>
                  <a:lnTo>
                    <a:pt x="3149" y="1700"/>
                  </a:lnTo>
                  <a:lnTo>
                    <a:pt x="3150" y="1689"/>
                  </a:lnTo>
                  <a:lnTo>
                    <a:pt x="3151" y="1679"/>
                  </a:lnTo>
                  <a:lnTo>
                    <a:pt x="3154" y="1669"/>
                  </a:lnTo>
                  <a:lnTo>
                    <a:pt x="3156" y="1661"/>
                  </a:lnTo>
                  <a:lnTo>
                    <a:pt x="3160" y="1642"/>
                  </a:lnTo>
                  <a:lnTo>
                    <a:pt x="3163" y="1622"/>
                  </a:lnTo>
                  <a:lnTo>
                    <a:pt x="3166" y="1602"/>
                  </a:lnTo>
                  <a:lnTo>
                    <a:pt x="3170" y="1585"/>
                  </a:lnTo>
                  <a:lnTo>
                    <a:pt x="3173" y="1578"/>
                  </a:lnTo>
                  <a:lnTo>
                    <a:pt x="3176" y="1570"/>
                  </a:lnTo>
                  <a:lnTo>
                    <a:pt x="3182" y="1564"/>
                  </a:lnTo>
                  <a:lnTo>
                    <a:pt x="3189" y="1557"/>
                  </a:lnTo>
                  <a:lnTo>
                    <a:pt x="3201" y="1548"/>
                  </a:lnTo>
                  <a:lnTo>
                    <a:pt x="3213" y="1540"/>
                  </a:lnTo>
                  <a:lnTo>
                    <a:pt x="3226" y="1533"/>
                  </a:lnTo>
                  <a:lnTo>
                    <a:pt x="3238" y="1526"/>
                  </a:lnTo>
                  <a:lnTo>
                    <a:pt x="3250" y="1520"/>
                  </a:lnTo>
                  <a:lnTo>
                    <a:pt x="3260" y="1515"/>
                  </a:lnTo>
                  <a:lnTo>
                    <a:pt x="3273" y="1511"/>
                  </a:lnTo>
                  <a:lnTo>
                    <a:pt x="3285" y="1506"/>
                  </a:lnTo>
                  <a:lnTo>
                    <a:pt x="3297" y="1503"/>
                  </a:lnTo>
                  <a:lnTo>
                    <a:pt x="3310" y="1500"/>
                  </a:lnTo>
                  <a:lnTo>
                    <a:pt x="3323" y="1498"/>
                  </a:lnTo>
                  <a:lnTo>
                    <a:pt x="3336" y="1495"/>
                  </a:lnTo>
                  <a:lnTo>
                    <a:pt x="3363" y="1493"/>
                  </a:lnTo>
                  <a:lnTo>
                    <a:pt x="3393" y="1493"/>
                  </a:lnTo>
                  <a:lnTo>
                    <a:pt x="3393" y="1478"/>
                  </a:lnTo>
                  <a:lnTo>
                    <a:pt x="3393" y="1464"/>
                  </a:lnTo>
                  <a:lnTo>
                    <a:pt x="3393" y="1459"/>
                  </a:lnTo>
                  <a:lnTo>
                    <a:pt x="3391" y="1454"/>
                  </a:lnTo>
                  <a:lnTo>
                    <a:pt x="3389" y="1451"/>
                  </a:lnTo>
                  <a:lnTo>
                    <a:pt x="3386" y="1447"/>
                  </a:lnTo>
                  <a:lnTo>
                    <a:pt x="3379" y="1440"/>
                  </a:lnTo>
                  <a:lnTo>
                    <a:pt x="3372" y="1434"/>
                  </a:lnTo>
                  <a:lnTo>
                    <a:pt x="3364" y="1426"/>
                  </a:lnTo>
                  <a:lnTo>
                    <a:pt x="3358" y="1419"/>
                  </a:lnTo>
                  <a:lnTo>
                    <a:pt x="3353" y="1416"/>
                  </a:lnTo>
                  <a:lnTo>
                    <a:pt x="3349" y="1413"/>
                  </a:lnTo>
                  <a:lnTo>
                    <a:pt x="3345" y="1412"/>
                  </a:lnTo>
                  <a:lnTo>
                    <a:pt x="3339" y="1411"/>
                  </a:lnTo>
                  <a:lnTo>
                    <a:pt x="3325" y="1411"/>
                  </a:lnTo>
                  <a:lnTo>
                    <a:pt x="3312" y="1411"/>
                  </a:lnTo>
                  <a:lnTo>
                    <a:pt x="3299" y="1411"/>
                  </a:lnTo>
                  <a:lnTo>
                    <a:pt x="3285" y="1411"/>
                  </a:lnTo>
                  <a:lnTo>
                    <a:pt x="3258" y="1412"/>
                  </a:lnTo>
                  <a:lnTo>
                    <a:pt x="3231" y="1411"/>
                  </a:lnTo>
                  <a:lnTo>
                    <a:pt x="3226" y="1410"/>
                  </a:lnTo>
                  <a:lnTo>
                    <a:pt x="3220" y="1408"/>
                  </a:lnTo>
                  <a:lnTo>
                    <a:pt x="3215" y="1406"/>
                  </a:lnTo>
                  <a:lnTo>
                    <a:pt x="3211" y="1404"/>
                  </a:lnTo>
                  <a:lnTo>
                    <a:pt x="3208" y="1399"/>
                  </a:lnTo>
                  <a:lnTo>
                    <a:pt x="3205" y="1396"/>
                  </a:lnTo>
                  <a:lnTo>
                    <a:pt x="3203" y="1391"/>
                  </a:lnTo>
                  <a:lnTo>
                    <a:pt x="3203" y="1385"/>
                  </a:lnTo>
                  <a:lnTo>
                    <a:pt x="3203" y="1371"/>
                  </a:lnTo>
                  <a:lnTo>
                    <a:pt x="3204" y="1358"/>
                  </a:lnTo>
                  <a:lnTo>
                    <a:pt x="3206" y="1346"/>
                  </a:lnTo>
                  <a:lnTo>
                    <a:pt x="3210" y="1335"/>
                  </a:lnTo>
                  <a:lnTo>
                    <a:pt x="3213" y="1323"/>
                  </a:lnTo>
                  <a:lnTo>
                    <a:pt x="3218" y="1311"/>
                  </a:lnTo>
                  <a:lnTo>
                    <a:pt x="3224" y="1300"/>
                  </a:lnTo>
                  <a:lnTo>
                    <a:pt x="3231" y="1288"/>
                  </a:lnTo>
                  <a:lnTo>
                    <a:pt x="3231" y="1288"/>
                  </a:lnTo>
                  <a:lnTo>
                    <a:pt x="3216" y="1288"/>
                  </a:lnTo>
                  <a:lnTo>
                    <a:pt x="3201" y="1286"/>
                  </a:lnTo>
                  <a:lnTo>
                    <a:pt x="3188" y="1284"/>
                  </a:lnTo>
                  <a:lnTo>
                    <a:pt x="3175" y="1282"/>
                  </a:lnTo>
                  <a:lnTo>
                    <a:pt x="3161" y="1278"/>
                  </a:lnTo>
                  <a:lnTo>
                    <a:pt x="3148" y="1276"/>
                  </a:lnTo>
                  <a:lnTo>
                    <a:pt x="3133" y="1275"/>
                  </a:lnTo>
                  <a:lnTo>
                    <a:pt x="3118" y="1274"/>
                  </a:lnTo>
                  <a:lnTo>
                    <a:pt x="3097" y="1274"/>
                  </a:lnTo>
                  <a:lnTo>
                    <a:pt x="3080" y="1274"/>
                  </a:lnTo>
                  <a:lnTo>
                    <a:pt x="3062" y="1274"/>
                  </a:lnTo>
                  <a:lnTo>
                    <a:pt x="3041" y="1274"/>
                  </a:lnTo>
                  <a:lnTo>
                    <a:pt x="3031" y="1275"/>
                  </a:lnTo>
                  <a:lnTo>
                    <a:pt x="3022" y="1276"/>
                  </a:lnTo>
                  <a:lnTo>
                    <a:pt x="3012" y="1278"/>
                  </a:lnTo>
                  <a:lnTo>
                    <a:pt x="3003" y="1281"/>
                  </a:lnTo>
                  <a:lnTo>
                    <a:pt x="2987" y="1287"/>
                  </a:lnTo>
                  <a:lnTo>
                    <a:pt x="2972" y="1294"/>
                  </a:lnTo>
                  <a:lnTo>
                    <a:pt x="2957" y="1301"/>
                  </a:lnTo>
                  <a:lnTo>
                    <a:pt x="2941" y="1308"/>
                  </a:lnTo>
                  <a:lnTo>
                    <a:pt x="2932" y="1310"/>
                  </a:lnTo>
                  <a:lnTo>
                    <a:pt x="2922" y="1312"/>
                  </a:lnTo>
                  <a:lnTo>
                    <a:pt x="2914" y="1313"/>
                  </a:lnTo>
                  <a:lnTo>
                    <a:pt x="2903" y="1313"/>
                  </a:lnTo>
                  <a:lnTo>
                    <a:pt x="2890" y="1314"/>
                  </a:lnTo>
                  <a:lnTo>
                    <a:pt x="2878" y="1313"/>
                  </a:lnTo>
                  <a:lnTo>
                    <a:pt x="2873" y="1312"/>
                  </a:lnTo>
                  <a:lnTo>
                    <a:pt x="2867" y="1311"/>
                  </a:lnTo>
                  <a:lnTo>
                    <a:pt x="2861" y="1309"/>
                  </a:lnTo>
                  <a:lnTo>
                    <a:pt x="2855" y="1305"/>
                  </a:lnTo>
                  <a:lnTo>
                    <a:pt x="2850" y="1300"/>
                  </a:lnTo>
                  <a:lnTo>
                    <a:pt x="2847" y="1294"/>
                  </a:lnTo>
                  <a:lnTo>
                    <a:pt x="2845" y="1290"/>
                  </a:lnTo>
                  <a:lnTo>
                    <a:pt x="2842" y="1288"/>
                  </a:lnTo>
                  <a:lnTo>
                    <a:pt x="2839" y="1286"/>
                  </a:lnTo>
                  <a:lnTo>
                    <a:pt x="2836" y="1286"/>
                  </a:lnTo>
                  <a:lnTo>
                    <a:pt x="2831" y="1286"/>
                  </a:lnTo>
                  <a:lnTo>
                    <a:pt x="2825" y="1287"/>
                  </a:lnTo>
                  <a:lnTo>
                    <a:pt x="2820" y="1288"/>
                  </a:lnTo>
                  <a:lnTo>
                    <a:pt x="2815" y="1290"/>
                  </a:lnTo>
                  <a:lnTo>
                    <a:pt x="2808" y="1296"/>
                  </a:lnTo>
                  <a:lnTo>
                    <a:pt x="2801" y="1303"/>
                  </a:lnTo>
                  <a:lnTo>
                    <a:pt x="2795" y="1312"/>
                  </a:lnTo>
                  <a:lnTo>
                    <a:pt x="2790" y="1321"/>
                  </a:lnTo>
                  <a:lnTo>
                    <a:pt x="2784" y="1331"/>
                  </a:lnTo>
                  <a:lnTo>
                    <a:pt x="2780" y="1341"/>
                  </a:lnTo>
                  <a:lnTo>
                    <a:pt x="2776" y="1352"/>
                  </a:lnTo>
                  <a:lnTo>
                    <a:pt x="2770" y="1362"/>
                  </a:lnTo>
                  <a:lnTo>
                    <a:pt x="2765" y="1371"/>
                  </a:lnTo>
                  <a:lnTo>
                    <a:pt x="2758" y="1380"/>
                  </a:lnTo>
                  <a:lnTo>
                    <a:pt x="2752" y="1387"/>
                  </a:lnTo>
                  <a:lnTo>
                    <a:pt x="2744" y="1393"/>
                  </a:lnTo>
                  <a:lnTo>
                    <a:pt x="2739" y="1395"/>
                  </a:lnTo>
                  <a:lnTo>
                    <a:pt x="2734" y="1396"/>
                  </a:lnTo>
                  <a:lnTo>
                    <a:pt x="2729" y="1397"/>
                  </a:lnTo>
                  <a:lnTo>
                    <a:pt x="2724" y="1397"/>
                  </a:lnTo>
                  <a:lnTo>
                    <a:pt x="2700" y="1397"/>
                  </a:lnTo>
                  <a:lnTo>
                    <a:pt x="2676" y="1395"/>
                  </a:lnTo>
                  <a:lnTo>
                    <a:pt x="2664" y="1393"/>
                  </a:lnTo>
                  <a:lnTo>
                    <a:pt x="2652" y="1390"/>
                  </a:lnTo>
                  <a:lnTo>
                    <a:pt x="2642" y="1387"/>
                  </a:lnTo>
                  <a:lnTo>
                    <a:pt x="2631" y="1383"/>
                  </a:lnTo>
                  <a:lnTo>
                    <a:pt x="2621" y="1379"/>
                  </a:lnTo>
                  <a:lnTo>
                    <a:pt x="2611" y="1373"/>
                  </a:lnTo>
                  <a:lnTo>
                    <a:pt x="2604" y="1367"/>
                  </a:lnTo>
                  <a:lnTo>
                    <a:pt x="2597" y="1360"/>
                  </a:lnTo>
                  <a:lnTo>
                    <a:pt x="2591" y="1353"/>
                  </a:lnTo>
                  <a:lnTo>
                    <a:pt x="2588" y="1343"/>
                  </a:lnTo>
                  <a:lnTo>
                    <a:pt x="2584" y="1333"/>
                  </a:lnTo>
                  <a:lnTo>
                    <a:pt x="2583" y="1323"/>
                  </a:lnTo>
                  <a:lnTo>
                    <a:pt x="2583" y="1304"/>
                  </a:lnTo>
                  <a:lnTo>
                    <a:pt x="2583" y="1288"/>
                  </a:lnTo>
                  <a:lnTo>
                    <a:pt x="2583" y="1272"/>
                  </a:lnTo>
                  <a:lnTo>
                    <a:pt x="2583" y="1254"/>
                  </a:lnTo>
                  <a:lnTo>
                    <a:pt x="2583" y="1243"/>
                  </a:lnTo>
                  <a:lnTo>
                    <a:pt x="2582" y="1233"/>
                  </a:lnTo>
                  <a:lnTo>
                    <a:pt x="2580" y="1223"/>
                  </a:lnTo>
                  <a:lnTo>
                    <a:pt x="2577" y="1215"/>
                  </a:lnTo>
                  <a:lnTo>
                    <a:pt x="2572" y="1206"/>
                  </a:lnTo>
                  <a:lnTo>
                    <a:pt x="2568" y="1198"/>
                  </a:lnTo>
                  <a:lnTo>
                    <a:pt x="2561" y="1191"/>
                  </a:lnTo>
                  <a:lnTo>
                    <a:pt x="2553" y="1184"/>
                  </a:lnTo>
                  <a:lnTo>
                    <a:pt x="2537" y="1175"/>
                  </a:lnTo>
                  <a:lnTo>
                    <a:pt x="2521" y="1167"/>
                  </a:lnTo>
                  <a:lnTo>
                    <a:pt x="2514" y="1163"/>
                  </a:lnTo>
                  <a:lnTo>
                    <a:pt x="2508" y="1157"/>
                  </a:lnTo>
                  <a:lnTo>
                    <a:pt x="2502" y="1151"/>
                  </a:lnTo>
                  <a:lnTo>
                    <a:pt x="2497" y="1142"/>
                  </a:lnTo>
                  <a:lnTo>
                    <a:pt x="2606" y="868"/>
                  </a:lnTo>
                  <a:lnTo>
                    <a:pt x="2603" y="840"/>
                  </a:lnTo>
                  <a:lnTo>
                    <a:pt x="2599" y="815"/>
                  </a:lnTo>
                  <a:lnTo>
                    <a:pt x="2597" y="803"/>
                  </a:lnTo>
                  <a:lnTo>
                    <a:pt x="2593" y="792"/>
                  </a:lnTo>
                  <a:lnTo>
                    <a:pt x="2586" y="781"/>
                  </a:lnTo>
                  <a:lnTo>
                    <a:pt x="2578" y="770"/>
                  </a:lnTo>
                  <a:lnTo>
                    <a:pt x="2572" y="764"/>
                  </a:lnTo>
                  <a:lnTo>
                    <a:pt x="2567" y="760"/>
                  </a:lnTo>
                  <a:lnTo>
                    <a:pt x="2561" y="756"/>
                  </a:lnTo>
                  <a:lnTo>
                    <a:pt x="2555" y="754"/>
                  </a:lnTo>
                  <a:lnTo>
                    <a:pt x="2549" y="751"/>
                  </a:lnTo>
                  <a:lnTo>
                    <a:pt x="2542" y="750"/>
                  </a:lnTo>
                  <a:lnTo>
                    <a:pt x="2536" y="749"/>
                  </a:lnTo>
                  <a:lnTo>
                    <a:pt x="2528" y="748"/>
                  </a:lnTo>
                  <a:lnTo>
                    <a:pt x="2500" y="749"/>
                  </a:lnTo>
                  <a:lnTo>
                    <a:pt x="2469" y="747"/>
                  </a:lnTo>
                  <a:lnTo>
                    <a:pt x="2461" y="746"/>
                  </a:lnTo>
                  <a:lnTo>
                    <a:pt x="2454" y="744"/>
                  </a:lnTo>
                  <a:lnTo>
                    <a:pt x="2447" y="742"/>
                  </a:lnTo>
                  <a:lnTo>
                    <a:pt x="2441" y="738"/>
                  </a:lnTo>
                  <a:lnTo>
                    <a:pt x="2434" y="734"/>
                  </a:lnTo>
                  <a:lnTo>
                    <a:pt x="2429" y="731"/>
                  </a:lnTo>
                  <a:lnTo>
                    <a:pt x="2423" y="725"/>
                  </a:lnTo>
                  <a:lnTo>
                    <a:pt x="2419" y="721"/>
                  </a:lnTo>
                  <a:lnTo>
                    <a:pt x="2410" y="709"/>
                  </a:lnTo>
                  <a:lnTo>
                    <a:pt x="2402" y="697"/>
                  </a:lnTo>
                  <a:lnTo>
                    <a:pt x="2394" y="683"/>
                  </a:lnTo>
                  <a:lnTo>
                    <a:pt x="2388" y="669"/>
                  </a:lnTo>
                  <a:lnTo>
                    <a:pt x="2379" y="638"/>
                  </a:lnTo>
                  <a:lnTo>
                    <a:pt x="2373" y="609"/>
                  </a:lnTo>
                  <a:lnTo>
                    <a:pt x="2369" y="595"/>
                  </a:lnTo>
                  <a:lnTo>
                    <a:pt x="2367" y="581"/>
                  </a:lnTo>
                  <a:lnTo>
                    <a:pt x="2365" y="565"/>
                  </a:lnTo>
                  <a:lnTo>
                    <a:pt x="2365" y="548"/>
                  </a:lnTo>
                  <a:lnTo>
                    <a:pt x="2366" y="528"/>
                  </a:lnTo>
                  <a:lnTo>
                    <a:pt x="2368" y="509"/>
                  </a:lnTo>
                  <a:lnTo>
                    <a:pt x="2372" y="492"/>
                  </a:lnTo>
                  <a:lnTo>
                    <a:pt x="2376" y="476"/>
                  </a:lnTo>
                  <a:lnTo>
                    <a:pt x="2380" y="459"/>
                  </a:lnTo>
                  <a:lnTo>
                    <a:pt x="2383" y="441"/>
                  </a:lnTo>
                  <a:lnTo>
                    <a:pt x="2387" y="423"/>
                  </a:lnTo>
                  <a:lnTo>
                    <a:pt x="2388" y="403"/>
                  </a:lnTo>
                  <a:lnTo>
                    <a:pt x="2387" y="396"/>
                  </a:lnTo>
                  <a:lnTo>
                    <a:pt x="2386" y="390"/>
                  </a:lnTo>
                  <a:lnTo>
                    <a:pt x="2383" y="384"/>
                  </a:lnTo>
                  <a:lnTo>
                    <a:pt x="2380" y="379"/>
                  </a:lnTo>
                  <a:lnTo>
                    <a:pt x="2378" y="374"/>
                  </a:lnTo>
                  <a:lnTo>
                    <a:pt x="2376" y="368"/>
                  </a:lnTo>
                  <a:lnTo>
                    <a:pt x="2374" y="363"/>
                  </a:lnTo>
                  <a:lnTo>
                    <a:pt x="2374" y="356"/>
                  </a:lnTo>
                  <a:lnTo>
                    <a:pt x="2374" y="337"/>
                  </a:lnTo>
                  <a:lnTo>
                    <a:pt x="2374" y="320"/>
                  </a:lnTo>
                  <a:lnTo>
                    <a:pt x="2374" y="303"/>
                  </a:lnTo>
                  <a:lnTo>
                    <a:pt x="2374" y="285"/>
                  </a:lnTo>
                  <a:lnTo>
                    <a:pt x="2373" y="274"/>
                  </a:lnTo>
                  <a:lnTo>
                    <a:pt x="2372" y="263"/>
                  </a:lnTo>
                  <a:lnTo>
                    <a:pt x="2369" y="252"/>
                  </a:lnTo>
                  <a:lnTo>
                    <a:pt x="2366" y="243"/>
                  </a:lnTo>
                  <a:lnTo>
                    <a:pt x="2363" y="233"/>
                  </a:lnTo>
                  <a:lnTo>
                    <a:pt x="2359" y="224"/>
                  </a:lnTo>
                  <a:lnTo>
                    <a:pt x="2353" y="215"/>
                  </a:lnTo>
                  <a:lnTo>
                    <a:pt x="2348" y="207"/>
                  </a:lnTo>
                  <a:lnTo>
                    <a:pt x="2340" y="199"/>
                  </a:lnTo>
                  <a:lnTo>
                    <a:pt x="2334" y="193"/>
                  </a:lnTo>
                  <a:lnTo>
                    <a:pt x="2326" y="188"/>
                  </a:lnTo>
                  <a:lnTo>
                    <a:pt x="2318" y="182"/>
                  </a:lnTo>
                  <a:lnTo>
                    <a:pt x="2308" y="178"/>
                  </a:lnTo>
                  <a:lnTo>
                    <a:pt x="2299" y="176"/>
                  </a:lnTo>
                  <a:lnTo>
                    <a:pt x="2288" y="174"/>
                  </a:lnTo>
                  <a:lnTo>
                    <a:pt x="2278" y="172"/>
                  </a:lnTo>
                  <a:lnTo>
                    <a:pt x="2266" y="174"/>
                  </a:lnTo>
                  <a:lnTo>
                    <a:pt x="2255" y="175"/>
                  </a:lnTo>
                  <a:lnTo>
                    <a:pt x="2245" y="177"/>
                  </a:lnTo>
                  <a:lnTo>
                    <a:pt x="2235" y="179"/>
                  </a:lnTo>
                  <a:lnTo>
                    <a:pt x="2226" y="180"/>
                  </a:lnTo>
                  <a:lnTo>
                    <a:pt x="2215" y="182"/>
                  </a:lnTo>
                  <a:lnTo>
                    <a:pt x="2204" y="183"/>
                  </a:lnTo>
                  <a:lnTo>
                    <a:pt x="2192" y="184"/>
                  </a:lnTo>
                  <a:lnTo>
                    <a:pt x="2186" y="183"/>
                  </a:lnTo>
                  <a:lnTo>
                    <a:pt x="2179" y="182"/>
                  </a:lnTo>
                  <a:lnTo>
                    <a:pt x="2173" y="180"/>
                  </a:lnTo>
                  <a:lnTo>
                    <a:pt x="2166" y="179"/>
                  </a:lnTo>
                  <a:lnTo>
                    <a:pt x="2161" y="177"/>
                  </a:lnTo>
                  <a:lnTo>
                    <a:pt x="2154" y="175"/>
                  </a:lnTo>
                  <a:lnTo>
                    <a:pt x="2148" y="174"/>
                  </a:lnTo>
                  <a:lnTo>
                    <a:pt x="2140" y="172"/>
                  </a:lnTo>
                  <a:lnTo>
                    <a:pt x="2134" y="174"/>
                  </a:lnTo>
                  <a:lnTo>
                    <a:pt x="2127" y="175"/>
                  </a:lnTo>
                  <a:lnTo>
                    <a:pt x="2122" y="177"/>
                  </a:lnTo>
                  <a:lnTo>
                    <a:pt x="2116" y="179"/>
                  </a:lnTo>
                  <a:lnTo>
                    <a:pt x="2106" y="185"/>
                  </a:lnTo>
                  <a:lnTo>
                    <a:pt x="2096" y="193"/>
                  </a:lnTo>
                  <a:lnTo>
                    <a:pt x="2086" y="199"/>
                  </a:lnTo>
                  <a:lnTo>
                    <a:pt x="2076" y="206"/>
                  </a:lnTo>
                  <a:lnTo>
                    <a:pt x="2070" y="208"/>
                  </a:lnTo>
                  <a:lnTo>
                    <a:pt x="2064" y="210"/>
                  </a:lnTo>
                  <a:lnTo>
                    <a:pt x="2058" y="211"/>
                  </a:lnTo>
                  <a:lnTo>
                    <a:pt x="2051" y="212"/>
                  </a:lnTo>
                  <a:lnTo>
                    <a:pt x="2039" y="211"/>
                  </a:lnTo>
                  <a:lnTo>
                    <a:pt x="2028" y="210"/>
                  </a:lnTo>
                  <a:lnTo>
                    <a:pt x="2017" y="208"/>
                  </a:lnTo>
                  <a:lnTo>
                    <a:pt x="2008" y="207"/>
                  </a:lnTo>
                  <a:lnTo>
                    <a:pt x="1998" y="205"/>
                  </a:lnTo>
                  <a:lnTo>
                    <a:pt x="1987" y="203"/>
                  </a:lnTo>
                  <a:lnTo>
                    <a:pt x="1976" y="202"/>
                  </a:lnTo>
                  <a:lnTo>
                    <a:pt x="1964" y="201"/>
                  </a:lnTo>
                  <a:lnTo>
                    <a:pt x="1927" y="202"/>
                  </a:lnTo>
                  <a:lnTo>
                    <a:pt x="1893" y="205"/>
                  </a:lnTo>
                  <a:lnTo>
                    <a:pt x="1876" y="207"/>
                  </a:lnTo>
                  <a:lnTo>
                    <a:pt x="1861" y="210"/>
                  </a:lnTo>
                  <a:lnTo>
                    <a:pt x="1846" y="214"/>
                  </a:lnTo>
                  <a:lnTo>
                    <a:pt x="1830" y="217"/>
                  </a:lnTo>
                  <a:lnTo>
                    <a:pt x="1815" y="222"/>
                  </a:lnTo>
                  <a:lnTo>
                    <a:pt x="1800" y="228"/>
                  </a:lnTo>
                  <a:lnTo>
                    <a:pt x="1785" y="233"/>
                  </a:lnTo>
                  <a:lnTo>
                    <a:pt x="1770" y="239"/>
                  </a:lnTo>
                  <a:lnTo>
                    <a:pt x="1739" y="256"/>
                  </a:lnTo>
                  <a:lnTo>
                    <a:pt x="1706" y="274"/>
                  </a:lnTo>
                  <a:lnTo>
                    <a:pt x="1702" y="264"/>
                  </a:lnTo>
                  <a:lnTo>
                    <a:pt x="1699" y="253"/>
                  </a:lnTo>
                  <a:lnTo>
                    <a:pt x="1693" y="245"/>
                  </a:lnTo>
                  <a:lnTo>
                    <a:pt x="1688" y="236"/>
                  </a:lnTo>
                  <a:lnTo>
                    <a:pt x="1682" y="229"/>
                  </a:lnTo>
                  <a:lnTo>
                    <a:pt x="1675" y="223"/>
                  </a:lnTo>
                  <a:lnTo>
                    <a:pt x="1671" y="221"/>
                  </a:lnTo>
                  <a:lnTo>
                    <a:pt x="1666" y="219"/>
                  </a:lnTo>
                  <a:lnTo>
                    <a:pt x="1661" y="218"/>
                  </a:lnTo>
                  <a:lnTo>
                    <a:pt x="1655" y="218"/>
                  </a:lnTo>
                  <a:lnTo>
                    <a:pt x="1650" y="218"/>
                  </a:lnTo>
                  <a:lnTo>
                    <a:pt x="1646" y="219"/>
                  </a:lnTo>
                  <a:lnTo>
                    <a:pt x="1641" y="221"/>
                  </a:lnTo>
                  <a:lnTo>
                    <a:pt x="1637" y="223"/>
                  </a:lnTo>
                  <a:lnTo>
                    <a:pt x="1630" y="230"/>
                  </a:lnTo>
                  <a:lnTo>
                    <a:pt x="1622" y="236"/>
                  </a:lnTo>
                  <a:lnTo>
                    <a:pt x="1616" y="243"/>
                  </a:lnTo>
                  <a:lnTo>
                    <a:pt x="1608" y="248"/>
                  </a:lnTo>
                  <a:lnTo>
                    <a:pt x="1604" y="251"/>
                  </a:lnTo>
                  <a:lnTo>
                    <a:pt x="1599" y="252"/>
                  </a:lnTo>
                  <a:lnTo>
                    <a:pt x="1594" y="253"/>
                  </a:lnTo>
                  <a:lnTo>
                    <a:pt x="1589" y="255"/>
                  </a:lnTo>
                  <a:lnTo>
                    <a:pt x="1583" y="253"/>
                  </a:lnTo>
                  <a:lnTo>
                    <a:pt x="1580" y="251"/>
                  </a:lnTo>
                  <a:lnTo>
                    <a:pt x="1576" y="248"/>
                  </a:lnTo>
                  <a:lnTo>
                    <a:pt x="1573" y="245"/>
                  </a:lnTo>
                  <a:lnTo>
                    <a:pt x="1568" y="235"/>
                  </a:lnTo>
                  <a:lnTo>
                    <a:pt x="1564" y="226"/>
                  </a:lnTo>
                  <a:lnTo>
                    <a:pt x="1558" y="219"/>
                  </a:lnTo>
                  <a:lnTo>
                    <a:pt x="1553" y="212"/>
                  </a:lnTo>
                  <a:lnTo>
                    <a:pt x="1551" y="210"/>
                  </a:lnTo>
                  <a:lnTo>
                    <a:pt x="1549" y="206"/>
                  </a:lnTo>
                  <a:lnTo>
                    <a:pt x="1547" y="203"/>
                  </a:lnTo>
                  <a:lnTo>
                    <a:pt x="1546" y="198"/>
                  </a:lnTo>
                  <a:lnTo>
                    <a:pt x="1547" y="187"/>
                  </a:lnTo>
                  <a:lnTo>
                    <a:pt x="1549" y="177"/>
                  </a:lnTo>
                  <a:lnTo>
                    <a:pt x="1551" y="167"/>
                  </a:lnTo>
                  <a:lnTo>
                    <a:pt x="1554" y="157"/>
                  </a:lnTo>
                  <a:lnTo>
                    <a:pt x="1556" y="149"/>
                  </a:lnTo>
                  <a:lnTo>
                    <a:pt x="1558" y="139"/>
                  </a:lnTo>
                  <a:lnTo>
                    <a:pt x="1560" y="128"/>
                  </a:lnTo>
                  <a:lnTo>
                    <a:pt x="1560" y="116"/>
                  </a:lnTo>
                  <a:lnTo>
                    <a:pt x="1560" y="109"/>
                  </a:lnTo>
                  <a:lnTo>
                    <a:pt x="1558" y="100"/>
                  </a:lnTo>
                  <a:lnTo>
                    <a:pt x="1555" y="91"/>
                  </a:lnTo>
                  <a:lnTo>
                    <a:pt x="1552" y="84"/>
                  </a:lnTo>
                  <a:lnTo>
                    <a:pt x="1546" y="77"/>
                  </a:lnTo>
                  <a:lnTo>
                    <a:pt x="1541" y="71"/>
                  </a:lnTo>
                  <a:lnTo>
                    <a:pt x="1534" y="66"/>
                  </a:lnTo>
                  <a:lnTo>
                    <a:pt x="1527" y="61"/>
                  </a:lnTo>
                  <a:lnTo>
                    <a:pt x="1515" y="58"/>
                  </a:lnTo>
                  <a:lnTo>
                    <a:pt x="1504" y="55"/>
                  </a:lnTo>
                  <a:lnTo>
                    <a:pt x="1493" y="53"/>
                  </a:lnTo>
                  <a:lnTo>
                    <a:pt x="1482" y="49"/>
                  </a:lnTo>
                  <a:lnTo>
                    <a:pt x="1469" y="47"/>
                  </a:lnTo>
                  <a:lnTo>
                    <a:pt x="1456" y="45"/>
                  </a:lnTo>
                  <a:lnTo>
                    <a:pt x="1444" y="44"/>
                  </a:lnTo>
                  <a:lnTo>
                    <a:pt x="1432" y="44"/>
                  </a:lnTo>
                  <a:lnTo>
                    <a:pt x="1408" y="44"/>
                  </a:lnTo>
                  <a:lnTo>
                    <a:pt x="1381" y="44"/>
                  </a:lnTo>
                  <a:lnTo>
                    <a:pt x="1341" y="45"/>
                  </a:lnTo>
                  <a:lnTo>
                    <a:pt x="1307" y="46"/>
                  </a:lnTo>
                  <a:lnTo>
                    <a:pt x="1272" y="48"/>
                  </a:lnTo>
                  <a:lnTo>
                    <a:pt x="1233" y="49"/>
                  </a:lnTo>
                  <a:lnTo>
                    <a:pt x="1198" y="44"/>
                  </a:lnTo>
                  <a:lnTo>
                    <a:pt x="1166" y="40"/>
                  </a:lnTo>
                  <a:lnTo>
                    <a:pt x="1152" y="36"/>
                  </a:lnTo>
                  <a:lnTo>
                    <a:pt x="1136" y="33"/>
                  </a:lnTo>
                  <a:lnTo>
                    <a:pt x="1121" y="28"/>
                  </a:lnTo>
                  <a:lnTo>
                    <a:pt x="1104" y="21"/>
                  </a:lnTo>
                  <a:lnTo>
                    <a:pt x="1090" y="14"/>
                  </a:lnTo>
                  <a:lnTo>
                    <a:pt x="1077" y="6"/>
                  </a:lnTo>
                  <a:lnTo>
                    <a:pt x="1070" y="4"/>
                  </a:lnTo>
                  <a:lnTo>
                    <a:pt x="1064" y="1"/>
                  </a:lnTo>
                  <a:lnTo>
                    <a:pt x="1056" y="0"/>
                  </a:lnTo>
                  <a:lnTo>
                    <a:pt x="1047" y="0"/>
                  </a:lnTo>
                  <a:lnTo>
                    <a:pt x="1032" y="0"/>
                  </a:lnTo>
                  <a:lnTo>
                    <a:pt x="1018" y="3"/>
                  </a:lnTo>
                  <a:lnTo>
                    <a:pt x="1004" y="7"/>
                  </a:lnTo>
                  <a:lnTo>
                    <a:pt x="992" y="14"/>
                  </a:lnTo>
                  <a:lnTo>
                    <a:pt x="980" y="21"/>
                  </a:lnTo>
                  <a:lnTo>
                    <a:pt x="970" y="31"/>
                  </a:lnTo>
                  <a:lnTo>
                    <a:pt x="960" y="43"/>
                  </a:lnTo>
                  <a:lnTo>
                    <a:pt x="951" y="55"/>
                  </a:lnTo>
                  <a:lnTo>
                    <a:pt x="951" y="55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 59">
              <a:extLst>
                <a:ext uri="{FF2B5EF4-FFF2-40B4-BE49-F238E27FC236}">
                  <a16:creationId xmlns:a16="http://schemas.microsoft.com/office/drawing/2014/main" id="{03999DAA-3757-4C50-A594-CED0AD5BC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0238" y="3913188"/>
              <a:ext cx="1139825" cy="1157288"/>
            </a:xfrm>
            <a:custGeom>
              <a:avLst/>
              <a:gdLst>
                <a:gd name="T0" fmla="*/ 2819 w 2873"/>
                <a:gd name="T1" fmla="*/ 1159 h 2916"/>
                <a:gd name="T2" fmla="*/ 2788 w 2873"/>
                <a:gd name="T3" fmla="*/ 1260 h 2916"/>
                <a:gd name="T4" fmla="*/ 2690 w 2873"/>
                <a:gd name="T5" fmla="*/ 1348 h 2916"/>
                <a:gd name="T6" fmla="*/ 2575 w 2873"/>
                <a:gd name="T7" fmla="*/ 1444 h 2916"/>
                <a:gd name="T8" fmla="*/ 2458 w 2873"/>
                <a:gd name="T9" fmla="*/ 1631 h 2916"/>
                <a:gd name="T10" fmla="*/ 2399 w 2873"/>
                <a:gd name="T11" fmla="*/ 1817 h 2916"/>
                <a:gd name="T12" fmla="*/ 2265 w 2873"/>
                <a:gd name="T13" fmla="*/ 1971 h 2916"/>
                <a:gd name="T14" fmla="*/ 2157 w 2873"/>
                <a:gd name="T15" fmla="*/ 2115 h 2916"/>
                <a:gd name="T16" fmla="*/ 1961 w 2873"/>
                <a:gd name="T17" fmla="*/ 2174 h 2916"/>
                <a:gd name="T18" fmla="*/ 1753 w 2873"/>
                <a:gd name="T19" fmla="*/ 2352 h 2916"/>
                <a:gd name="T20" fmla="*/ 1662 w 2873"/>
                <a:gd name="T21" fmla="*/ 2481 h 2916"/>
                <a:gd name="T22" fmla="*/ 1585 w 2873"/>
                <a:gd name="T23" fmla="*/ 2621 h 2916"/>
                <a:gd name="T24" fmla="*/ 1482 w 2873"/>
                <a:gd name="T25" fmla="*/ 2742 h 2916"/>
                <a:gd name="T26" fmla="*/ 1379 w 2873"/>
                <a:gd name="T27" fmla="*/ 2916 h 2916"/>
                <a:gd name="T28" fmla="*/ 1286 w 2873"/>
                <a:gd name="T29" fmla="*/ 2792 h 2916"/>
                <a:gd name="T30" fmla="*/ 1210 w 2873"/>
                <a:gd name="T31" fmla="*/ 2789 h 2916"/>
                <a:gd name="T32" fmla="*/ 1012 w 2873"/>
                <a:gd name="T33" fmla="*/ 2790 h 2916"/>
                <a:gd name="T34" fmla="*/ 905 w 2873"/>
                <a:gd name="T35" fmla="*/ 2673 h 2916"/>
                <a:gd name="T36" fmla="*/ 884 w 2873"/>
                <a:gd name="T37" fmla="*/ 2520 h 2916"/>
                <a:gd name="T38" fmla="*/ 853 w 2873"/>
                <a:gd name="T39" fmla="*/ 2381 h 2916"/>
                <a:gd name="T40" fmla="*/ 873 w 2873"/>
                <a:gd name="T41" fmla="*/ 2282 h 2916"/>
                <a:gd name="T42" fmla="*/ 870 w 2873"/>
                <a:gd name="T43" fmla="*/ 2125 h 2916"/>
                <a:gd name="T44" fmla="*/ 693 w 2873"/>
                <a:gd name="T45" fmla="*/ 2031 h 2916"/>
                <a:gd name="T46" fmla="*/ 493 w 2873"/>
                <a:gd name="T47" fmla="*/ 2070 h 2916"/>
                <a:gd name="T48" fmla="*/ 363 w 2873"/>
                <a:gd name="T49" fmla="*/ 2021 h 2916"/>
                <a:gd name="T50" fmla="*/ 130 w 2873"/>
                <a:gd name="T51" fmla="*/ 1962 h 2916"/>
                <a:gd name="T52" fmla="*/ 1 w 2873"/>
                <a:gd name="T53" fmla="*/ 1870 h 2916"/>
                <a:gd name="T54" fmla="*/ 67 w 2873"/>
                <a:gd name="T55" fmla="*/ 1686 h 2916"/>
                <a:gd name="T56" fmla="*/ 84 w 2873"/>
                <a:gd name="T57" fmla="*/ 1517 h 2916"/>
                <a:gd name="T58" fmla="*/ 81 w 2873"/>
                <a:gd name="T59" fmla="*/ 1390 h 2916"/>
                <a:gd name="T60" fmla="*/ 36 w 2873"/>
                <a:gd name="T61" fmla="*/ 1312 h 2916"/>
                <a:gd name="T62" fmla="*/ 21 w 2873"/>
                <a:gd name="T63" fmla="*/ 1203 h 2916"/>
                <a:gd name="T64" fmla="*/ 65 w 2873"/>
                <a:gd name="T65" fmla="*/ 1139 h 2916"/>
                <a:gd name="T66" fmla="*/ 110 w 2873"/>
                <a:gd name="T67" fmla="*/ 1029 h 2916"/>
                <a:gd name="T68" fmla="*/ 33 w 2873"/>
                <a:gd name="T69" fmla="*/ 953 h 2916"/>
                <a:gd name="T70" fmla="*/ 95 w 2873"/>
                <a:gd name="T71" fmla="*/ 801 h 2916"/>
                <a:gd name="T72" fmla="*/ 174 w 2873"/>
                <a:gd name="T73" fmla="*/ 593 h 2916"/>
                <a:gd name="T74" fmla="*/ 233 w 2873"/>
                <a:gd name="T75" fmla="*/ 344 h 2916"/>
                <a:gd name="T76" fmla="*/ 258 w 2873"/>
                <a:gd name="T77" fmla="*/ 236 h 2916"/>
                <a:gd name="T78" fmla="*/ 178 w 2873"/>
                <a:gd name="T79" fmla="*/ 68 h 2916"/>
                <a:gd name="T80" fmla="*/ 248 w 2873"/>
                <a:gd name="T81" fmla="*/ 81 h 2916"/>
                <a:gd name="T82" fmla="*/ 389 w 2873"/>
                <a:gd name="T83" fmla="*/ 216 h 2916"/>
                <a:gd name="T84" fmla="*/ 507 w 2873"/>
                <a:gd name="T85" fmla="*/ 175 h 2916"/>
                <a:gd name="T86" fmla="*/ 642 w 2873"/>
                <a:gd name="T87" fmla="*/ 141 h 2916"/>
                <a:gd name="T88" fmla="*/ 689 w 2873"/>
                <a:gd name="T89" fmla="*/ 74 h 2916"/>
                <a:gd name="T90" fmla="*/ 875 w 2873"/>
                <a:gd name="T91" fmla="*/ 16 h 2916"/>
                <a:gd name="T92" fmla="*/ 945 w 2873"/>
                <a:gd name="T93" fmla="*/ 73 h 2916"/>
                <a:gd name="T94" fmla="*/ 1114 w 2873"/>
                <a:gd name="T95" fmla="*/ 122 h 2916"/>
                <a:gd name="T96" fmla="*/ 1201 w 2873"/>
                <a:gd name="T97" fmla="*/ 53 h 2916"/>
                <a:gd name="T98" fmla="*/ 1347 w 2873"/>
                <a:gd name="T99" fmla="*/ 8 h 2916"/>
                <a:gd name="T100" fmla="*/ 1541 w 2873"/>
                <a:gd name="T101" fmla="*/ 33 h 2916"/>
                <a:gd name="T102" fmla="*/ 1692 w 2873"/>
                <a:gd name="T103" fmla="*/ 53 h 2916"/>
                <a:gd name="T104" fmla="*/ 1883 w 2873"/>
                <a:gd name="T105" fmla="*/ 51 h 2916"/>
                <a:gd name="T106" fmla="*/ 1910 w 2873"/>
                <a:gd name="T107" fmla="*/ 132 h 2916"/>
                <a:gd name="T108" fmla="*/ 2028 w 2873"/>
                <a:gd name="T109" fmla="*/ 181 h 2916"/>
                <a:gd name="T110" fmla="*/ 2000 w 2873"/>
                <a:gd name="T111" fmla="*/ 365 h 2916"/>
                <a:gd name="T112" fmla="*/ 2106 w 2873"/>
                <a:gd name="T113" fmla="*/ 440 h 2916"/>
                <a:gd name="T114" fmla="*/ 2295 w 2873"/>
                <a:gd name="T115" fmla="*/ 605 h 2916"/>
                <a:gd name="T116" fmla="*/ 2618 w 2873"/>
                <a:gd name="T117" fmla="*/ 821 h 2916"/>
                <a:gd name="T118" fmla="*/ 2711 w 2873"/>
                <a:gd name="T119" fmla="*/ 915 h 2916"/>
                <a:gd name="T120" fmla="*/ 2873 w 2873"/>
                <a:gd name="T121" fmla="*/ 996 h 2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73" h="2916">
                  <a:moveTo>
                    <a:pt x="2873" y="996"/>
                  </a:moveTo>
                  <a:lnTo>
                    <a:pt x="2858" y="1010"/>
                  </a:lnTo>
                  <a:lnTo>
                    <a:pt x="2846" y="1024"/>
                  </a:lnTo>
                  <a:lnTo>
                    <a:pt x="2835" y="1039"/>
                  </a:lnTo>
                  <a:lnTo>
                    <a:pt x="2827" y="1055"/>
                  </a:lnTo>
                  <a:lnTo>
                    <a:pt x="2821" y="1072"/>
                  </a:lnTo>
                  <a:lnTo>
                    <a:pt x="2817" y="1089"/>
                  </a:lnTo>
                  <a:lnTo>
                    <a:pt x="2814" y="1107"/>
                  </a:lnTo>
                  <a:lnTo>
                    <a:pt x="2813" y="1128"/>
                  </a:lnTo>
                  <a:lnTo>
                    <a:pt x="2814" y="1140"/>
                  </a:lnTo>
                  <a:lnTo>
                    <a:pt x="2817" y="1149"/>
                  </a:lnTo>
                  <a:lnTo>
                    <a:pt x="2819" y="1159"/>
                  </a:lnTo>
                  <a:lnTo>
                    <a:pt x="2822" y="1169"/>
                  </a:lnTo>
                  <a:lnTo>
                    <a:pt x="2824" y="1177"/>
                  </a:lnTo>
                  <a:lnTo>
                    <a:pt x="2826" y="1187"/>
                  </a:lnTo>
                  <a:lnTo>
                    <a:pt x="2827" y="1198"/>
                  </a:lnTo>
                  <a:lnTo>
                    <a:pt x="2826" y="1209"/>
                  </a:lnTo>
                  <a:lnTo>
                    <a:pt x="2826" y="1209"/>
                  </a:lnTo>
                  <a:lnTo>
                    <a:pt x="2822" y="1217"/>
                  </a:lnTo>
                  <a:lnTo>
                    <a:pt x="2819" y="1224"/>
                  </a:lnTo>
                  <a:lnTo>
                    <a:pt x="2814" y="1230"/>
                  </a:lnTo>
                  <a:lnTo>
                    <a:pt x="2809" y="1236"/>
                  </a:lnTo>
                  <a:lnTo>
                    <a:pt x="2799" y="1247"/>
                  </a:lnTo>
                  <a:lnTo>
                    <a:pt x="2788" y="1260"/>
                  </a:lnTo>
                  <a:lnTo>
                    <a:pt x="2778" y="1276"/>
                  </a:lnTo>
                  <a:lnTo>
                    <a:pt x="2769" y="1290"/>
                  </a:lnTo>
                  <a:lnTo>
                    <a:pt x="2765" y="1297"/>
                  </a:lnTo>
                  <a:lnTo>
                    <a:pt x="2759" y="1304"/>
                  </a:lnTo>
                  <a:lnTo>
                    <a:pt x="2754" y="1309"/>
                  </a:lnTo>
                  <a:lnTo>
                    <a:pt x="2746" y="1316"/>
                  </a:lnTo>
                  <a:lnTo>
                    <a:pt x="2738" y="1321"/>
                  </a:lnTo>
                  <a:lnTo>
                    <a:pt x="2729" y="1325"/>
                  </a:lnTo>
                  <a:lnTo>
                    <a:pt x="2721" y="1329"/>
                  </a:lnTo>
                  <a:lnTo>
                    <a:pt x="2713" y="1333"/>
                  </a:lnTo>
                  <a:lnTo>
                    <a:pt x="2700" y="1341"/>
                  </a:lnTo>
                  <a:lnTo>
                    <a:pt x="2690" y="1348"/>
                  </a:lnTo>
                  <a:lnTo>
                    <a:pt x="2680" y="1357"/>
                  </a:lnTo>
                  <a:lnTo>
                    <a:pt x="2667" y="1363"/>
                  </a:lnTo>
                  <a:lnTo>
                    <a:pt x="2657" y="1368"/>
                  </a:lnTo>
                  <a:lnTo>
                    <a:pt x="2645" y="1369"/>
                  </a:lnTo>
                  <a:lnTo>
                    <a:pt x="2634" y="1371"/>
                  </a:lnTo>
                  <a:lnTo>
                    <a:pt x="2623" y="1375"/>
                  </a:lnTo>
                  <a:lnTo>
                    <a:pt x="2612" y="1380"/>
                  </a:lnTo>
                  <a:lnTo>
                    <a:pt x="2605" y="1387"/>
                  </a:lnTo>
                  <a:lnTo>
                    <a:pt x="2598" y="1395"/>
                  </a:lnTo>
                  <a:lnTo>
                    <a:pt x="2592" y="1403"/>
                  </a:lnTo>
                  <a:lnTo>
                    <a:pt x="2583" y="1423"/>
                  </a:lnTo>
                  <a:lnTo>
                    <a:pt x="2575" y="1444"/>
                  </a:lnTo>
                  <a:lnTo>
                    <a:pt x="2565" y="1471"/>
                  </a:lnTo>
                  <a:lnTo>
                    <a:pt x="2557" y="1495"/>
                  </a:lnTo>
                  <a:lnTo>
                    <a:pt x="2548" y="1519"/>
                  </a:lnTo>
                  <a:lnTo>
                    <a:pt x="2536" y="1546"/>
                  </a:lnTo>
                  <a:lnTo>
                    <a:pt x="2527" y="1557"/>
                  </a:lnTo>
                  <a:lnTo>
                    <a:pt x="2520" y="1568"/>
                  </a:lnTo>
                  <a:lnTo>
                    <a:pt x="2514" y="1577"/>
                  </a:lnTo>
                  <a:lnTo>
                    <a:pt x="2510" y="1586"/>
                  </a:lnTo>
                  <a:lnTo>
                    <a:pt x="2504" y="1593"/>
                  </a:lnTo>
                  <a:lnTo>
                    <a:pt x="2497" y="1602"/>
                  </a:lnTo>
                  <a:lnTo>
                    <a:pt x="2476" y="1617"/>
                  </a:lnTo>
                  <a:lnTo>
                    <a:pt x="2458" y="1631"/>
                  </a:lnTo>
                  <a:lnTo>
                    <a:pt x="2449" y="1639"/>
                  </a:lnTo>
                  <a:lnTo>
                    <a:pt x="2442" y="1646"/>
                  </a:lnTo>
                  <a:lnTo>
                    <a:pt x="2434" y="1655"/>
                  </a:lnTo>
                  <a:lnTo>
                    <a:pt x="2427" y="1666"/>
                  </a:lnTo>
                  <a:lnTo>
                    <a:pt x="2421" y="1675"/>
                  </a:lnTo>
                  <a:lnTo>
                    <a:pt x="2417" y="1685"/>
                  </a:lnTo>
                  <a:lnTo>
                    <a:pt x="2414" y="1694"/>
                  </a:lnTo>
                  <a:lnTo>
                    <a:pt x="2410" y="1703"/>
                  </a:lnTo>
                  <a:lnTo>
                    <a:pt x="2407" y="1721"/>
                  </a:lnTo>
                  <a:lnTo>
                    <a:pt x="2404" y="1739"/>
                  </a:lnTo>
                  <a:lnTo>
                    <a:pt x="2402" y="1776"/>
                  </a:lnTo>
                  <a:lnTo>
                    <a:pt x="2399" y="1817"/>
                  </a:lnTo>
                  <a:lnTo>
                    <a:pt x="2395" y="1833"/>
                  </a:lnTo>
                  <a:lnTo>
                    <a:pt x="2390" y="1848"/>
                  </a:lnTo>
                  <a:lnTo>
                    <a:pt x="2383" y="1861"/>
                  </a:lnTo>
                  <a:lnTo>
                    <a:pt x="2375" y="1873"/>
                  </a:lnTo>
                  <a:lnTo>
                    <a:pt x="2365" y="1884"/>
                  </a:lnTo>
                  <a:lnTo>
                    <a:pt x="2355" y="1893"/>
                  </a:lnTo>
                  <a:lnTo>
                    <a:pt x="2345" y="1902"/>
                  </a:lnTo>
                  <a:lnTo>
                    <a:pt x="2333" y="1912"/>
                  </a:lnTo>
                  <a:lnTo>
                    <a:pt x="2310" y="1929"/>
                  </a:lnTo>
                  <a:lnTo>
                    <a:pt x="2286" y="1949"/>
                  </a:lnTo>
                  <a:lnTo>
                    <a:pt x="2275" y="1959"/>
                  </a:lnTo>
                  <a:lnTo>
                    <a:pt x="2265" y="1971"/>
                  </a:lnTo>
                  <a:lnTo>
                    <a:pt x="2256" y="1985"/>
                  </a:lnTo>
                  <a:lnTo>
                    <a:pt x="2247" y="1999"/>
                  </a:lnTo>
                  <a:lnTo>
                    <a:pt x="2237" y="2021"/>
                  </a:lnTo>
                  <a:lnTo>
                    <a:pt x="2226" y="2040"/>
                  </a:lnTo>
                  <a:lnTo>
                    <a:pt x="2215" y="2059"/>
                  </a:lnTo>
                  <a:lnTo>
                    <a:pt x="2203" y="2075"/>
                  </a:lnTo>
                  <a:lnTo>
                    <a:pt x="2197" y="2082"/>
                  </a:lnTo>
                  <a:lnTo>
                    <a:pt x="2190" y="2090"/>
                  </a:lnTo>
                  <a:lnTo>
                    <a:pt x="2183" y="2097"/>
                  </a:lnTo>
                  <a:lnTo>
                    <a:pt x="2174" y="2103"/>
                  </a:lnTo>
                  <a:lnTo>
                    <a:pt x="2165" y="2109"/>
                  </a:lnTo>
                  <a:lnTo>
                    <a:pt x="2157" y="2115"/>
                  </a:lnTo>
                  <a:lnTo>
                    <a:pt x="2146" y="2120"/>
                  </a:lnTo>
                  <a:lnTo>
                    <a:pt x="2135" y="2126"/>
                  </a:lnTo>
                  <a:lnTo>
                    <a:pt x="2118" y="2132"/>
                  </a:lnTo>
                  <a:lnTo>
                    <a:pt x="2100" y="2136"/>
                  </a:lnTo>
                  <a:lnTo>
                    <a:pt x="2084" y="2139"/>
                  </a:lnTo>
                  <a:lnTo>
                    <a:pt x="2068" y="2140"/>
                  </a:lnTo>
                  <a:lnTo>
                    <a:pt x="2052" y="2142"/>
                  </a:lnTo>
                  <a:lnTo>
                    <a:pt x="2036" y="2144"/>
                  </a:lnTo>
                  <a:lnTo>
                    <a:pt x="2018" y="2147"/>
                  </a:lnTo>
                  <a:lnTo>
                    <a:pt x="2000" y="2154"/>
                  </a:lnTo>
                  <a:lnTo>
                    <a:pt x="1979" y="2163"/>
                  </a:lnTo>
                  <a:lnTo>
                    <a:pt x="1961" y="2174"/>
                  </a:lnTo>
                  <a:lnTo>
                    <a:pt x="1945" y="2185"/>
                  </a:lnTo>
                  <a:lnTo>
                    <a:pt x="1930" y="2198"/>
                  </a:lnTo>
                  <a:lnTo>
                    <a:pt x="1915" y="2212"/>
                  </a:lnTo>
                  <a:lnTo>
                    <a:pt x="1902" y="2227"/>
                  </a:lnTo>
                  <a:lnTo>
                    <a:pt x="1888" y="2244"/>
                  </a:lnTo>
                  <a:lnTo>
                    <a:pt x="1875" y="2263"/>
                  </a:lnTo>
                  <a:lnTo>
                    <a:pt x="1854" y="2282"/>
                  </a:lnTo>
                  <a:lnTo>
                    <a:pt x="1834" y="2300"/>
                  </a:lnTo>
                  <a:lnTo>
                    <a:pt x="1814" y="2314"/>
                  </a:lnTo>
                  <a:lnTo>
                    <a:pt x="1795" y="2327"/>
                  </a:lnTo>
                  <a:lnTo>
                    <a:pt x="1774" y="2340"/>
                  </a:lnTo>
                  <a:lnTo>
                    <a:pt x="1753" y="2352"/>
                  </a:lnTo>
                  <a:lnTo>
                    <a:pt x="1730" y="2365"/>
                  </a:lnTo>
                  <a:lnTo>
                    <a:pt x="1706" y="2381"/>
                  </a:lnTo>
                  <a:lnTo>
                    <a:pt x="1700" y="2385"/>
                  </a:lnTo>
                  <a:lnTo>
                    <a:pt x="1694" y="2389"/>
                  </a:lnTo>
                  <a:lnTo>
                    <a:pt x="1689" y="2395"/>
                  </a:lnTo>
                  <a:lnTo>
                    <a:pt x="1685" y="2400"/>
                  </a:lnTo>
                  <a:lnTo>
                    <a:pt x="1677" y="2411"/>
                  </a:lnTo>
                  <a:lnTo>
                    <a:pt x="1672" y="2424"/>
                  </a:lnTo>
                  <a:lnTo>
                    <a:pt x="1668" y="2437"/>
                  </a:lnTo>
                  <a:lnTo>
                    <a:pt x="1665" y="2451"/>
                  </a:lnTo>
                  <a:lnTo>
                    <a:pt x="1663" y="2466"/>
                  </a:lnTo>
                  <a:lnTo>
                    <a:pt x="1662" y="2481"/>
                  </a:lnTo>
                  <a:lnTo>
                    <a:pt x="1660" y="2494"/>
                  </a:lnTo>
                  <a:lnTo>
                    <a:pt x="1658" y="2505"/>
                  </a:lnTo>
                  <a:lnTo>
                    <a:pt x="1654" y="2514"/>
                  </a:lnTo>
                  <a:lnTo>
                    <a:pt x="1651" y="2524"/>
                  </a:lnTo>
                  <a:lnTo>
                    <a:pt x="1642" y="2544"/>
                  </a:lnTo>
                  <a:lnTo>
                    <a:pt x="1634" y="2565"/>
                  </a:lnTo>
                  <a:lnTo>
                    <a:pt x="1628" y="2575"/>
                  </a:lnTo>
                  <a:lnTo>
                    <a:pt x="1624" y="2584"/>
                  </a:lnTo>
                  <a:lnTo>
                    <a:pt x="1618" y="2591"/>
                  </a:lnTo>
                  <a:lnTo>
                    <a:pt x="1612" y="2599"/>
                  </a:lnTo>
                  <a:lnTo>
                    <a:pt x="1599" y="2611"/>
                  </a:lnTo>
                  <a:lnTo>
                    <a:pt x="1585" y="2621"/>
                  </a:lnTo>
                  <a:lnTo>
                    <a:pt x="1570" y="2632"/>
                  </a:lnTo>
                  <a:lnTo>
                    <a:pt x="1555" y="2643"/>
                  </a:lnTo>
                  <a:lnTo>
                    <a:pt x="1539" y="2655"/>
                  </a:lnTo>
                  <a:lnTo>
                    <a:pt x="1524" y="2669"/>
                  </a:lnTo>
                  <a:lnTo>
                    <a:pt x="1517" y="2679"/>
                  </a:lnTo>
                  <a:lnTo>
                    <a:pt x="1511" y="2687"/>
                  </a:lnTo>
                  <a:lnTo>
                    <a:pt x="1506" y="2696"/>
                  </a:lnTo>
                  <a:lnTo>
                    <a:pt x="1502" y="2706"/>
                  </a:lnTo>
                  <a:lnTo>
                    <a:pt x="1499" y="2714"/>
                  </a:lnTo>
                  <a:lnTo>
                    <a:pt x="1495" y="2724"/>
                  </a:lnTo>
                  <a:lnTo>
                    <a:pt x="1489" y="2733"/>
                  </a:lnTo>
                  <a:lnTo>
                    <a:pt x="1482" y="2742"/>
                  </a:lnTo>
                  <a:lnTo>
                    <a:pt x="1457" y="2767"/>
                  </a:lnTo>
                  <a:lnTo>
                    <a:pt x="1433" y="2789"/>
                  </a:lnTo>
                  <a:lnTo>
                    <a:pt x="1422" y="2800"/>
                  </a:lnTo>
                  <a:lnTo>
                    <a:pt x="1412" y="2811"/>
                  </a:lnTo>
                  <a:lnTo>
                    <a:pt x="1408" y="2819"/>
                  </a:lnTo>
                  <a:lnTo>
                    <a:pt x="1405" y="2827"/>
                  </a:lnTo>
                  <a:lnTo>
                    <a:pt x="1401" y="2834"/>
                  </a:lnTo>
                  <a:lnTo>
                    <a:pt x="1398" y="2843"/>
                  </a:lnTo>
                  <a:lnTo>
                    <a:pt x="1392" y="2862"/>
                  </a:lnTo>
                  <a:lnTo>
                    <a:pt x="1388" y="2880"/>
                  </a:lnTo>
                  <a:lnTo>
                    <a:pt x="1384" y="2896"/>
                  </a:lnTo>
                  <a:lnTo>
                    <a:pt x="1379" y="2916"/>
                  </a:lnTo>
                  <a:lnTo>
                    <a:pt x="1379" y="2916"/>
                  </a:lnTo>
                  <a:lnTo>
                    <a:pt x="1365" y="2898"/>
                  </a:lnTo>
                  <a:lnTo>
                    <a:pt x="1350" y="2882"/>
                  </a:lnTo>
                  <a:lnTo>
                    <a:pt x="1343" y="2874"/>
                  </a:lnTo>
                  <a:lnTo>
                    <a:pt x="1337" y="2865"/>
                  </a:lnTo>
                  <a:lnTo>
                    <a:pt x="1330" y="2857"/>
                  </a:lnTo>
                  <a:lnTo>
                    <a:pt x="1325" y="2846"/>
                  </a:lnTo>
                  <a:lnTo>
                    <a:pt x="1318" y="2832"/>
                  </a:lnTo>
                  <a:lnTo>
                    <a:pt x="1310" y="2818"/>
                  </a:lnTo>
                  <a:lnTo>
                    <a:pt x="1301" y="2806"/>
                  </a:lnTo>
                  <a:lnTo>
                    <a:pt x="1291" y="2796"/>
                  </a:lnTo>
                  <a:lnTo>
                    <a:pt x="1286" y="2792"/>
                  </a:lnTo>
                  <a:lnTo>
                    <a:pt x="1281" y="2788"/>
                  </a:lnTo>
                  <a:lnTo>
                    <a:pt x="1274" y="2784"/>
                  </a:lnTo>
                  <a:lnTo>
                    <a:pt x="1268" y="2781"/>
                  </a:lnTo>
                  <a:lnTo>
                    <a:pt x="1261" y="2779"/>
                  </a:lnTo>
                  <a:lnTo>
                    <a:pt x="1254" y="2777"/>
                  </a:lnTo>
                  <a:lnTo>
                    <a:pt x="1246" y="2776"/>
                  </a:lnTo>
                  <a:lnTo>
                    <a:pt x="1239" y="2776"/>
                  </a:lnTo>
                  <a:lnTo>
                    <a:pt x="1231" y="2777"/>
                  </a:lnTo>
                  <a:lnTo>
                    <a:pt x="1226" y="2778"/>
                  </a:lnTo>
                  <a:lnTo>
                    <a:pt x="1220" y="2781"/>
                  </a:lnTo>
                  <a:lnTo>
                    <a:pt x="1215" y="2784"/>
                  </a:lnTo>
                  <a:lnTo>
                    <a:pt x="1210" y="2789"/>
                  </a:lnTo>
                  <a:lnTo>
                    <a:pt x="1205" y="2792"/>
                  </a:lnTo>
                  <a:lnTo>
                    <a:pt x="1200" y="2795"/>
                  </a:lnTo>
                  <a:lnTo>
                    <a:pt x="1193" y="2799"/>
                  </a:lnTo>
                  <a:lnTo>
                    <a:pt x="1180" y="2801"/>
                  </a:lnTo>
                  <a:lnTo>
                    <a:pt x="1167" y="2802"/>
                  </a:lnTo>
                  <a:lnTo>
                    <a:pt x="1154" y="2802"/>
                  </a:lnTo>
                  <a:lnTo>
                    <a:pt x="1140" y="2801"/>
                  </a:lnTo>
                  <a:lnTo>
                    <a:pt x="1097" y="2802"/>
                  </a:lnTo>
                  <a:lnTo>
                    <a:pt x="1058" y="2801"/>
                  </a:lnTo>
                  <a:lnTo>
                    <a:pt x="1040" y="2799"/>
                  </a:lnTo>
                  <a:lnTo>
                    <a:pt x="1021" y="2793"/>
                  </a:lnTo>
                  <a:lnTo>
                    <a:pt x="1012" y="2790"/>
                  </a:lnTo>
                  <a:lnTo>
                    <a:pt x="1003" y="2787"/>
                  </a:lnTo>
                  <a:lnTo>
                    <a:pt x="993" y="2781"/>
                  </a:lnTo>
                  <a:lnTo>
                    <a:pt x="984" y="2776"/>
                  </a:lnTo>
                  <a:lnTo>
                    <a:pt x="971" y="2767"/>
                  </a:lnTo>
                  <a:lnTo>
                    <a:pt x="959" y="2759"/>
                  </a:lnTo>
                  <a:lnTo>
                    <a:pt x="949" y="2749"/>
                  </a:lnTo>
                  <a:lnTo>
                    <a:pt x="940" y="2740"/>
                  </a:lnTo>
                  <a:lnTo>
                    <a:pt x="933" y="2729"/>
                  </a:lnTo>
                  <a:lnTo>
                    <a:pt x="925" y="2720"/>
                  </a:lnTo>
                  <a:lnTo>
                    <a:pt x="919" y="2709"/>
                  </a:lnTo>
                  <a:lnTo>
                    <a:pt x="913" y="2697"/>
                  </a:lnTo>
                  <a:lnTo>
                    <a:pt x="905" y="2673"/>
                  </a:lnTo>
                  <a:lnTo>
                    <a:pt x="896" y="2648"/>
                  </a:lnTo>
                  <a:lnTo>
                    <a:pt x="890" y="2620"/>
                  </a:lnTo>
                  <a:lnTo>
                    <a:pt x="882" y="2591"/>
                  </a:lnTo>
                  <a:lnTo>
                    <a:pt x="879" y="2583"/>
                  </a:lnTo>
                  <a:lnTo>
                    <a:pt x="878" y="2575"/>
                  </a:lnTo>
                  <a:lnTo>
                    <a:pt x="877" y="2566"/>
                  </a:lnTo>
                  <a:lnTo>
                    <a:pt x="877" y="2559"/>
                  </a:lnTo>
                  <a:lnTo>
                    <a:pt x="877" y="2550"/>
                  </a:lnTo>
                  <a:lnTo>
                    <a:pt x="879" y="2541"/>
                  </a:lnTo>
                  <a:lnTo>
                    <a:pt x="880" y="2534"/>
                  </a:lnTo>
                  <a:lnTo>
                    <a:pt x="882" y="2527"/>
                  </a:lnTo>
                  <a:lnTo>
                    <a:pt x="884" y="2520"/>
                  </a:lnTo>
                  <a:lnTo>
                    <a:pt x="886" y="2512"/>
                  </a:lnTo>
                  <a:lnTo>
                    <a:pt x="888" y="2505"/>
                  </a:lnTo>
                  <a:lnTo>
                    <a:pt x="888" y="2495"/>
                  </a:lnTo>
                  <a:lnTo>
                    <a:pt x="888" y="2475"/>
                  </a:lnTo>
                  <a:lnTo>
                    <a:pt x="886" y="2456"/>
                  </a:lnTo>
                  <a:lnTo>
                    <a:pt x="884" y="2438"/>
                  </a:lnTo>
                  <a:lnTo>
                    <a:pt x="880" y="2417"/>
                  </a:lnTo>
                  <a:lnTo>
                    <a:pt x="876" y="2408"/>
                  </a:lnTo>
                  <a:lnTo>
                    <a:pt x="870" y="2400"/>
                  </a:lnTo>
                  <a:lnTo>
                    <a:pt x="865" y="2394"/>
                  </a:lnTo>
                  <a:lnTo>
                    <a:pt x="858" y="2387"/>
                  </a:lnTo>
                  <a:lnTo>
                    <a:pt x="853" y="2381"/>
                  </a:lnTo>
                  <a:lnTo>
                    <a:pt x="848" y="2373"/>
                  </a:lnTo>
                  <a:lnTo>
                    <a:pt x="845" y="2369"/>
                  </a:lnTo>
                  <a:lnTo>
                    <a:pt x="844" y="2365"/>
                  </a:lnTo>
                  <a:lnTo>
                    <a:pt x="843" y="2360"/>
                  </a:lnTo>
                  <a:lnTo>
                    <a:pt x="843" y="2356"/>
                  </a:lnTo>
                  <a:lnTo>
                    <a:pt x="843" y="2346"/>
                  </a:lnTo>
                  <a:lnTo>
                    <a:pt x="845" y="2338"/>
                  </a:lnTo>
                  <a:lnTo>
                    <a:pt x="848" y="2330"/>
                  </a:lnTo>
                  <a:lnTo>
                    <a:pt x="850" y="2322"/>
                  </a:lnTo>
                  <a:lnTo>
                    <a:pt x="857" y="2308"/>
                  </a:lnTo>
                  <a:lnTo>
                    <a:pt x="866" y="2295"/>
                  </a:lnTo>
                  <a:lnTo>
                    <a:pt x="873" y="2282"/>
                  </a:lnTo>
                  <a:lnTo>
                    <a:pt x="881" y="2268"/>
                  </a:lnTo>
                  <a:lnTo>
                    <a:pt x="883" y="2261"/>
                  </a:lnTo>
                  <a:lnTo>
                    <a:pt x="886" y="2252"/>
                  </a:lnTo>
                  <a:lnTo>
                    <a:pt x="888" y="2243"/>
                  </a:lnTo>
                  <a:lnTo>
                    <a:pt x="888" y="2235"/>
                  </a:lnTo>
                  <a:lnTo>
                    <a:pt x="888" y="2217"/>
                  </a:lnTo>
                  <a:lnTo>
                    <a:pt x="888" y="2200"/>
                  </a:lnTo>
                  <a:lnTo>
                    <a:pt x="886" y="2185"/>
                  </a:lnTo>
                  <a:lnTo>
                    <a:pt x="884" y="2170"/>
                  </a:lnTo>
                  <a:lnTo>
                    <a:pt x="881" y="2155"/>
                  </a:lnTo>
                  <a:lnTo>
                    <a:pt x="877" y="2140"/>
                  </a:lnTo>
                  <a:lnTo>
                    <a:pt x="870" y="2125"/>
                  </a:lnTo>
                  <a:lnTo>
                    <a:pt x="863" y="2108"/>
                  </a:lnTo>
                  <a:lnTo>
                    <a:pt x="856" y="2098"/>
                  </a:lnTo>
                  <a:lnTo>
                    <a:pt x="848" y="2089"/>
                  </a:lnTo>
                  <a:lnTo>
                    <a:pt x="839" y="2082"/>
                  </a:lnTo>
                  <a:lnTo>
                    <a:pt x="829" y="2077"/>
                  </a:lnTo>
                  <a:lnTo>
                    <a:pt x="809" y="2067"/>
                  </a:lnTo>
                  <a:lnTo>
                    <a:pt x="784" y="2059"/>
                  </a:lnTo>
                  <a:lnTo>
                    <a:pt x="757" y="2047"/>
                  </a:lnTo>
                  <a:lnTo>
                    <a:pt x="732" y="2038"/>
                  </a:lnTo>
                  <a:lnTo>
                    <a:pt x="720" y="2035"/>
                  </a:lnTo>
                  <a:lnTo>
                    <a:pt x="707" y="2033"/>
                  </a:lnTo>
                  <a:lnTo>
                    <a:pt x="693" y="2031"/>
                  </a:lnTo>
                  <a:lnTo>
                    <a:pt x="678" y="2031"/>
                  </a:lnTo>
                  <a:lnTo>
                    <a:pt x="657" y="2031"/>
                  </a:lnTo>
                  <a:lnTo>
                    <a:pt x="639" y="2033"/>
                  </a:lnTo>
                  <a:lnTo>
                    <a:pt x="621" y="2036"/>
                  </a:lnTo>
                  <a:lnTo>
                    <a:pt x="605" y="2039"/>
                  </a:lnTo>
                  <a:lnTo>
                    <a:pt x="571" y="2048"/>
                  </a:lnTo>
                  <a:lnTo>
                    <a:pt x="532" y="2055"/>
                  </a:lnTo>
                  <a:lnTo>
                    <a:pt x="520" y="2059"/>
                  </a:lnTo>
                  <a:lnTo>
                    <a:pt x="509" y="2064"/>
                  </a:lnTo>
                  <a:lnTo>
                    <a:pt x="504" y="2066"/>
                  </a:lnTo>
                  <a:lnTo>
                    <a:pt x="500" y="2067"/>
                  </a:lnTo>
                  <a:lnTo>
                    <a:pt x="493" y="2070"/>
                  </a:lnTo>
                  <a:lnTo>
                    <a:pt x="487" y="2070"/>
                  </a:lnTo>
                  <a:lnTo>
                    <a:pt x="480" y="2070"/>
                  </a:lnTo>
                  <a:lnTo>
                    <a:pt x="474" y="2068"/>
                  </a:lnTo>
                  <a:lnTo>
                    <a:pt x="468" y="2066"/>
                  </a:lnTo>
                  <a:lnTo>
                    <a:pt x="463" y="2065"/>
                  </a:lnTo>
                  <a:lnTo>
                    <a:pt x="452" y="2060"/>
                  </a:lnTo>
                  <a:lnTo>
                    <a:pt x="443" y="2053"/>
                  </a:lnTo>
                  <a:lnTo>
                    <a:pt x="433" y="2047"/>
                  </a:lnTo>
                  <a:lnTo>
                    <a:pt x="423" y="2040"/>
                  </a:lnTo>
                  <a:lnTo>
                    <a:pt x="412" y="2035"/>
                  </a:lnTo>
                  <a:lnTo>
                    <a:pt x="400" y="2031"/>
                  </a:lnTo>
                  <a:lnTo>
                    <a:pt x="363" y="2021"/>
                  </a:lnTo>
                  <a:lnTo>
                    <a:pt x="328" y="2013"/>
                  </a:lnTo>
                  <a:lnTo>
                    <a:pt x="312" y="2009"/>
                  </a:lnTo>
                  <a:lnTo>
                    <a:pt x="295" y="2005"/>
                  </a:lnTo>
                  <a:lnTo>
                    <a:pt x="276" y="1998"/>
                  </a:lnTo>
                  <a:lnTo>
                    <a:pt x="257" y="1991"/>
                  </a:lnTo>
                  <a:lnTo>
                    <a:pt x="233" y="1980"/>
                  </a:lnTo>
                  <a:lnTo>
                    <a:pt x="210" y="1970"/>
                  </a:lnTo>
                  <a:lnTo>
                    <a:pt x="200" y="1966"/>
                  </a:lnTo>
                  <a:lnTo>
                    <a:pt x="188" y="1963"/>
                  </a:lnTo>
                  <a:lnTo>
                    <a:pt x="176" y="1960"/>
                  </a:lnTo>
                  <a:lnTo>
                    <a:pt x="162" y="1960"/>
                  </a:lnTo>
                  <a:lnTo>
                    <a:pt x="130" y="1962"/>
                  </a:lnTo>
                  <a:lnTo>
                    <a:pt x="98" y="1963"/>
                  </a:lnTo>
                  <a:lnTo>
                    <a:pt x="67" y="1965"/>
                  </a:lnTo>
                  <a:lnTo>
                    <a:pt x="34" y="1966"/>
                  </a:lnTo>
                  <a:lnTo>
                    <a:pt x="29" y="1950"/>
                  </a:lnTo>
                  <a:lnTo>
                    <a:pt x="22" y="1936"/>
                  </a:lnTo>
                  <a:lnTo>
                    <a:pt x="19" y="1929"/>
                  </a:lnTo>
                  <a:lnTo>
                    <a:pt x="16" y="1922"/>
                  </a:lnTo>
                  <a:lnTo>
                    <a:pt x="14" y="1913"/>
                  </a:lnTo>
                  <a:lnTo>
                    <a:pt x="12" y="1904"/>
                  </a:lnTo>
                  <a:lnTo>
                    <a:pt x="5" y="1892"/>
                  </a:lnTo>
                  <a:lnTo>
                    <a:pt x="0" y="1881"/>
                  </a:lnTo>
                  <a:lnTo>
                    <a:pt x="1" y="1870"/>
                  </a:lnTo>
                  <a:lnTo>
                    <a:pt x="3" y="1861"/>
                  </a:lnTo>
                  <a:lnTo>
                    <a:pt x="7" y="1852"/>
                  </a:lnTo>
                  <a:lnTo>
                    <a:pt x="11" y="1843"/>
                  </a:lnTo>
                  <a:lnTo>
                    <a:pt x="17" y="1822"/>
                  </a:lnTo>
                  <a:lnTo>
                    <a:pt x="23" y="1803"/>
                  </a:lnTo>
                  <a:lnTo>
                    <a:pt x="31" y="1787"/>
                  </a:lnTo>
                  <a:lnTo>
                    <a:pt x="38" y="1769"/>
                  </a:lnTo>
                  <a:lnTo>
                    <a:pt x="44" y="1753"/>
                  </a:lnTo>
                  <a:lnTo>
                    <a:pt x="52" y="1736"/>
                  </a:lnTo>
                  <a:lnTo>
                    <a:pt x="58" y="1717"/>
                  </a:lnTo>
                  <a:lnTo>
                    <a:pt x="63" y="1697"/>
                  </a:lnTo>
                  <a:lnTo>
                    <a:pt x="67" y="1686"/>
                  </a:lnTo>
                  <a:lnTo>
                    <a:pt x="68" y="1677"/>
                  </a:lnTo>
                  <a:lnTo>
                    <a:pt x="69" y="1668"/>
                  </a:lnTo>
                  <a:lnTo>
                    <a:pt x="69" y="1659"/>
                  </a:lnTo>
                  <a:lnTo>
                    <a:pt x="69" y="1642"/>
                  </a:lnTo>
                  <a:lnTo>
                    <a:pt x="71" y="1621"/>
                  </a:lnTo>
                  <a:lnTo>
                    <a:pt x="74" y="1595"/>
                  </a:lnTo>
                  <a:lnTo>
                    <a:pt x="79" y="1574"/>
                  </a:lnTo>
                  <a:lnTo>
                    <a:pt x="81" y="1562"/>
                  </a:lnTo>
                  <a:lnTo>
                    <a:pt x="82" y="1551"/>
                  </a:lnTo>
                  <a:lnTo>
                    <a:pt x="83" y="1539"/>
                  </a:lnTo>
                  <a:lnTo>
                    <a:pt x="84" y="1525"/>
                  </a:lnTo>
                  <a:lnTo>
                    <a:pt x="84" y="1517"/>
                  </a:lnTo>
                  <a:lnTo>
                    <a:pt x="84" y="1509"/>
                  </a:lnTo>
                  <a:lnTo>
                    <a:pt x="84" y="1501"/>
                  </a:lnTo>
                  <a:lnTo>
                    <a:pt x="84" y="1493"/>
                  </a:lnTo>
                  <a:lnTo>
                    <a:pt x="83" y="1482"/>
                  </a:lnTo>
                  <a:lnTo>
                    <a:pt x="82" y="1472"/>
                  </a:lnTo>
                  <a:lnTo>
                    <a:pt x="81" y="1464"/>
                  </a:lnTo>
                  <a:lnTo>
                    <a:pt x="81" y="1453"/>
                  </a:lnTo>
                  <a:lnTo>
                    <a:pt x="81" y="1441"/>
                  </a:lnTo>
                  <a:lnTo>
                    <a:pt x="81" y="1430"/>
                  </a:lnTo>
                  <a:lnTo>
                    <a:pt x="81" y="1420"/>
                  </a:lnTo>
                  <a:lnTo>
                    <a:pt x="81" y="1409"/>
                  </a:lnTo>
                  <a:lnTo>
                    <a:pt x="81" y="1390"/>
                  </a:lnTo>
                  <a:lnTo>
                    <a:pt x="79" y="1374"/>
                  </a:lnTo>
                  <a:lnTo>
                    <a:pt x="77" y="1365"/>
                  </a:lnTo>
                  <a:lnTo>
                    <a:pt x="75" y="1358"/>
                  </a:lnTo>
                  <a:lnTo>
                    <a:pt x="72" y="1349"/>
                  </a:lnTo>
                  <a:lnTo>
                    <a:pt x="68" y="1341"/>
                  </a:lnTo>
                  <a:lnTo>
                    <a:pt x="66" y="1337"/>
                  </a:lnTo>
                  <a:lnTo>
                    <a:pt x="62" y="1333"/>
                  </a:lnTo>
                  <a:lnTo>
                    <a:pt x="59" y="1331"/>
                  </a:lnTo>
                  <a:lnTo>
                    <a:pt x="56" y="1328"/>
                  </a:lnTo>
                  <a:lnTo>
                    <a:pt x="48" y="1323"/>
                  </a:lnTo>
                  <a:lnTo>
                    <a:pt x="42" y="1317"/>
                  </a:lnTo>
                  <a:lnTo>
                    <a:pt x="36" y="1312"/>
                  </a:lnTo>
                  <a:lnTo>
                    <a:pt x="33" y="1307"/>
                  </a:lnTo>
                  <a:lnTo>
                    <a:pt x="29" y="1302"/>
                  </a:lnTo>
                  <a:lnTo>
                    <a:pt x="27" y="1296"/>
                  </a:lnTo>
                  <a:lnTo>
                    <a:pt x="25" y="1291"/>
                  </a:lnTo>
                  <a:lnTo>
                    <a:pt x="23" y="1285"/>
                  </a:lnTo>
                  <a:lnTo>
                    <a:pt x="22" y="1279"/>
                  </a:lnTo>
                  <a:lnTo>
                    <a:pt x="21" y="1271"/>
                  </a:lnTo>
                  <a:lnTo>
                    <a:pt x="21" y="1255"/>
                  </a:lnTo>
                  <a:lnTo>
                    <a:pt x="21" y="1241"/>
                  </a:lnTo>
                  <a:lnTo>
                    <a:pt x="21" y="1226"/>
                  </a:lnTo>
                  <a:lnTo>
                    <a:pt x="21" y="1210"/>
                  </a:lnTo>
                  <a:lnTo>
                    <a:pt x="21" y="1203"/>
                  </a:lnTo>
                  <a:lnTo>
                    <a:pt x="19" y="1198"/>
                  </a:lnTo>
                  <a:lnTo>
                    <a:pt x="17" y="1193"/>
                  </a:lnTo>
                  <a:lnTo>
                    <a:pt x="15" y="1188"/>
                  </a:lnTo>
                  <a:lnTo>
                    <a:pt x="8" y="1179"/>
                  </a:lnTo>
                  <a:lnTo>
                    <a:pt x="4" y="1167"/>
                  </a:lnTo>
                  <a:lnTo>
                    <a:pt x="3" y="1163"/>
                  </a:lnTo>
                  <a:lnTo>
                    <a:pt x="2" y="1160"/>
                  </a:lnTo>
                  <a:lnTo>
                    <a:pt x="2" y="1160"/>
                  </a:lnTo>
                  <a:lnTo>
                    <a:pt x="23" y="1153"/>
                  </a:lnTo>
                  <a:lnTo>
                    <a:pt x="45" y="1146"/>
                  </a:lnTo>
                  <a:lnTo>
                    <a:pt x="55" y="1143"/>
                  </a:lnTo>
                  <a:lnTo>
                    <a:pt x="65" y="1139"/>
                  </a:lnTo>
                  <a:lnTo>
                    <a:pt x="74" y="1132"/>
                  </a:lnTo>
                  <a:lnTo>
                    <a:pt x="84" y="1126"/>
                  </a:lnTo>
                  <a:lnTo>
                    <a:pt x="93" y="1116"/>
                  </a:lnTo>
                  <a:lnTo>
                    <a:pt x="99" y="1106"/>
                  </a:lnTo>
                  <a:lnTo>
                    <a:pt x="104" y="1095"/>
                  </a:lnTo>
                  <a:lnTo>
                    <a:pt x="108" y="1085"/>
                  </a:lnTo>
                  <a:lnTo>
                    <a:pt x="110" y="1074"/>
                  </a:lnTo>
                  <a:lnTo>
                    <a:pt x="111" y="1062"/>
                  </a:lnTo>
                  <a:lnTo>
                    <a:pt x="111" y="1049"/>
                  </a:lnTo>
                  <a:lnTo>
                    <a:pt x="111" y="1036"/>
                  </a:lnTo>
                  <a:lnTo>
                    <a:pt x="111" y="1032"/>
                  </a:lnTo>
                  <a:lnTo>
                    <a:pt x="110" y="1029"/>
                  </a:lnTo>
                  <a:lnTo>
                    <a:pt x="109" y="1026"/>
                  </a:lnTo>
                  <a:lnTo>
                    <a:pt x="108" y="1024"/>
                  </a:lnTo>
                  <a:lnTo>
                    <a:pt x="103" y="1021"/>
                  </a:lnTo>
                  <a:lnTo>
                    <a:pt x="98" y="1019"/>
                  </a:lnTo>
                  <a:lnTo>
                    <a:pt x="85" y="1013"/>
                  </a:lnTo>
                  <a:lnTo>
                    <a:pt x="72" y="1008"/>
                  </a:lnTo>
                  <a:lnTo>
                    <a:pt x="62" y="1000"/>
                  </a:lnTo>
                  <a:lnTo>
                    <a:pt x="54" y="992"/>
                  </a:lnTo>
                  <a:lnTo>
                    <a:pt x="46" y="983"/>
                  </a:lnTo>
                  <a:lnTo>
                    <a:pt x="41" y="974"/>
                  </a:lnTo>
                  <a:lnTo>
                    <a:pt x="36" y="964"/>
                  </a:lnTo>
                  <a:lnTo>
                    <a:pt x="33" y="953"/>
                  </a:lnTo>
                  <a:lnTo>
                    <a:pt x="31" y="942"/>
                  </a:lnTo>
                  <a:lnTo>
                    <a:pt x="30" y="929"/>
                  </a:lnTo>
                  <a:lnTo>
                    <a:pt x="31" y="918"/>
                  </a:lnTo>
                  <a:lnTo>
                    <a:pt x="32" y="910"/>
                  </a:lnTo>
                  <a:lnTo>
                    <a:pt x="33" y="900"/>
                  </a:lnTo>
                  <a:lnTo>
                    <a:pt x="35" y="891"/>
                  </a:lnTo>
                  <a:lnTo>
                    <a:pt x="39" y="884"/>
                  </a:lnTo>
                  <a:lnTo>
                    <a:pt x="42" y="875"/>
                  </a:lnTo>
                  <a:lnTo>
                    <a:pt x="46" y="867"/>
                  </a:lnTo>
                  <a:lnTo>
                    <a:pt x="50" y="861"/>
                  </a:lnTo>
                  <a:lnTo>
                    <a:pt x="71" y="832"/>
                  </a:lnTo>
                  <a:lnTo>
                    <a:pt x="95" y="801"/>
                  </a:lnTo>
                  <a:lnTo>
                    <a:pt x="103" y="790"/>
                  </a:lnTo>
                  <a:lnTo>
                    <a:pt x="110" y="779"/>
                  </a:lnTo>
                  <a:lnTo>
                    <a:pt x="115" y="769"/>
                  </a:lnTo>
                  <a:lnTo>
                    <a:pt x="120" y="758"/>
                  </a:lnTo>
                  <a:lnTo>
                    <a:pt x="127" y="736"/>
                  </a:lnTo>
                  <a:lnTo>
                    <a:pt x="134" y="711"/>
                  </a:lnTo>
                  <a:lnTo>
                    <a:pt x="140" y="688"/>
                  </a:lnTo>
                  <a:lnTo>
                    <a:pt x="147" y="668"/>
                  </a:lnTo>
                  <a:lnTo>
                    <a:pt x="154" y="649"/>
                  </a:lnTo>
                  <a:lnTo>
                    <a:pt x="161" y="631"/>
                  </a:lnTo>
                  <a:lnTo>
                    <a:pt x="167" y="613"/>
                  </a:lnTo>
                  <a:lnTo>
                    <a:pt x="174" y="593"/>
                  </a:lnTo>
                  <a:lnTo>
                    <a:pt x="179" y="574"/>
                  </a:lnTo>
                  <a:lnTo>
                    <a:pt x="184" y="551"/>
                  </a:lnTo>
                  <a:lnTo>
                    <a:pt x="190" y="526"/>
                  </a:lnTo>
                  <a:lnTo>
                    <a:pt x="194" y="504"/>
                  </a:lnTo>
                  <a:lnTo>
                    <a:pt x="198" y="483"/>
                  </a:lnTo>
                  <a:lnTo>
                    <a:pt x="203" y="462"/>
                  </a:lnTo>
                  <a:lnTo>
                    <a:pt x="208" y="442"/>
                  </a:lnTo>
                  <a:lnTo>
                    <a:pt x="212" y="421"/>
                  </a:lnTo>
                  <a:lnTo>
                    <a:pt x="218" y="399"/>
                  </a:lnTo>
                  <a:lnTo>
                    <a:pt x="223" y="374"/>
                  </a:lnTo>
                  <a:lnTo>
                    <a:pt x="228" y="358"/>
                  </a:lnTo>
                  <a:lnTo>
                    <a:pt x="233" y="344"/>
                  </a:lnTo>
                  <a:lnTo>
                    <a:pt x="239" y="331"/>
                  </a:lnTo>
                  <a:lnTo>
                    <a:pt x="246" y="316"/>
                  </a:lnTo>
                  <a:lnTo>
                    <a:pt x="251" y="308"/>
                  </a:lnTo>
                  <a:lnTo>
                    <a:pt x="258" y="302"/>
                  </a:lnTo>
                  <a:lnTo>
                    <a:pt x="261" y="298"/>
                  </a:lnTo>
                  <a:lnTo>
                    <a:pt x="263" y="295"/>
                  </a:lnTo>
                  <a:lnTo>
                    <a:pt x="265" y="292"/>
                  </a:lnTo>
                  <a:lnTo>
                    <a:pt x="265" y="288"/>
                  </a:lnTo>
                  <a:lnTo>
                    <a:pt x="265" y="273"/>
                  </a:lnTo>
                  <a:lnTo>
                    <a:pt x="263" y="259"/>
                  </a:lnTo>
                  <a:lnTo>
                    <a:pt x="261" y="248"/>
                  </a:lnTo>
                  <a:lnTo>
                    <a:pt x="258" y="236"/>
                  </a:lnTo>
                  <a:lnTo>
                    <a:pt x="255" y="224"/>
                  </a:lnTo>
                  <a:lnTo>
                    <a:pt x="250" y="213"/>
                  </a:lnTo>
                  <a:lnTo>
                    <a:pt x="245" y="203"/>
                  </a:lnTo>
                  <a:lnTo>
                    <a:pt x="239" y="192"/>
                  </a:lnTo>
                  <a:lnTo>
                    <a:pt x="228" y="172"/>
                  </a:lnTo>
                  <a:lnTo>
                    <a:pt x="215" y="150"/>
                  </a:lnTo>
                  <a:lnTo>
                    <a:pt x="203" y="128"/>
                  </a:lnTo>
                  <a:lnTo>
                    <a:pt x="190" y="102"/>
                  </a:lnTo>
                  <a:lnTo>
                    <a:pt x="187" y="93"/>
                  </a:lnTo>
                  <a:lnTo>
                    <a:pt x="183" y="84"/>
                  </a:lnTo>
                  <a:lnTo>
                    <a:pt x="180" y="76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9" y="66"/>
                  </a:lnTo>
                  <a:lnTo>
                    <a:pt x="198" y="63"/>
                  </a:lnTo>
                  <a:lnTo>
                    <a:pt x="203" y="61"/>
                  </a:lnTo>
                  <a:lnTo>
                    <a:pt x="207" y="59"/>
                  </a:lnTo>
                  <a:lnTo>
                    <a:pt x="212" y="57"/>
                  </a:lnTo>
                  <a:lnTo>
                    <a:pt x="218" y="57"/>
                  </a:lnTo>
                  <a:lnTo>
                    <a:pt x="224" y="59"/>
                  </a:lnTo>
                  <a:lnTo>
                    <a:pt x="231" y="61"/>
                  </a:lnTo>
                  <a:lnTo>
                    <a:pt x="236" y="64"/>
                  </a:lnTo>
                  <a:lnTo>
                    <a:pt x="241" y="69"/>
                  </a:lnTo>
                  <a:lnTo>
                    <a:pt x="248" y="81"/>
                  </a:lnTo>
                  <a:lnTo>
                    <a:pt x="255" y="94"/>
                  </a:lnTo>
                  <a:lnTo>
                    <a:pt x="269" y="119"/>
                  </a:lnTo>
                  <a:lnTo>
                    <a:pt x="282" y="141"/>
                  </a:lnTo>
                  <a:lnTo>
                    <a:pt x="289" y="151"/>
                  </a:lnTo>
                  <a:lnTo>
                    <a:pt x="298" y="161"/>
                  </a:lnTo>
                  <a:lnTo>
                    <a:pt x="308" y="171"/>
                  </a:lnTo>
                  <a:lnTo>
                    <a:pt x="319" y="181"/>
                  </a:lnTo>
                  <a:lnTo>
                    <a:pt x="332" y="191"/>
                  </a:lnTo>
                  <a:lnTo>
                    <a:pt x="346" y="200"/>
                  </a:lnTo>
                  <a:lnTo>
                    <a:pt x="360" y="207"/>
                  </a:lnTo>
                  <a:lnTo>
                    <a:pt x="374" y="212"/>
                  </a:lnTo>
                  <a:lnTo>
                    <a:pt x="389" y="216"/>
                  </a:lnTo>
                  <a:lnTo>
                    <a:pt x="405" y="218"/>
                  </a:lnTo>
                  <a:lnTo>
                    <a:pt x="421" y="219"/>
                  </a:lnTo>
                  <a:lnTo>
                    <a:pt x="438" y="219"/>
                  </a:lnTo>
                  <a:lnTo>
                    <a:pt x="445" y="219"/>
                  </a:lnTo>
                  <a:lnTo>
                    <a:pt x="451" y="218"/>
                  </a:lnTo>
                  <a:lnTo>
                    <a:pt x="458" y="216"/>
                  </a:lnTo>
                  <a:lnTo>
                    <a:pt x="463" y="213"/>
                  </a:lnTo>
                  <a:lnTo>
                    <a:pt x="474" y="205"/>
                  </a:lnTo>
                  <a:lnTo>
                    <a:pt x="482" y="197"/>
                  </a:lnTo>
                  <a:lnTo>
                    <a:pt x="492" y="188"/>
                  </a:lnTo>
                  <a:lnTo>
                    <a:pt x="502" y="180"/>
                  </a:lnTo>
                  <a:lnTo>
                    <a:pt x="507" y="175"/>
                  </a:lnTo>
                  <a:lnTo>
                    <a:pt x="513" y="172"/>
                  </a:lnTo>
                  <a:lnTo>
                    <a:pt x="519" y="169"/>
                  </a:lnTo>
                  <a:lnTo>
                    <a:pt x="527" y="167"/>
                  </a:lnTo>
                  <a:lnTo>
                    <a:pt x="544" y="162"/>
                  </a:lnTo>
                  <a:lnTo>
                    <a:pt x="560" y="160"/>
                  </a:lnTo>
                  <a:lnTo>
                    <a:pt x="575" y="158"/>
                  </a:lnTo>
                  <a:lnTo>
                    <a:pt x="591" y="157"/>
                  </a:lnTo>
                  <a:lnTo>
                    <a:pt x="605" y="154"/>
                  </a:lnTo>
                  <a:lnTo>
                    <a:pt x="620" y="150"/>
                  </a:lnTo>
                  <a:lnTo>
                    <a:pt x="627" y="148"/>
                  </a:lnTo>
                  <a:lnTo>
                    <a:pt x="635" y="145"/>
                  </a:lnTo>
                  <a:lnTo>
                    <a:pt x="642" y="141"/>
                  </a:lnTo>
                  <a:lnTo>
                    <a:pt x="650" y="136"/>
                  </a:lnTo>
                  <a:lnTo>
                    <a:pt x="655" y="131"/>
                  </a:lnTo>
                  <a:lnTo>
                    <a:pt x="659" y="126"/>
                  </a:lnTo>
                  <a:lnTo>
                    <a:pt x="662" y="119"/>
                  </a:lnTo>
                  <a:lnTo>
                    <a:pt x="664" y="113"/>
                  </a:lnTo>
                  <a:lnTo>
                    <a:pt x="665" y="105"/>
                  </a:lnTo>
                  <a:lnTo>
                    <a:pt x="667" y="99"/>
                  </a:lnTo>
                  <a:lnTo>
                    <a:pt x="670" y="92"/>
                  </a:lnTo>
                  <a:lnTo>
                    <a:pt x="675" y="86"/>
                  </a:lnTo>
                  <a:lnTo>
                    <a:pt x="679" y="81"/>
                  </a:lnTo>
                  <a:lnTo>
                    <a:pt x="684" y="77"/>
                  </a:lnTo>
                  <a:lnTo>
                    <a:pt x="689" y="74"/>
                  </a:lnTo>
                  <a:lnTo>
                    <a:pt x="694" y="72"/>
                  </a:lnTo>
                  <a:lnTo>
                    <a:pt x="704" y="67"/>
                  </a:lnTo>
                  <a:lnTo>
                    <a:pt x="715" y="64"/>
                  </a:lnTo>
                  <a:lnTo>
                    <a:pt x="726" y="62"/>
                  </a:lnTo>
                  <a:lnTo>
                    <a:pt x="737" y="60"/>
                  </a:lnTo>
                  <a:lnTo>
                    <a:pt x="749" y="56"/>
                  </a:lnTo>
                  <a:lnTo>
                    <a:pt x="761" y="52"/>
                  </a:lnTo>
                  <a:lnTo>
                    <a:pt x="796" y="37"/>
                  </a:lnTo>
                  <a:lnTo>
                    <a:pt x="826" y="25"/>
                  </a:lnTo>
                  <a:lnTo>
                    <a:pt x="841" y="21"/>
                  </a:lnTo>
                  <a:lnTo>
                    <a:pt x="857" y="18"/>
                  </a:lnTo>
                  <a:lnTo>
                    <a:pt x="875" y="16"/>
                  </a:lnTo>
                  <a:lnTo>
                    <a:pt x="893" y="15"/>
                  </a:lnTo>
                  <a:lnTo>
                    <a:pt x="896" y="16"/>
                  </a:lnTo>
                  <a:lnTo>
                    <a:pt x="898" y="18"/>
                  </a:lnTo>
                  <a:lnTo>
                    <a:pt x="900" y="21"/>
                  </a:lnTo>
                  <a:lnTo>
                    <a:pt x="900" y="23"/>
                  </a:lnTo>
                  <a:lnTo>
                    <a:pt x="903" y="30"/>
                  </a:lnTo>
                  <a:lnTo>
                    <a:pt x="905" y="38"/>
                  </a:lnTo>
                  <a:lnTo>
                    <a:pt x="909" y="45"/>
                  </a:lnTo>
                  <a:lnTo>
                    <a:pt x="915" y="50"/>
                  </a:lnTo>
                  <a:lnTo>
                    <a:pt x="920" y="55"/>
                  </a:lnTo>
                  <a:lnTo>
                    <a:pt x="927" y="61"/>
                  </a:lnTo>
                  <a:lnTo>
                    <a:pt x="945" y="73"/>
                  </a:lnTo>
                  <a:lnTo>
                    <a:pt x="961" y="84"/>
                  </a:lnTo>
                  <a:lnTo>
                    <a:pt x="977" y="95"/>
                  </a:lnTo>
                  <a:lnTo>
                    <a:pt x="994" y="104"/>
                  </a:lnTo>
                  <a:lnTo>
                    <a:pt x="1012" y="111"/>
                  </a:lnTo>
                  <a:lnTo>
                    <a:pt x="1029" y="117"/>
                  </a:lnTo>
                  <a:lnTo>
                    <a:pt x="1039" y="119"/>
                  </a:lnTo>
                  <a:lnTo>
                    <a:pt x="1050" y="121"/>
                  </a:lnTo>
                  <a:lnTo>
                    <a:pt x="1059" y="121"/>
                  </a:lnTo>
                  <a:lnTo>
                    <a:pt x="1071" y="122"/>
                  </a:lnTo>
                  <a:lnTo>
                    <a:pt x="1087" y="122"/>
                  </a:lnTo>
                  <a:lnTo>
                    <a:pt x="1101" y="122"/>
                  </a:lnTo>
                  <a:lnTo>
                    <a:pt x="1114" y="122"/>
                  </a:lnTo>
                  <a:lnTo>
                    <a:pt x="1131" y="122"/>
                  </a:lnTo>
                  <a:lnTo>
                    <a:pt x="1137" y="121"/>
                  </a:lnTo>
                  <a:lnTo>
                    <a:pt x="1142" y="121"/>
                  </a:lnTo>
                  <a:lnTo>
                    <a:pt x="1147" y="119"/>
                  </a:lnTo>
                  <a:lnTo>
                    <a:pt x="1151" y="118"/>
                  </a:lnTo>
                  <a:lnTo>
                    <a:pt x="1160" y="113"/>
                  </a:lnTo>
                  <a:lnTo>
                    <a:pt x="1167" y="107"/>
                  </a:lnTo>
                  <a:lnTo>
                    <a:pt x="1174" y="100"/>
                  </a:lnTo>
                  <a:lnTo>
                    <a:pt x="1179" y="91"/>
                  </a:lnTo>
                  <a:lnTo>
                    <a:pt x="1185" y="82"/>
                  </a:lnTo>
                  <a:lnTo>
                    <a:pt x="1190" y="73"/>
                  </a:lnTo>
                  <a:lnTo>
                    <a:pt x="1201" y="53"/>
                  </a:lnTo>
                  <a:lnTo>
                    <a:pt x="1213" y="35"/>
                  </a:lnTo>
                  <a:lnTo>
                    <a:pt x="1219" y="27"/>
                  </a:lnTo>
                  <a:lnTo>
                    <a:pt x="1227" y="20"/>
                  </a:lnTo>
                  <a:lnTo>
                    <a:pt x="1236" y="14"/>
                  </a:lnTo>
                  <a:lnTo>
                    <a:pt x="1246" y="10"/>
                  </a:lnTo>
                  <a:lnTo>
                    <a:pt x="1258" y="7"/>
                  </a:lnTo>
                  <a:lnTo>
                    <a:pt x="1269" y="6"/>
                  </a:lnTo>
                  <a:lnTo>
                    <a:pt x="1280" y="6"/>
                  </a:lnTo>
                  <a:lnTo>
                    <a:pt x="1289" y="7"/>
                  </a:lnTo>
                  <a:lnTo>
                    <a:pt x="1310" y="9"/>
                  </a:lnTo>
                  <a:lnTo>
                    <a:pt x="1334" y="10"/>
                  </a:lnTo>
                  <a:lnTo>
                    <a:pt x="1347" y="8"/>
                  </a:lnTo>
                  <a:lnTo>
                    <a:pt x="1360" y="6"/>
                  </a:lnTo>
                  <a:lnTo>
                    <a:pt x="1371" y="2"/>
                  </a:lnTo>
                  <a:lnTo>
                    <a:pt x="1384" y="1"/>
                  </a:lnTo>
                  <a:lnTo>
                    <a:pt x="1422" y="1"/>
                  </a:lnTo>
                  <a:lnTo>
                    <a:pt x="1455" y="1"/>
                  </a:lnTo>
                  <a:lnTo>
                    <a:pt x="1487" y="0"/>
                  </a:lnTo>
                  <a:lnTo>
                    <a:pt x="1524" y="0"/>
                  </a:lnTo>
                  <a:lnTo>
                    <a:pt x="1527" y="8"/>
                  </a:lnTo>
                  <a:lnTo>
                    <a:pt x="1529" y="14"/>
                  </a:lnTo>
                  <a:lnTo>
                    <a:pt x="1532" y="21"/>
                  </a:lnTo>
                  <a:lnTo>
                    <a:pt x="1537" y="27"/>
                  </a:lnTo>
                  <a:lnTo>
                    <a:pt x="1541" y="33"/>
                  </a:lnTo>
                  <a:lnTo>
                    <a:pt x="1545" y="37"/>
                  </a:lnTo>
                  <a:lnTo>
                    <a:pt x="1551" y="41"/>
                  </a:lnTo>
                  <a:lnTo>
                    <a:pt x="1556" y="46"/>
                  </a:lnTo>
                  <a:lnTo>
                    <a:pt x="1563" y="49"/>
                  </a:lnTo>
                  <a:lnTo>
                    <a:pt x="1568" y="52"/>
                  </a:lnTo>
                  <a:lnTo>
                    <a:pt x="1574" y="54"/>
                  </a:lnTo>
                  <a:lnTo>
                    <a:pt x="1582" y="56"/>
                  </a:lnTo>
                  <a:lnTo>
                    <a:pt x="1596" y="60"/>
                  </a:lnTo>
                  <a:lnTo>
                    <a:pt x="1611" y="61"/>
                  </a:lnTo>
                  <a:lnTo>
                    <a:pt x="1640" y="60"/>
                  </a:lnTo>
                  <a:lnTo>
                    <a:pt x="1667" y="56"/>
                  </a:lnTo>
                  <a:lnTo>
                    <a:pt x="1692" y="53"/>
                  </a:lnTo>
                  <a:lnTo>
                    <a:pt x="1716" y="49"/>
                  </a:lnTo>
                  <a:lnTo>
                    <a:pt x="1741" y="45"/>
                  </a:lnTo>
                  <a:lnTo>
                    <a:pt x="1766" y="41"/>
                  </a:lnTo>
                  <a:lnTo>
                    <a:pt x="1792" y="39"/>
                  </a:lnTo>
                  <a:lnTo>
                    <a:pt x="1821" y="38"/>
                  </a:lnTo>
                  <a:lnTo>
                    <a:pt x="1840" y="37"/>
                  </a:lnTo>
                  <a:lnTo>
                    <a:pt x="1859" y="38"/>
                  </a:lnTo>
                  <a:lnTo>
                    <a:pt x="1867" y="39"/>
                  </a:lnTo>
                  <a:lnTo>
                    <a:pt x="1875" y="42"/>
                  </a:lnTo>
                  <a:lnTo>
                    <a:pt x="1878" y="45"/>
                  </a:lnTo>
                  <a:lnTo>
                    <a:pt x="1880" y="48"/>
                  </a:lnTo>
                  <a:lnTo>
                    <a:pt x="1883" y="51"/>
                  </a:lnTo>
                  <a:lnTo>
                    <a:pt x="1886" y="54"/>
                  </a:lnTo>
                  <a:lnTo>
                    <a:pt x="1890" y="64"/>
                  </a:lnTo>
                  <a:lnTo>
                    <a:pt x="1891" y="74"/>
                  </a:lnTo>
                  <a:lnTo>
                    <a:pt x="1892" y="83"/>
                  </a:lnTo>
                  <a:lnTo>
                    <a:pt x="1893" y="93"/>
                  </a:lnTo>
                  <a:lnTo>
                    <a:pt x="1893" y="102"/>
                  </a:lnTo>
                  <a:lnTo>
                    <a:pt x="1895" y="110"/>
                  </a:lnTo>
                  <a:lnTo>
                    <a:pt x="1896" y="115"/>
                  </a:lnTo>
                  <a:lnTo>
                    <a:pt x="1898" y="119"/>
                  </a:lnTo>
                  <a:lnTo>
                    <a:pt x="1902" y="123"/>
                  </a:lnTo>
                  <a:lnTo>
                    <a:pt x="1905" y="128"/>
                  </a:lnTo>
                  <a:lnTo>
                    <a:pt x="1910" y="132"/>
                  </a:lnTo>
                  <a:lnTo>
                    <a:pt x="1916" y="135"/>
                  </a:lnTo>
                  <a:lnTo>
                    <a:pt x="1922" y="137"/>
                  </a:lnTo>
                  <a:lnTo>
                    <a:pt x="1928" y="140"/>
                  </a:lnTo>
                  <a:lnTo>
                    <a:pt x="1941" y="142"/>
                  </a:lnTo>
                  <a:lnTo>
                    <a:pt x="1952" y="147"/>
                  </a:lnTo>
                  <a:lnTo>
                    <a:pt x="1972" y="159"/>
                  </a:lnTo>
                  <a:lnTo>
                    <a:pt x="1989" y="170"/>
                  </a:lnTo>
                  <a:lnTo>
                    <a:pt x="1998" y="174"/>
                  </a:lnTo>
                  <a:lnTo>
                    <a:pt x="2008" y="177"/>
                  </a:lnTo>
                  <a:lnTo>
                    <a:pt x="2017" y="180"/>
                  </a:lnTo>
                  <a:lnTo>
                    <a:pt x="2028" y="181"/>
                  </a:lnTo>
                  <a:lnTo>
                    <a:pt x="2028" y="181"/>
                  </a:lnTo>
                  <a:lnTo>
                    <a:pt x="2026" y="196"/>
                  </a:lnTo>
                  <a:lnTo>
                    <a:pt x="2024" y="211"/>
                  </a:lnTo>
                  <a:lnTo>
                    <a:pt x="2022" y="225"/>
                  </a:lnTo>
                  <a:lnTo>
                    <a:pt x="2021" y="239"/>
                  </a:lnTo>
                  <a:lnTo>
                    <a:pt x="2019" y="268"/>
                  </a:lnTo>
                  <a:lnTo>
                    <a:pt x="2017" y="298"/>
                  </a:lnTo>
                  <a:lnTo>
                    <a:pt x="2016" y="311"/>
                  </a:lnTo>
                  <a:lnTo>
                    <a:pt x="2013" y="323"/>
                  </a:lnTo>
                  <a:lnTo>
                    <a:pt x="2010" y="334"/>
                  </a:lnTo>
                  <a:lnTo>
                    <a:pt x="2006" y="345"/>
                  </a:lnTo>
                  <a:lnTo>
                    <a:pt x="2003" y="354"/>
                  </a:lnTo>
                  <a:lnTo>
                    <a:pt x="2000" y="365"/>
                  </a:lnTo>
                  <a:lnTo>
                    <a:pt x="1999" y="377"/>
                  </a:lnTo>
                  <a:lnTo>
                    <a:pt x="1998" y="390"/>
                  </a:lnTo>
                  <a:lnTo>
                    <a:pt x="1998" y="402"/>
                  </a:lnTo>
                  <a:lnTo>
                    <a:pt x="1998" y="413"/>
                  </a:lnTo>
                  <a:lnTo>
                    <a:pt x="2018" y="416"/>
                  </a:lnTo>
                  <a:lnTo>
                    <a:pt x="2038" y="417"/>
                  </a:lnTo>
                  <a:lnTo>
                    <a:pt x="2046" y="418"/>
                  </a:lnTo>
                  <a:lnTo>
                    <a:pt x="2056" y="419"/>
                  </a:lnTo>
                  <a:lnTo>
                    <a:pt x="2066" y="421"/>
                  </a:lnTo>
                  <a:lnTo>
                    <a:pt x="2077" y="425"/>
                  </a:lnTo>
                  <a:lnTo>
                    <a:pt x="2092" y="431"/>
                  </a:lnTo>
                  <a:lnTo>
                    <a:pt x="2106" y="440"/>
                  </a:lnTo>
                  <a:lnTo>
                    <a:pt x="2118" y="448"/>
                  </a:lnTo>
                  <a:lnTo>
                    <a:pt x="2130" y="458"/>
                  </a:lnTo>
                  <a:lnTo>
                    <a:pt x="2149" y="482"/>
                  </a:lnTo>
                  <a:lnTo>
                    <a:pt x="2172" y="509"/>
                  </a:lnTo>
                  <a:lnTo>
                    <a:pt x="2180" y="519"/>
                  </a:lnTo>
                  <a:lnTo>
                    <a:pt x="2189" y="526"/>
                  </a:lnTo>
                  <a:lnTo>
                    <a:pt x="2198" y="534"/>
                  </a:lnTo>
                  <a:lnTo>
                    <a:pt x="2207" y="540"/>
                  </a:lnTo>
                  <a:lnTo>
                    <a:pt x="2227" y="553"/>
                  </a:lnTo>
                  <a:lnTo>
                    <a:pt x="2247" y="567"/>
                  </a:lnTo>
                  <a:lnTo>
                    <a:pt x="2272" y="587"/>
                  </a:lnTo>
                  <a:lnTo>
                    <a:pt x="2295" y="605"/>
                  </a:lnTo>
                  <a:lnTo>
                    <a:pt x="2315" y="622"/>
                  </a:lnTo>
                  <a:lnTo>
                    <a:pt x="2336" y="640"/>
                  </a:lnTo>
                  <a:lnTo>
                    <a:pt x="2356" y="656"/>
                  </a:lnTo>
                  <a:lnTo>
                    <a:pt x="2378" y="673"/>
                  </a:lnTo>
                  <a:lnTo>
                    <a:pt x="2403" y="690"/>
                  </a:lnTo>
                  <a:lnTo>
                    <a:pt x="2430" y="708"/>
                  </a:lnTo>
                  <a:lnTo>
                    <a:pt x="2463" y="729"/>
                  </a:lnTo>
                  <a:lnTo>
                    <a:pt x="2494" y="750"/>
                  </a:lnTo>
                  <a:lnTo>
                    <a:pt x="2524" y="770"/>
                  </a:lnTo>
                  <a:lnTo>
                    <a:pt x="2558" y="792"/>
                  </a:lnTo>
                  <a:lnTo>
                    <a:pt x="2590" y="808"/>
                  </a:lnTo>
                  <a:lnTo>
                    <a:pt x="2618" y="821"/>
                  </a:lnTo>
                  <a:lnTo>
                    <a:pt x="2631" y="830"/>
                  </a:lnTo>
                  <a:lnTo>
                    <a:pt x="2643" y="838"/>
                  </a:lnTo>
                  <a:lnTo>
                    <a:pt x="2649" y="844"/>
                  </a:lnTo>
                  <a:lnTo>
                    <a:pt x="2655" y="850"/>
                  </a:lnTo>
                  <a:lnTo>
                    <a:pt x="2660" y="857"/>
                  </a:lnTo>
                  <a:lnTo>
                    <a:pt x="2665" y="864"/>
                  </a:lnTo>
                  <a:lnTo>
                    <a:pt x="2672" y="875"/>
                  </a:lnTo>
                  <a:lnTo>
                    <a:pt x="2679" y="885"/>
                  </a:lnTo>
                  <a:lnTo>
                    <a:pt x="2687" y="893"/>
                  </a:lnTo>
                  <a:lnTo>
                    <a:pt x="2694" y="901"/>
                  </a:lnTo>
                  <a:lnTo>
                    <a:pt x="2703" y="909"/>
                  </a:lnTo>
                  <a:lnTo>
                    <a:pt x="2711" y="915"/>
                  </a:lnTo>
                  <a:lnTo>
                    <a:pt x="2719" y="921"/>
                  </a:lnTo>
                  <a:lnTo>
                    <a:pt x="2729" y="927"/>
                  </a:lnTo>
                  <a:lnTo>
                    <a:pt x="2747" y="937"/>
                  </a:lnTo>
                  <a:lnTo>
                    <a:pt x="2768" y="946"/>
                  </a:lnTo>
                  <a:lnTo>
                    <a:pt x="2790" y="955"/>
                  </a:lnTo>
                  <a:lnTo>
                    <a:pt x="2813" y="966"/>
                  </a:lnTo>
                  <a:lnTo>
                    <a:pt x="2829" y="972"/>
                  </a:lnTo>
                  <a:lnTo>
                    <a:pt x="2845" y="978"/>
                  </a:lnTo>
                  <a:lnTo>
                    <a:pt x="2852" y="981"/>
                  </a:lnTo>
                  <a:lnTo>
                    <a:pt x="2859" y="985"/>
                  </a:lnTo>
                  <a:lnTo>
                    <a:pt x="2865" y="991"/>
                  </a:lnTo>
                  <a:lnTo>
                    <a:pt x="2873" y="996"/>
                  </a:lnTo>
                  <a:lnTo>
                    <a:pt x="2873" y="996"/>
                  </a:lnTo>
                  <a:close/>
                </a:path>
              </a:pathLst>
            </a:custGeom>
            <a:solidFill>
              <a:srgbClr val="3B61AC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60">
              <a:extLst>
                <a:ext uri="{FF2B5EF4-FFF2-40B4-BE49-F238E27FC236}">
                  <a16:creationId xmlns:a16="http://schemas.microsoft.com/office/drawing/2014/main" id="{37B4B10D-5651-4515-A005-C0684C93D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0238" y="3913188"/>
              <a:ext cx="1139825" cy="1157288"/>
            </a:xfrm>
            <a:custGeom>
              <a:avLst/>
              <a:gdLst>
                <a:gd name="T0" fmla="*/ 2819 w 2873"/>
                <a:gd name="T1" fmla="*/ 1159 h 2916"/>
                <a:gd name="T2" fmla="*/ 2788 w 2873"/>
                <a:gd name="T3" fmla="*/ 1260 h 2916"/>
                <a:gd name="T4" fmla="*/ 2690 w 2873"/>
                <a:gd name="T5" fmla="*/ 1348 h 2916"/>
                <a:gd name="T6" fmla="*/ 2575 w 2873"/>
                <a:gd name="T7" fmla="*/ 1444 h 2916"/>
                <a:gd name="T8" fmla="*/ 2458 w 2873"/>
                <a:gd name="T9" fmla="*/ 1631 h 2916"/>
                <a:gd name="T10" fmla="*/ 2399 w 2873"/>
                <a:gd name="T11" fmla="*/ 1817 h 2916"/>
                <a:gd name="T12" fmla="*/ 2265 w 2873"/>
                <a:gd name="T13" fmla="*/ 1971 h 2916"/>
                <a:gd name="T14" fmla="*/ 2157 w 2873"/>
                <a:gd name="T15" fmla="*/ 2115 h 2916"/>
                <a:gd name="T16" fmla="*/ 1961 w 2873"/>
                <a:gd name="T17" fmla="*/ 2174 h 2916"/>
                <a:gd name="T18" fmla="*/ 1753 w 2873"/>
                <a:gd name="T19" fmla="*/ 2352 h 2916"/>
                <a:gd name="T20" fmla="*/ 1662 w 2873"/>
                <a:gd name="T21" fmla="*/ 2481 h 2916"/>
                <a:gd name="T22" fmla="*/ 1585 w 2873"/>
                <a:gd name="T23" fmla="*/ 2621 h 2916"/>
                <a:gd name="T24" fmla="*/ 1482 w 2873"/>
                <a:gd name="T25" fmla="*/ 2742 h 2916"/>
                <a:gd name="T26" fmla="*/ 1379 w 2873"/>
                <a:gd name="T27" fmla="*/ 2916 h 2916"/>
                <a:gd name="T28" fmla="*/ 1286 w 2873"/>
                <a:gd name="T29" fmla="*/ 2792 h 2916"/>
                <a:gd name="T30" fmla="*/ 1210 w 2873"/>
                <a:gd name="T31" fmla="*/ 2789 h 2916"/>
                <a:gd name="T32" fmla="*/ 1012 w 2873"/>
                <a:gd name="T33" fmla="*/ 2790 h 2916"/>
                <a:gd name="T34" fmla="*/ 905 w 2873"/>
                <a:gd name="T35" fmla="*/ 2673 h 2916"/>
                <a:gd name="T36" fmla="*/ 884 w 2873"/>
                <a:gd name="T37" fmla="*/ 2520 h 2916"/>
                <a:gd name="T38" fmla="*/ 853 w 2873"/>
                <a:gd name="T39" fmla="*/ 2381 h 2916"/>
                <a:gd name="T40" fmla="*/ 873 w 2873"/>
                <a:gd name="T41" fmla="*/ 2282 h 2916"/>
                <a:gd name="T42" fmla="*/ 870 w 2873"/>
                <a:gd name="T43" fmla="*/ 2125 h 2916"/>
                <a:gd name="T44" fmla="*/ 693 w 2873"/>
                <a:gd name="T45" fmla="*/ 2031 h 2916"/>
                <a:gd name="T46" fmla="*/ 493 w 2873"/>
                <a:gd name="T47" fmla="*/ 2070 h 2916"/>
                <a:gd name="T48" fmla="*/ 363 w 2873"/>
                <a:gd name="T49" fmla="*/ 2021 h 2916"/>
                <a:gd name="T50" fmla="*/ 130 w 2873"/>
                <a:gd name="T51" fmla="*/ 1962 h 2916"/>
                <a:gd name="T52" fmla="*/ 1 w 2873"/>
                <a:gd name="T53" fmla="*/ 1870 h 2916"/>
                <a:gd name="T54" fmla="*/ 67 w 2873"/>
                <a:gd name="T55" fmla="*/ 1686 h 2916"/>
                <a:gd name="T56" fmla="*/ 84 w 2873"/>
                <a:gd name="T57" fmla="*/ 1517 h 2916"/>
                <a:gd name="T58" fmla="*/ 81 w 2873"/>
                <a:gd name="T59" fmla="*/ 1390 h 2916"/>
                <a:gd name="T60" fmla="*/ 36 w 2873"/>
                <a:gd name="T61" fmla="*/ 1312 h 2916"/>
                <a:gd name="T62" fmla="*/ 21 w 2873"/>
                <a:gd name="T63" fmla="*/ 1203 h 2916"/>
                <a:gd name="T64" fmla="*/ 65 w 2873"/>
                <a:gd name="T65" fmla="*/ 1139 h 2916"/>
                <a:gd name="T66" fmla="*/ 110 w 2873"/>
                <a:gd name="T67" fmla="*/ 1029 h 2916"/>
                <a:gd name="T68" fmla="*/ 33 w 2873"/>
                <a:gd name="T69" fmla="*/ 953 h 2916"/>
                <a:gd name="T70" fmla="*/ 95 w 2873"/>
                <a:gd name="T71" fmla="*/ 801 h 2916"/>
                <a:gd name="T72" fmla="*/ 174 w 2873"/>
                <a:gd name="T73" fmla="*/ 593 h 2916"/>
                <a:gd name="T74" fmla="*/ 233 w 2873"/>
                <a:gd name="T75" fmla="*/ 344 h 2916"/>
                <a:gd name="T76" fmla="*/ 258 w 2873"/>
                <a:gd name="T77" fmla="*/ 236 h 2916"/>
                <a:gd name="T78" fmla="*/ 178 w 2873"/>
                <a:gd name="T79" fmla="*/ 68 h 2916"/>
                <a:gd name="T80" fmla="*/ 248 w 2873"/>
                <a:gd name="T81" fmla="*/ 81 h 2916"/>
                <a:gd name="T82" fmla="*/ 389 w 2873"/>
                <a:gd name="T83" fmla="*/ 216 h 2916"/>
                <a:gd name="T84" fmla="*/ 507 w 2873"/>
                <a:gd name="T85" fmla="*/ 175 h 2916"/>
                <a:gd name="T86" fmla="*/ 642 w 2873"/>
                <a:gd name="T87" fmla="*/ 141 h 2916"/>
                <a:gd name="T88" fmla="*/ 689 w 2873"/>
                <a:gd name="T89" fmla="*/ 74 h 2916"/>
                <a:gd name="T90" fmla="*/ 875 w 2873"/>
                <a:gd name="T91" fmla="*/ 16 h 2916"/>
                <a:gd name="T92" fmla="*/ 945 w 2873"/>
                <a:gd name="T93" fmla="*/ 73 h 2916"/>
                <a:gd name="T94" fmla="*/ 1114 w 2873"/>
                <a:gd name="T95" fmla="*/ 122 h 2916"/>
                <a:gd name="T96" fmla="*/ 1201 w 2873"/>
                <a:gd name="T97" fmla="*/ 53 h 2916"/>
                <a:gd name="T98" fmla="*/ 1347 w 2873"/>
                <a:gd name="T99" fmla="*/ 8 h 2916"/>
                <a:gd name="T100" fmla="*/ 1541 w 2873"/>
                <a:gd name="T101" fmla="*/ 33 h 2916"/>
                <a:gd name="T102" fmla="*/ 1692 w 2873"/>
                <a:gd name="T103" fmla="*/ 53 h 2916"/>
                <a:gd name="T104" fmla="*/ 1883 w 2873"/>
                <a:gd name="T105" fmla="*/ 51 h 2916"/>
                <a:gd name="T106" fmla="*/ 1910 w 2873"/>
                <a:gd name="T107" fmla="*/ 132 h 2916"/>
                <a:gd name="T108" fmla="*/ 2028 w 2873"/>
                <a:gd name="T109" fmla="*/ 181 h 2916"/>
                <a:gd name="T110" fmla="*/ 2000 w 2873"/>
                <a:gd name="T111" fmla="*/ 365 h 2916"/>
                <a:gd name="T112" fmla="*/ 2106 w 2873"/>
                <a:gd name="T113" fmla="*/ 440 h 2916"/>
                <a:gd name="T114" fmla="*/ 2295 w 2873"/>
                <a:gd name="T115" fmla="*/ 605 h 2916"/>
                <a:gd name="T116" fmla="*/ 2618 w 2873"/>
                <a:gd name="T117" fmla="*/ 821 h 2916"/>
                <a:gd name="T118" fmla="*/ 2711 w 2873"/>
                <a:gd name="T119" fmla="*/ 915 h 2916"/>
                <a:gd name="T120" fmla="*/ 2873 w 2873"/>
                <a:gd name="T121" fmla="*/ 996 h 2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73" h="2916">
                  <a:moveTo>
                    <a:pt x="2873" y="996"/>
                  </a:moveTo>
                  <a:lnTo>
                    <a:pt x="2858" y="1010"/>
                  </a:lnTo>
                  <a:lnTo>
                    <a:pt x="2846" y="1024"/>
                  </a:lnTo>
                  <a:lnTo>
                    <a:pt x="2835" y="1039"/>
                  </a:lnTo>
                  <a:lnTo>
                    <a:pt x="2827" y="1055"/>
                  </a:lnTo>
                  <a:lnTo>
                    <a:pt x="2821" y="1072"/>
                  </a:lnTo>
                  <a:lnTo>
                    <a:pt x="2817" y="1089"/>
                  </a:lnTo>
                  <a:lnTo>
                    <a:pt x="2814" y="1107"/>
                  </a:lnTo>
                  <a:lnTo>
                    <a:pt x="2813" y="1128"/>
                  </a:lnTo>
                  <a:lnTo>
                    <a:pt x="2814" y="1140"/>
                  </a:lnTo>
                  <a:lnTo>
                    <a:pt x="2817" y="1149"/>
                  </a:lnTo>
                  <a:lnTo>
                    <a:pt x="2819" y="1159"/>
                  </a:lnTo>
                  <a:lnTo>
                    <a:pt x="2822" y="1169"/>
                  </a:lnTo>
                  <a:lnTo>
                    <a:pt x="2824" y="1177"/>
                  </a:lnTo>
                  <a:lnTo>
                    <a:pt x="2826" y="1187"/>
                  </a:lnTo>
                  <a:lnTo>
                    <a:pt x="2827" y="1198"/>
                  </a:lnTo>
                  <a:lnTo>
                    <a:pt x="2826" y="1209"/>
                  </a:lnTo>
                  <a:lnTo>
                    <a:pt x="2826" y="1209"/>
                  </a:lnTo>
                  <a:lnTo>
                    <a:pt x="2822" y="1217"/>
                  </a:lnTo>
                  <a:lnTo>
                    <a:pt x="2819" y="1224"/>
                  </a:lnTo>
                  <a:lnTo>
                    <a:pt x="2814" y="1230"/>
                  </a:lnTo>
                  <a:lnTo>
                    <a:pt x="2809" y="1236"/>
                  </a:lnTo>
                  <a:lnTo>
                    <a:pt x="2799" y="1247"/>
                  </a:lnTo>
                  <a:lnTo>
                    <a:pt x="2788" y="1260"/>
                  </a:lnTo>
                  <a:lnTo>
                    <a:pt x="2778" y="1276"/>
                  </a:lnTo>
                  <a:lnTo>
                    <a:pt x="2769" y="1290"/>
                  </a:lnTo>
                  <a:lnTo>
                    <a:pt x="2765" y="1297"/>
                  </a:lnTo>
                  <a:lnTo>
                    <a:pt x="2759" y="1304"/>
                  </a:lnTo>
                  <a:lnTo>
                    <a:pt x="2754" y="1309"/>
                  </a:lnTo>
                  <a:lnTo>
                    <a:pt x="2746" y="1316"/>
                  </a:lnTo>
                  <a:lnTo>
                    <a:pt x="2738" y="1321"/>
                  </a:lnTo>
                  <a:lnTo>
                    <a:pt x="2729" y="1325"/>
                  </a:lnTo>
                  <a:lnTo>
                    <a:pt x="2721" y="1329"/>
                  </a:lnTo>
                  <a:lnTo>
                    <a:pt x="2713" y="1333"/>
                  </a:lnTo>
                  <a:lnTo>
                    <a:pt x="2700" y="1341"/>
                  </a:lnTo>
                  <a:lnTo>
                    <a:pt x="2690" y="1348"/>
                  </a:lnTo>
                  <a:lnTo>
                    <a:pt x="2680" y="1357"/>
                  </a:lnTo>
                  <a:lnTo>
                    <a:pt x="2667" y="1363"/>
                  </a:lnTo>
                  <a:lnTo>
                    <a:pt x="2657" y="1368"/>
                  </a:lnTo>
                  <a:lnTo>
                    <a:pt x="2645" y="1369"/>
                  </a:lnTo>
                  <a:lnTo>
                    <a:pt x="2634" y="1371"/>
                  </a:lnTo>
                  <a:lnTo>
                    <a:pt x="2623" y="1375"/>
                  </a:lnTo>
                  <a:lnTo>
                    <a:pt x="2612" y="1380"/>
                  </a:lnTo>
                  <a:lnTo>
                    <a:pt x="2605" y="1387"/>
                  </a:lnTo>
                  <a:lnTo>
                    <a:pt x="2598" y="1395"/>
                  </a:lnTo>
                  <a:lnTo>
                    <a:pt x="2592" y="1403"/>
                  </a:lnTo>
                  <a:lnTo>
                    <a:pt x="2583" y="1423"/>
                  </a:lnTo>
                  <a:lnTo>
                    <a:pt x="2575" y="1444"/>
                  </a:lnTo>
                  <a:lnTo>
                    <a:pt x="2565" y="1471"/>
                  </a:lnTo>
                  <a:lnTo>
                    <a:pt x="2557" y="1495"/>
                  </a:lnTo>
                  <a:lnTo>
                    <a:pt x="2548" y="1519"/>
                  </a:lnTo>
                  <a:lnTo>
                    <a:pt x="2536" y="1546"/>
                  </a:lnTo>
                  <a:lnTo>
                    <a:pt x="2527" y="1557"/>
                  </a:lnTo>
                  <a:lnTo>
                    <a:pt x="2520" y="1568"/>
                  </a:lnTo>
                  <a:lnTo>
                    <a:pt x="2514" y="1577"/>
                  </a:lnTo>
                  <a:lnTo>
                    <a:pt x="2510" y="1586"/>
                  </a:lnTo>
                  <a:lnTo>
                    <a:pt x="2504" y="1593"/>
                  </a:lnTo>
                  <a:lnTo>
                    <a:pt x="2497" y="1602"/>
                  </a:lnTo>
                  <a:lnTo>
                    <a:pt x="2476" y="1617"/>
                  </a:lnTo>
                  <a:lnTo>
                    <a:pt x="2458" y="1631"/>
                  </a:lnTo>
                  <a:lnTo>
                    <a:pt x="2449" y="1639"/>
                  </a:lnTo>
                  <a:lnTo>
                    <a:pt x="2442" y="1646"/>
                  </a:lnTo>
                  <a:lnTo>
                    <a:pt x="2434" y="1655"/>
                  </a:lnTo>
                  <a:lnTo>
                    <a:pt x="2427" y="1666"/>
                  </a:lnTo>
                  <a:lnTo>
                    <a:pt x="2421" y="1675"/>
                  </a:lnTo>
                  <a:lnTo>
                    <a:pt x="2417" y="1685"/>
                  </a:lnTo>
                  <a:lnTo>
                    <a:pt x="2414" y="1694"/>
                  </a:lnTo>
                  <a:lnTo>
                    <a:pt x="2410" y="1703"/>
                  </a:lnTo>
                  <a:lnTo>
                    <a:pt x="2407" y="1721"/>
                  </a:lnTo>
                  <a:lnTo>
                    <a:pt x="2404" y="1739"/>
                  </a:lnTo>
                  <a:lnTo>
                    <a:pt x="2402" y="1776"/>
                  </a:lnTo>
                  <a:lnTo>
                    <a:pt x="2399" y="1817"/>
                  </a:lnTo>
                  <a:lnTo>
                    <a:pt x="2395" y="1833"/>
                  </a:lnTo>
                  <a:lnTo>
                    <a:pt x="2390" y="1848"/>
                  </a:lnTo>
                  <a:lnTo>
                    <a:pt x="2383" y="1861"/>
                  </a:lnTo>
                  <a:lnTo>
                    <a:pt x="2375" y="1873"/>
                  </a:lnTo>
                  <a:lnTo>
                    <a:pt x="2365" y="1884"/>
                  </a:lnTo>
                  <a:lnTo>
                    <a:pt x="2355" y="1893"/>
                  </a:lnTo>
                  <a:lnTo>
                    <a:pt x="2345" y="1902"/>
                  </a:lnTo>
                  <a:lnTo>
                    <a:pt x="2333" y="1912"/>
                  </a:lnTo>
                  <a:lnTo>
                    <a:pt x="2310" y="1929"/>
                  </a:lnTo>
                  <a:lnTo>
                    <a:pt x="2286" y="1949"/>
                  </a:lnTo>
                  <a:lnTo>
                    <a:pt x="2275" y="1959"/>
                  </a:lnTo>
                  <a:lnTo>
                    <a:pt x="2265" y="1971"/>
                  </a:lnTo>
                  <a:lnTo>
                    <a:pt x="2256" y="1985"/>
                  </a:lnTo>
                  <a:lnTo>
                    <a:pt x="2247" y="1999"/>
                  </a:lnTo>
                  <a:lnTo>
                    <a:pt x="2237" y="2021"/>
                  </a:lnTo>
                  <a:lnTo>
                    <a:pt x="2226" y="2040"/>
                  </a:lnTo>
                  <a:lnTo>
                    <a:pt x="2215" y="2059"/>
                  </a:lnTo>
                  <a:lnTo>
                    <a:pt x="2203" y="2075"/>
                  </a:lnTo>
                  <a:lnTo>
                    <a:pt x="2197" y="2082"/>
                  </a:lnTo>
                  <a:lnTo>
                    <a:pt x="2190" y="2090"/>
                  </a:lnTo>
                  <a:lnTo>
                    <a:pt x="2183" y="2097"/>
                  </a:lnTo>
                  <a:lnTo>
                    <a:pt x="2174" y="2103"/>
                  </a:lnTo>
                  <a:lnTo>
                    <a:pt x="2165" y="2109"/>
                  </a:lnTo>
                  <a:lnTo>
                    <a:pt x="2157" y="2115"/>
                  </a:lnTo>
                  <a:lnTo>
                    <a:pt x="2146" y="2120"/>
                  </a:lnTo>
                  <a:lnTo>
                    <a:pt x="2135" y="2126"/>
                  </a:lnTo>
                  <a:lnTo>
                    <a:pt x="2118" y="2132"/>
                  </a:lnTo>
                  <a:lnTo>
                    <a:pt x="2100" y="2136"/>
                  </a:lnTo>
                  <a:lnTo>
                    <a:pt x="2084" y="2139"/>
                  </a:lnTo>
                  <a:lnTo>
                    <a:pt x="2068" y="2140"/>
                  </a:lnTo>
                  <a:lnTo>
                    <a:pt x="2052" y="2142"/>
                  </a:lnTo>
                  <a:lnTo>
                    <a:pt x="2036" y="2144"/>
                  </a:lnTo>
                  <a:lnTo>
                    <a:pt x="2018" y="2147"/>
                  </a:lnTo>
                  <a:lnTo>
                    <a:pt x="2000" y="2154"/>
                  </a:lnTo>
                  <a:lnTo>
                    <a:pt x="1979" y="2163"/>
                  </a:lnTo>
                  <a:lnTo>
                    <a:pt x="1961" y="2174"/>
                  </a:lnTo>
                  <a:lnTo>
                    <a:pt x="1945" y="2185"/>
                  </a:lnTo>
                  <a:lnTo>
                    <a:pt x="1930" y="2198"/>
                  </a:lnTo>
                  <a:lnTo>
                    <a:pt x="1915" y="2212"/>
                  </a:lnTo>
                  <a:lnTo>
                    <a:pt x="1902" y="2227"/>
                  </a:lnTo>
                  <a:lnTo>
                    <a:pt x="1888" y="2244"/>
                  </a:lnTo>
                  <a:lnTo>
                    <a:pt x="1875" y="2263"/>
                  </a:lnTo>
                  <a:lnTo>
                    <a:pt x="1854" y="2282"/>
                  </a:lnTo>
                  <a:lnTo>
                    <a:pt x="1834" y="2300"/>
                  </a:lnTo>
                  <a:lnTo>
                    <a:pt x="1814" y="2314"/>
                  </a:lnTo>
                  <a:lnTo>
                    <a:pt x="1795" y="2327"/>
                  </a:lnTo>
                  <a:lnTo>
                    <a:pt x="1774" y="2340"/>
                  </a:lnTo>
                  <a:lnTo>
                    <a:pt x="1753" y="2352"/>
                  </a:lnTo>
                  <a:lnTo>
                    <a:pt x="1730" y="2365"/>
                  </a:lnTo>
                  <a:lnTo>
                    <a:pt x="1706" y="2381"/>
                  </a:lnTo>
                  <a:lnTo>
                    <a:pt x="1700" y="2385"/>
                  </a:lnTo>
                  <a:lnTo>
                    <a:pt x="1694" y="2389"/>
                  </a:lnTo>
                  <a:lnTo>
                    <a:pt x="1689" y="2395"/>
                  </a:lnTo>
                  <a:lnTo>
                    <a:pt x="1685" y="2400"/>
                  </a:lnTo>
                  <a:lnTo>
                    <a:pt x="1677" y="2411"/>
                  </a:lnTo>
                  <a:lnTo>
                    <a:pt x="1672" y="2424"/>
                  </a:lnTo>
                  <a:lnTo>
                    <a:pt x="1668" y="2437"/>
                  </a:lnTo>
                  <a:lnTo>
                    <a:pt x="1665" y="2451"/>
                  </a:lnTo>
                  <a:lnTo>
                    <a:pt x="1663" y="2466"/>
                  </a:lnTo>
                  <a:lnTo>
                    <a:pt x="1662" y="2481"/>
                  </a:lnTo>
                  <a:lnTo>
                    <a:pt x="1660" y="2494"/>
                  </a:lnTo>
                  <a:lnTo>
                    <a:pt x="1658" y="2505"/>
                  </a:lnTo>
                  <a:lnTo>
                    <a:pt x="1654" y="2514"/>
                  </a:lnTo>
                  <a:lnTo>
                    <a:pt x="1651" y="2524"/>
                  </a:lnTo>
                  <a:lnTo>
                    <a:pt x="1642" y="2544"/>
                  </a:lnTo>
                  <a:lnTo>
                    <a:pt x="1634" y="2565"/>
                  </a:lnTo>
                  <a:lnTo>
                    <a:pt x="1628" y="2575"/>
                  </a:lnTo>
                  <a:lnTo>
                    <a:pt x="1624" y="2584"/>
                  </a:lnTo>
                  <a:lnTo>
                    <a:pt x="1618" y="2591"/>
                  </a:lnTo>
                  <a:lnTo>
                    <a:pt x="1612" y="2599"/>
                  </a:lnTo>
                  <a:lnTo>
                    <a:pt x="1599" y="2611"/>
                  </a:lnTo>
                  <a:lnTo>
                    <a:pt x="1585" y="2621"/>
                  </a:lnTo>
                  <a:lnTo>
                    <a:pt x="1570" y="2632"/>
                  </a:lnTo>
                  <a:lnTo>
                    <a:pt x="1555" y="2643"/>
                  </a:lnTo>
                  <a:lnTo>
                    <a:pt x="1539" y="2655"/>
                  </a:lnTo>
                  <a:lnTo>
                    <a:pt x="1524" y="2669"/>
                  </a:lnTo>
                  <a:lnTo>
                    <a:pt x="1517" y="2679"/>
                  </a:lnTo>
                  <a:lnTo>
                    <a:pt x="1511" y="2687"/>
                  </a:lnTo>
                  <a:lnTo>
                    <a:pt x="1506" y="2696"/>
                  </a:lnTo>
                  <a:lnTo>
                    <a:pt x="1502" y="2706"/>
                  </a:lnTo>
                  <a:lnTo>
                    <a:pt x="1499" y="2714"/>
                  </a:lnTo>
                  <a:lnTo>
                    <a:pt x="1495" y="2724"/>
                  </a:lnTo>
                  <a:lnTo>
                    <a:pt x="1489" y="2733"/>
                  </a:lnTo>
                  <a:lnTo>
                    <a:pt x="1482" y="2742"/>
                  </a:lnTo>
                  <a:lnTo>
                    <a:pt x="1457" y="2767"/>
                  </a:lnTo>
                  <a:lnTo>
                    <a:pt x="1433" y="2789"/>
                  </a:lnTo>
                  <a:lnTo>
                    <a:pt x="1422" y="2800"/>
                  </a:lnTo>
                  <a:lnTo>
                    <a:pt x="1412" y="2811"/>
                  </a:lnTo>
                  <a:lnTo>
                    <a:pt x="1408" y="2819"/>
                  </a:lnTo>
                  <a:lnTo>
                    <a:pt x="1405" y="2827"/>
                  </a:lnTo>
                  <a:lnTo>
                    <a:pt x="1401" y="2834"/>
                  </a:lnTo>
                  <a:lnTo>
                    <a:pt x="1398" y="2843"/>
                  </a:lnTo>
                  <a:lnTo>
                    <a:pt x="1392" y="2862"/>
                  </a:lnTo>
                  <a:lnTo>
                    <a:pt x="1388" y="2880"/>
                  </a:lnTo>
                  <a:lnTo>
                    <a:pt x="1384" y="2896"/>
                  </a:lnTo>
                  <a:lnTo>
                    <a:pt x="1379" y="2916"/>
                  </a:lnTo>
                  <a:lnTo>
                    <a:pt x="1379" y="2916"/>
                  </a:lnTo>
                  <a:lnTo>
                    <a:pt x="1365" y="2898"/>
                  </a:lnTo>
                  <a:lnTo>
                    <a:pt x="1350" y="2882"/>
                  </a:lnTo>
                  <a:lnTo>
                    <a:pt x="1343" y="2874"/>
                  </a:lnTo>
                  <a:lnTo>
                    <a:pt x="1337" y="2865"/>
                  </a:lnTo>
                  <a:lnTo>
                    <a:pt x="1330" y="2857"/>
                  </a:lnTo>
                  <a:lnTo>
                    <a:pt x="1325" y="2846"/>
                  </a:lnTo>
                  <a:lnTo>
                    <a:pt x="1318" y="2832"/>
                  </a:lnTo>
                  <a:lnTo>
                    <a:pt x="1310" y="2818"/>
                  </a:lnTo>
                  <a:lnTo>
                    <a:pt x="1301" y="2806"/>
                  </a:lnTo>
                  <a:lnTo>
                    <a:pt x="1291" y="2796"/>
                  </a:lnTo>
                  <a:lnTo>
                    <a:pt x="1286" y="2792"/>
                  </a:lnTo>
                  <a:lnTo>
                    <a:pt x="1281" y="2788"/>
                  </a:lnTo>
                  <a:lnTo>
                    <a:pt x="1274" y="2784"/>
                  </a:lnTo>
                  <a:lnTo>
                    <a:pt x="1268" y="2781"/>
                  </a:lnTo>
                  <a:lnTo>
                    <a:pt x="1261" y="2779"/>
                  </a:lnTo>
                  <a:lnTo>
                    <a:pt x="1254" y="2777"/>
                  </a:lnTo>
                  <a:lnTo>
                    <a:pt x="1246" y="2776"/>
                  </a:lnTo>
                  <a:lnTo>
                    <a:pt x="1239" y="2776"/>
                  </a:lnTo>
                  <a:lnTo>
                    <a:pt x="1231" y="2777"/>
                  </a:lnTo>
                  <a:lnTo>
                    <a:pt x="1226" y="2778"/>
                  </a:lnTo>
                  <a:lnTo>
                    <a:pt x="1220" y="2781"/>
                  </a:lnTo>
                  <a:lnTo>
                    <a:pt x="1215" y="2784"/>
                  </a:lnTo>
                  <a:lnTo>
                    <a:pt x="1210" y="2789"/>
                  </a:lnTo>
                  <a:lnTo>
                    <a:pt x="1205" y="2792"/>
                  </a:lnTo>
                  <a:lnTo>
                    <a:pt x="1200" y="2795"/>
                  </a:lnTo>
                  <a:lnTo>
                    <a:pt x="1193" y="2799"/>
                  </a:lnTo>
                  <a:lnTo>
                    <a:pt x="1180" y="2801"/>
                  </a:lnTo>
                  <a:lnTo>
                    <a:pt x="1167" y="2802"/>
                  </a:lnTo>
                  <a:lnTo>
                    <a:pt x="1154" y="2802"/>
                  </a:lnTo>
                  <a:lnTo>
                    <a:pt x="1140" y="2801"/>
                  </a:lnTo>
                  <a:lnTo>
                    <a:pt x="1097" y="2802"/>
                  </a:lnTo>
                  <a:lnTo>
                    <a:pt x="1058" y="2801"/>
                  </a:lnTo>
                  <a:lnTo>
                    <a:pt x="1040" y="2799"/>
                  </a:lnTo>
                  <a:lnTo>
                    <a:pt x="1021" y="2793"/>
                  </a:lnTo>
                  <a:lnTo>
                    <a:pt x="1012" y="2790"/>
                  </a:lnTo>
                  <a:lnTo>
                    <a:pt x="1003" y="2787"/>
                  </a:lnTo>
                  <a:lnTo>
                    <a:pt x="993" y="2781"/>
                  </a:lnTo>
                  <a:lnTo>
                    <a:pt x="984" y="2776"/>
                  </a:lnTo>
                  <a:lnTo>
                    <a:pt x="971" y="2767"/>
                  </a:lnTo>
                  <a:lnTo>
                    <a:pt x="959" y="2759"/>
                  </a:lnTo>
                  <a:lnTo>
                    <a:pt x="949" y="2749"/>
                  </a:lnTo>
                  <a:lnTo>
                    <a:pt x="940" y="2740"/>
                  </a:lnTo>
                  <a:lnTo>
                    <a:pt x="933" y="2729"/>
                  </a:lnTo>
                  <a:lnTo>
                    <a:pt x="925" y="2720"/>
                  </a:lnTo>
                  <a:lnTo>
                    <a:pt x="919" y="2709"/>
                  </a:lnTo>
                  <a:lnTo>
                    <a:pt x="913" y="2697"/>
                  </a:lnTo>
                  <a:lnTo>
                    <a:pt x="905" y="2673"/>
                  </a:lnTo>
                  <a:lnTo>
                    <a:pt x="896" y="2648"/>
                  </a:lnTo>
                  <a:lnTo>
                    <a:pt x="890" y="2620"/>
                  </a:lnTo>
                  <a:lnTo>
                    <a:pt x="882" y="2591"/>
                  </a:lnTo>
                  <a:lnTo>
                    <a:pt x="879" y="2583"/>
                  </a:lnTo>
                  <a:lnTo>
                    <a:pt x="878" y="2575"/>
                  </a:lnTo>
                  <a:lnTo>
                    <a:pt x="877" y="2566"/>
                  </a:lnTo>
                  <a:lnTo>
                    <a:pt x="877" y="2559"/>
                  </a:lnTo>
                  <a:lnTo>
                    <a:pt x="877" y="2550"/>
                  </a:lnTo>
                  <a:lnTo>
                    <a:pt x="879" y="2541"/>
                  </a:lnTo>
                  <a:lnTo>
                    <a:pt x="880" y="2534"/>
                  </a:lnTo>
                  <a:lnTo>
                    <a:pt x="882" y="2527"/>
                  </a:lnTo>
                  <a:lnTo>
                    <a:pt x="884" y="2520"/>
                  </a:lnTo>
                  <a:lnTo>
                    <a:pt x="886" y="2512"/>
                  </a:lnTo>
                  <a:lnTo>
                    <a:pt x="888" y="2505"/>
                  </a:lnTo>
                  <a:lnTo>
                    <a:pt x="888" y="2495"/>
                  </a:lnTo>
                  <a:lnTo>
                    <a:pt x="888" y="2475"/>
                  </a:lnTo>
                  <a:lnTo>
                    <a:pt x="886" y="2456"/>
                  </a:lnTo>
                  <a:lnTo>
                    <a:pt x="884" y="2438"/>
                  </a:lnTo>
                  <a:lnTo>
                    <a:pt x="880" y="2417"/>
                  </a:lnTo>
                  <a:lnTo>
                    <a:pt x="876" y="2408"/>
                  </a:lnTo>
                  <a:lnTo>
                    <a:pt x="870" y="2400"/>
                  </a:lnTo>
                  <a:lnTo>
                    <a:pt x="865" y="2394"/>
                  </a:lnTo>
                  <a:lnTo>
                    <a:pt x="858" y="2387"/>
                  </a:lnTo>
                  <a:lnTo>
                    <a:pt x="853" y="2381"/>
                  </a:lnTo>
                  <a:lnTo>
                    <a:pt x="848" y="2373"/>
                  </a:lnTo>
                  <a:lnTo>
                    <a:pt x="845" y="2369"/>
                  </a:lnTo>
                  <a:lnTo>
                    <a:pt x="844" y="2365"/>
                  </a:lnTo>
                  <a:lnTo>
                    <a:pt x="843" y="2360"/>
                  </a:lnTo>
                  <a:lnTo>
                    <a:pt x="843" y="2356"/>
                  </a:lnTo>
                  <a:lnTo>
                    <a:pt x="843" y="2346"/>
                  </a:lnTo>
                  <a:lnTo>
                    <a:pt x="845" y="2338"/>
                  </a:lnTo>
                  <a:lnTo>
                    <a:pt x="848" y="2330"/>
                  </a:lnTo>
                  <a:lnTo>
                    <a:pt x="850" y="2322"/>
                  </a:lnTo>
                  <a:lnTo>
                    <a:pt x="857" y="2308"/>
                  </a:lnTo>
                  <a:lnTo>
                    <a:pt x="866" y="2295"/>
                  </a:lnTo>
                  <a:lnTo>
                    <a:pt x="873" y="2282"/>
                  </a:lnTo>
                  <a:lnTo>
                    <a:pt x="881" y="2268"/>
                  </a:lnTo>
                  <a:lnTo>
                    <a:pt x="883" y="2261"/>
                  </a:lnTo>
                  <a:lnTo>
                    <a:pt x="886" y="2252"/>
                  </a:lnTo>
                  <a:lnTo>
                    <a:pt x="888" y="2243"/>
                  </a:lnTo>
                  <a:lnTo>
                    <a:pt x="888" y="2235"/>
                  </a:lnTo>
                  <a:lnTo>
                    <a:pt x="888" y="2217"/>
                  </a:lnTo>
                  <a:lnTo>
                    <a:pt x="888" y="2200"/>
                  </a:lnTo>
                  <a:lnTo>
                    <a:pt x="886" y="2185"/>
                  </a:lnTo>
                  <a:lnTo>
                    <a:pt x="884" y="2170"/>
                  </a:lnTo>
                  <a:lnTo>
                    <a:pt x="881" y="2155"/>
                  </a:lnTo>
                  <a:lnTo>
                    <a:pt x="877" y="2140"/>
                  </a:lnTo>
                  <a:lnTo>
                    <a:pt x="870" y="2125"/>
                  </a:lnTo>
                  <a:lnTo>
                    <a:pt x="863" y="2108"/>
                  </a:lnTo>
                  <a:lnTo>
                    <a:pt x="856" y="2098"/>
                  </a:lnTo>
                  <a:lnTo>
                    <a:pt x="848" y="2089"/>
                  </a:lnTo>
                  <a:lnTo>
                    <a:pt x="839" y="2082"/>
                  </a:lnTo>
                  <a:lnTo>
                    <a:pt x="829" y="2077"/>
                  </a:lnTo>
                  <a:lnTo>
                    <a:pt x="809" y="2067"/>
                  </a:lnTo>
                  <a:lnTo>
                    <a:pt x="784" y="2059"/>
                  </a:lnTo>
                  <a:lnTo>
                    <a:pt x="757" y="2047"/>
                  </a:lnTo>
                  <a:lnTo>
                    <a:pt x="732" y="2038"/>
                  </a:lnTo>
                  <a:lnTo>
                    <a:pt x="720" y="2035"/>
                  </a:lnTo>
                  <a:lnTo>
                    <a:pt x="707" y="2033"/>
                  </a:lnTo>
                  <a:lnTo>
                    <a:pt x="693" y="2031"/>
                  </a:lnTo>
                  <a:lnTo>
                    <a:pt x="678" y="2031"/>
                  </a:lnTo>
                  <a:lnTo>
                    <a:pt x="657" y="2031"/>
                  </a:lnTo>
                  <a:lnTo>
                    <a:pt x="639" y="2033"/>
                  </a:lnTo>
                  <a:lnTo>
                    <a:pt x="621" y="2036"/>
                  </a:lnTo>
                  <a:lnTo>
                    <a:pt x="605" y="2039"/>
                  </a:lnTo>
                  <a:lnTo>
                    <a:pt x="571" y="2048"/>
                  </a:lnTo>
                  <a:lnTo>
                    <a:pt x="532" y="2055"/>
                  </a:lnTo>
                  <a:lnTo>
                    <a:pt x="520" y="2059"/>
                  </a:lnTo>
                  <a:lnTo>
                    <a:pt x="509" y="2064"/>
                  </a:lnTo>
                  <a:lnTo>
                    <a:pt x="504" y="2066"/>
                  </a:lnTo>
                  <a:lnTo>
                    <a:pt x="500" y="2067"/>
                  </a:lnTo>
                  <a:lnTo>
                    <a:pt x="493" y="2070"/>
                  </a:lnTo>
                  <a:lnTo>
                    <a:pt x="487" y="2070"/>
                  </a:lnTo>
                  <a:lnTo>
                    <a:pt x="480" y="2070"/>
                  </a:lnTo>
                  <a:lnTo>
                    <a:pt x="474" y="2068"/>
                  </a:lnTo>
                  <a:lnTo>
                    <a:pt x="468" y="2066"/>
                  </a:lnTo>
                  <a:lnTo>
                    <a:pt x="463" y="2065"/>
                  </a:lnTo>
                  <a:lnTo>
                    <a:pt x="452" y="2060"/>
                  </a:lnTo>
                  <a:lnTo>
                    <a:pt x="443" y="2053"/>
                  </a:lnTo>
                  <a:lnTo>
                    <a:pt x="433" y="2047"/>
                  </a:lnTo>
                  <a:lnTo>
                    <a:pt x="423" y="2040"/>
                  </a:lnTo>
                  <a:lnTo>
                    <a:pt x="412" y="2035"/>
                  </a:lnTo>
                  <a:lnTo>
                    <a:pt x="400" y="2031"/>
                  </a:lnTo>
                  <a:lnTo>
                    <a:pt x="363" y="2021"/>
                  </a:lnTo>
                  <a:lnTo>
                    <a:pt x="328" y="2013"/>
                  </a:lnTo>
                  <a:lnTo>
                    <a:pt x="312" y="2009"/>
                  </a:lnTo>
                  <a:lnTo>
                    <a:pt x="295" y="2005"/>
                  </a:lnTo>
                  <a:lnTo>
                    <a:pt x="276" y="1998"/>
                  </a:lnTo>
                  <a:lnTo>
                    <a:pt x="257" y="1991"/>
                  </a:lnTo>
                  <a:lnTo>
                    <a:pt x="233" y="1980"/>
                  </a:lnTo>
                  <a:lnTo>
                    <a:pt x="210" y="1970"/>
                  </a:lnTo>
                  <a:lnTo>
                    <a:pt x="200" y="1966"/>
                  </a:lnTo>
                  <a:lnTo>
                    <a:pt x="188" y="1963"/>
                  </a:lnTo>
                  <a:lnTo>
                    <a:pt x="176" y="1960"/>
                  </a:lnTo>
                  <a:lnTo>
                    <a:pt x="162" y="1960"/>
                  </a:lnTo>
                  <a:lnTo>
                    <a:pt x="130" y="1962"/>
                  </a:lnTo>
                  <a:lnTo>
                    <a:pt x="98" y="1963"/>
                  </a:lnTo>
                  <a:lnTo>
                    <a:pt x="67" y="1965"/>
                  </a:lnTo>
                  <a:lnTo>
                    <a:pt x="34" y="1966"/>
                  </a:lnTo>
                  <a:lnTo>
                    <a:pt x="29" y="1950"/>
                  </a:lnTo>
                  <a:lnTo>
                    <a:pt x="22" y="1936"/>
                  </a:lnTo>
                  <a:lnTo>
                    <a:pt x="19" y="1929"/>
                  </a:lnTo>
                  <a:lnTo>
                    <a:pt x="16" y="1922"/>
                  </a:lnTo>
                  <a:lnTo>
                    <a:pt x="14" y="1913"/>
                  </a:lnTo>
                  <a:lnTo>
                    <a:pt x="12" y="1904"/>
                  </a:lnTo>
                  <a:lnTo>
                    <a:pt x="5" y="1892"/>
                  </a:lnTo>
                  <a:lnTo>
                    <a:pt x="0" y="1881"/>
                  </a:lnTo>
                  <a:lnTo>
                    <a:pt x="1" y="1870"/>
                  </a:lnTo>
                  <a:lnTo>
                    <a:pt x="3" y="1861"/>
                  </a:lnTo>
                  <a:lnTo>
                    <a:pt x="7" y="1852"/>
                  </a:lnTo>
                  <a:lnTo>
                    <a:pt x="11" y="1843"/>
                  </a:lnTo>
                  <a:lnTo>
                    <a:pt x="17" y="1822"/>
                  </a:lnTo>
                  <a:lnTo>
                    <a:pt x="23" y="1803"/>
                  </a:lnTo>
                  <a:lnTo>
                    <a:pt x="31" y="1787"/>
                  </a:lnTo>
                  <a:lnTo>
                    <a:pt x="38" y="1769"/>
                  </a:lnTo>
                  <a:lnTo>
                    <a:pt x="44" y="1753"/>
                  </a:lnTo>
                  <a:lnTo>
                    <a:pt x="52" y="1736"/>
                  </a:lnTo>
                  <a:lnTo>
                    <a:pt x="58" y="1717"/>
                  </a:lnTo>
                  <a:lnTo>
                    <a:pt x="63" y="1697"/>
                  </a:lnTo>
                  <a:lnTo>
                    <a:pt x="67" y="1686"/>
                  </a:lnTo>
                  <a:lnTo>
                    <a:pt x="68" y="1677"/>
                  </a:lnTo>
                  <a:lnTo>
                    <a:pt x="69" y="1668"/>
                  </a:lnTo>
                  <a:lnTo>
                    <a:pt x="69" y="1659"/>
                  </a:lnTo>
                  <a:lnTo>
                    <a:pt x="69" y="1642"/>
                  </a:lnTo>
                  <a:lnTo>
                    <a:pt x="71" y="1621"/>
                  </a:lnTo>
                  <a:lnTo>
                    <a:pt x="74" y="1595"/>
                  </a:lnTo>
                  <a:lnTo>
                    <a:pt x="79" y="1574"/>
                  </a:lnTo>
                  <a:lnTo>
                    <a:pt x="81" y="1562"/>
                  </a:lnTo>
                  <a:lnTo>
                    <a:pt x="82" y="1551"/>
                  </a:lnTo>
                  <a:lnTo>
                    <a:pt x="83" y="1539"/>
                  </a:lnTo>
                  <a:lnTo>
                    <a:pt x="84" y="1525"/>
                  </a:lnTo>
                  <a:lnTo>
                    <a:pt x="84" y="1517"/>
                  </a:lnTo>
                  <a:lnTo>
                    <a:pt x="84" y="1509"/>
                  </a:lnTo>
                  <a:lnTo>
                    <a:pt x="84" y="1501"/>
                  </a:lnTo>
                  <a:lnTo>
                    <a:pt x="84" y="1493"/>
                  </a:lnTo>
                  <a:lnTo>
                    <a:pt x="83" y="1482"/>
                  </a:lnTo>
                  <a:lnTo>
                    <a:pt x="82" y="1472"/>
                  </a:lnTo>
                  <a:lnTo>
                    <a:pt x="81" y="1464"/>
                  </a:lnTo>
                  <a:lnTo>
                    <a:pt x="81" y="1453"/>
                  </a:lnTo>
                  <a:lnTo>
                    <a:pt x="81" y="1441"/>
                  </a:lnTo>
                  <a:lnTo>
                    <a:pt x="81" y="1430"/>
                  </a:lnTo>
                  <a:lnTo>
                    <a:pt x="81" y="1420"/>
                  </a:lnTo>
                  <a:lnTo>
                    <a:pt x="81" y="1409"/>
                  </a:lnTo>
                  <a:lnTo>
                    <a:pt x="81" y="1390"/>
                  </a:lnTo>
                  <a:lnTo>
                    <a:pt x="79" y="1374"/>
                  </a:lnTo>
                  <a:lnTo>
                    <a:pt x="77" y="1365"/>
                  </a:lnTo>
                  <a:lnTo>
                    <a:pt x="75" y="1358"/>
                  </a:lnTo>
                  <a:lnTo>
                    <a:pt x="72" y="1349"/>
                  </a:lnTo>
                  <a:lnTo>
                    <a:pt x="68" y="1341"/>
                  </a:lnTo>
                  <a:lnTo>
                    <a:pt x="66" y="1337"/>
                  </a:lnTo>
                  <a:lnTo>
                    <a:pt x="62" y="1333"/>
                  </a:lnTo>
                  <a:lnTo>
                    <a:pt x="59" y="1331"/>
                  </a:lnTo>
                  <a:lnTo>
                    <a:pt x="56" y="1328"/>
                  </a:lnTo>
                  <a:lnTo>
                    <a:pt x="48" y="1323"/>
                  </a:lnTo>
                  <a:lnTo>
                    <a:pt x="42" y="1317"/>
                  </a:lnTo>
                  <a:lnTo>
                    <a:pt x="36" y="1312"/>
                  </a:lnTo>
                  <a:lnTo>
                    <a:pt x="33" y="1307"/>
                  </a:lnTo>
                  <a:lnTo>
                    <a:pt x="29" y="1302"/>
                  </a:lnTo>
                  <a:lnTo>
                    <a:pt x="27" y="1296"/>
                  </a:lnTo>
                  <a:lnTo>
                    <a:pt x="25" y="1291"/>
                  </a:lnTo>
                  <a:lnTo>
                    <a:pt x="23" y="1285"/>
                  </a:lnTo>
                  <a:lnTo>
                    <a:pt x="22" y="1279"/>
                  </a:lnTo>
                  <a:lnTo>
                    <a:pt x="21" y="1271"/>
                  </a:lnTo>
                  <a:lnTo>
                    <a:pt x="21" y="1255"/>
                  </a:lnTo>
                  <a:lnTo>
                    <a:pt x="21" y="1241"/>
                  </a:lnTo>
                  <a:lnTo>
                    <a:pt x="21" y="1226"/>
                  </a:lnTo>
                  <a:lnTo>
                    <a:pt x="21" y="1210"/>
                  </a:lnTo>
                  <a:lnTo>
                    <a:pt x="21" y="1203"/>
                  </a:lnTo>
                  <a:lnTo>
                    <a:pt x="19" y="1198"/>
                  </a:lnTo>
                  <a:lnTo>
                    <a:pt x="17" y="1193"/>
                  </a:lnTo>
                  <a:lnTo>
                    <a:pt x="15" y="1188"/>
                  </a:lnTo>
                  <a:lnTo>
                    <a:pt x="8" y="1179"/>
                  </a:lnTo>
                  <a:lnTo>
                    <a:pt x="4" y="1167"/>
                  </a:lnTo>
                  <a:lnTo>
                    <a:pt x="3" y="1163"/>
                  </a:lnTo>
                  <a:lnTo>
                    <a:pt x="2" y="1160"/>
                  </a:lnTo>
                  <a:lnTo>
                    <a:pt x="2" y="1160"/>
                  </a:lnTo>
                  <a:lnTo>
                    <a:pt x="23" y="1153"/>
                  </a:lnTo>
                  <a:lnTo>
                    <a:pt x="45" y="1146"/>
                  </a:lnTo>
                  <a:lnTo>
                    <a:pt x="55" y="1143"/>
                  </a:lnTo>
                  <a:lnTo>
                    <a:pt x="65" y="1139"/>
                  </a:lnTo>
                  <a:lnTo>
                    <a:pt x="74" y="1132"/>
                  </a:lnTo>
                  <a:lnTo>
                    <a:pt x="84" y="1126"/>
                  </a:lnTo>
                  <a:lnTo>
                    <a:pt x="93" y="1116"/>
                  </a:lnTo>
                  <a:lnTo>
                    <a:pt x="99" y="1106"/>
                  </a:lnTo>
                  <a:lnTo>
                    <a:pt x="104" y="1095"/>
                  </a:lnTo>
                  <a:lnTo>
                    <a:pt x="108" y="1085"/>
                  </a:lnTo>
                  <a:lnTo>
                    <a:pt x="110" y="1074"/>
                  </a:lnTo>
                  <a:lnTo>
                    <a:pt x="111" y="1062"/>
                  </a:lnTo>
                  <a:lnTo>
                    <a:pt x="111" y="1049"/>
                  </a:lnTo>
                  <a:lnTo>
                    <a:pt x="111" y="1036"/>
                  </a:lnTo>
                  <a:lnTo>
                    <a:pt x="111" y="1032"/>
                  </a:lnTo>
                  <a:lnTo>
                    <a:pt x="110" y="1029"/>
                  </a:lnTo>
                  <a:lnTo>
                    <a:pt x="109" y="1026"/>
                  </a:lnTo>
                  <a:lnTo>
                    <a:pt x="108" y="1024"/>
                  </a:lnTo>
                  <a:lnTo>
                    <a:pt x="103" y="1021"/>
                  </a:lnTo>
                  <a:lnTo>
                    <a:pt x="98" y="1019"/>
                  </a:lnTo>
                  <a:lnTo>
                    <a:pt x="85" y="1013"/>
                  </a:lnTo>
                  <a:lnTo>
                    <a:pt x="72" y="1008"/>
                  </a:lnTo>
                  <a:lnTo>
                    <a:pt x="62" y="1000"/>
                  </a:lnTo>
                  <a:lnTo>
                    <a:pt x="54" y="992"/>
                  </a:lnTo>
                  <a:lnTo>
                    <a:pt x="46" y="983"/>
                  </a:lnTo>
                  <a:lnTo>
                    <a:pt x="41" y="974"/>
                  </a:lnTo>
                  <a:lnTo>
                    <a:pt x="36" y="964"/>
                  </a:lnTo>
                  <a:lnTo>
                    <a:pt x="33" y="953"/>
                  </a:lnTo>
                  <a:lnTo>
                    <a:pt x="31" y="942"/>
                  </a:lnTo>
                  <a:lnTo>
                    <a:pt x="30" y="929"/>
                  </a:lnTo>
                  <a:lnTo>
                    <a:pt x="31" y="918"/>
                  </a:lnTo>
                  <a:lnTo>
                    <a:pt x="32" y="910"/>
                  </a:lnTo>
                  <a:lnTo>
                    <a:pt x="33" y="900"/>
                  </a:lnTo>
                  <a:lnTo>
                    <a:pt x="35" y="891"/>
                  </a:lnTo>
                  <a:lnTo>
                    <a:pt x="39" y="884"/>
                  </a:lnTo>
                  <a:lnTo>
                    <a:pt x="42" y="875"/>
                  </a:lnTo>
                  <a:lnTo>
                    <a:pt x="46" y="867"/>
                  </a:lnTo>
                  <a:lnTo>
                    <a:pt x="50" y="861"/>
                  </a:lnTo>
                  <a:lnTo>
                    <a:pt x="71" y="832"/>
                  </a:lnTo>
                  <a:lnTo>
                    <a:pt x="95" y="801"/>
                  </a:lnTo>
                  <a:lnTo>
                    <a:pt x="103" y="790"/>
                  </a:lnTo>
                  <a:lnTo>
                    <a:pt x="110" y="779"/>
                  </a:lnTo>
                  <a:lnTo>
                    <a:pt x="115" y="769"/>
                  </a:lnTo>
                  <a:lnTo>
                    <a:pt x="120" y="758"/>
                  </a:lnTo>
                  <a:lnTo>
                    <a:pt x="127" y="736"/>
                  </a:lnTo>
                  <a:lnTo>
                    <a:pt x="134" y="711"/>
                  </a:lnTo>
                  <a:lnTo>
                    <a:pt x="140" y="688"/>
                  </a:lnTo>
                  <a:lnTo>
                    <a:pt x="147" y="668"/>
                  </a:lnTo>
                  <a:lnTo>
                    <a:pt x="154" y="649"/>
                  </a:lnTo>
                  <a:lnTo>
                    <a:pt x="161" y="631"/>
                  </a:lnTo>
                  <a:lnTo>
                    <a:pt x="167" y="613"/>
                  </a:lnTo>
                  <a:lnTo>
                    <a:pt x="174" y="593"/>
                  </a:lnTo>
                  <a:lnTo>
                    <a:pt x="179" y="574"/>
                  </a:lnTo>
                  <a:lnTo>
                    <a:pt x="184" y="551"/>
                  </a:lnTo>
                  <a:lnTo>
                    <a:pt x="190" y="526"/>
                  </a:lnTo>
                  <a:lnTo>
                    <a:pt x="194" y="504"/>
                  </a:lnTo>
                  <a:lnTo>
                    <a:pt x="198" y="483"/>
                  </a:lnTo>
                  <a:lnTo>
                    <a:pt x="203" y="462"/>
                  </a:lnTo>
                  <a:lnTo>
                    <a:pt x="208" y="442"/>
                  </a:lnTo>
                  <a:lnTo>
                    <a:pt x="212" y="421"/>
                  </a:lnTo>
                  <a:lnTo>
                    <a:pt x="218" y="399"/>
                  </a:lnTo>
                  <a:lnTo>
                    <a:pt x="223" y="374"/>
                  </a:lnTo>
                  <a:lnTo>
                    <a:pt x="228" y="358"/>
                  </a:lnTo>
                  <a:lnTo>
                    <a:pt x="233" y="344"/>
                  </a:lnTo>
                  <a:lnTo>
                    <a:pt x="239" y="331"/>
                  </a:lnTo>
                  <a:lnTo>
                    <a:pt x="246" y="316"/>
                  </a:lnTo>
                  <a:lnTo>
                    <a:pt x="251" y="308"/>
                  </a:lnTo>
                  <a:lnTo>
                    <a:pt x="258" y="302"/>
                  </a:lnTo>
                  <a:lnTo>
                    <a:pt x="261" y="298"/>
                  </a:lnTo>
                  <a:lnTo>
                    <a:pt x="263" y="295"/>
                  </a:lnTo>
                  <a:lnTo>
                    <a:pt x="265" y="292"/>
                  </a:lnTo>
                  <a:lnTo>
                    <a:pt x="265" y="288"/>
                  </a:lnTo>
                  <a:lnTo>
                    <a:pt x="265" y="273"/>
                  </a:lnTo>
                  <a:lnTo>
                    <a:pt x="263" y="259"/>
                  </a:lnTo>
                  <a:lnTo>
                    <a:pt x="261" y="248"/>
                  </a:lnTo>
                  <a:lnTo>
                    <a:pt x="258" y="236"/>
                  </a:lnTo>
                  <a:lnTo>
                    <a:pt x="255" y="224"/>
                  </a:lnTo>
                  <a:lnTo>
                    <a:pt x="250" y="213"/>
                  </a:lnTo>
                  <a:lnTo>
                    <a:pt x="245" y="203"/>
                  </a:lnTo>
                  <a:lnTo>
                    <a:pt x="239" y="192"/>
                  </a:lnTo>
                  <a:lnTo>
                    <a:pt x="228" y="172"/>
                  </a:lnTo>
                  <a:lnTo>
                    <a:pt x="215" y="150"/>
                  </a:lnTo>
                  <a:lnTo>
                    <a:pt x="203" y="128"/>
                  </a:lnTo>
                  <a:lnTo>
                    <a:pt x="190" y="102"/>
                  </a:lnTo>
                  <a:lnTo>
                    <a:pt x="187" y="93"/>
                  </a:lnTo>
                  <a:lnTo>
                    <a:pt x="183" y="84"/>
                  </a:lnTo>
                  <a:lnTo>
                    <a:pt x="180" y="76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9" y="66"/>
                  </a:lnTo>
                  <a:lnTo>
                    <a:pt x="198" y="63"/>
                  </a:lnTo>
                  <a:lnTo>
                    <a:pt x="203" y="61"/>
                  </a:lnTo>
                  <a:lnTo>
                    <a:pt x="207" y="59"/>
                  </a:lnTo>
                  <a:lnTo>
                    <a:pt x="212" y="57"/>
                  </a:lnTo>
                  <a:lnTo>
                    <a:pt x="218" y="57"/>
                  </a:lnTo>
                  <a:lnTo>
                    <a:pt x="224" y="59"/>
                  </a:lnTo>
                  <a:lnTo>
                    <a:pt x="231" y="61"/>
                  </a:lnTo>
                  <a:lnTo>
                    <a:pt x="236" y="64"/>
                  </a:lnTo>
                  <a:lnTo>
                    <a:pt x="241" y="69"/>
                  </a:lnTo>
                  <a:lnTo>
                    <a:pt x="248" y="81"/>
                  </a:lnTo>
                  <a:lnTo>
                    <a:pt x="255" y="94"/>
                  </a:lnTo>
                  <a:lnTo>
                    <a:pt x="269" y="119"/>
                  </a:lnTo>
                  <a:lnTo>
                    <a:pt x="282" y="141"/>
                  </a:lnTo>
                  <a:lnTo>
                    <a:pt x="289" y="151"/>
                  </a:lnTo>
                  <a:lnTo>
                    <a:pt x="298" y="161"/>
                  </a:lnTo>
                  <a:lnTo>
                    <a:pt x="308" y="171"/>
                  </a:lnTo>
                  <a:lnTo>
                    <a:pt x="319" y="181"/>
                  </a:lnTo>
                  <a:lnTo>
                    <a:pt x="332" y="191"/>
                  </a:lnTo>
                  <a:lnTo>
                    <a:pt x="346" y="200"/>
                  </a:lnTo>
                  <a:lnTo>
                    <a:pt x="360" y="207"/>
                  </a:lnTo>
                  <a:lnTo>
                    <a:pt x="374" y="212"/>
                  </a:lnTo>
                  <a:lnTo>
                    <a:pt x="389" y="216"/>
                  </a:lnTo>
                  <a:lnTo>
                    <a:pt x="405" y="218"/>
                  </a:lnTo>
                  <a:lnTo>
                    <a:pt x="421" y="219"/>
                  </a:lnTo>
                  <a:lnTo>
                    <a:pt x="438" y="219"/>
                  </a:lnTo>
                  <a:lnTo>
                    <a:pt x="445" y="219"/>
                  </a:lnTo>
                  <a:lnTo>
                    <a:pt x="451" y="218"/>
                  </a:lnTo>
                  <a:lnTo>
                    <a:pt x="458" y="216"/>
                  </a:lnTo>
                  <a:lnTo>
                    <a:pt x="463" y="213"/>
                  </a:lnTo>
                  <a:lnTo>
                    <a:pt x="474" y="205"/>
                  </a:lnTo>
                  <a:lnTo>
                    <a:pt x="482" y="197"/>
                  </a:lnTo>
                  <a:lnTo>
                    <a:pt x="492" y="188"/>
                  </a:lnTo>
                  <a:lnTo>
                    <a:pt x="502" y="180"/>
                  </a:lnTo>
                  <a:lnTo>
                    <a:pt x="507" y="175"/>
                  </a:lnTo>
                  <a:lnTo>
                    <a:pt x="513" y="172"/>
                  </a:lnTo>
                  <a:lnTo>
                    <a:pt x="519" y="169"/>
                  </a:lnTo>
                  <a:lnTo>
                    <a:pt x="527" y="167"/>
                  </a:lnTo>
                  <a:lnTo>
                    <a:pt x="544" y="162"/>
                  </a:lnTo>
                  <a:lnTo>
                    <a:pt x="560" y="160"/>
                  </a:lnTo>
                  <a:lnTo>
                    <a:pt x="575" y="158"/>
                  </a:lnTo>
                  <a:lnTo>
                    <a:pt x="591" y="157"/>
                  </a:lnTo>
                  <a:lnTo>
                    <a:pt x="605" y="154"/>
                  </a:lnTo>
                  <a:lnTo>
                    <a:pt x="620" y="150"/>
                  </a:lnTo>
                  <a:lnTo>
                    <a:pt x="627" y="148"/>
                  </a:lnTo>
                  <a:lnTo>
                    <a:pt x="635" y="145"/>
                  </a:lnTo>
                  <a:lnTo>
                    <a:pt x="642" y="141"/>
                  </a:lnTo>
                  <a:lnTo>
                    <a:pt x="650" y="136"/>
                  </a:lnTo>
                  <a:lnTo>
                    <a:pt x="655" y="131"/>
                  </a:lnTo>
                  <a:lnTo>
                    <a:pt x="659" y="126"/>
                  </a:lnTo>
                  <a:lnTo>
                    <a:pt x="662" y="119"/>
                  </a:lnTo>
                  <a:lnTo>
                    <a:pt x="664" y="113"/>
                  </a:lnTo>
                  <a:lnTo>
                    <a:pt x="665" y="105"/>
                  </a:lnTo>
                  <a:lnTo>
                    <a:pt x="667" y="99"/>
                  </a:lnTo>
                  <a:lnTo>
                    <a:pt x="670" y="92"/>
                  </a:lnTo>
                  <a:lnTo>
                    <a:pt x="675" y="86"/>
                  </a:lnTo>
                  <a:lnTo>
                    <a:pt x="679" y="81"/>
                  </a:lnTo>
                  <a:lnTo>
                    <a:pt x="684" y="77"/>
                  </a:lnTo>
                  <a:lnTo>
                    <a:pt x="689" y="74"/>
                  </a:lnTo>
                  <a:lnTo>
                    <a:pt x="694" y="72"/>
                  </a:lnTo>
                  <a:lnTo>
                    <a:pt x="704" y="67"/>
                  </a:lnTo>
                  <a:lnTo>
                    <a:pt x="715" y="64"/>
                  </a:lnTo>
                  <a:lnTo>
                    <a:pt x="726" y="62"/>
                  </a:lnTo>
                  <a:lnTo>
                    <a:pt x="737" y="60"/>
                  </a:lnTo>
                  <a:lnTo>
                    <a:pt x="749" y="56"/>
                  </a:lnTo>
                  <a:lnTo>
                    <a:pt x="761" y="52"/>
                  </a:lnTo>
                  <a:lnTo>
                    <a:pt x="796" y="37"/>
                  </a:lnTo>
                  <a:lnTo>
                    <a:pt x="826" y="25"/>
                  </a:lnTo>
                  <a:lnTo>
                    <a:pt x="841" y="21"/>
                  </a:lnTo>
                  <a:lnTo>
                    <a:pt x="857" y="18"/>
                  </a:lnTo>
                  <a:lnTo>
                    <a:pt x="875" y="16"/>
                  </a:lnTo>
                  <a:lnTo>
                    <a:pt x="893" y="15"/>
                  </a:lnTo>
                  <a:lnTo>
                    <a:pt x="896" y="16"/>
                  </a:lnTo>
                  <a:lnTo>
                    <a:pt x="898" y="18"/>
                  </a:lnTo>
                  <a:lnTo>
                    <a:pt x="900" y="21"/>
                  </a:lnTo>
                  <a:lnTo>
                    <a:pt x="900" y="23"/>
                  </a:lnTo>
                  <a:lnTo>
                    <a:pt x="903" y="30"/>
                  </a:lnTo>
                  <a:lnTo>
                    <a:pt x="905" y="38"/>
                  </a:lnTo>
                  <a:lnTo>
                    <a:pt x="909" y="45"/>
                  </a:lnTo>
                  <a:lnTo>
                    <a:pt x="915" y="50"/>
                  </a:lnTo>
                  <a:lnTo>
                    <a:pt x="920" y="55"/>
                  </a:lnTo>
                  <a:lnTo>
                    <a:pt x="927" y="61"/>
                  </a:lnTo>
                  <a:lnTo>
                    <a:pt x="945" y="73"/>
                  </a:lnTo>
                  <a:lnTo>
                    <a:pt x="961" y="84"/>
                  </a:lnTo>
                  <a:lnTo>
                    <a:pt x="977" y="95"/>
                  </a:lnTo>
                  <a:lnTo>
                    <a:pt x="994" y="104"/>
                  </a:lnTo>
                  <a:lnTo>
                    <a:pt x="1012" y="111"/>
                  </a:lnTo>
                  <a:lnTo>
                    <a:pt x="1029" y="117"/>
                  </a:lnTo>
                  <a:lnTo>
                    <a:pt x="1039" y="119"/>
                  </a:lnTo>
                  <a:lnTo>
                    <a:pt x="1050" y="121"/>
                  </a:lnTo>
                  <a:lnTo>
                    <a:pt x="1059" y="121"/>
                  </a:lnTo>
                  <a:lnTo>
                    <a:pt x="1071" y="122"/>
                  </a:lnTo>
                  <a:lnTo>
                    <a:pt x="1087" y="122"/>
                  </a:lnTo>
                  <a:lnTo>
                    <a:pt x="1101" y="122"/>
                  </a:lnTo>
                  <a:lnTo>
                    <a:pt x="1114" y="122"/>
                  </a:lnTo>
                  <a:lnTo>
                    <a:pt x="1131" y="122"/>
                  </a:lnTo>
                  <a:lnTo>
                    <a:pt x="1137" y="121"/>
                  </a:lnTo>
                  <a:lnTo>
                    <a:pt x="1142" y="121"/>
                  </a:lnTo>
                  <a:lnTo>
                    <a:pt x="1147" y="119"/>
                  </a:lnTo>
                  <a:lnTo>
                    <a:pt x="1151" y="118"/>
                  </a:lnTo>
                  <a:lnTo>
                    <a:pt x="1160" y="113"/>
                  </a:lnTo>
                  <a:lnTo>
                    <a:pt x="1167" y="107"/>
                  </a:lnTo>
                  <a:lnTo>
                    <a:pt x="1174" y="100"/>
                  </a:lnTo>
                  <a:lnTo>
                    <a:pt x="1179" y="91"/>
                  </a:lnTo>
                  <a:lnTo>
                    <a:pt x="1185" y="82"/>
                  </a:lnTo>
                  <a:lnTo>
                    <a:pt x="1190" y="73"/>
                  </a:lnTo>
                  <a:lnTo>
                    <a:pt x="1201" y="53"/>
                  </a:lnTo>
                  <a:lnTo>
                    <a:pt x="1213" y="35"/>
                  </a:lnTo>
                  <a:lnTo>
                    <a:pt x="1219" y="27"/>
                  </a:lnTo>
                  <a:lnTo>
                    <a:pt x="1227" y="20"/>
                  </a:lnTo>
                  <a:lnTo>
                    <a:pt x="1236" y="14"/>
                  </a:lnTo>
                  <a:lnTo>
                    <a:pt x="1246" y="10"/>
                  </a:lnTo>
                  <a:lnTo>
                    <a:pt x="1258" y="7"/>
                  </a:lnTo>
                  <a:lnTo>
                    <a:pt x="1269" y="6"/>
                  </a:lnTo>
                  <a:lnTo>
                    <a:pt x="1280" y="6"/>
                  </a:lnTo>
                  <a:lnTo>
                    <a:pt x="1289" y="7"/>
                  </a:lnTo>
                  <a:lnTo>
                    <a:pt x="1310" y="9"/>
                  </a:lnTo>
                  <a:lnTo>
                    <a:pt x="1334" y="10"/>
                  </a:lnTo>
                  <a:lnTo>
                    <a:pt x="1347" y="8"/>
                  </a:lnTo>
                  <a:lnTo>
                    <a:pt x="1360" y="6"/>
                  </a:lnTo>
                  <a:lnTo>
                    <a:pt x="1371" y="2"/>
                  </a:lnTo>
                  <a:lnTo>
                    <a:pt x="1384" y="1"/>
                  </a:lnTo>
                  <a:lnTo>
                    <a:pt x="1422" y="1"/>
                  </a:lnTo>
                  <a:lnTo>
                    <a:pt x="1455" y="1"/>
                  </a:lnTo>
                  <a:lnTo>
                    <a:pt x="1487" y="0"/>
                  </a:lnTo>
                  <a:lnTo>
                    <a:pt x="1524" y="0"/>
                  </a:lnTo>
                  <a:lnTo>
                    <a:pt x="1527" y="8"/>
                  </a:lnTo>
                  <a:lnTo>
                    <a:pt x="1529" y="14"/>
                  </a:lnTo>
                  <a:lnTo>
                    <a:pt x="1532" y="21"/>
                  </a:lnTo>
                  <a:lnTo>
                    <a:pt x="1537" y="27"/>
                  </a:lnTo>
                  <a:lnTo>
                    <a:pt x="1541" y="33"/>
                  </a:lnTo>
                  <a:lnTo>
                    <a:pt x="1545" y="37"/>
                  </a:lnTo>
                  <a:lnTo>
                    <a:pt x="1551" y="41"/>
                  </a:lnTo>
                  <a:lnTo>
                    <a:pt x="1556" y="46"/>
                  </a:lnTo>
                  <a:lnTo>
                    <a:pt x="1563" y="49"/>
                  </a:lnTo>
                  <a:lnTo>
                    <a:pt x="1568" y="52"/>
                  </a:lnTo>
                  <a:lnTo>
                    <a:pt x="1574" y="54"/>
                  </a:lnTo>
                  <a:lnTo>
                    <a:pt x="1582" y="56"/>
                  </a:lnTo>
                  <a:lnTo>
                    <a:pt x="1596" y="60"/>
                  </a:lnTo>
                  <a:lnTo>
                    <a:pt x="1611" y="61"/>
                  </a:lnTo>
                  <a:lnTo>
                    <a:pt x="1640" y="60"/>
                  </a:lnTo>
                  <a:lnTo>
                    <a:pt x="1667" y="56"/>
                  </a:lnTo>
                  <a:lnTo>
                    <a:pt x="1692" y="53"/>
                  </a:lnTo>
                  <a:lnTo>
                    <a:pt x="1716" y="49"/>
                  </a:lnTo>
                  <a:lnTo>
                    <a:pt x="1741" y="45"/>
                  </a:lnTo>
                  <a:lnTo>
                    <a:pt x="1766" y="41"/>
                  </a:lnTo>
                  <a:lnTo>
                    <a:pt x="1792" y="39"/>
                  </a:lnTo>
                  <a:lnTo>
                    <a:pt x="1821" y="38"/>
                  </a:lnTo>
                  <a:lnTo>
                    <a:pt x="1840" y="37"/>
                  </a:lnTo>
                  <a:lnTo>
                    <a:pt x="1859" y="38"/>
                  </a:lnTo>
                  <a:lnTo>
                    <a:pt x="1867" y="39"/>
                  </a:lnTo>
                  <a:lnTo>
                    <a:pt x="1875" y="42"/>
                  </a:lnTo>
                  <a:lnTo>
                    <a:pt x="1878" y="45"/>
                  </a:lnTo>
                  <a:lnTo>
                    <a:pt x="1880" y="48"/>
                  </a:lnTo>
                  <a:lnTo>
                    <a:pt x="1883" y="51"/>
                  </a:lnTo>
                  <a:lnTo>
                    <a:pt x="1886" y="54"/>
                  </a:lnTo>
                  <a:lnTo>
                    <a:pt x="1890" y="64"/>
                  </a:lnTo>
                  <a:lnTo>
                    <a:pt x="1891" y="74"/>
                  </a:lnTo>
                  <a:lnTo>
                    <a:pt x="1892" y="83"/>
                  </a:lnTo>
                  <a:lnTo>
                    <a:pt x="1893" y="93"/>
                  </a:lnTo>
                  <a:lnTo>
                    <a:pt x="1893" y="102"/>
                  </a:lnTo>
                  <a:lnTo>
                    <a:pt x="1895" y="110"/>
                  </a:lnTo>
                  <a:lnTo>
                    <a:pt x="1896" y="115"/>
                  </a:lnTo>
                  <a:lnTo>
                    <a:pt x="1898" y="119"/>
                  </a:lnTo>
                  <a:lnTo>
                    <a:pt x="1902" y="123"/>
                  </a:lnTo>
                  <a:lnTo>
                    <a:pt x="1905" y="128"/>
                  </a:lnTo>
                  <a:lnTo>
                    <a:pt x="1910" y="132"/>
                  </a:lnTo>
                  <a:lnTo>
                    <a:pt x="1916" y="135"/>
                  </a:lnTo>
                  <a:lnTo>
                    <a:pt x="1922" y="137"/>
                  </a:lnTo>
                  <a:lnTo>
                    <a:pt x="1928" y="140"/>
                  </a:lnTo>
                  <a:lnTo>
                    <a:pt x="1941" y="142"/>
                  </a:lnTo>
                  <a:lnTo>
                    <a:pt x="1952" y="147"/>
                  </a:lnTo>
                  <a:lnTo>
                    <a:pt x="1972" y="159"/>
                  </a:lnTo>
                  <a:lnTo>
                    <a:pt x="1989" y="170"/>
                  </a:lnTo>
                  <a:lnTo>
                    <a:pt x="1998" y="174"/>
                  </a:lnTo>
                  <a:lnTo>
                    <a:pt x="2008" y="177"/>
                  </a:lnTo>
                  <a:lnTo>
                    <a:pt x="2017" y="180"/>
                  </a:lnTo>
                  <a:lnTo>
                    <a:pt x="2028" y="181"/>
                  </a:lnTo>
                  <a:lnTo>
                    <a:pt x="2028" y="181"/>
                  </a:lnTo>
                  <a:lnTo>
                    <a:pt x="2026" y="196"/>
                  </a:lnTo>
                  <a:lnTo>
                    <a:pt x="2024" y="211"/>
                  </a:lnTo>
                  <a:lnTo>
                    <a:pt x="2022" y="225"/>
                  </a:lnTo>
                  <a:lnTo>
                    <a:pt x="2021" y="239"/>
                  </a:lnTo>
                  <a:lnTo>
                    <a:pt x="2019" y="268"/>
                  </a:lnTo>
                  <a:lnTo>
                    <a:pt x="2017" y="298"/>
                  </a:lnTo>
                  <a:lnTo>
                    <a:pt x="2016" y="311"/>
                  </a:lnTo>
                  <a:lnTo>
                    <a:pt x="2013" y="323"/>
                  </a:lnTo>
                  <a:lnTo>
                    <a:pt x="2010" y="334"/>
                  </a:lnTo>
                  <a:lnTo>
                    <a:pt x="2006" y="345"/>
                  </a:lnTo>
                  <a:lnTo>
                    <a:pt x="2003" y="354"/>
                  </a:lnTo>
                  <a:lnTo>
                    <a:pt x="2000" y="365"/>
                  </a:lnTo>
                  <a:lnTo>
                    <a:pt x="1999" y="377"/>
                  </a:lnTo>
                  <a:lnTo>
                    <a:pt x="1998" y="390"/>
                  </a:lnTo>
                  <a:lnTo>
                    <a:pt x="1998" y="402"/>
                  </a:lnTo>
                  <a:lnTo>
                    <a:pt x="1998" y="413"/>
                  </a:lnTo>
                  <a:lnTo>
                    <a:pt x="2018" y="416"/>
                  </a:lnTo>
                  <a:lnTo>
                    <a:pt x="2038" y="417"/>
                  </a:lnTo>
                  <a:lnTo>
                    <a:pt x="2046" y="418"/>
                  </a:lnTo>
                  <a:lnTo>
                    <a:pt x="2056" y="419"/>
                  </a:lnTo>
                  <a:lnTo>
                    <a:pt x="2066" y="421"/>
                  </a:lnTo>
                  <a:lnTo>
                    <a:pt x="2077" y="425"/>
                  </a:lnTo>
                  <a:lnTo>
                    <a:pt x="2092" y="431"/>
                  </a:lnTo>
                  <a:lnTo>
                    <a:pt x="2106" y="440"/>
                  </a:lnTo>
                  <a:lnTo>
                    <a:pt x="2118" y="448"/>
                  </a:lnTo>
                  <a:lnTo>
                    <a:pt x="2130" y="458"/>
                  </a:lnTo>
                  <a:lnTo>
                    <a:pt x="2149" y="482"/>
                  </a:lnTo>
                  <a:lnTo>
                    <a:pt x="2172" y="509"/>
                  </a:lnTo>
                  <a:lnTo>
                    <a:pt x="2180" y="519"/>
                  </a:lnTo>
                  <a:lnTo>
                    <a:pt x="2189" y="526"/>
                  </a:lnTo>
                  <a:lnTo>
                    <a:pt x="2198" y="534"/>
                  </a:lnTo>
                  <a:lnTo>
                    <a:pt x="2207" y="540"/>
                  </a:lnTo>
                  <a:lnTo>
                    <a:pt x="2227" y="553"/>
                  </a:lnTo>
                  <a:lnTo>
                    <a:pt x="2247" y="567"/>
                  </a:lnTo>
                  <a:lnTo>
                    <a:pt x="2272" y="587"/>
                  </a:lnTo>
                  <a:lnTo>
                    <a:pt x="2295" y="605"/>
                  </a:lnTo>
                  <a:lnTo>
                    <a:pt x="2315" y="622"/>
                  </a:lnTo>
                  <a:lnTo>
                    <a:pt x="2336" y="640"/>
                  </a:lnTo>
                  <a:lnTo>
                    <a:pt x="2356" y="656"/>
                  </a:lnTo>
                  <a:lnTo>
                    <a:pt x="2378" y="673"/>
                  </a:lnTo>
                  <a:lnTo>
                    <a:pt x="2403" y="690"/>
                  </a:lnTo>
                  <a:lnTo>
                    <a:pt x="2430" y="708"/>
                  </a:lnTo>
                  <a:lnTo>
                    <a:pt x="2463" y="729"/>
                  </a:lnTo>
                  <a:lnTo>
                    <a:pt x="2494" y="750"/>
                  </a:lnTo>
                  <a:lnTo>
                    <a:pt x="2524" y="770"/>
                  </a:lnTo>
                  <a:lnTo>
                    <a:pt x="2558" y="792"/>
                  </a:lnTo>
                  <a:lnTo>
                    <a:pt x="2590" y="808"/>
                  </a:lnTo>
                  <a:lnTo>
                    <a:pt x="2618" y="821"/>
                  </a:lnTo>
                  <a:lnTo>
                    <a:pt x="2631" y="830"/>
                  </a:lnTo>
                  <a:lnTo>
                    <a:pt x="2643" y="838"/>
                  </a:lnTo>
                  <a:lnTo>
                    <a:pt x="2649" y="844"/>
                  </a:lnTo>
                  <a:lnTo>
                    <a:pt x="2655" y="850"/>
                  </a:lnTo>
                  <a:lnTo>
                    <a:pt x="2660" y="857"/>
                  </a:lnTo>
                  <a:lnTo>
                    <a:pt x="2665" y="864"/>
                  </a:lnTo>
                  <a:lnTo>
                    <a:pt x="2672" y="875"/>
                  </a:lnTo>
                  <a:lnTo>
                    <a:pt x="2679" y="885"/>
                  </a:lnTo>
                  <a:lnTo>
                    <a:pt x="2687" y="893"/>
                  </a:lnTo>
                  <a:lnTo>
                    <a:pt x="2694" y="901"/>
                  </a:lnTo>
                  <a:lnTo>
                    <a:pt x="2703" y="909"/>
                  </a:lnTo>
                  <a:lnTo>
                    <a:pt x="2711" y="915"/>
                  </a:lnTo>
                  <a:lnTo>
                    <a:pt x="2719" y="921"/>
                  </a:lnTo>
                  <a:lnTo>
                    <a:pt x="2729" y="927"/>
                  </a:lnTo>
                  <a:lnTo>
                    <a:pt x="2747" y="937"/>
                  </a:lnTo>
                  <a:lnTo>
                    <a:pt x="2768" y="946"/>
                  </a:lnTo>
                  <a:lnTo>
                    <a:pt x="2790" y="955"/>
                  </a:lnTo>
                  <a:lnTo>
                    <a:pt x="2813" y="966"/>
                  </a:lnTo>
                  <a:lnTo>
                    <a:pt x="2829" y="972"/>
                  </a:lnTo>
                  <a:lnTo>
                    <a:pt x="2845" y="978"/>
                  </a:lnTo>
                  <a:lnTo>
                    <a:pt x="2852" y="981"/>
                  </a:lnTo>
                  <a:lnTo>
                    <a:pt x="2859" y="985"/>
                  </a:lnTo>
                  <a:lnTo>
                    <a:pt x="2865" y="991"/>
                  </a:lnTo>
                  <a:lnTo>
                    <a:pt x="2873" y="996"/>
                  </a:lnTo>
                  <a:lnTo>
                    <a:pt x="2873" y="996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61">
              <a:extLst>
                <a:ext uri="{FF2B5EF4-FFF2-40B4-BE49-F238E27FC236}">
                  <a16:creationId xmlns:a16="http://schemas.microsoft.com/office/drawing/2014/main" id="{9657B4F3-C193-491A-AC76-3B9420F24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1825" y="5559426"/>
              <a:ext cx="1150938" cy="1100138"/>
            </a:xfrm>
            <a:custGeom>
              <a:avLst/>
              <a:gdLst>
                <a:gd name="T0" fmla="*/ 1571 w 2899"/>
                <a:gd name="T1" fmla="*/ 15 h 2774"/>
                <a:gd name="T2" fmla="*/ 1681 w 2899"/>
                <a:gd name="T3" fmla="*/ 42 h 2774"/>
                <a:gd name="T4" fmla="*/ 1786 w 2899"/>
                <a:gd name="T5" fmla="*/ 6 h 2774"/>
                <a:gd name="T6" fmla="*/ 1994 w 2899"/>
                <a:gd name="T7" fmla="*/ 46 h 2774"/>
                <a:gd name="T8" fmla="*/ 2149 w 2899"/>
                <a:gd name="T9" fmla="*/ 151 h 2774"/>
                <a:gd name="T10" fmla="*/ 2277 w 2899"/>
                <a:gd name="T11" fmla="*/ 172 h 2774"/>
                <a:gd name="T12" fmla="*/ 2464 w 2899"/>
                <a:gd name="T13" fmla="*/ 403 h 2774"/>
                <a:gd name="T14" fmla="*/ 2634 w 2899"/>
                <a:gd name="T15" fmla="*/ 590 h 2774"/>
                <a:gd name="T16" fmla="*/ 2765 w 2899"/>
                <a:gd name="T17" fmla="*/ 636 h 2774"/>
                <a:gd name="T18" fmla="*/ 2787 w 2899"/>
                <a:gd name="T19" fmla="*/ 852 h 2774"/>
                <a:gd name="T20" fmla="*/ 2795 w 2899"/>
                <a:gd name="T21" fmla="*/ 981 h 2774"/>
                <a:gd name="T22" fmla="*/ 2738 w 2899"/>
                <a:gd name="T23" fmla="*/ 1203 h 2774"/>
                <a:gd name="T24" fmla="*/ 2583 w 2899"/>
                <a:gd name="T25" fmla="*/ 1514 h 2774"/>
                <a:gd name="T26" fmla="*/ 2352 w 2899"/>
                <a:gd name="T27" fmla="*/ 1825 h 2774"/>
                <a:gd name="T28" fmla="*/ 1983 w 2899"/>
                <a:gd name="T29" fmla="*/ 2074 h 2774"/>
                <a:gd name="T30" fmla="*/ 1963 w 2899"/>
                <a:gd name="T31" fmla="*/ 2014 h 2774"/>
                <a:gd name="T32" fmla="*/ 2109 w 2899"/>
                <a:gd name="T33" fmla="*/ 1934 h 2774"/>
                <a:gd name="T34" fmla="*/ 2211 w 2899"/>
                <a:gd name="T35" fmla="*/ 1869 h 2774"/>
                <a:gd name="T36" fmla="*/ 2239 w 2899"/>
                <a:gd name="T37" fmla="*/ 1743 h 2774"/>
                <a:gd name="T38" fmla="*/ 2322 w 2899"/>
                <a:gd name="T39" fmla="*/ 1713 h 2774"/>
                <a:gd name="T40" fmla="*/ 2425 w 2899"/>
                <a:gd name="T41" fmla="*/ 1582 h 2774"/>
                <a:gd name="T42" fmla="*/ 2498 w 2899"/>
                <a:gd name="T43" fmla="*/ 1456 h 2774"/>
                <a:gd name="T44" fmla="*/ 2498 w 2899"/>
                <a:gd name="T45" fmla="*/ 1379 h 2774"/>
                <a:gd name="T46" fmla="*/ 2320 w 2899"/>
                <a:gd name="T47" fmla="*/ 1341 h 2774"/>
                <a:gd name="T48" fmla="*/ 2271 w 2899"/>
                <a:gd name="T49" fmla="*/ 1436 h 2774"/>
                <a:gd name="T50" fmla="*/ 2190 w 2899"/>
                <a:gd name="T51" fmla="*/ 1549 h 2774"/>
                <a:gd name="T52" fmla="*/ 2118 w 2899"/>
                <a:gd name="T53" fmla="*/ 1719 h 2774"/>
                <a:gd name="T54" fmla="*/ 1946 w 2899"/>
                <a:gd name="T55" fmla="*/ 1841 h 2774"/>
                <a:gd name="T56" fmla="*/ 1825 w 2899"/>
                <a:gd name="T57" fmla="*/ 2014 h 2774"/>
                <a:gd name="T58" fmla="*/ 1870 w 2899"/>
                <a:gd name="T59" fmla="*/ 2172 h 2774"/>
                <a:gd name="T60" fmla="*/ 1757 w 2899"/>
                <a:gd name="T61" fmla="*/ 2377 h 2774"/>
                <a:gd name="T62" fmla="*/ 1667 w 2899"/>
                <a:gd name="T63" fmla="*/ 2573 h 2774"/>
                <a:gd name="T64" fmla="*/ 1394 w 2899"/>
                <a:gd name="T65" fmla="*/ 2774 h 2774"/>
                <a:gd name="T66" fmla="*/ 1378 w 2899"/>
                <a:gd name="T67" fmla="*/ 2504 h 2774"/>
                <a:gd name="T68" fmla="*/ 1455 w 2899"/>
                <a:gd name="T69" fmla="*/ 2409 h 2774"/>
                <a:gd name="T70" fmla="*/ 1442 w 2899"/>
                <a:gd name="T71" fmla="*/ 2296 h 2774"/>
                <a:gd name="T72" fmla="*/ 1333 w 2899"/>
                <a:gd name="T73" fmla="*/ 2138 h 2774"/>
                <a:gd name="T74" fmla="*/ 1150 w 2899"/>
                <a:gd name="T75" fmla="*/ 2006 h 2774"/>
                <a:gd name="T76" fmla="*/ 1012 w 2899"/>
                <a:gd name="T77" fmla="*/ 1827 h 2774"/>
                <a:gd name="T78" fmla="*/ 829 w 2899"/>
                <a:gd name="T79" fmla="*/ 1771 h 2774"/>
                <a:gd name="T80" fmla="*/ 752 w 2899"/>
                <a:gd name="T81" fmla="*/ 1653 h 2774"/>
                <a:gd name="T82" fmla="*/ 640 w 2899"/>
                <a:gd name="T83" fmla="*/ 1588 h 2774"/>
                <a:gd name="T84" fmla="*/ 517 w 2899"/>
                <a:gd name="T85" fmla="*/ 1589 h 2774"/>
                <a:gd name="T86" fmla="*/ 372 w 2899"/>
                <a:gd name="T87" fmla="*/ 1345 h 2774"/>
                <a:gd name="T88" fmla="*/ 268 w 2899"/>
                <a:gd name="T89" fmla="*/ 1225 h 2774"/>
                <a:gd name="T90" fmla="*/ 106 w 2899"/>
                <a:gd name="T91" fmla="*/ 1254 h 2774"/>
                <a:gd name="T92" fmla="*/ 21 w 2899"/>
                <a:gd name="T93" fmla="*/ 1156 h 2774"/>
                <a:gd name="T94" fmla="*/ 169 w 2899"/>
                <a:gd name="T95" fmla="*/ 995 h 2774"/>
                <a:gd name="T96" fmla="*/ 346 w 2899"/>
                <a:gd name="T97" fmla="*/ 870 h 2774"/>
                <a:gd name="T98" fmla="*/ 402 w 2899"/>
                <a:gd name="T99" fmla="*/ 766 h 2774"/>
                <a:gd name="T100" fmla="*/ 549 w 2899"/>
                <a:gd name="T101" fmla="*/ 680 h 2774"/>
                <a:gd name="T102" fmla="*/ 636 w 2899"/>
                <a:gd name="T103" fmla="*/ 546 h 2774"/>
                <a:gd name="T104" fmla="*/ 721 w 2899"/>
                <a:gd name="T105" fmla="*/ 488 h 2774"/>
                <a:gd name="T106" fmla="*/ 792 w 2899"/>
                <a:gd name="T107" fmla="*/ 511 h 2774"/>
                <a:gd name="T108" fmla="*/ 805 w 2899"/>
                <a:gd name="T109" fmla="*/ 385 h 2774"/>
                <a:gd name="T110" fmla="*/ 931 w 2899"/>
                <a:gd name="T111" fmla="*/ 288 h 2774"/>
                <a:gd name="T112" fmla="*/ 1002 w 2899"/>
                <a:gd name="T113" fmla="*/ 184 h 2774"/>
                <a:gd name="T114" fmla="*/ 1115 w 2899"/>
                <a:gd name="T115" fmla="*/ 117 h 2774"/>
                <a:gd name="T116" fmla="*/ 1241 w 2899"/>
                <a:gd name="T117" fmla="*/ 84 h 2774"/>
                <a:gd name="T118" fmla="*/ 1403 w 2899"/>
                <a:gd name="T119" fmla="*/ 12 h 2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99" h="2774">
                  <a:moveTo>
                    <a:pt x="1430" y="10"/>
                  </a:moveTo>
                  <a:lnTo>
                    <a:pt x="1440" y="11"/>
                  </a:lnTo>
                  <a:lnTo>
                    <a:pt x="1450" y="14"/>
                  </a:lnTo>
                  <a:lnTo>
                    <a:pt x="1459" y="18"/>
                  </a:lnTo>
                  <a:lnTo>
                    <a:pt x="1467" y="22"/>
                  </a:lnTo>
                  <a:lnTo>
                    <a:pt x="1476" y="27"/>
                  </a:lnTo>
                  <a:lnTo>
                    <a:pt x="1484" y="30"/>
                  </a:lnTo>
                  <a:lnTo>
                    <a:pt x="1493" y="33"/>
                  </a:lnTo>
                  <a:lnTo>
                    <a:pt x="1503" y="34"/>
                  </a:lnTo>
                  <a:lnTo>
                    <a:pt x="1516" y="33"/>
                  </a:lnTo>
                  <a:lnTo>
                    <a:pt x="1528" y="30"/>
                  </a:lnTo>
                  <a:lnTo>
                    <a:pt x="1538" y="27"/>
                  </a:lnTo>
                  <a:lnTo>
                    <a:pt x="1549" y="22"/>
                  </a:lnTo>
                  <a:lnTo>
                    <a:pt x="1559" y="18"/>
                  </a:lnTo>
                  <a:lnTo>
                    <a:pt x="1571" y="15"/>
                  </a:lnTo>
                  <a:lnTo>
                    <a:pt x="1582" y="12"/>
                  </a:lnTo>
                  <a:lnTo>
                    <a:pt x="1596" y="11"/>
                  </a:lnTo>
                  <a:lnTo>
                    <a:pt x="1601" y="11"/>
                  </a:lnTo>
                  <a:lnTo>
                    <a:pt x="1607" y="12"/>
                  </a:lnTo>
                  <a:lnTo>
                    <a:pt x="1612" y="14"/>
                  </a:lnTo>
                  <a:lnTo>
                    <a:pt x="1617" y="16"/>
                  </a:lnTo>
                  <a:lnTo>
                    <a:pt x="1626" y="21"/>
                  </a:lnTo>
                  <a:lnTo>
                    <a:pt x="1635" y="27"/>
                  </a:lnTo>
                  <a:lnTo>
                    <a:pt x="1643" y="32"/>
                  </a:lnTo>
                  <a:lnTo>
                    <a:pt x="1652" y="37"/>
                  </a:lnTo>
                  <a:lnTo>
                    <a:pt x="1657" y="39"/>
                  </a:lnTo>
                  <a:lnTo>
                    <a:pt x="1663" y="41"/>
                  </a:lnTo>
                  <a:lnTo>
                    <a:pt x="1668" y="42"/>
                  </a:lnTo>
                  <a:lnTo>
                    <a:pt x="1673" y="42"/>
                  </a:lnTo>
                  <a:lnTo>
                    <a:pt x="1681" y="42"/>
                  </a:lnTo>
                  <a:lnTo>
                    <a:pt x="1688" y="41"/>
                  </a:lnTo>
                  <a:lnTo>
                    <a:pt x="1693" y="38"/>
                  </a:lnTo>
                  <a:lnTo>
                    <a:pt x="1699" y="35"/>
                  </a:lnTo>
                  <a:lnTo>
                    <a:pt x="1709" y="29"/>
                  </a:lnTo>
                  <a:lnTo>
                    <a:pt x="1719" y="21"/>
                  </a:lnTo>
                  <a:lnTo>
                    <a:pt x="1730" y="14"/>
                  </a:lnTo>
                  <a:lnTo>
                    <a:pt x="1739" y="6"/>
                  </a:lnTo>
                  <a:lnTo>
                    <a:pt x="1745" y="4"/>
                  </a:lnTo>
                  <a:lnTo>
                    <a:pt x="1751" y="2"/>
                  </a:lnTo>
                  <a:lnTo>
                    <a:pt x="1758" y="1"/>
                  </a:lnTo>
                  <a:lnTo>
                    <a:pt x="1765" y="0"/>
                  </a:lnTo>
                  <a:lnTo>
                    <a:pt x="1771" y="1"/>
                  </a:lnTo>
                  <a:lnTo>
                    <a:pt x="1776" y="2"/>
                  </a:lnTo>
                  <a:lnTo>
                    <a:pt x="1782" y="4"/>
                  </a:lnTo>
                  <a:lnTo>
                    <a:pt x="1786" y="6"/>
                  </a:lnTo>
                  <a:lnTo>
                    <a:pt x="1794" y="14"/>
                  </a:lnTo>
                  <a:lnTo>
                    <a:pt x="1802" y="21"/>
                  </a:lnTo>
                  <a:lnTo>
                    <a:pt x="1811" y="29"/>
                  </a:lnTo>
                  <a:lnTo>
                    <a:pt x="1818" y="35"/>
                  </a:lnTo>
                  <a:lnTo>
                    <a:pt x="1824" y="38"/>
                  </a:lnTo>
                  <a:lnTo>
                    <a:pt x="1828" y="41"/>
                  </a:lnTo>
                  <a:lnTo>
                    <a:pt x="1833" y="42"/>
                  </a:lnTo>
                  <a:lnTo>
                    <a:pt x="1840" y="42"/>
                  </a:lnTo>
                  <a:lnTo>
                    <a:pt x="1866" y="42"/>
                  </a:lnTo>
                  <a:lnTo>
                    <a:pt x="1890" y="42"/>
                  </a:lnTo>
                  <a:lnTo>
                    <a:pt x="1913" y="42"/>
                  </a:lnTo>
                  <a:lnTo>
                    <a:pt x="1939" y="42"/>
                  </a:lnTo>
                  <a:lnTo>
                    <a:pt x="1959" y="43"/>
                  </a:lnTo>
                  <a:lnTo>
                    <a:pt x="1977" y="44"/>
                  </a:lnTo>
                  <a:lnTo>
                    <a:pt x="1994" y="46"/>
                  </a:lnTo>
                  <a:lnTo>
                    <a:pt x="2010" y="49"/>
                  </a:lnTo>
                  <a:lnTo>
                    <a:pt x="2043" y="56"/>
                  </a:lnTo>
                  <a:lnTo>
                    <a:pt x="2081" y="64"/>
                  </a:lnTo>
                  <a:lnTo>
                    <a:pt x="2097" y="68"/>
                  </a:lnTo>
                  <a:lnTo>
                    <a:pt x="2113" y="72"/>
                  </a:lnTo>
                  <a:lnTo>
                    <a:pt x="2120" y="75"/>
                  </a:lnTo>
                  <a:lnTo>
                    <a:pt x="2126" y="79"/>
                  </a:lnTo>
                  <a:lnTo>
                    <a:pt x="2130" y="85"/>
                  </a:lnTo>
                  <a:lnTo>
                    <a:pt x="2134" y="92"/>
                  </a:lnTo>
                  <a:lnTo>
                    <a:pt x="2137" y="111"/>
                  </a:lnTo>
                  <a:lnTo>
                    <a:pt x="2138" y="129"/>
                  </a:lnTo>
                  <a:lnTo>
                    <a:pt x="2140" y="138"/>
                  </a:lnTo>
                  <a:lnTo>
                    <a:pt x="2143" y="145"/>
                  </a:lnTo>
                  <a:lnTo>
                    <a:pt x="2145" y="147"/>
                  </a:lnTo>
                  <a:lnTo>
                    <a:pt x="2149" y="151"/>
                  </a:lnTo>
                  <a:lnTo>
                    <a:pt x="2152" y="153"/>
                  </a:lnTo>
                  <a:lnTo>
                    <a:pt x="2156" y="154"/>
                  </a:lnTo>
                  <a:lnTo>
                    <a:pt x="2170" y="157"/>
                  </a:lnTo>
                  <a:lnTo>
                    <a:pt x="2183" y="158"/>
                  </a:lnTo>
                  <a:lnTo>
                    <a:pt x="2196" y="157"/>
                  </a:lnTo>
                  <a:lnTo>
                    <a:pt x="2208" y="157"/>
                  </a:lnTo>
                  <a:lnTo>
                    <a:pt x="2221" y="156"/>
                  </a:lnTo>
                  <a:lnTo>
                    <a:pt x="2233" y="156"/>
                  </a:lnTo>
                  <a:lnTo>
                    <a:pt x="2239" y="157"/>
                  </a:lnTo>
                  <a:lnTo>
                    <a:pt x="2246" y="158"/>
                  </a:lnTo>
                  <a:lnTo>
                    <a:pt x="2252" y="160"/>
                  </a:lnTo>
                  <a:lnTo>
                    <a:pt x="2260" y="163"/>
                  </a:lnTo>
                  <a:lnTo>
                    <a:pt x="2266" y="166"/>
                  </a:lnTo>
                  <a:lnTo>
                    <a:pt x="2272" y="169"/>
                  </a:lnTo>
                  <a:lnTo>
                    <a:pt x="2277" y="172"/>
                  </a:lnTo>
                  <a:lnTo>
                    <a:pt x="2283" y="177"/>
                  </a:lnTo>
                  <a:lnTo>
                    <a:pt x="2291" y="185"/>
                  </a:lnTo>
                  <a:lnTo>
                    <a:pt x="2302" y="196"/>
                  </a:lnTo>
                  <a:lnTo>
                    <a:pt x="2330" y="224"/>
                  </a:lnTo>
                  <a:lnTo>
                    <a:pt x="2355" y="250"/>
                  </a:lnTo>
                  <a:lnTo>
                    <a:pt x="2366" y="264"/>
                  </a:lnTo>
                  <a:lnTo>
                    <a:pt x="2377" y="278"/>
                  </a:lnTo>
                  <a:lnTo>
                    <a:pt x="2385" y="295"/>
                  </a:lnTo>
                  <a:lnTo>
                    <a:pt x="2394" y="314"/>
                  </a:lnTo>
                  <a:lnTo>
                    <a:pt x="2404" y="333"/>
                  </a:lnTo>
                  <a:lnTo>
                    <a:pt x="2413" y="351"/>
                  </a:lnTo>
                  <a:lnTo>
                    <a:pt x="2425" y="366"/>
                  </a:lnTo>
                  <a:lnTo>
                    <a:pt x="2437" y="380"/>
                  </a:lnTo>
                  <a:lnTo>
                    <a:pt x="2450" y="392"/>
                  </a:lnTo>
                  <a:lnTo>
                    <a:pt x="2464" y="403"/>
                  </a:lnTo>
                  <a:lnTo>
                    <a:pt x="2478" y="414"/>
                  </a:lnTo>
                  <a:lnTo>
                    <a:pt x="2492" y="425"/>
                  </a:lnTo>
                  <a:lnTo>
                    <a:pt x="2507" y="436"/>
                  </a:lnTo>
                  <a:lnTo>
                    <a:pt x="2521" y="447"/>
                  </a:lnTo>
                  <a:lnTo>
                    <a:pt x="2535" y="459"/>
                  </a:lnTo>
                  <a:lnTo>
                    <a:pt x="2549" y="471"/>
                  </a:lnTo>
                  <a:lnTo>
                    <a:pt x="2562" y="484"/>
                  </a:lnTo>
                  <a:lnTo>
                    <a:pt x="2574" y="500"/>
                  </a:lnTo>
                  <a:lnTo>
                    <a:pt x="2586" y="517"/>
                  </a:lnTo>
                  <a:lnTo>
                    <a:pt x="2596" y="535"/>
                  </a:lnTo>
                  <a:lnTo>
                    <a:pt x="2605" y="555"/>
                  </a:lnTo>
                  <a:lnTo>
                    <a:pt x="2614" y="571"/>
                  </a:lnTo>
                  <a:lnTo>
                    <a:pt x="2620" y="578"/>
                  </a:lnTo>
                  <a:lnTo>
                    <a:pt x="2626" y="585"/>
                  </a:lnTo>
                  <a:lnTo>
                    <a:pt x="2634" y="590"/>
                  </a:lnTo>
                  <a:lnTo>
                    <a:pt x="2643" y="594"/>
                  </a:lnTo>
                  <a:lnTo>
                    <a:pt x="2655" y="598"/>
                  </a:lnTo>
                  <a:lnTo>
                    <a:pt x="2666" y="600"/>
                  </a:lnTo>
                  <a:lnTo>
                    <a:pt x="2677" y="601"/>
                  </a:lnTo>
                  <a:lnTo>
                    <a:pt x="2688" y="602"/>
                  </a:lnTo>
                  <a:lnTo>
                    <a:pt x="2697" y="603"/>
                  </a:lnTo>
                  <a:lnTo>
                    <a:pt x="2708" y="604"/>
                  </a:lnTo>
                  <a:lnTo>
                    <a:pt x="2719" y="606"/>
                  </a:lnTo>
                  <a:lnTo>
                    <a:pt x="2731" y="611"/>
                  </a:lnTo>
                  <a:lnTo>
                    <a:pt x="2737" y="614"/>
                  </a:lnTo>
                  <a:lnTo>
                    <a:pt x="2744" y="617"/>
                  </a:lnTo>
                  <a:lnTo>
                    <a:pt x="2750" y="622"/>
                  </a:lnTo>
                  <a:lnTo>
                    <a:pt x="2756" y="626"/>
                  </a:lnTo>
                  <a:lnTo>
                    <a:pt x="2761" y="630"/>
                  </a:lnTo>
                  <a:lnTo>
                    <a:pt x="2765" y="636"/>
                  </a:lnTo>
                  <a:lnTo>
                    <a:pt x="2770" y="641"/>
                  </a:lnTo>
                  <a:lnTo>
                    <a:pt x="2773" y="646"/>
                  </a:lnTo>
                  <a:lnTo>
                    <a:pt x="2779" y="659"/>
                  </a:lnTo>
                  <a:lnTo>
                    <a:pt x="2784" y="672"/>
                  </a:lnTo>
                  <a:lnTo>
                    <a:pt x="2786" y="687"/>
                  </a:lnTo>
                  <a:lnTo>
                    <a:pt x="2787" y="703"/>
                  </a:lnTo>
                  <a:lnTo>
                    <a:pt x="2787" y="729"/>
                  </a:lnTo>
                  <a:lnTo>
                    <a:pt x="2787" y="752"/>
                  </a:lnTo>
                  <a:lnTo>
                    <a:pt x="2787" y="776"/>
                  </a:lnTo>
                  <a:lnTo>
                    <a:pt x="2787" y="802"/>
                  </a:lnTo>
                  <a:lnTo>
                    <a:pt x="2788" y="816"/>
                  </a:lnTo>
                  <a:lnTo>
                    <a:pt x="2789" y="829"/>
                  </a:lnTo>
                  <a:lnTo>
                    <a:pt x="2789" y="838"/>
                  </a:lnTo>
                  <a:lnTo>
                    <a:pt x="2788" y="845"/>
                  </a:lnTo>
                  <a:lnTo>
                    <a:pt x="2787" y="852"/>
                  </a:lnTo>
                  <a:lnTo>
                    <a:pt x="2785" y="858"/>
                  </a:lnTo>
                  <a:lnTo>
                    <a:pt x="2779" y="870"/>
                  </a:lnTo>
                  <a:lnTo>
                    <a:pt x="2773" y="882"/>
                  </a:lnTo>
                  <a:lnTo>
                    <a:pt x="2757" y="905"/>
                  </a:lnTo>
                  <a:lnTo>
                    <a:pt x="2742" y="930"/>
                  </a:lnTo>
                  <a:lnTo>
                    <a:pt x="2736" y="943"/>
                  </a:lnTo>
                  <a:lnTo>
                    <a:pt x="2732" y="956"/>
                  </a:lnTo>
                  <a:lnTo>
                    <a:pt x="2728" y="969"/>
                  </a:lnTo>
                  <a:lnTo>
                    <a:pt x="2722" y="983"/>
                  </a:lnTo>
                  <a:lnTo>
                    <a:pt x="2732" y="984"/>
                  </a:lnTo>
                  <a:lnTo>
                    <a:pt x="2742" y="984"/>
                  </a:lnTo>
                  <a:lnTo>
                    <a:pt x="2750" y="984"/>
                  </a:lnTo>
                  <a:lnTo>
                    <a:pt x="2758" y="983"/>
                  </a:lnTo>
                  <a:lnTo>
                    <a:pt x="2775" y="981"/>
                  </a:lnTo>
                  <a:lnTo>
                    <a:pt x="2795" y="981"/>
                  </a:lnTo>
                  <a:lnTo>
                    <a:pt x="2809" y="981"/>
                  </a:lnTo>
                  <a:lnTo>
                    <a:pt x="2823" y="983"/>
                  </a:lnTo>
                  <a:lnTo>
                    <a:pt x="2836" y="987"/>
                  </a:lnTo>
                  <a:lnTo>
                    <a:pt x="2849" y="991"/>
                  </a:lnTo>
                  <a:lnTo>
                    <a:pt x="2873" y="1001"/>
                  </a:lnTo>
                  <a:lnTo>
                    <a:pt x="2899" y="1014"/>
                  </a:lnTo>
                  <a:lnTo>
                    <a:pt x="2899" y="1014"/>
                  </a:lnTo>
                  <a:lnTo>
                    <a:pt x="2886" y="1032"/>
                  </a:lnTo>
                  <a:lnTo>
                    <a:pt x="2872" y="1050"/>
                  </a:lnTo>
                  <a:lnTo>
                    <a:pt x="2857" y="1070"/>
                  </a:lnTo>
                  <a:lnTo>
                    <a:pt x="2840" y="1090"/>
                  </a:lnTo>
                  <a:lnTo>
                    <a:pt x="2813" y="1121"/>
                  </a:lnTo>
                  <a:lnTo>
                    <a:pt x="2790" y="1148"/>
                  </a:lnTo>
                  <a:lnTo>
                    <a:pt x="2767" y="1173"/>
                  </a:lnTo>
                  <a:lnTo>
                    <a:pt x="2738" y="1203"/>
                  </a:lnTo>
                  <a:lnTo>
                    <a:pt x="2723" y="1216"/>
                  </a:lnTo>
                  <a:lnTo>
                    <a:pt x="2709" y="1227"/>
                  </a:lnTo>
                  <a:lnTo>
                    <a:pt x="2703" y="1233"/>
                  </a:lnTo>
                  <a:lnTo>
                    <a:pt x="2697" y="1239"/>
                  </a:lnTo>
                  <a:lnTo>
                    <a:pt x="2691" y="1247"/>
                  </a:lnTo>
                  <a:lnTo>
                    <a:pt x="2686" y="1256"/>
                  </a:lnTo>
                  <a:lnTo>
                    <a:pt x="2668" y="1287"/>
                  </a:lnTo>
                  <a:lnTo>
                    <a:pt x="2654" y="1315"/>
                  </a:lnTo>
                  <a:lnTo>
                    <a:pt x="2641" y="1343"/>
                  </a:lnTo>
                  <a:lnTo>
                    <a:pt x="2630" y="1370"/>
                  </a:lnTo>
                  <a:lnTo>
                    <a:pt x="2620" y="1397"/>
                  </a:lnTo>
                  <a:lnTo>
                    <a:pt x="2610" y="1426"/>
                  </a:lnTo>
                  <a:lnTo>
                    <a:pt x="2600" y="1458"/>
                  </a:lnTo>
                  <a:lnTo>
                    <a:pt x="2590" y="1491"/>
                  </a:lnTo>
                  <a:lnTo>
                    <a:pt x="2583" y="1514"/>
                  </a:lnTo>
                  <a:lnTo>
                    <a:pt x="2575" y="1535"/>
                  </a:lnTo>
                  <a:lnTo>
                    <a:pt x="2568" y="1556"/>
                  </a:lnTo>
                  <a:lnTo>
                    <a:pt x="2559" y="1575"/>
                  </a:lnTo>
                  <a:lnTo>
                    <a:pt x="2551" y="1594"/>
                  </a:lnTo>
                  <a:lnTo>
                    <a:pt x="2541" y="1611"/>
                  </a:lnTo>
                  <a:lnTo>
                    <a:pt x="2530" y="1628"/>
                  </a:lnTo>
                  <a:lnTo>
                    <a:pt x="2519" y="1644"/>
                  </a:lnTo>
                  <a:lnTo>
                    <a:pt x="2507" y="1661"/>
                  </a:lnTo>
                  <a:lnTo>
                    <a:pt x="2495" y="1677"/>
                  </a:lnTo>
                  <a:lnTo>
                    <a:pt x="2482" y="1692"/>
                  </a:lnTo>
                  <a:lnTo>
                    <a:pt x="2468" y="1708"/>
                  </a:lnTo>
                  <a:lnTo>
                    <a:pt x="2438" y="1740"/>
                  </a:lnTo>
                  <a:lnTo>
                    <a:pt x="2406" y="1774"/>
                  </a:lnTo>
                  <a:lnTo>
                    <a:pt x="2378" y="1801"/>
                  </a:lnTo>
                  <a:lnTo>
                    <a:pt x="2352" y="1825"/>
                  </a:lnTo>
                  <a:lnTo>
                    <a:pt x="2339" y="1836"/>
                  </a:lnTo>
                  <a:lnTo>
                    <a:pt x="2325" y="1846"/>
                  </a:lnTo>
                  <a:lnTo>
                    <a:pt x="2310" y="1857"/>
                  </a:lnTo>
                  <a:lnTo>
                    <a:pt x="2293" y="1869"/>
                  </a:lnTo>
                  <a:lnTo>
                    <a:pt x="2258" y="1894"/>
                  </a:lnTo>
                  <a:lnTo>
                    <a:pt x="2226" y="1917"/>
                  </a:lnTo>
                  <a:lnTo>
                    <a:pt x="2196" y="1938"/>
                  </a:lnTo>
                  <a:lnTo>
                    <a:pt x="2167" y="1959"/>
                  </a:lnTo>
                  <a:lnTo>
                    <a:pt x="2139" y="1980"/>
                  </a:lnTo>
                  <a:lnTo>
                    <a:pt x="2109" y="2001"/>
                  </a:lnTo>
                  <a:lnTo>
                    <a:pt x="2076" y="2022"/>
                  </a:lnTo>
                  <a:lnTo>
                    <a:pt x="2041" y="2046"/>
                  </a:lnTo>
                  <a:lnTo>
                    <a:pt x="2021" y="2057"/>
                  </a:lnTo>
                  <a:lnTo>
                    <a:pt x="2002" y="2067"/>
                  </a:lnTo>
                  <a:lnTo>
                    <a:pt x="1983" y="2074"/>
                  </a:lnTo>
                  <a:lnTo>
                    <a:pt x="1966" y="2083"/>
                  </a:lnTo>
                  <a:lnTo>
                    <a:pt x="1949" y="2091"/>
                  </a:lnTo>
                  <a:lnTo>
                    <a:pt x="1932" y="2101"/>
                  </a:lnTo>
                  <a:lnTo>
                    <a:pt x="1923" y="2107"/>
                  </a:lnTo>
                  <a:lnTo>
                    <a:pt x="1915" y="2114"/>
                  </a:lnTo>
                  <a:lnTo>
                    <a:pt x="1908" y="2122"/>
                  </a:lnTo>
                  <a:lnTo>
                    <a:pt x="1899" y="2129"/>
                  </a:lnTo>
                  <a:lnTo>
                    <a:pt x="1899" y="2129"/>
                  </a:lnTo>
                  <a:lnTo>
                    <a:pt x="1899" y="1987"/>
                  </a:lnTo>
                  <a:lnTo>
                    <a:pt x="1899" y="1987"/>
                  </a:lnTo>
                  <a:lnTo>
                    <a:pt x="1918" y="1998"/>
                  </a:lnTo>
                  <a:lnTo>
                    <a:pt x="1935" y="2006"/>
                  </a:lnTo>
                  <a:lnTo>
                    <a:pt x="1944" y="2009"/>
                  </a:lnTo>
                  <a:lnTo>
                    <a:pt x="1953" y="2012"/>
                  </a:lnTo>
                  <a:lnTo>
                    <a:pt x="1963" y="2014"/>
                  </a:lnTo>
                  <a:lnTo>
                    <a:pt x="1974" y="2015"/>
                  </a:lnTo>
                  <a:lnTo>
                    <a:pt x="1980" y="2013"/>
                  </a:lnTo>
                  <a:lnTo>
                    <a:pt x="1986" y="2010"/>
                  </a:lnTo>
                  <a:lnTo>
                    <a:pt x="1991" y="2008"/>
                  </a:lnTo>
                  <a:lnTo>
                    <a:pt x="1996" y="2005"/>
                  </a:lnTo>
                  <a:lnTo>
                    <a:pt x="2005" y="1998"/>
                  </a:lnTo>
                  <a:lnTo>
                    <a:pt x="2014" y="1990"/>
                  </a:lnTo>
                  <a:lnTo>
                    <a:pt x="2022" y="1981"/>
                  </a:lnTo>
                  <a:lnTo>
                    <a:pt x="2031" y="1973"/>
                  </a:lnTo>
                  <a:lnTo>
                    <a:pt x="2041" y="1965"/>
                  </a:lnTo>
                  <a:lnTo>
                    <a:pt x="2053" y="1959"/>
                  </a:lnTo>
                  <a:lnTo>
                    <a:pt x="2067" y="1952"/>
                  </a:lnTo>
                  <a:lnTo>
                    <a:pt x="2081" y="1947"/>
                  </a:lnTo>
                  <a:lnTo>
                    <a:pt x="2094" y="1940"/>
                  </a:lnTo>
                  <a:lnTo>
                    <a:pt x="2109" y="1934"/>
                  </a:lnTo>
                  <a:lnTo>
                    <a:pt x="2114" y="1929"/>
                  </a:lnTo>
                  <a:lnTo>
                    <a:pt x="2118" y="1925"/>
                  </a:lnTo>
                  <a:lnTo>
                    <a:pt x="2123" y="1921"/>
                  </a:lnTo>
                  <a:lnTo>
                    <a:pt x="2127" y="1917"/>
                  </a:lnTo>
                  <a:lnTo>
                    <a:pt x="2131" y="1911"/>
                  </a:lnTo>
                  <a:lnTo>
                    <a:pt x="2136" y="1907"/>
                  </a:lnTo>
                  <a:lnTo>
                    <a:pt x="2141" y="1904"/>
                  </a:lnTo>
                  <a:lnTo>
                    <a:pt x="2148" y="1900"/>
                  </a:lnTo>
                  <a:lnTo>
                    <a:pt x="2170" y="1893"/>
                  </a:lnTo>
                  <a:lnTo>
                    <a:pt x="2192" y="1885"/>
                  </a:lnTo>
                  <a:lnTo>
                    <a:pt x="2197" y="1882"/>
                  </a:lnTo>
                  <a:lnTo>
                    <a:pt x="2202" y="1880"/>
                  </a:lnTo>
                  <a:lnTo>
                    <a:pt x="2205" y="1877"/>
                  </a:lnTo>
                  <a:lnTo>
                    <a:pt x="2208" y="1873"/>
                  </a:lnTo>
                  <a:lnTo>
                    <a:pt x="2211" y="1869"/>
                  </a:lnTo>
                  <a:lnTo>
                    <a:pt x="2214" y="1865"/>
                  </a:lnTo>
                  <a:lnTo>
                    <a:pt x="2215" y="1860"/>
                  </a:lnTo>
                  <a:lnTo>
                    <a:pt x="2215" y="1855"/>
                  </a:lnTo>
                  <a:lnTo>
                    <a:pt x="2215" y="1844"/>
                  </a:lnTo>
                  <a:lnTo>
                    <a:pt x="2215" y="1836"/>
                  </a:lnTo>
                  <a:lnTo>
                    <a:pt x="2215" y="1827"/>
                  </a:lnTo>
                  <a:lnTo>
                    <a:pt x="2215" y="1817"/>
                  </a:lnTo>
                  <a:lnTo>
                    <a:pt x="2215" y="1805"/>
                  </a:lnTo>
                  <a:lnTo>
                    <a:pt x="2216" y="1796"/>
                  </a:lnTo>
                  <a:lnTo>
                    <a:pt x="2218" y="1786"/>
                  </a:lnTo>
                  <a:lnTo>
                    <a:pt x="2220" y="1777"/>
                  </a:lnTo>
                  <a:lnTo>
                    <a:pt x="2223" y="1769"/>
                  </a:lnTo>
                  <a:lnTo>
                    <a:pt x="2228" y="1760"/>
                  </a:lnTo>
                  <a:lnTo>
                    <a:pt x="2233" y="1751"/>
                  </a:lnTo>
                  <a:lnTo>
                    <a:pt x="2239" y="1743"/>
                  </a:lnTo>
                  <a:lnTo>
                    <a:pt x="2244" y="1739"/>
                  </a:lnTo>
                  <a:lnTo>
                    <a:pt x="2247" y="1737"/>
                  </a:lnTo>
                  <a:lnTo>
                    <a:pt x="2251" y="1735"/>
                  </a:lnTo>
                  <a:lnTo>
                    <a:pt x="2256" y="1734"/>
                  </a:lnTo>
                  <a:lnTo>
                    <a:pt x="2264" y="1734"/>
                  </a:lnTo>
                  <a:lnTo>
                    <a:pt x="2273" y="1734"/>
                  </a:lnTo>
                  <a:lnTo>
                    <a:pt x="2283" y="1735"/>
                  </a:lnTo>
                  <a:lnTo>
                    <a:pt x="2292" y="1735"/>
                  </a:lnTo>
                  <a:lnTo>
                    <a:pt x="2297" y="1734"/>
                  </a:lnTo>
                  <a:lnTo>
                    <a:pt x="2301" y="1733"/>
                  </a:lnTo>
                  <a:lnTo>
                    <a:pt x="2305" y="1732"/>
                  </a:lnTo>
                  <a:lnTo>
                    <a:pt x="2310" y="1729"/>
                  </a:lnTo>
                  <a:lnTo>
                    <a:pt x="2315" y="1724"/>
                  </a:lnTo>
                  <a:lnTo>
                    <a:pt x="2319" y="1719"/>
                  </a:lnTo>
                  <a:lnTo>
                    <a:pt x="2322" y="1713"/>
                  </a:lnTo>
                  <a:lnTo>
                    <a:pt x="2324" y="1708"/>
                  </a:lnTo>
                  <a:lnTo>
                    <a:pt x="2327" y="1695"/>
                  </a:lnTo>
                  <a:lnTo>
                    <a:pt x="2332" y="1681"/>
                  </a:lnTo>
                  <a:lnTo>
                    <a:pt x="2340" y="1670"/>
                  </a:lnTo>
                  <a:lnTo>
                    <a:pt x="2349" y="1661"/>
                  </a:lnTo>
                  <a:lnTo>
                    <a:pt x="2357" y="1652"/>
                  </a:lnTo>
                  <a:lnTo>
                    <a:pt x="2366" y="1642"/>
                  </a:lnTo>
                  <a:lnTo>
                    <a:pt x="2376" y="1632"/>
                  </a:lnTo>
                  <a:lnTo>
                    <a:pt x="2385" y="1624"/>
                  </a:lnTo>
                  <a:lnTo>
                    <a:pt x="2394" y="1616"/>
                  </a:lnTo>
                  <a:lnTo>
                    <a:pt x="2404" y="1609"/>
                  </a:lnTo>
                  <a:lnTo>
                    <a:pt x="2412" y="1601"/>
                  </a:lnTo>
                  <a:lnTo>
                    <a:pt x="2420" y="1593"/>
                  </a:lnTo>
                  <a:lnTo>
                    <a:pt x="2423" y="1587"/>
                  </a:lnTo>
                  <a:lnTo>
                    <a:pt x="2425" y="1582"/>
                  </a:lnTo>
                  <a:lnTo>
                    <a:pt x="2428" y="1576"/>
                  </a:lnTo>
                  <a:lnTo>
                    <a:pt x="2431" y="1570"/>
                  </a:lnTo>
                  <a:lnTo>
                    <a:pt x="2436" y="1551"/>
                  </a:lnTo>
                  <a:lnTo>
                    <a:pt x="2441" y="1535"/>
                  </a:lnTo>
                  <a:lnTo>
                    <a:pt x="2447" y="1519"/>
                  </a:lnTo>
                  <a:lnTo>
                    <a:pt x="2453" y="1502"/>
                  </a:lnTo>
                  <a:lnTo>
                    <a:pt x="2459" y="1486"/>
                  </a:lnTo>
                  <a:lnTo>
                    <a:pt x="2464" y="1470"/>
                  </a:lnTo>
                  <a:lnTo>
                    <a:pt x="2468" y="1464"/>
                  </a:lnTo>
                  <a:lnTo>
                    <a:pt x="2473" y="1459"/>
                  </a:lnTo>
                  <a:lnTo>
                    <a:pt x="2476" y="1458"/>
                  </a:lnTo>
                  <a:lnTo>
                    <a:pt x="2479" y="1455"/>
                  </a:lnTo>
                  <a:lnTo>
                    <a:pt x="2482" y="1454"/>
                  </a:lnTo>
                  <a:lnTo>
                    <a:pt x="2487" y="1454"/>
                  </a:lnTo>
                  <a:lnTo>
                    <a:pt x="2498" y="1456"/>
                  </a:lnTo>
                  <a:lnTo>
                    <a:pt x="2509" y="1460"/>
                  </a:lnTo>
                  <a:lnTo>
                    <a:pt x="2515" y="1448"/>
                  </a:lnTo>
                  <a:lnTo>
                    <a:pt x="2519" y="1437"/>
                  </a:lnTo>
                  <a:lnTo>
                    <a:pt x="2521" y="1425"/>
                  </a:lnTo>
                  <a:lnTo>
                    <a:pt x="2521" y="1412"/>
                  </a:lnTo>
                  <a:lnTo>
                    <a:pt x="2521" y="1404"/>
                  </a:lnTo>
                  <a:lnTo>
                    <a:pt x="2521" y="1395"/>
                  </a:lnTo>
                  <a:lnTo>
                    <a:pt x="2521" y="1387"/>
                  </a:lnTo>
                  <a:lnTo>
                    <a:pt x="2521" y="1379"/>
                  </a:lnTo>
                  <a:lnTo>
                    <a:pt x="2515" y="1375"/>
                  </a:lnTo>
                  <a:lnTo>
                    <a:pt x="2509" y="1373"/>
                  </a:lnTo>
                  <a:lnTo>
                    <a:pt x="2505" y="1373"/>
                  </a:lnTo>
                  <a:lnTo>
                    <a:pt x="2503" y="1374"/>
                  </a:lnTo>
                  <a:lnTo>
                    <a:pt x="2500" y="1377"/>
                  </a:lnTo>
                  <a:lnTo>
                    <a:pt x="2498" y="1379"/>
                  </a:lnTo>
                  <a:lnTo>
                    <a:pt x="2492" y="1383"/>
                  </a:lnTo>
                  <a:lnTo>
                    <a:pt x="2487" y="1387"/>
                  </a:lnTo>
                  <a:lnTo>
                    <a:pt x="2471" y="1394"/>
                  </a:lnTo>
                  <a:lnTo>
                    <a:pt x="2454" y="1398"/>
                  </a:lnTo>
                  <a:lnTo>
                    <a:pt x="2438" y="1400"/>
                  </a:lnTo>
                  <a:lnTo>
                    <a:pt x="2421" y="1401"/>
                  </a:lnTo>
                  <a:lnTo>
                    <a:pt x="2409" y="1400"/>
                  </a:lnTo>
                  <a:lnTo>
                    <a:pt x="2399" y="1398"/>
                  </a:lnTo>
                  <a:lnTo>
                    <a:pt x="2391" y="1394"/>
                  </a:lnTo>
                  <a:lnTo>
                    <a:pt x="2382" y="1389"/>
                  </a:lnTo>
                  <a:lnTo>
                    <a:pt x="2366" y="1377"/>
                  </a:lnTo>
                  <a:lnTo>
                    <a:pt x="2350" y="1362"/>
                  </a:lnTo>
                  <a:lnTo>
                    <a:pt x="2340" y="1354"/>
                  </a:lnTo>
                  <a:lnTo>
                    <a:pt x="2330" y="1347"/>
                  </a:lnTo>
                  <a:lnTo>
                    <a:pt x="2320" y="1341"/>
                  </a:lnTo>
                  <a:lnTo>
                    <a:pt x="2311" y="1337"/>
                  </a:lnTo>
                  <a:lnTo>
                    <a:pt x="2290" y="1327"/>
                  </a:lnTo>
                  <a:lnTo>
                    <a:pt x="2268" y="1314"/>
                  </a:lnTo>
                  <a:lnTo>
                    <a:pt x="2268" y="1326"/>
                  </a:lnTo>
                  <a:lnTo>
                    <a:pt x="2268" y="1335"/>
                  </a:lnTo>
                  <a:lnTo>
                    <a:pt x="2268" y="1344"/>
                  </a:lnTo>
                  <a:lnTo>
                    <a:pt x="2268" y="1356"/>
                  </a:lnTo>
                  <a:lnTo>
                    <a:pt x="2270" y="1372"/>
                  </a:lnTo>
                  <a:lnTo>
                    <a:pt x="2272" y="1387"/>
                  </a:lnTo>
                  <a:lnTo>
                    <a:pt x="2275" y="1402"/>
                  </a:lnTo>
                  <a:lnTo>
                    <a:pt x="2276" y="1420"/>
                  </a:lnTo>
                  <a:lnTo>
                    <a:pt x="2276" y="1424"/>
                  </a:lnTo>
                  <a:lnTo>
                    <a:pt x="2275" y="1428"/>
                  </a:lnTo>
                  <a:lnTo>
                    <a:pt x="2273" y="1433"/>
                  </a:lnTo>
                  <a:lnTo>
                    <a:pt x="2271" y="1436"/>
                  </a:lnTo>
                  <a:lnTo>
                    <a:pt x="2265" y="1442"/>
                  </a:lnTo>
                  <a:lnTo>
                    <a:pt x="2259" y="1448"/>
                  </a:lnTo>
                  <a:lnTo>
                    <a:pt x="2251" y="1453"/>
                  </a:lnTo>
                  <a:lnTo>
                    <a:pt x="2244" y="1459"/>
                  </a:lnTo>
                  <a:lnTo>
                    <a:pt x="2235" y="1464"/>
                  </a:lnTo>
                  <a:lnTo>
                    <a:pt x="2229" y="1472"/>
                  </a:lnTo>
                  <a:lnTo>
                    <a:pt x="2223" y="1479"/>
                  </a:lnTo>
                  <a:lnTo>
                    <a:pt x="2219" y="1486"/>
                  </a:lnTo>
                  <a:lnTo>
                    <a:pt x="2217" y="1493"/>
                  </a:lnTo>
                  <a:lnTo>
                    <a:pt x="2215" y="1501"/>
                  </a:lnTo>
                  <a:lnTo>
                    <a:pt x="2210" y="1517"/>
                  </a:lnTo>
                  <a:lnTo>
                    <a:pt x="2204" y="1533"/>
                  </a:lnTo>
                  <a:lnTo>
                    <a:pt x="2199" y="1540"/>
                  </a:lnTo>
                  <a:lnTo>
                    <a:pt x="2194" y="1545"/>
                  </a:lnTo>
                  <a:lnTo>
                    <a:pt x="2190" y="1549"/>
                  </a:lnTo>
                  <a:lnTo>
                    <a:pt x="2184" y="1554"/>
                  </a:lnTo>
                  <a:lnTo>
                    <a:pt x="2179" y="1558"/>
                  </a:lnTo>
                  <a:lnTo>
                    <a:pt x="2174" y="1563"/>
                  </a:lnTo>
                  <a:lnTo>
                    <a:pt x="2168" y="1569"/>
                  </a:lnTo>
                  <a:lnTo>
                    <a:pt x="2164" y="1575"/>
                  </a:lnTo>
                  <a:lnTo>
                    <a:pt x="2158" y="1586"/>
                  </a:lnTo>
                  <a:lnTo>
                    <a:pt x="2154" y="1597"/>
                  </a:lnTo>
                  <a:lnTo>
                    <a:pt x="2150" y="1607"/>
                  </a:lnTo>
                  <a:lnTo>
                    <a:pt x="2147" y="1617"/>
                  </a:lnTo>
                  <a:lnTo>
                    <a:pt x="2140" y="1638"/>
                  </a:lnTo>
                  <a:lnTo>
                    <a:pt x="2136" y="1657"/>
                  </a:lnTo>
                  <a:lnTo>
                    <a:pt x="2131" y="1677"/>
                  </a:lnTo>
                  <a:lnTo>
                    <a:pt x="2126" y="1697"/>
                  </a:lnTo>
                  <a:lnTo>
                    <a:pt x="2123" y="1708"/>
                  </a:lnTo>
                  <a:lnTo>
                    <a:pt x="2118" y="1719"/>
                  </a:lnTo>
                  <a:lnTo>
                    <a:pt x="2114" y="1730"/>
                  </a:lnTo>
                  <a:lnTo>
                    <a:pt x="2109" y="1740"/>
                  </a:lnTo>
                  <a:lnTo>
                    <a:pt x="2103" y="1748"/>
                  </a:lnTo>
                  <a:lnTo>
                    <a:pt x="2099" y="1755"/>
                  </a:lnTo>
                  <a:lnTo>
                    <a:pt x="2094" y="1761"/>
                  </a:lnTo>
                  <a:lnTo>
                    <a:pt x="2088" y="1766"/>
                  </a:lnTo>
                  <a:lnTo>
                    <a:pt x="2075" y="1775"/>
                  </a:lnTo>
                  <a:lnTo>
                    <a:pt x="2062" y="1783"/>
                  </a:lnTo>
                  <a:lnTo>
                    <a:pt x="2032" y="1794"/>
                  </a:lnTo>
                  <a:lnTo>
                    <a:pt x="1999" y="1807"/>
                  </a:lnTo>
                  <a:lnTo>
                    <a:pt x="1988" y="1813"/>
                  </a:lnTo>
                  <a:lnTo>
                    <a:pt x="1978" y="1818"/>
                  </a:lnTo>
                  <a:lnTo>
                    <a:pt x="1969" y="1824"/>
                  </a:lnTo>
                  <a:lnTo>
                    <a:pt x="1961" y="1829"/>
                  </a:lnTo>
                  <a:lnTo>
                    <a:pt x="1946" y="1841"/>
                  </a:lnTo>
                  <a:lnTo>
                    <a:pt x="1932" y="1854"/>
                  </a:lnTo>
                  <a:lnTo>
                    <a:pt x="1904" y="1883"/>
                  </a:lnTo>
                  <a:lnTo>
                    <a:pt x="1873" y="1914"/>
                  </a:lnTo>
                  <a:lnTo>
                    <a:pt x="1853" y="1931"/>
                  </a:lnTo>
                  <a:lnTo>
                    <a:pt x="1833" y="1945"/>
                  </a:lnTo>
                  <a:lnTo>
                    <a:pt x="1826" y="1952"/>
                  </a:lnTo>
                  <a:lnTo>
                    <a:pt x="1819" y="1962"/>
                  </a:lnTo>
                  <a:lnTo>
                    <a:pt x="1817" y="1966"/>
                  </a:lnTo>
                  <a:lnTo>
                    <a:pt x="1815" y="1972"/>
                  </a:lnTo>
                  <a:lnTo>
                    <a:pt x="1814" y="1978"/>
                  </a:lnTo>
                  <a:lnTo>
                    <a:pt x="1814" y="1985"/>
                  </a:lnTo>
                  <a:lnTo>
                    <a:pt x="1815" y="1993"/>
                  </a:lnTo>
                  <a:lnTo>
                    <a:pt x="1817" y="2001"/>
                  </a:lnTo>
                  <a:lnTo>
                    <a:pt x="1820" y="2007"/>
                  </a:lnTo>
                  <a:lnTo>
                    <a:pt x="1825" y="2014"/>
                  </a:lnTo>
                  <a:lnTo>
                    <a:pt x="1829" y="2020"/>
                  </a:lnTo>
                  <a:lnTo>
                    <a:pt x="1833" y="2027"/>
                  </a:lnTo>
                  <a:lnTo>
                    <a:pt x="1837" y="2034"/>
                  </a:lnTo>
                  <a:lnTo>
                    <a:pt x="1839" y="2043"/>
                  </a:lnTo>
                  <a:lnTo>
                    <a:pt x="1843" y="2077"/>
                  </a:lnTo>
                  <a:lnTo>
                    <a:pt x="1845" y="2110"/>
                  </a:lnTo>
                  <a:lnTo>
                    <a:pt x="1846" y="2117"/>
                  </a:lnTo>
                  <a:lnTo>
                    <a:pt x="1848" y="2125"/>
                  </a:lnTo>
                  <a:lnTo>
                    <a:pt x="1851" y="2133"/>
                  </a:lnTo>
                  <a:lnTo>
                    <a:pt x="1854" y="2140"/>
                  </a:lnTo>
                  <a:lnTo>
                    <a:pt x="1857" y="2147"/>
                  </a:lnTo>
                  <a:lnTo>
                    <a:pt x="1861" y="2153"/>
                  </a:lnTo>
                  <a:lnTo>
                    <a:pt x="1867" y="2160"/>
                  </a:lnTo>
                  <a:lnTo>
                    <a:pt x="1873" y="2166"/>
                  </a:lnTo>
                  <a:lnTo>
                    <a:pt x="1870" y="2172"/>
                  </a:lnTo>
                  <a:lnTo>
                    <a:pt x="1867" y="2178"/>
                  </a:lnTo>
                  <a:lnTo>
                    <a:pt x="1864" y="2183"/>
                  </a:lnTo>
                  <a:lnTo>
                    <a:pt x="1859" y="2189"/>
                  </a:lnTo>
                  <a:lnTo>
                    <a:pt x="1851" y="2197"/>
                  </a:lnTo>
                  <a:lnTo>
                    <a:pt x="1842" y="2205"/>
                  </a:lnTo>
                  <a:lnTo>
                    <a:pt x="1832" y="2212"/>
                  </a:lnTo>
                  <a:lnTo>
                    <a:pt x="1824" y="2221"/>
                  </a:lnTo>
                  <a:lnTo>
                    <a:pt x="1816" y="2230"/>
                  </a:lnTo>
                  <a:lnTo>
                    <a:pt x="1809" y="2242"/>
                  </a:lnTo>
                  <a:lnTo>
                    <a:pt x="1799" y="2260"/>
                  </a:lnTo>
                  <a:lnTo>
                    <a:pt x="1791" y="2278"/>
                  </a:lnTo>
                  <a:lnTo>
                    <a:pt x="1784" y="2296"/>
                  </a:lnTo>
                  <a:lnTo>
                    <a:pt x="1778" y="2312"/>
                  </a:lnTo>
                  <a:lnTo>
                    <a:pt x="1766" y="2344"/>
                  </a:lnTo>
                  <a:lnTo>
                    <a:pt x="1757" y="2377"/>
                  </a:lnTo>
                  <a:lnTo>
                    <a:pt x="1746" y="2408"/>
                  </a:lnTo>
                  <a:lnTo>
                    <a:pt x="1734" y="2440"/>
                  </a:lnTo>
                  <a:lnTo>
                    <a:pt x="1726" y="2457"/>
                  </a:lnTo>
                  <a:lnTo>
                    <a:pt x="1719" y="2474"/>
                  </a:lnTo>
                  <a:lnTo>
                    <a:pt x="1709" y="2490"/>
                  </a:lnTo>
                  <a:lnTo>
                    <a:pt x="1699" y="2508"/>
                  </a:lnTo>
                  <a:lnTo>
                    <a:pt x="1692" y="2519"/>
                  </a:lnTo>
                  <a:lnTo>
                    <a:pt x="1684" y="2529"/>
                  </a:lnTo>
                  <a:lnTo>
                    <a:pt x="1677" y="2539"/>
                  </a:lnTo>
                  <a:lnTo>
                    <a:pt x="1671" y="2550"/>
                  </a:lnTo>
                  <a:lnTo>
                    <a:pt x="1669" y="2557"/>
                  </a:lnTo>
                  <a:lnTo>
                    <a:pt x="1669" y="2563"/>
                  </a:lnTo>
                  <a:lnTo>
                    <a:pt x="1669" y="2567"/>
                  </a:lnTo>
                  <a:lnTo>
                    <a:pt x="1669" y="2570"/>
                  </a:lnTo>
                  <a:lnTo>
                    <a:pt x="1667" y="2573"/>
                  </a:lnTo>
                  <a:lnTo>
                    <a:pt x="1666" y="2575"/>
                  </a:lnTo>
                  <a:lnTo>
                    <a:pt x="1641" y="2596"/>
                  </a:lnTo>
                  <a:lnTo>
                    <a:pt x="1621" y="2615"/>
                  </a:lnTo>
                  <a:lnTo>
                    <a:pt x="1600" y="2634"/>
                  </a:lnTo>
                  <a:lnTo>
                    <a:pt x="1581" y="2651"/>
                  </a:lnTo>
                  <a:lnTo>
                    <a:pt x="1560" y="2667"/>
                  </a:lnTo>
                  <a:lnTo>
                    <a:pt x="1538" y="2682"/>
                  </a:lnTo>
                  <a:lnTo>
                    <a:pt x="1514" y="2698"/>
                  </a:lnTo>
                  <a:lnTo>
                    <a:pt x="1486" y="2712"/>
                  </a:lnTo>
                  <a:lnTo>
                    <a:pt x="1460" y="2727"/>
                  </a:lnTo>
                  <a:lnTo>
                    <a:pt x="1437" y="2739"/>
                  </a:lnTo>
                  <a:lnTo>
                    <a:pt x="1426" y="2747"/>
                  </a:lnTo>
                  <a:lnTo>
                    <a:pt x="1415" y="2756"/>
                  </a:lnTo>
                  <a:lnTo>
                    <a:pt x="1405" y="2764"/>
                  </a:lnTo>
                  <a:lnTo>
                    <a:pt x="1394" y="2774"/>
                  </a:lnTo>
                  <a:lnTo>
                    <a:pt x="1394" y="2774"/>
                  </a:lnTo>
                  <a:lnTo>
                    <a:pt x="1358" y="2671"/>
                  </a:lnTo>
                  <a:lnTo>
                    <a:pt x="1356" y="2658"/>
                  </a:lnTo>
                  <a:lnTo>
                    <a:pt x="1353" y="2647"/>
                  </a:lnTo>
                  <a:lnTo>
                    <a:pt x="1351" y="2635"/>
                  </a:lnTo>
                  <a:lnTo>
                    <a:pt x="1349" y="2621"/>
                  </a:lnTo>
                  <a:lnTo>
                    <a:pt x="1351" y="2604"/>
                  </a:lnTo>
                  <a:lnTo>
                    <a:pt x="1354" y="2589"/>
                  </a:lnTo>
                  <a:lnTo>
                    <a:pt x="1355" y="2575"/>
                  </a:lnTo>
                  <a:lnTo>
                    <a:pt x="1358" y="2562"/>
                  </a:lnTo>
                  <a:lnTo>
                    <a:pt x="1361" y="2548"/>
                  </a:lnTo>
                  <a:lnTo>
                    <a:pt x="1366" y="2536"/>
                  </a:lnTo>
                  <a:lnTo>
                    <a:pt x="1369" y="2525"/>
                  </a:lnTo>
                  <a:lnTo>
                    <a:pt x="1374" y="2512"/>
                  </a:lnTo>
                  <a:lnTo>
                    <a:pt x="1378" y="2504"/>
                  </a:lnTo>
                  <a:lnTo>
                    <a:pt x="1382" y="2496"/>
                  </a:lnTo>
                  <a:lnTo>
                    <a:pt x="1394" y="2484"/>
                  </a:lnTo>
                  <a:lnTo>
                    <a:pt x="1405" y="2471"/>
                  </a:lnTo>
                  <a:lnTo>
                    <a:pt x="1407" y="2467"/>
                  </a:lnTo>
                  <a:lnTo>
                    <a:pt x="1410" y="2464"/>
                  </a:lnTo>
                  <a:lnTo>
                    <a:pt x="1414" y="2461"/>
                  </a:lnTo>
                  <a:lnTo>
                    <a:pt x="1420" y="2458"/>
                  </a:lnTo>
                  <a:lnTo>
                    <a:pt x="1424" y="2454"/>
                  </a:lnTo>
                  <a:lnTo>
                    <a:pt x="1429" y="2450"/>
                  </a:lnTo>
                  <a:lnTo>
                    <a:pt x="1439" y="2435"/>
                  </a:lnTo>
                  <a:lnTo>
                    <a:pt x="1449" y="2420"/>
                  </a:lnTo>
                  <a:lnTo>
                    <a:pt x="1452" y="2417"/>
                  </a:lnTo>
                  <a:lnTo>
                    <a:pt x="1455" y="2413"/>
                  </a:lnTo>
                  <a:lnTo>
                    <a:pt x="1455" y="2411"/>
                  </a:lnTo>
                  <a:lnTo>
                    <a:pt x="1455" y="2409"/>
                  </a:lnTo>
                  <a:lnTo>
                    <a:pt x="1456" y="2408"/>
                  </a:lnTo>
                  <a:lnTo>
                    <a:pt x="1457" y="2407"/>
                  </a:lnTo>
                  <a:lnTo>
                    <a:pt x="1459" y="2404"/>
                  </a:lnTo>
                  <a:lnTo>
                    <a:pt x="1460" y="2399"/>
                  </a:lnTo>
                  <a:lnTo>
                    <a:pt x="1463" y="2390"/>
                  </a:lnTo>
                  <a:lnTo>
                    <a:pt x="1464" y="2380"/>
                  </a:lnTo>
                  <a:lnTo>
                    <a:pt x="1462" y="2367"/>
                  </a:lnTo>
                  <a:lnTo>
                    <a:pt x="1459" y="2357"/>
                  </a:lnTo>
                  <a:lnTo>
                    <a:pt x="1455" y="2346"/>
                  </a:lnTo>
                  <a:lnTo>
                    <a:pt x="1454" y="2333"/>
                  </a:lnTo>
                  <a:lnTo>
                    <a:pt x="1453" y="2325"/>
                  </a:lnTo>
                  <a:lnTo>
                    <a:pt x="1452" y="2316"/>
                  </a:lnTo>
                  <a:lnTo>
                    <a:pt x="1450" y="2309"/>
                  </a:lnTo>
                  <a:lnTo>
                    <a:pt x="1446" y="2302"/>
                  </a:lnTo>
                  <a:lnTo>
                    <a:pt x="1442" y="2296"/>
                  </a:lnTo>
                  <a:lnTo>
                    <a:pt x="1437" y="2289"/>
                  </a:lnTo>
                  <a:lnTo>
                    <a:pt x="1432" y="2284"/>
                  </a:lnTo>
                  <a:lnTo>
                    <a:pt x="1426" y="2277"/>
                  </a:lnTo>
                  <a:lnTo>
                    <a:pt x="1413" y="2266"/>
                  </a:lnTo>
                  <a:lnTo>
                    <a:pt x="1400" y="2256"/>
                  </a:lnTo>
                  <a:lnTo>
                    <a:pt x="1386" y="2244"/>
                  </a:lnTo>
                  <a:lnTo>
                    <a:pt x="1374" y="2231"/>
                  </a:lnTo>
                  <a:lnTo>
                    <a:pt x="1368" y="2223"/>
                  </a:lnTo>
                  <a:lnTo>
                    <a:pt x="1364" y="2216"/>
                  </a:lnTo>
                  <a:lnTo>
                    <a:pt x="1359" y="2208"/>
                  </a:lnTo>
                  <a:lnTo>
                    <a:pt x="1356" y="2199"/>
                  </a:lnTo>
                  <a:lnTo>
                    <a:pt x="1351" y="2183"/>
                  </a:lnTo>
                  <a:lnTo>
                    <a:pt x="1346" y="2167"/>
                  </a:lnTo>
                  <a:lnTo>
                    <a:pt x="1341" y="2152"/>
                  </a:lnTo>
                  <a:lnTo>
                    <a:pt x="1333" y="2138"/>
                  </a:lnTo>
                  <a:lnTo>
                    <a:pt x="1329" y="2130"/>
                  </a:lnTo>
                  <a:lnTo>
                    <a:pt x="1324" y="2124"/>
                  </a:lnTo>
                  <a:lnTo>
                    <a:pt x="1317" y="2118"/>
                  </a:lnTo>
                  <a:lnTo>
                    <a:pt x="1310" y="2113"/>
                  </a:lnTo>
                  <a:lnTo>
                    <a:pt x="1291" y="2103"/>
                  </a:lnTo>
                  <a:lnTo>
                    <a:pt x="1274" y="2095"/>
                  </a:lnTo>
                  <a:lnTo>
                    <a:pt x="1258" y="2088"/>
                  </a:lnTo>
                  <a:lnTo>
                    <a:pt x="1241" y="2081"/>
                  </a:lnTo>
                  <a:lnTo>
                    <a:pt x="1225" y="2074"/>
                  </a:lnTo>
                  <a:lnTo>
                    <a:pt x="1210" y="2064"/>
                  </a:lnTo>
                  <a:lnTo>
                    <a:pt x="1203" y="2060"/>
                  </a:lnTo>
                  <a:lnTo>
                    <a:pt x="1195" y="2054"/>
                  </a:lnTo>
                  <a:lnTo>
                    <a:pt x="1187" y="2047"/>
                  </a:lnTo>
                  <a:lnTo>
                    <a:pt x="1181" y="2040"/>
                  </a:lnTo>
                  <a:lnTo>
                    <a:pt x="1150" y="2006"/>
                  </a:lnTo>
                  <a:lnTo>
                    <a:pt x="1122" y="1977"/>
                  </a:lnTo>
                  <a:lnTo>
                    <a:pt x="1093" y="1950"/>
                  </a:lnTo>
                  <a:lnTo>
                    <a:pt x="1060" y="1920"/>
                  </a:lnTo>
                  <a:lnTo>
                    <a:pt x="1055" y="1914"/>
                  </a:lnTo>
                  <a:lnTo>
                    <a:pt x="1050" y="1909"/>
                  </a:lnTo>
                  <a:lnTo>
                    <a:pt x="1047" y="1904"/>
                  </a:lnTo>
                  <a:lnTo>
                    <a:pt x="1045" y="1897"/>
                  </a:lnTo>
                  <a:lnTo>
                    <a:pt x="1041" y="1885"/>
                  </a:lnTo>
                  <a:lnTo>
                    <a:pt x="1037" y="1872"/>
                  </a:lnTo>
                  <a:lnTo>
                    <a:pt x="1034" y="1859"/>
                  </a:lnTo>
                  <a:lnTo>
                    <a:pt x="1030" y="1847"/>
                  </a:lnTo>
                  <a:lnTo>
                    <a:pt x="1027" y="1842"/>
                  </a:lnTo>
                  <a:lnTo>
                    <a:pt x="1023" y="1837"/>
                  </a:lnTo>
                  <a:lnTo>
                    <a:pt x="1018" y="1831"/>
                  </a:lnTo>
                  <a:lnTo>
                    <a:pt x="1012" y="1827"/>
                  </a:lnTo>
                  <a:lnTo>
                    <a:pt x="988" y="1813"/>
                  </a:lnTo>
                  <a:lnTo>
                    <a:pt x="965" y="1801"/>
                  </a:lnTo>
                  <a:lnTo>
                    <a:pt x="941" y="1791"/>
                  </a:lnTo>
                  <a:lnTo>
                    <a:pt x="914" y="1779"/>
                  </a:lnTo>
                  <a:lnTo>
                    <a:pt x="907" y="1777"/>
                  </a:lnTo>
                  <a:lnTo>
                    <a:pt x="900" y="1776"/>
                  </a:lnTo>
                  <a:lnTo>
                    <a:pt x="894" y="1776"/>
                  </a:lnTo>
                  <a:lnTo>
                    <a:pt x="886" y="1777"/>
                  </a:lnTo>
                  <a:lnTo>
                    <a:pt x="880" y="1778"/>
                  </a:lnTo>
                  <a:lnTo>
                    <a:pt x="873" y="1778"/>
                  </a:lnTo>
                  <a:lnTo>
                    <a:pt x="866" y="1778"/>
                  </a:lnTo>
                  <a:lnTo>
                    <a:pt x="858" y="1777"/>
                  </a:lnTo>
                  <a:lnTo>
                    <a:pt x="846" y="1774"/>
                  </a:lnTo>
                  <a:lnTo>
                    <a:pt x="834" y="1772"/>
                  </a:lnTo>
                  <a:lnTo>
                    <a:pt x="829" y="1771"/>
                  </a:lnTo>
                  <a:lnTo>
                    <a:pt x="823" y="1769"/>
                  </a:lnTo>
                  <a:lnTo>
                    <a:pt x="819" y="1766"/>
                  </a:lnTo>
                  <a:lnTo>
                    <a:pt x="814" y="1763"/>
                  </a:lnTo>
                  <a:lnTo>
                    <a:pt x="809" y="1758"/>
                  </a:lnTo>
                  <a:lnTo>
                    <a:pt x="806" y="1753"/>
                  </a:lnTo>
                  <a:lnTo>
                    <a:pt x="804" y="1748"/>
                  </a:lnTo>
                  <a:lnTo>
                    <a:pt x="803" y="1743"/>
                  </a:lnTo>
                  <a:lnTo>
                    <a:pt x="802" y="1731"/>
                  </a:lnTo>
                  <a:lnTo>
                    <a:pt x="800" y="1718"/>
                  </a:lnTo>
                  <a:lnTo>
                    <a:pt x="795" y="1708"/>
                  </a:lnTo>
                  <a:lnTo>
                    <a:pt x="790" y="1699"/>
                  </a:lnTo>
                  <a:lnTo>
                    <a:pt x="785" y="1691"/>
                  </a:lnTo>
                  <a:lnTo>
                    <a:pt x="779" y="1684"/>
                  </a:lnTo>
                  <a:lnTo>
                    <a:pt x="765" y="1670"/>
                  </a:lnTo>
                  <a:lnTo>
                    <a:pt x="752" y="1653"/>
                  </a:lnTo>
                  <a:lnTo>
                    <a:pt x="742" y="1640"/>
                  </a:lnTo>
                  <a:lnTo>
                    <a:pt x="734" y="1628"/>
                  </a:lnTo>
                  <a:lnTo>
                    <a:pt x="725" y="1616"/>
                  </a:lnTo>
                  <a:lnTo>
                    <a:pt x="715" y="1605"/>
                  </a:lnTo>
                  <a:lnTo>
                    <a:pt x="711" y="1601"/>
                  </a:lnTo>
                  <a:lnTo>
                    <a:pt x="706" y="1597"/>
                  </a:lnTo>
                  <a:lnTo>
                    <a:pt x="700" y="1593"/>
                  </a:lnTo>
                  <a:lnTo>
                    <a:pt x="694" y="1589"/>
                  </a:lnTo>
                  <a:lnTo>
                    <a:pt x="687" y="1587"/>
                  </a:lnTo>
                  <a:lnTo>
                    <a:pt x="681" y="1585"/>
                  </a:lnTo>
                  <a:lnTo>
                    <a:pt x="674" y="1584"/>
                  </a:lnTo>
                  <a:lnTo>
                    <a:pt x="666" y="1584"/>
                  </a:lnTo>
                  <a:lnTo>
                    <a:pt x="657" y="1584"/>
                  </a:lnTo>
                  <a:lnTo>
                    <a:pt x="649" y="1585"/>
                  </a:lnTo>
                  <a:lnTo>
                    <a:pt x="640" y="1588"/>
                  </a:lnTo>
                  <a:lnTo>
                    <a:pt x="632" y="1590"/>
                  </a:lnTo>
                  <a:lnTo>
                    <a:pt x="618" y="1598"/>
                  </a:lnTo>
                  <a:lnTo>
                    <a:pt x="605" y="1608"/>
                  </a:lnTo>
                  <a:lnTo>
                    <a:pt x="592" y="1616"/>
                  </a:lnTo>
                  <a:lnTo>
                    <a:pt x="577" y="1624"/>
                  </a:lnTo>
                  <a:lnTo>
                    <a:pt x="570" y="1627"/>
                  </a:lnTo>
                  <a:lnTo>
                    <a:pt x="562" y="1629"/>
                  </a:lnTo>
                  <a:lnTo>
                    <a:pt x="553" y="1630"/>
                  </a:lnTo>
                  <a:lnTo>
                    <a:pt x="544" y="1631"/>
                  </a:lnTo>
                  <a:lnTo>
                    <a:pt x="537" y="1630"/>
                  </a:lnTo>
                  <a:lnTo>
                    <a:pt x="532" y="1627"/>
                  </a:lnTo>
                  <a:lnTo>
                    <a:pt x="528" y="1623"/>
                  </a:lnTo>
                  <a:lnTo>
                    <a:pt x="524" y="1617"/>
                  </a:lnTo>
                  <a:lnTo>
                    <a:pt x="520" y="1603"/>
                  </a:lnTo>
                  <a:lnTo>
                    <a:pt x="517" y="1589"/>
                  </a:lnTo>
                  <a:lnTo>
                    <a:pt x="512" y="1576"/>
                  </a:lnTo>
                  <a:lnTo>
                    <a:pt x="507" y="1566"/>
                  </a:lnTo>
                  <a:lnTo>
                    <a:pt x="503" y="1554"/>
                  </a:lnTo>
                  <a:lnTo>
                    <a:pt x="499" y="1542"/>
                  </a:lnTo>
                  <a:lnTo>
                    <a:pt x="496" y="1522"/>
                  </a:lnTo>
                  <a:lnTo>
                    <a:pt x="492" y="1505"/>
                  </a:lnTo>
                  <a:lnTo>
                    <a:pt x="488" y="1490"/>
                  </a:lnTo>
                  <a:lnTo>
                    <a:pt x="481" y="1475"/>
                  </a:lnTo>
                  <a:lnTo>
                    <a:pt x="475" y="1460"/>
                  </a:lnTo>
                  <a:lnTo>
                    <a:pt x="466" y="1446"/>
                  </a:lnTo>
                  <a:lnTo>
                    <a:pt x="455" y="1432"/>
                  </a:lnTo>
                  <a:lnTo>
                    <a:pt x="443" y="1418"/>
                  </a:lnTo>
                  <a:lnTo>
                    <a:pt x="418" y="1392"/>
                  </a:lnTo>
                  <a:lnTo>
                    <a:pt x="395" y="1368"/>
                  </a:lnTo>
                  <a:lnTo>
                    <a:pt x="372" y="1345"/>
                  </a:lnTo>
                  <a:lnTo>
                    <a:pt x="345" y="1320"/>
                  </a:lnTo>
                  <a:lnTo>
                    <a:pt x="334" y="1311"/>
                  </a:lnTo>
                  <a:lnTo>
                    <a:pt x="323" y="1301"/>
                  </a:lnTo>
                  <a:lnTo>
                    <a:pt x="319" y="1297"/>
                  </a:lnTo>
                  <a:lnTo>
                    <a:pt x="316" y="1291"/>
                  </a:lnTo>
                  <a:lnTo>
                    <a:pt x="312" y="1285"/>
                  </a:lnTo>
                  <a:lnTo>
                    <a:pt x="309" y="1278"/>
                  </a:lnTo>
                  <a:lnTo>
                    <a:pt x="305" y="1267"/>
                  </a:lnTo>
                  <a:lnTo>
                    <a:pt x="301" y="1259"/>
                  </a:lnTo>
                  <a:lnTo>
                    <a:pt x="296" y="1249"/>
                  </a:lnTo>
                  <a:lnTo>
                    <a:pt x="291" y="1242"/>
                  </a:lnTo>
                  <a:lnTo>
                    <a:pt x="285" y="1234"/>
                  </a:lnTo>
                  <a:lnTo>
                    <a:pt x="277" y="1230"/>
                  </a:lnTo>
                  <a:lnTo>
                    <a:pt x="273" y="1227"/>
                  </a:lnTo>
                  <a:lnTo>
                    <a:pt x="268" y="1225"/>
                  </a:lnTo>
                  <a:lnTo>
                    <a:pt x="264" y="1225"/>
                  </a:lnTo>
                  <a:lnTo>
                    <a:pt x="259" y="1224"/>
                  </a:lnTo>
                  <a:lnTo>
                    <a:pt x="249" y="1225"/>
                  </a:lnTo>
                  <a:lnTo>
                    <a:pt x="239" y="1226"/>
                  </a:lnTo>
                  <a:lnTo>
                    <a:pt x="231" y="1227"/>
                  </a:lnTo>
                  <a:lnTo>
                    <a:pt x="222" y="1230"/>
                  </a:lnTo>
                  <a:lnTo>
                    <a:pt x="207" y="1234"/>
                  </a:lnTo>
                  <a:lnTo>
                    <a:pt x="192" y="1240"/>
                  </a:lnTo>
                  <a:lnTo>
                    <a:pt x="175" y="1246"/>
                  </a:lnTo>
                  <a:lnTo>
                    <a:pt x="160" y="1250"/>
                  </a:lnTo>
                  <a:lnTo>
                    <a:pt x="152" y="1252"/>
                  </a:lnTo>
                  <a:lnTo>
                    <a:pt x="143" y="1254"/>
                  </a:lnTo>
                  <a:lnTo>
                    <a:pt x="133" y="1256"/>
                  </a:lnTo>
                  <a:lnTo>
                    <a:pt x="124" y="1256"/>
                  </a:lnTo>
                  <a:lnTo>
                    <a:pt x="106" y="1254"/>
                  </a:lnTo>
                  <a:lnTo>
                    <a:pt x="90" y="1252"/>
                  </a:lnTo>
                  <a:lnTo>
                    <a:pt x="75" y="1248"/>
                  </a:lnTo>
                  <a:lnTo>
                    <a:pt x="61" y="1243"/>
                  </a:lnTo>
                  <a:lnTo>
                    <a:pt x="34" y="1229"/>
                  </a:lnTo>
                  <a:lnTo>
                    <a:pt x="5" y="1211"/>
                  </a:lnTo>
                  <a:lnTo>
                    <a:pt x="5" y="1211"/>
                  </a:lnTo>
                  <a:lnTo>
                    <a:pt x="3" y="1199"/>
                  </a:lnTo>
                  <a:lnTo>
                    <a:pt x="0" y="1188"/>
                  </a:lnTo>
                  <a:lnTo>
                    <a:pt x="2" y="1181"/>
                  </a:lnTo>
                  <a:lnTo>
                    <a:pt x="3" y="1176"/>
                  </a:lnTo>
                  <a:lnTo>
                    <a:pt x="5" y="1171"/>
                  </a:lnTo>
                  <a:lnTo>
                    <a:pt x="8" y="1167"/>
                  </a:lnTo>
                  <a:lnTo>
                    <a:pt x="11" y="1163"/>
                  </a:lnTo>
                  <a:lnTo>
                    <a:pt x="16" y="1159"/>
                  </a:lnTo>
                  <a:lnTo>
                    <a:pt x="21" y="1156"/>
                  </a:lnTo>
                  <a:lnTo>
                    <a:pt x="26" y="1154"/>
                  </a:lnTo>
                  <a:lnTo>
                    <a:pt x="50" y="1144"/>
                  </a:lnTo>
                  <a:lnTo>
                    <a:pt x="74" y="1132"/>
                  </a:lnTo>
                  <a:lnTo>
                    <a:pt x="84" y="1125"/>
                  </a:lnTo>
                  <a:lnTo>
                    <a:pt x="92" y="1117"/>
                  </a:lnTo>
                  <a:lnTo>
                    <a:pt x="99" y="1109"/>
                  </a:lnTo>
                  <a:lnTo>
                    <a:pt x="105" y="1100"/>
                  </a:lnTo>
                  <a:lnTo>
                    <a:pt x="117" y="1081"/>
                  </a:lnTo>
                  <a:lnTo>
                    <a:pt x="129" y="1059"/>
                  </a:lnTo>
                  <a:lnTo>
                    <a:pt x="139" y="1041"/>
                  </a:lnTo>
                  <a:lnTo>
                    <a:pt x="145" y="1023"/>
                  </a:lnTo>
                  <a:lnTo>
                    <a:pt x="150" y="1015"/>
                  </a:lnTo>
                  <a:lnTo>
                    <a:pt x="154" y="1007"/>
                  </a:lnTo>
                  <a:lnTo>
                    <a:pt x="160" y="1001"/>
                  </a:lnTo>
                  <a:lnTo>
                    <a:pt x="169" y="995"/>
                  </a:lnTo>
                  <a:lnTo>
                    <a:pt x="194" y="983"/>
                  </a:lnTo>
                  <a:lnTo>
                    <a:pt x="218" y="973"/>
                  </a:lnTo>
                  <a:lnTo>
                    <a:pt x="227" y="967"/>
                  </a:lnTo>
                  <a:lnTo>
                    <a:pt x="237" y="960"/>
                  </a:lnTo>
                  <a:lnTo>
                    <a:pt x="241" y="955"/>
                  </a:lnTo>
                  <a:lnTo>
                    <a:pt x="246" y="950"/>
                  </a:lnTo>
                  <a:lnTo>
                    <a:pt x="249" y="945"/>
                  </a:lnTo>
                  <a:lnTo>
                    <a:pt x="253" y="939"/>
                  </a:lnTo>
                  <a:lnTo>
                    <a:pt x="265" y="933"/>
                  </a:lnTo>
                  <a:lnTo>
                    <a:pt x="276" y="926"/>
                  </a:lnTo>
                  <a:lnTo>
                    <a:pt x="285" y="919"/>
                  </a:lnTo>
                  <a:lnTo>
                    <a:pt x="294" y="911"/>
                  </a:lnTo>
                  <a:lnTo>
                    <a:pt x="312" y="896"/>
                  </a:lnTo>
                  <a:lnTo>
                    <a:pt x="331" y="880"/>
                  </a:lnTo>
                  <a:lnTo>
                    <a:pt x="346" y="870"/>
                  </a:lnTo>
                  <a:lnTo>
                    <a:pt x="361" y="862"/>
                  </a:lnTo>
                  <a:lnTo>
                    <a:pt x="368" y="857"/>
                  </a:lnTo>
                  <a:lnTo>
                    <a:pt x="373" y="852"/>
                  </a:lnTo>
                  <a:lnTo>
                    <a:pt x="378" y="846"/>
                  </a:lnTo>
                  <a:lnTo>
                    <a:pt x="382" y="838"/>
                  </a:lnTo>
                  <a:lnTo>
                    <a:pt x="384" y="830"/>
                  </a:lnTo>
                  <a:lnTo>
                    <a:pt x="385" y="821"/>
                  </a:lnTo>
                  <a:lnTo>
                    <a:pt x="385" y="814"/>
                  </a:lnTo>
                  <a:lnTo>
                    <a:pt x="385" y="806"/>
                  </a:lnTo>
                  <a:lnTo>
                    <a:pt x="385" y="799"/>
                  </a:lnTo>
                  <a:lnTo>
                    <a:pt x="386" y="791"/>
                  </a:lnTo>
                  <a:lnTo>
                    <a:pt x="389" y="784"/>
                  </a:lnTo>
                  <a:lnTo>
                    <a:pt x="393" y="776"/>
                  </a:lnTo>
                  <a:lnTo>
                    <a:pt x="397" y="771"/>
                  </a:lnTo>
                  <a:lnTo>
                    <a:pt x="402" y="766"/>
                  </a:lnTo>
                  <a:lnTo>
                    <a:pt x="407" y="763"/>
                  </a:lnTo>
                  <a:lnTo>
                    <a:pt x="412" y="761"/>
                  </a:lnTo>
                  <a:lnTo>
                    <a:pt x="424" y="757"/>
                  </a:lnTo>
                  <a:lnTo>
                    <a:pt x="436" y="754"/>
                  </a:lnTo>
                  <a:lnTo>
                    <a:pt x="448" y="752"/>
                  </a:lnTo>
                  <a:lnTo>
                    <a:pt x="461" y="749"/>
                  </a:lnTo>
                  <a:lnTo>
                    <a:pt x="466" y="747"/>
                  </a:lnTo>
                  <a:lnTo>
                    <a:pt x="471" y="745"/>
                  </a:lnTo>
                  <a:lnTo>
                    <a:pt x="478" y="741"/>
                  </a:lnTo>
                  <a:lnTo>
                    <a:pt x="482" y="737"/>
                  </a:lnTo>
                  <a:lnTo>
                    <a:pt x="503" y="720"/>
                  </a:lnTo>
                  <a:lnTo>
                    <a:pt x="522" y="705"/>
                  </a:lnTo>
                  <a:lnTo>
                    <a:pt x="531" y="697"/>
                  </a:lnTo>
                  <a:lnTo>
                    <a:pt x="541" y="690"/>
                  </a:lnTo>
                  <a:lnTo>
                    <a:pt x="549" y="680"/>
                  </a:lnTo>
                  <a:lnTo>
                    <a:pt x="558" y="670"/>
                  </a:lnTo>
                  <a:lnTo>
                    <a:pt x="571" y="652"/>
                  </a:lnTo>
                  <a:lnTo>
                    <a:pt x="580" y="633"/>
                  </a:lnTo>
                  <a:lnTo>
                    <a:pt x="585" y="625"/>
                  </a:lnTo>
                  <a:lnTo>
                    <a:pt x="590" y="617"/>
                  </a:lnTo>
                  <a:lnTo>
                    <a:pt x="596" y="609"/>
                  </a:lnTo>
                  <a:lnTo>
                    <a:pt x="603" y="600"/>
                  </a:lnTo>
                  <a:lnTo>
                    <a:pt x="612" y="592"/>
                  </a:lnTo>
                  <a:lnTo>
                    <a:pt x="622" y="586"/>
                  </a:lnTo>
                  <a:lnTo>
                    <a:pt x="626" y="583"/>
                  </a:lnTo>
                  <a:lnTo>
                    <a:pt x="629" y="578"/>
                  </a:lnTo>
                  <a:lnTo>
                    <a:pt x="632" y="574"/>
                  </a:lnTo>
                  <a:lnTo>
                    <a:pt x="634" y="569"/>
                  </a:lnTo>
                  <a:lnTo>
                    <a:pt x="636" y="557"/>
                  </a:lnTo>
                  <a:lnTo>
                    <a:pt x="636" y="546"/>
                  </a:lnTo>
                  <a:lnTo>
                    <a:pt x="636" y="541"/>
                  </a:lnTo>
                  <a:lnTo>
                    <a:pt x="636" y="535"/>
                  </a:lnTo>
                  <a:lnTo>
                    <a:pt x="638" y="530"/>
                  </a:lnTo>
                  <a:lnTo>
                    <a:pt x="640" y="524"/>
                  </a:lnTo>
                  <a:lnTo>
                    <a:pt x="652" y="518"/>
                  </a:lnTo>
                  <a:lnTo>
                    <a:pt x="665" y="513"/>
                  </a:lnTo>
                  <a:lnTo>
                    <a:pt x="674" y="502"/>
                  </a:lnTo>
                  <a:lnTo>
                    <a:pt x="684" y="493"/>
                  </a:lnTo>
                  <a:lnTo>
                    <a:pt x="690" y="490"/>
                  </a:lnTo>
                  <a:lnTo>
                    <a:pt x="696" y="487"/>
                  </a:lnTo>
                  <a:lnTo>
                    <a:pt x="703" y="486"/>
                  </a:lnTo>
                  <a:lnTo>
                    <a:pt x="710" y="484"/>
                  </a:lnTo>
                  <a:lnTo>
                    <a:pt x="713" y="486"/>
                  </a:lnTo>
                  <a:lnTo>
                    <a:pt x="718" y="487"/>
                  </a:lnTo>
                  <a:lnTo>
                    <a:pt x="721" y="488"/>
                  </a:lnTo>
                  <a:lnTo>
                    <a:pt x="723" y="490"/>
                  </a:lnTo>
                  <a:lnTo>
                    <a:pt x="728" y="495"/>
                  </a:lnTo>
                  <a:lnTo>
                    <a:pt x="733" y="501"/>
                  </a:lnTo>
                  <a:lnTo>
                    <a:pt x="737" y="508"/>
                  </a:lnTo>
                  <a:lnTo>
                    <a:pt x="742" y="515"/>
                  </a:lnTo>
                  <a:lnTo>
                    <a:pt x="748" y="520"/>
                  </a:lnTo>
                  <a:lnTo>
                    <a:pt x="754" y="524"/>
                  </a:lnTo>
                  <a:lnTo>
                    <a:pt x="760" y="525"/>
                  </a:lnTo>
                  <a:lnTo>
                    <a:pt x="765" y="527"/>
                  </a:lnTo>
                  <a:lnTo>
                    <a:pt x="769" y="525"/>
                  </a:lnTo>
                  <a:lnTo>
                    <a:pt x="775" y="524"/>
                  </a:lnTo>
                  <a:lnTo>
                    <a:pt x="779" y="522"/>
                  </a:lnTo>
                  <a:lnTo>
                    <a:pt x="784" y="519"/>
                  </a:lnTo>
                  <a:lnTo>
                    <a:pt x="788" y="516"/>
                  </a:lnTo>
                  <a:lnTo>
                    <a:pt x="792" y="511"/>
                  </a:lnTo>
                  <a:lnTo>
                    <a:pt x="799" y="502"/>
                  </a:lnTo>
                  <a:lnTo>
                    <a:pt x="803" y="491"/>
                  </a:lnTo>
                  <a:lnTo>
                    <a:pt x="806" y="479"/>
                  </a:lnTo>
                  <a:lnTo>
                    <a:pt x="807" y="468"/>
                  </a:lnTo>
                  <a:lnTo>
                    <a:pt x="806" y="456"/>
                  </a:lnTo>
                  <a:lnTo>
                    <a:pt x="804" y="446"/>
                  </a:lnTo>
                  <a:lnTo>
                    <a:pt x="801" y="436"/>
                  </a:lnTo>
                  <a:lnTo>
                    <a:pt x="800" y="424"/>
                  </a:lnTo>
                  <a:lnTo>
                    <a:pt x="798" y="413"/>
                  </a:lnTo>
                  <a:lnTo>
                    <a:pt x="795" y="403"/>
                  </a:lnTo>
                  <a:lnTo>
                    <a:pt x="794" y="399"/>
                  </a:lnTo>
                  <a:lnTo>
                    <a:pt x="794" y="396"/>
                  </a:lnTo>
                  <a:lnTo>
                    <a:pt x="796" y="392"/>
                  </a:lnTo>
                  <a:lnTo>
                    <a:pt x="800" y="388"/>
                  </a:lnTo>
                  <a:lnTo>
                    <a:pt x="805" y="385"/>
                  </a:lnTo>
                  <a:lnTo>
                    <a:pt x="812" y="384"/>
                  </a:lnTo>
                  <a:lnTo>
                    <a:pt x="817" y="384"/>
                  </a:lnTo>
                  <a:lnTo>
                    <a:pt x="823" y="386"/>
                  </a:lnTo>
                  <a:lnTo>
                    <a:pt x="830" y="387"/>
                  </a:lnTo>
                  <a:lnTo>
                    <a:pt x="836" y="388"/>
                  </a:lnTo>
                  <a:lnTo>
                    <a:pt x="843" y="388"/>
                  </a:lnTo>
                  <a:lnTo>
                    <a:pt x="849" y="386"/>
                  </a:lnTo>
                  <a:lnTo>
                    <a:pt x="861" y="380"/>
                  </a:lnTo>
                  <a:lnTo>
                    <a:pt x="872" y="371"/>
                  </a:lnTo>
                  <a:lnTo>
                    <a:pt x="882" y="361"/>
                  </a:lnTo>
                  <a:lnTo>
                    <a:pt x="889" y="352"/>
                  </a:lnTo>
                  <a:lnTo>
                    <a:pt x="904" y="330"/>
                  </a:lnTo>
                  <a:lnTo>
                    <a:pt x="917" y="308"/>
                  </a:lnTo>
                  <a:lnTo>
                    <a:pt x="924" y="299"/>
                  </a:lnTo>
                  <a:lnTo>
                    <a:pt x="931" y="288"/>
                  </a:lnTo>
                  <a:lnTo>
                    <a:pt x="939" y="278"/>
                  </a:lnTo>
                  <a:lnTo>
                    <a:pt x="948" y="270"/>
                  </a:lnTo>
                  <a:lnTo>
                    <a:pt x="956" y="262"/>
                  </a:lnTo>
                  <a:lnTo>
                    <a:pt x="967" y="255"/>
                  </a:lnTo>
                  <a:lnTo>
                    <a:pt x="979" y="250"/>
                  </a:lnTo>
                  <a:lnTo>
                    <a:pt x="993" y="247"/>
                  </a:lnTo>
                  <a:lnTo>
                    <a:pt x="993" y="239"/>
                  </a:lnTo>
                  <a:lnTo>
                    <a:pt x="993" y="232"/>
                  </a:lnTo>
                  <a:lnTo>
                    <a:pt x="992" y="220"/>
                  </a:lnTo>
                  <a:lnTo>
                    <a:pt x="991" y="208"/>
                  </a:lnTo>
                  <a:lnTo>
                    <a:pt x="992" y="203"/>
                  </a:lnTo>
                  <a:lnTo>
                    <a:pt x="993" y="197"/>
                  </a:lnTo>
                  <a:lnTo>
                    <a:pt x="995" y="193"/>
                  </a:lnTo>
                  <a:lnTo>
                    <a:pt x="998" y="187"/>
                  </a:lnTo>
                  <a:lnTo>
                    <a:pt x="1002" y="184"/>
                  </a:lnTo>
                  <a:lnTo>
                    <a:pt x="1006" y="182"/>
                  </a:lnTo>
                  <a:lnTo>
                    <a:pt x="1009" y="180"/>
                  </a:lnTo>
                  <a:lnTo>
                    <a:pt x="1014" y="179"/>
                  </a:lnTo>
                  <a:lnTo>
                    <a:pt x="1022" y="177"/>
                  </a:lnTo>
                  <a:lnTo>
                    <a:pt x="1031" y="177"/>
                  </a:lnTo>
                  <a:lnTo>
                    <a:pt x="1041" y="177"/>
                  </a:lnTo>
                  <a:lnTo>
                    <a:pt x="1050" y="176"/>
                  </a:lnTo>
                  <a:lnTo>
                    <a:pt x="1059" y="174"/>
                  </a:lnTo>
                  <a:lnTo>
                    <a:pt x="1069" y="171"/>
                  </a:lnTo>
                  <a:lnTo>
                    <a:pt x="1076" y="166"/>
                  </a:lnTo>
                  <a:lnTo>
                    <a:pt x="1084" y="160"/>
                  </a:lnTo>
                  <a:lnTo>
                    <a:pt x="1090" y="154"/>
                  </a:lnTo>
                  <a:lnTo>
                    <a:pt x="1096" y="146"/>
                  </a:lnTo>
                  <a:lnTo>
                    <a:pt x="1106" y="132"/>
                  </a:lnTo>
                  <a:lnTo>
                    <a:pt x="1115" y="117"/>
                  </a:lnTo>
                  <a:lnTo>
                    <a:pt x="1121" y="110"/>
                  </a:lnTo>
                  <a:lnTo>
                    <a:pt x="1125" y="103"/>
                  </a:lnTo>
                  <a:lnTo>
                    <a:pt x="1130" y="97"/>
                  </a:lnTo>
                  <a:lnTo>
                    <a:pt x="1136" y="92"/>
                  </a:lnTo>
                  <a:lnTo>
                    <a:pt x="1142" y="87"/>
                  </a:lnTo>
                  <a:lnTo>
                    <a:pt x="1150" y="84"/>
                  </a:lnTo>
                  <a:lnTo>
                    <a:pt x="1157" y="82"/>
                  </a:lnTo>
                  <a:lnTo>
                    <a:pt x="1167" y="82"/>
                  </a:lnTo>
                  <a:lnTo>
                    <a:pt x="1183" y="83"/>
                  </a:lnTo>
                  <a:lnTo>
                    <a:pt x="1197" y="86"/>
                  </a:lnTo>
                  <a:lnTo>
                    <a:pt x="1212" y="88"/>
                  </a:lnTo>
                  <a:lnTo>
                    <a:pt x="1229" y="89"/>
                  </a:lnTo>
                  <a:lnTo>
                    <a:pt x="1234" y="89"/>
                  </a:lnTo>
                  <a:lnTo>
                    <a:pt x="1238" y="87"/>
                  </a:lnTo>
                  <a:lnTo>
                    <a:pt x="1241" y="84"/>
                  </a:lnTo>
                  <a:lnTo>
                    <a:pt x="1245" y="81"/>
                  </a:lnTo>
                  <a:lnTo>
                    <a:pt x="1251" y="72"/>
                  </a:lnTo>
                  <a:lnTo>
                    <a:pt x="1259" y="64"/>
                  </a:lnTo>
                  <a:lnTo>
                    <a:pt x="1279" y="51"/>
                  </a:lnTo>
                  <a:lnTo>
                    <a:pt x="1297" y="41"/>
                  </a:lnTo>
                  <a:lnTo>
                    <a:pt x="1316" y="32"/>
                  </a:lnTo>
                  <a:lnTo>
                    <a:pt x="1338" y="22"/>
                  </a:lnTo>
                  <a:lnTo>
                    <a:pt x="1347" y="19"/>
                  </a:lnTo>
                  <a:lnTo>
                    <a:pt x="1357" y="16"/>
                  </a:lnTo>
                  <a:lnTo>
                    <a:pt x="1367" y="11"/>
                  </a:lnTo>
                  <a:lnTo>
                    <a:pt x="1378" y="9"/>
                  </a:lnTo>
                  <a:lnTo>
                    <a:pt x="1381" y="8"/>
                  </a:lnTo>
                  <a:lnTo>
                    <a:pt x="1385" y="8"/>
                  </a:lnTo>
                  <a:lnTo>
                    <a:pt x="1395" y="9"/>
                  </a:lnTo>
                  <a:lnTo>
                    <a:pt x="1403" y="12"/>
                  </a:lnTo>
                  <a:lnTo>
                    <a:pt x="1411" y="15"/>
                  </a:lnTo>
                  <a:lnTo>
                    <a:pt x="1422" y="17"/>
                  </a:lnTo>
                  <a:lnTo>
                    <a:pt x="1426" y="14"/>
                  </a:lnTo>
                  <a:lnTo>
                    <a:pt x="1430" y="10"/>
                  </a:lnTo>
                  <a:lnTo>
                    <a:pt x="1430" y="1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62">
              <a:extLst>
                <a:ext uri="{FF2B5EF4-FFF2-40B4-BE49-F238E27FC236}">
                  <a16:creationId xmlns:a16="http://schemas.microsoft.com/office/drawing/2014/main" id="{CB94ABC5-7774-40C9-83C7-77F8C0094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441825" y="5559426"/>
              <a:ext cx="1150938" cy="1100138"/>
            </a:xfrm>
            <a:custGeom>
              <a:avLst/>
              <a:gdLst>
                <a:gd name="T0" fmla="*/ 1571 w 2899"/>
                <a:gd name="T1" fmla="*/ 15 h 2774"/>
                <a:gd name="T2" fmla="*/ 1681 w 2899"/>
                <a:gd name="T3" fmla="*/ 42 h 2774"/>
                <a:gd name="T4" fmla="*/ 1786 w 2899"/>
                <a:gd name="T5" fmla="*/ 6 h 2774"/>
                <a:gd name="T6" fmla="*/ 1994 w 2899"/>
                <a:gd name="T7" fmla="*/ 46 h 2774"/>
                <a:gd name="T8" fmla="*/ 2149 w 2899"/>
                <a:gd name="T9" fmla="*/ 151 h 2774"/>
                <a:gd name="T10" fmla="*/ 2277 w 2899"/>
                <a:gd name="T11" fmla="*/ 172 h 2774"/>
                <a:gd name="T12" fmla="*/ 2464 w 2899"/>
                <a:gd name="T13" fmla="*/ 403 h 2774"/>
                <a:gd name="T14" fmla="*/ 2634 w 2899"/>
                <a:gd name="T15" fmla="*/ 590 h 2774"/>
                <a:gd name="T16" fmla="*/ 2765 w 2899"/>
                <a:gd name="T17" fmla="*/ 636 h 2774"/>
                <a:gd name="T18" fmla="*/ 2787 w 2899"/>
                <a:gd name="T19" fmla="*/ 852 h 2774"/>
                <a:gd name="T20" fmla="*/ 2795 w 2899"/>
                <a:gd name="T21" fmla="*/ 981 h 2774"/>
                <a:gd name="T22" fmla="*/ 2738 w 2899"/>
                <a:gd name="T23" fmla="*/ 1203 h 2774"/>
                <a:gd name="T24" fmla="*/ 2583 w 2899"/>
                <a:gd name="T25" fmla="*/ 1514 h 2774"/>
                <a:gd name="T26" fmla="*/ 2352 w 2899"/>
                <a:gd name="T27" fmla="*/ 1825 h 2774"/>
                <a:gd name="T28" fmla="*/ 1983 w 2899"/>
                <a:gd name="T29" fmla="*/ 2074 h 2774"/>
                <a:gd name="T30" fmla="*/ 1963 w 2899"/>
                <a:gd name="T31" fmla="*/ 2014 h 2774"/>
                <a:gd name="T32" fmla="*/ 2109 w 2899"/>
                <a:gd name="T33" fmla="*/ 1934 h 2774"/>
                <a:gd name="T34" fmla="*/ 2211 w 2899"/>
                <a:gd name="T35" fmla="*/ 1869 h 2774"/>
                <a:gd name="T36" fmla="*/ 2239 w 2899"/>
                <a:gd name="T37" fmla="*/ 1743 h 2774"/>
                <a:gd name="T38" fmla="*/ 2322 w 2899"/>
                <a:gd name="T39" fmla="*/ 1713 h 2774"/>
                <a:gd name="T40" fmla="*/ 2425 w 2899"/>
                <a:gd name="T41" fmla="*/ 1582 h 2774"/>
                <a:gd name="T42" fmla="*/ 2498 w 2899"/>
                <a:gd name="T43" fmla="*/ 1456 h 2774"/>
                <a:gd name="T44" fmla="*/ 2498 w 2899"/>
                <a:gd name="T45" fmla="*/ 1379 h 2774"/>
                <a:gd name="T46" fmla="*/ 2320 w 2899"/>
                <a:gd name="T47" fmla="*/ 1341 h 2774"/>
                <a:gd name="T48" fmla="*/ 2271 w 2899"/>
                <a:gd name="T49" fmla="*/ 1436 h 2774"/>
                <a:gd name="T50" fmla="*/ 2190 w 2899"/>
                <a:gd name="T51" fmla="*/ 1549 h 2774"/>
                <a:gd name="T52" fmla="*/ 2118 w 2899"/>
                <a:gd name="T53" fmla="*/ 1719 h 2774"/>
                <a:gd name="T54" fmla="*/ 1946 w 2899"/>
                <a:gd name="T55" fmla="*/ 1841 h 2774"/>
                <a:gd name="T56" fmla="*/ 1825 w 2899"/>
                <a:gd name="T57" fmla="*/ 2014 h 2774"/>
                <a:gd name="T58" fmla="*/ 1870 w 2899"/>
                <a:gd name="T59" fmla="*/ 2172 h 2774"/>
                <a:gd name="T60" fmla="*/ 1757 w 2899"/>
                <a:gd name="T61" fmla="*/ 2377 h 2774"/>
                <a:gd name="T62" fmla="*/ 1667 w 2899"/>
                <a:gd name="T63" fmla="*/ 2573 h 2774"/>
                <a:gd name="T64" fmla="*/ 1394 w 2899"/>
                <a:gd name="T65" fmla="*/ 2774 h 2774"/>
                <a:gd name="T66" fmla="*/ 1378 w 2899"/>
                <a:gd name="T67" fmla="*/ 2504 h 2774"/>
                <a:gd name="T68" fmla="*/ 1455 w 2899"/>
                <a:gd name="T69" fmla="*/ 2409 h 2774"/>
                <a:gd name="T70" fmla="*/ 1442 w 2899"/>
                <a:gd name="T71" fmla="*/ 2296 h 2774"/>
                <a:gd name="T72" fmla="*/ 1333 w 2899"/>
                <a:gd name="T73" fmla="*/ 2138 h 2774"/>
                <a:gd name="T74" fmla="*/ 1150 w 2899"/>
                <a:gd name="T75" fmla="*/ 2006 h 2774"/>
                <a:gd name="T76" fmla="*/ 1012 w 2899"/>
                <a:gd name="T77" fmla="*/ 1827 h 2774"/>
                <a:gd name="T78" fmla="*/ 829 w 2899"/>
                <a:gd name="T79" fmla="*/ 1771 h 2774"/>
                <a:gd name="T80" fmla="*/ 752 w 2899"/>
                <a:gd name="T81" fmla="*/ 1653 h 2774"/>
                <a:gd name="T82" fmla="*/ 640 w 2899"/>
                <a:gd name="T83" fmla="*/ 1588 h 2774"/>
                <a:gd name="T84" fmla="*/ 517 w 2899"/>
                <a:gd name="T85" fmla="*/ 1589 h 2774"/>
                <a:gd name="T86" fmla="*/ 372 w 2899"/>
                <a:gd name="T87" fmla="*/ 1345 h 2774"/>
                <a:gd name="T88" fmla="*/ 268 w 2899"/>
                <a:gd name="T89" fmla="*/ 1225 h 2774"/>
                <a:gd name="T90" fmla="*/ 106 w 2899"/>
                <a:gd name="T91" fmla="*/ 1254 h 2774"/>
                <a:gd name="T92" fmla="*/ 21 w 2899"/>
                <a:gd name="T93" fmla="*/ 1156 h 2774"/>
                <a:gd name="T94" fmla="*/ 169 w 2899"/>
                <a:gd name="T95" fmla="*/ 995 h 2774"/>
                <a:gd name="T96" fmla="*/ 346 w 2899"/>
                <a:gd name="T97" fmla="*/ 870 h 2774"/>
                <a:gd name="T98" fmla="*/ 402 w 2899"/>
                <a:gd name="T99" fmla="*/ 766 h 2774"/>
                <a:gd name="T100" fmla="*/ 549 w 2899"/>
                <a:gd name="T101" fmla="*/ 680 h 2774"/>
                <a:gd name="T102" fmla="*/ 636 w 2899"/>
                <a:gd name="T103" fmla="*/ 546 h 2774"/>
                <a:gd name="T104" fmla="*/ 721 w 2899"/>
                <a:gd name="T105" fmla="*/ 488 h 2774"/>
                <a:gd name="T106" fmla="*/ 792 w 2899"/>
                <a:gd name="T107" fmla="*/ 511 h 2774"/>
                <a:gd name="T108" fmla="*/ 805 w 2899"/>
                <a:gd name="T109" fmla="*/ 385 h 2774"/>
                <a:gd name="T110" fmla="*/ 931 w 2899"/>
                <a:gd name="T111" fmla="*/ 288 h 2774"/>
                <a:gd name="T112" fmla="*/ 1002 w 2899"/>
                <a:gd name="T113" fmla="*/ 184 h 2774"/>
                <a:gd name="T114" fmla="*/ 1115 w 2899"/>
                <a:gd name="T115" fmla="*/ 117 h 2774"/>
                <a:gd name="T116" fmla="*/ 1241 w 2899"/>
                <a:gd name="T117" fmla="*/ 84 h 2774"/>
                <a:gd name="T118" fmla="*/ 1403 w 2899"/>
                <a:gd name="T119" fmla="*/ 12 h 2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99" h="2774">
                  <a:moveTo>
                    <a:pt x="1430" y="10"/>
                  </a:moveTo>
                  <a:lnTo>
                    <a:pt x="1440" y="11"/>
                  </a:lnTo>
                  <a:lnTo>
                    <a:pt x="1450" y="14"/>
                  </a:lnTo>
                  <a:lnTo>
                    <a:pt x="1459" y="18"/>
                  </a:lnTo>
                  <a:lnTo>
                    <a:pt x="1467" y="22"/>
                  </a:lnTo>
                  <a:lnTo>
                    <a:pt x="1476" y="27"/>
                  </a:lnTo>
                  <a:lnTo>
                    <a:pt x="1484" y="30"/>
                  </a:lnTo>
                  <a:lnTo>
                    <a:pt x="1493" y="33"/>
                  </a:lnTo>
                  <a:lnTo>
                    <a:pt x="1503" y="34"/>
                  </a:lnTo>
                  <a:lnTo>
                    <a:pt x="1516" y="33"/>
                  </a:lnTo>
                  <a:lnTo>
                    <a:pt x="1528" y="30"/>
                  </a:lnTo>
                  <a:lnTo>
                    <a:pt x="1538" y="27"/>
                  </a:lnTo>
                  <a:lnTo>
                    <a:pt x="1549" y="22"/>
                  </a:lnTo>
                  <a:lnTo>
                    <a:pt x="1559" y="18"/>
                  </a:lnTo>
                  <a:lnTo>
                    <a:pt x="1571" y="15"/>
                  </a:lnTo>
                  <a:lnTo>
                    <a:pt x="1582" y="12"/>
                  </a:lnTo>
                  <a:lnTo>
                    <a:pt x="1596" y="11"/>
                  </a:lnTo>
                  <a:lnTo>
                    <a:pt x="1601" y="11"/>
                  </a:lnTo>
                  <a:lnTo>
                    <a:pt x="1607" y="12"/>
                  </a:lnTo>
                  <a:lnTo>
                    <a:pt x="1612" y="14"/>
                  </a:lnTo>
                  <a:lnTo>
                    <a:pt x="1617" y="16"/>
                  </a:lnTo>
                  <a:lnTo>
                    <a:pt x="1626" y="21"/>
                  </a:lnTo>
                  <a:lnTo>
                    <a:pt x="1635" y="27"/>
                  </a:lnTo>
                  <a:lnTo>
                    <a:pt x="1643" y="32"/>
                  </a:lnTo>
                  <a:lnTo>
                    <a:pt x="1652" y="37"/>
                  </a:lnTo>
                  <a:lnTo>
                    <a:pt x="1657" y="39"/>
                  </a:lnTo>
                  <a:lnTo>
                    <a:pt x="1663" y="41"/>
                  </a:lnTo>
                  <a:lnTo>
                    <a:pt x="1668" y="42"/>
                  </a:lnTo>
                  <a:lnTo>
                    <a:pt x="1673" y="42"/>
                  </a:lnTo>
                  <a:lnTo>
                    <a:pt x="1681" y="42"/>
                  </a:lnTo>
                  <a:lnTo>
                    <a:pt x="1688" y="41"/>
                  </a:lnTo>
                  <a:lnTo>
                    <a:pt x="1693" y="38"/>
                  </a:lnTo>
                  <a:lnTo>
                    <a:pt x="1699" y="35"/>
                  </a:lnTo>
                  <a:lnTo>
                    <a:pt x="1709" y="29"/>
                  </a:lnTo>
                  <a:lnTo>
                    <a:pt x="1719" y="21"/>
                  </a:lnTo>
                  <a:lnTo>
                    <a:pt x="1730" y="14"/>
                  </a:lnTo>
                  <a:lnTo>
                    <a:pt x="1739" y="6"/>
                  </a:lnTo>
                  <a:lnTo>
                    <a:pt x="1745" y="4"/>
                  </a:lnTo>
                  <a:lnTo>
                    <a:pt x="1751" y="2"/>
                  </a:lnTo>
                  <a:lnTo>
                    <a:pt x="1758" y="1"/>
                  </a:lnTo>
                  <a:lnTo>
                    <a:pt x="1765" y="0"/>
                  </a:lnTo>
                  <a:lnTo>
                    <a:pt x="1771" y="1"/>
                  </a:lnTo>
                  <a:lnTo>
                    <a:pt x="1776" y="2"/>
                  </a:lnTo>
                  <a:lnTo>
                    <a:pt x="1782" y="4"/>
                  </a:lnTo>
                  <a:lnTo>
                    <a:pt x="1786" y="6"/>
                  </a:lnTo>
                  <a:lnTo>
                    <a:pt x="1794" y="14"/>
                  </a:lnTo>
                  <a:lnTo>
                    <a:pt x="1802" y="21"/>
                  </a:lnTo>
                  <a:lnTo>
                    <a:pt x="1811" y="29"/>
                  </a:lnTo>
                  <a:lnTo>
                    <a:pt x="1818" y="35"/>
                  </a:lnTo>
                  <a:lnTo>
                    <a:pt x="1824" y="38"/>
                  </a:lnTo>
                  <a:lnTo>
                    <a:pt x="1828" y="41"/>
                  </a:lnTo>
                  <a:lnTo>
                    <a:pt x="1833" y="42"/>
                  </a:lnTo>
                  <a:lnTo>
                    <a:pt x="1840" y="42"/>
                  </a:lnTo>
                  <a:lnTo>
                    <a:pt x="1866" y="42"/>
                  </a:lnTo>
                  <a:lnTo>
                    <a:pt x="1890" y="42"/>
                  </a:lnTo>
                  <a:lnTo>
                    <a:pt x="1913" y="42"/>
                  </a:lnTo>
                  <a:lnTo>
                    <a:pt x="1939" y="42"/>
                  </a:lnTo>
                  <a:lnTo>
                    <a:pt x="1959" y="43"/>
                  </a:lnTo>
                  <a:lnTo>
                    <a:pt x="1977" y="44"/>
                  </a:lnTo>
                  <a:lnTo>
                    <a:pt x="1994" y="46"/>
                  </a:lnTo>
                  <a:lnTo>
                    <a:pt x="2010" y="49"/>
                  </a:lnTo>
                  <a:lnTo>
                    <a:pt x="2043" y="56"/>
                  </a:lnTo>
                  <a:lnTo>
                    <a:pt x="2081" y="64"/>
                  </a:lnTo>
                  <a:lnTo>
                    <a:pt x="2097" y="68"/>
                  </a:lnTo>
                  <a:lnTo>
                    <a:pt x="2113" y="72"/>
                  </a:lnTo>
                  <a:lnTo>
                    <a:pt x="2120" y="75"/>
                  </a:lnTo>
                  <a:lnTo>
                    <a:pt x="2126" y="79"/>
                  </a:lnTo>
                  <a:lnTo>
                    <a:pt x="2130" y="85"/>
                  </a:lnTo>
                  <a:lnTo>
                    <a:pt x="2134" y="92"/>
                  </a:lnTo>
                  <a:lnTo>
                    <a:pt x="2137" y="111"/>
                  </a:lnTo>
                  <a:lnTo>
                    <a:pt x="2138" y="129"/>
                  </a:lnTo>
                  <a:lnTo>
                    <a:pt x="2140" y="138"/>
                  </a:lnTo>
                  <a:lnTo>
                    <a:pt x="2143" y="145"/>
                  </a:lnTo>
                  <a:lnTo>
                    <a:pt x="2145" y="147"/>
                  </a:lnTo>
                  <a:lnTo>
                    <a:pt x="2149" y="151"/>
                  </a:lnTo>
                  <a:lnTo>
                    <a:pt x="2152" y="153"/>
                  </a:lnTo>
                  <a:lnTo>
                    <a:pt x="2156" y="154"/>
                  </a:lnTo>
                  <a:lnTo>
                    <a:pt x="2170" y="157"/>
                  </a:lnTo>
                  <a:lnTo>
                    <a:pt x="2183" y="158"/>
                  </a:lnTo>
                  <a:lnTo>
                    <a:pt x="2196" y="157"/>
                  </a:lnTo>
                  <a:lnTo>
                    <a:pt x="2208" y="157"/>
                  </a:lnTo>
                  <a:lnTo>
                    <a:pt x="2221" y="156"/>
                  </a:lnTo>
                  <a:lnTo>
                    <a:pt x="2233" y="156"/>
                  </a:lnTo>
                  <a:lnTo>
                    <a:pt x="2239" y="157"/>
                  </a:lnTo>
                  <a:lnTo>
                    <a:pt x="2246" y="158"/>
                  </a:lnTo>
                  <a:lnTo>
                    <a:pt x="2252" y="160"/>
                  </a:lnTo>
                  <a:lnTo>
                    <a:pt x="2260" y="163"/>
                  </a:lnTo>
                  <a:lnTo>
                    <a:pt x="2266" y="166"/>
                  </a:lnTo>
                  <a:lnTo>
                    <a:pt x="2272" y="169"/>
                  </a:lnTo>
                  <a:lnTo>
                    <a:pt x="2277" y="172"/>
                  </a:lnTo>
                  <a:lnTo>
                    <a:pt x="2283" y="177"/>
                  </a:lnTo>
                  <a:lnTo>
                    <a:pt x="2291" y="185"/>
                  </a:lnTo>
                  <a:lnTo>
                    <a:pt x="2302" y="196"/>
                  </a:lnTo>
                  <a:lnTo>
                    <a:pt x="2330" y="224"/>
                  </a:lnTo>
                  <a:lnTo>
                    <a:pt x="2355" y="250"/>
                  </a:lnTo>
                  <a:lnTo>
                    <a:pt x="2366" y="264"/>
                  </a:lnTo>
                  <a:lnTo>
                    <a:pt x="2377" y="278"/>
                  </a:lnTo>
                  <a:lnTo>
                    <a:pt x="2385" y="295"/>
                  </a:lnTo>
                  <a:lnTo>
                    <a:pt x="2394" y="314"/>
                  </a:lnTo>
                  <a:lnTo>
                    <a:pt x="2404" y="333"/>
                  </a:lnTo>
                  <a:lnTo>
                    <a:pt x="2413" y="351"/>
                  </a:lnTo>
                  <a:lnTo>
                    <a:pt x="2425" y="366"/>
                  </a:lnTo>
                  <a:lnTo>
                    <a:pt x="2437" y="380"/>
                  </a:lnTo>
                  <a:lnTo>
                    <a:pt x="2450" y="392"/>
                  </a:lnTo>
                  <a:lnTo>
                    <a:pt x="2464" y="403"/>
                  </a:lnTo>
                  <a:lnTo>
                    <a:pt x="2478" y="414"/>
                  </a:lnTo>
                  <a:lnTo>
                    <a:pt x="2492" y="425"/>
                  </a:lnTo>
                  <a:lnTo>
                    <a:pt x="2507" y="436"/>
                  </a:lnTo>
                  <a:lnTo>
                    <a:pt x="2521" y="447"/>
                  </a:lnTo>
                  <a:lnTo>
                    <a:pt x="2535" y="459"/>
                  </a:lnTo>
                  <a:lnTo>
                    <a:pt x="2549" y="471"/>
                  </a:lnTo>
                  <a:lnTo>
                    <a:pt x="2562" y="484"/>
                  </a:lnTo>
                  <a:lnTo>
                    <a:pt x="2574" y="500"/>
                  </a:lnTo>
                  <a:lnTo>
                    <a:pt x="2586" y="517"/>
                  </a:lnTo>
                  <a:lnTo>
                    <a:pt x="2596" y="535"/>
                  </a:lnTo>
                  <a:lnTo>
                    <a:pt x="2605" y="555"/>
                  </a:lnTo>
                  <a:lnTo>
                    <a:pt x="2614" y="571"/>
                  </a:lnTo>
                  <a:lnTo>
                    <a:pt x="2620" y="578"/>
                  </a:lnTo>
                  <a:lnTo>
                    <a:pt x="2626" y="585"/>
                  </a:lnTo>
                  <a:lnTo>
                    <a:pt x="2634" y="590"/>
                  </a:lnTo>
                  <a:lnTo>
                    <a:pt x="2643" y="594"/>
                  </a:lnTo>
                  <a:lnTo>
                    <a:pt x="2655" y="598"/>
                  </a:lnTo>
                  <a:lnTo>
                    <a:pt x="2666" y="600"/>
                  </a:lnTo>
                  <a:lnTo>
                    <a:pt x="2677" y="601"/>
                  </a:lnTo>
                  <a:lnTo>
                    <a:pt x="2688" y="602"/>
                  </a:lnTo>
                  <a:lnTo>
                    <a:pt x="2697" y="603"/>
                  </a:lnTo>
                  <a:lnTo>
                    <a:pt x="2708" y="604"/>
                  </a:lnTo>
                  <a:lnTo>
                    <a:pt x="2719" y="606"/>
                  </a:lnTo>
                  <a:lnTo>
                    <a:pt x="2731" y="611"/>
                  </a:lnTo>
                  <a:lnTo>
                    <a:pt x="2737" y="614"/>
                  </a:lnTo>
                  <a:lnTo>
                    <a:pt x="2744" y="617"/>
                  </a:lnTo>
                  <a:lnTo>
                    <a:pt x="2750" y="622"/>
                  </a:lnTo>
                  <a:lnTo>
                    <a:pt x="2756" y="626"/>
                  </a:lnTo>
                  <a:lnTo>
                    <a:pt x="2761" y="630"/>
                  </a:lnTo>
                  <a:lnTo>
                    <a:pt x="2765" y="636"/>
                  </a:lnTo>
                  <a:lnTo>
                    <a:pt x="2770" y="641"/>
                  </a:lnTo>
                  <a:lnTo>
                    <a:pt x="2773" y="646"/>
                  </a:lnTo>
                  <a:lnTo>
                    <a:pt x="2779" y="659"/>
                  </a:lnTo>
                  <a:lnTo>
                    <a:pt x="2784" y="672"/>
                  </a:lnTo>
                  <a:lnTo>
                    <a:pt x="2786" y="687"/>
                  </a:lnTo>
                  <a:lnTo>
                    <a:pt x="2787" y="703"/>
                  </a:lnTo>
                  <a:lnTo>
                    <a:pt x="2787" y="729"/>
                  </a:lnTo>
                  <a:lnTo>
                    <a:pt x="2787" y="752"/>
                  </a:lnTo>
                  <a:lnTo>
                    <a:pt x="2787" y="776"/>
                  </a:lnTo>
                  <a:lnTo>
                    <a:pt x="2787" y="802"/>
                  </a:lnTo>
                  <a:lnTo>
                    <a:pt x="2788" y="816"/>
                  </a:lnTo>
                  <a:lnTo>
                    <a:pt x="2789" y="829"/>
                  </a:lnTo>
                  <a:lnTo>
                    <a:pt x="2789" y="838"/>
                  </a:lnTo>
                  <a:lnTo>
                    <a:pt x="2788" y="845"/>
                  </a:lnTo>
                  <a:lnTo>
                    <a:pt x="2787" y="852"/>
                  </a:lnTo>
                  <a:lnTo>
                    <a:pt x="2785" y="858"/>
                  </a:lnTo>
                  <a:lnTo>
                    <a:pt x="2779" y="870"/>
                  </a:lnTo>
                  <a:lnTo>
                    <a:pt x="2773" y="882"/>
                  </a:lnTo>
                  <a:lnTo>
                    <a:pt x="2757" y="905"/>
                  </a:lnTo>
                  <a:lnTo>
                    <a:pt x="2742" y="930"/>
                  </a:lnTo>
                  <a:lnTo>
                    <a:pt x="2736" y="943"/>
                  </a:lnTo>
                  <a:lnTo>
                    <a:pt x="2732" y="956"/>
                  </a:lnTo>
                  <a:lnTo>
                    <a:pt x="2728" y="969"/>
                  </a:lnTo>
                  <a:lnTo>
                    <a:pt x="2722" y="983"/>
                  </a:lnTo>
                  <a:lnTo>
                    <a:pt x="2732" y="984"/>
                  </a:lnTo>
                  <a:lnTo>
                    <a:pt x="2742" y="984"/>
                  </a:lnTo>
                  <a:lnTo>
                    <a:pt x="2750" y="984"/>
                  </a:lnTo>
                  <a:lnTo>
                    <a:pt x="2758" y="983"/>
                  </a:lnTo>
                  <a:lnTo>
                    <a:pt x="2775" y="981"/>
                  </a:lnTo>
                  <a:lnTo>
                    <a:pt x="2795" y="981"/>
                  </a:lnTo>
                  <a:lnTo>
                    <a:pt x="2809" y="981"/>
                  </a:lnTo>
                  <a:lnTo>
                    <a:pt x="2823" y="983"/>
                  </a:lnTo>
                  <a:lnTo>
                    <a:pt x="2836" y="987"/>
                  </a:lnTo>
                  <a:lnTo>
                    <a:pt x="2849" y="991"/>
                  </a:lnTo>
                  <a:lnTo>
                    <a:pt x="2873" y="1001"/>
                  </a:lnTo>
                  <a:lnTo>
                    <a:pt x="2899" y="1014"/>
                  </a:lnTo>
                  <a:lnTo>
                    <a:pt x="2899" y="1014"/>
                  </a:lnTo>
                  <a:lnTo>
                    <a:pt x="2886" y="1032"/>
                  </a:lnTo>
                  <a:lnTo>
                    <a:pt x="2872" y="1050"/>
                  </a:lnTo>
                  <a:lnTo>
                    <a:pt x="2857" y="1070"/>
                  </a:lnTo>
                  <a:lnTo>
                    <a:pt x="2840" y="1090"/>
                  </a:lnTo>
                  <a:lnTo>
                    <a:pt x="2813" y="1121"/>
                  </a:lnTo>
                  <a:lnTo>
                    <a:pt x="2790" y="1148"/>
                  </a:lnTo>
                  <a:lnTo>
                    <a:pt x="2767" y="1173"/>
                  </a:lnTo>
                  <a:lnTo>
                    <a:pt x="2738" y="1203"/>
                  </a:lnTo>
                  <a:lnTo>
                    <a:pt x="2723" y="1216"/>
                  </a:lnTo>
                  <a:lnTo>
                    <a:pt x="2709" y="1227"/>
                  </a:lnTo>
                  <a:lnTo>
                    <a:pt x="2703" y="1233"/>
                  </a:lnTo>
                  <a:lnTo>
                    <a:pt x="2697" y="1239"/>
                  </a:lnTo>
                  <a:lnTo>
                    <a:pt x="2691" y="1247"/>
                  </a:lnTo>
                  <a:lnTo>
                    <a:pt x="2686" y="1256"/>
                  </a:lnTo>
                  <a:lnTo>
                    <a:pt x="2668" y="1287"/>
                  </a:lnTo>
                  <a:lnTo>
                    <a:pt x="2654" y="1315"/>
                  </a:lnTo>
                  <a:lnTo>
                    <a:pt x="2641" y="1343"/>
                  </a:lnTo>
                  <a:lnTo>
                    <a:pt x="2630" y="1370"/>
                  </a:lnTo>
                  <a:lnTo>
                    <a:pt x="2620" y="1397"/>
                  </a:lnTo>
                  <a:lnTo>
                    <a:pt x="2610" y="1426"/>
                  </a:lnTo>
                  <a:lnTo>
                    <a:pt x="2600" y="1458"/>
                  </a:lnTo>
                  <a:lnTo>
                    <a:pt x="2590" y="1491"/>
                  </a:lnTo>
                  <a:lnTo>
                    <a:pt x="2583" y="1514"/>
                  </a:lnTo>
                  <a:lnTo>
                    <a:pt x="2575" y="1535"/>
                  </a:lnTo>
                  <a:lnTo>
                    <a:pt x="2568" y="1556"/>
                  </a:lnTo>
                  <a:lnTo>
                    <a:pt x="2559" y="1575"/>
                  </a:lnTo>
                  <a:lnTo>
                    <a:pt x="2551" y="1594"/>
                  </a:lnTo>
                  <a:lnTo>
                    <a:pt x="2541" y="1611"/>
                  </a:lnTo>
                  <a:lnTo>
                    <a:pt x="2530" y="1628"/>
                  </a:lnTo>
                  <a:lnTo>
                    <a:pt x="2519" y="1644"/>
                  </a:lnTo>
                  <a:lnTo>
                    <a:pt x="2507" y="1661"/>
                  </a:lnTo>
                  <a:lnTo>
                    <a:pt x="2495" y="1677"/>
                  </a:lnTo>
                  <a:lnTo>
                    <a:pt x="2482" y="1692"/>
                  </a:lnTo>
                  <a:lnTo>
                    <a:pt x="2468" y="1708"/>
                  </a:lnTo>
                  <a:lnTo>
                    <a:pt x="2438" y="1740"/>
                  </a:lnTo>
                  <a:lnTo>
                    <a:pt x="2406" y="1774"/>
                  </a:lnTo>
                  <a:lnTo>
                    <a:pt x="2378" y="1801"/>
                  </a:lnTo>
                  <a:lnTo>
                    <a:pt x="2352" y="1825"/>
                  </a:lnTo>
                  <a:lnTo>
                    <a:pt x="2339" y="1836"/>
                  </a:lnTo>
                  <a:lnTo>
                    <a:pt x="2325" y="1846"/>
                  </a:lnTo>
                  <a:lnTo>
                    <a:pt x="2310" y="1857"/>
                  </a:lnTo>
                  <a:lnTo>
                    <a:pt x="2293" y="1869"/>
                  </a:lnTo>
                  <a:lnTo>
                    <a:pt x="2258" y="1894"/>
                  </a:lnTo>
                  <a:lnTo>
                    <a:pt x="2226" y="1917"/>
                  </a:lnTo>
                  <a:lnTo>
                    <a:pt x="2196" y="1938"/>
                  </a:lnTo>
                  <a:lnTo>
                    <a:pt x="2167" y="1959"/>
                  </a:lnTo>
                  <a:lnTo>
                    <a:pt x="2139" y="1980"/>
                  </a:lnTo>
                  <a:lnTo>
                    <a:pt x="2109" y="2001"/>
                  </a:lnTo>
                  <a:lnTo>
                    <a:pt x="2076" y="2022"/>
                  </a:lnTo>
                  <a:lnTo>
                    <a:pt x="2041" y="2046"/>
                  </a:lnTo>
                  <a:lnTo>
                    <a:pt x="2021" y="2057"/>
                  </a:lnTo>
                  <a:lnTo>
                    <a:pt x="2002" y="2067"/>
                  </a:lnTo>
                  <a:lnTo>
                    <a:pt x="1983" y="2074"/>
                  </a:lnTo>
                  <a:lnTo>
                    <a:pt x="1966" y="2083"/>
                  </a:lnTo>
                  <a:lnTo>
                    <a:pt x="1949" y="2091"/>
                  </a:lnTo>
                  <a:lnTo>
                    <a:pt x="1932" y="2101"/>
                  </a:lnTo>
                  <a:lnTo>
                    <a:pt x="1923" y="2107"/>
                  </a:lnTo>
                  <a:lnTo>
                    <a:pt x="1915" y="2114"/>
                  </a:lnTo>
                  <a:lnTo>
                    <a:pt x="1908" y="2122"/>
                  </a:lnTo>
                  <a:lnTo>
                    <a:pt x="1899" y="2129"/>
                  </a:lnTo>
                  <a:lnTo>
                    <a:pt x="1899" y="2129"/>
                  </a:lnTo>
                  <a:lnTo>
                    <a:pt x="1899" y="1987"/>
                  </a:lnTo>
                  <a:lnTo>
                    <a:pt x="1899" y="1987"/>
                  </a:lnTo>
                  <a:lnTo>
                    <a:pt x="1918" y="1998"/>
                  </a:lnTo>
                  <a:lnTo>
                    <a:pt x="1935" y="2006"/>
                  </a:lnTo>
                  <a:lnTo>
                    <a:pt x="1944" y="2009"/>
                  </a:lnTo>
                  <a:lnTo>
                    <a:pt x="1953" y="2012"/>
                  </a:lnTo>
                  <a:lnTo>
                    <a:pt x="1963" y="2014"/>
                  </a:lnTo>
                  <a:lnTo>
                    <a:pt x="1974" y="2015"/>
                  </a:lnTo>
                  <a:lnTo>
                    <a:pt x="1980" y="2013"/>
                  </a:lnTo>
                  <a:lnTo>
                    <a:pt x="1986" y="2010"/>
                  </a:lnTo>
                  <a:lnTo>
                    <a:pt x="1991" y="2008"/>
                  </a:lnTo>
                  <a:lnTo>
                    <a:pt x="1996" y="2005"/>
                  </a:lnTo>
                  <a:lnTo>
                    <a:pt x="2005" y="1998"/>
                  </a:lnTo>
                  <a:lnTo>
                    <a:pt x="2014" y="1990"/>
                  </a:lnTo>
                  <a:lnTo>
                    <a:pt x="2022" y="1981"/>
                  </a:lnTo>
                  <a:lnTo>
                    <a:pt x="2031" y="1973"/>
                  </a:lnTo>
                  <a:lnTo>
                    <a:pt x="2041" y="1965"/>
                  </a:lnTo>
                  <a:lnTo>
                    <a:pt x="2053" y="1959"/>
                  </a:lnTo>
                  <a:lnTo>
                    <a:pt x="2067" y="1952"/>
                  </a:lnTo>
                  <a:lnTo>
                    <a:pt x="2081" y="1947"/>
                  </a:lnTo>
                  <a:lnTo>
                    <a:pt x="2094" y="1940"/>
                  </a:lnTo>
                  <a:lnTo>
                    <a:pt x="2109" y="1934"/>
                  </a:lnTo>
                  <a:lnTo>
                    <a:pt x="2114" y="1929"/>
                  </a:lnTo>
                  <a:lnTo>
                    <a:pt x="2118" y="1925"/>
                  </a:lnTo>
                  <a:lnTo>
                    <a:pt x="2123" y="1921"/>
                  </a:lnTo>
                  <a:lnTo>
                    <a:pt x="2127" y="1917"/>
                  </a:lnTo>
                  <a:lnTo>
                    <a:pt x="2131" y="1911"/>
                  </a:lnTo>
                  <a:lnTo>
                    <a:pt x="2136" y="1907"/>
                  </a:lnTo>
                  <a:lnTo>
                    <a:pt x="2141" y="1904"/>
                  </a:lnTo>
                  <a:lnTo>
                    <a:pt x="2148" y="1900"/>
                  </a:lnTo>
                  <a:lnTo>
                    <a:pt x="2170" y="1893"/>
                  </a:lnTo>
                  <a:lnTo>
                    <a:pt x="2192" y="1885"/>
                  </a:lnTo>
                  <a:lnTo>
                    <a:pt x="2197" y="1882"/>
                  </a:lnTo>
                  <a:lnTo>
                    <a:pt x="2202" y="1880"/>
                  </a:lnTo>
                  <a:lnTo>
                    <a:pt x="2205" y="1877"/>
                  </a:lnTo>
                  <a:lnTo>
                    <a:pt x="2208" y="1873"/>
                  </a:lnTo>
                  <a:lnTo>
                    <a:pt x="2211" y="1869"/>
                  </a:lnTo>
                  <a:lnTo>
                    <a:pt x="2214" y="1865"/>
                  </a:lnTo>
                  <a:lnTo>
                    <a:pt x="2215" y="1860"/>
                  </a:lnTo>
                  <a:lnTo>
                    <a:pt x="2215" y="1855"/>
                  </a:lnTo>
                  <a:lnTo>
                    <a:pt x="2215" y="1844"/>
                  </a:lnTo>
                  <a:lnTo>
                    <a:pt x="2215" y="1836"/>
                  </a:lnTo>
                  <a:lnTo>
                    <a:pt x="2215" y="1827"/>
                  </a:lnTo>
                  <a:lnTo>
                    <a:pt x="2215" y="1817"/>
                  </a:lnTo>
                  <a:lnTo>
                    <a:pt x="2215" y="1805"/>
                  </a:lnTo>
                  <a:lnTo>
                    <a:pt x="2216" y="1796"/>
                  </a:lnTo>
                  <a:lnTo>
                    <a:pt x="2218" y="1786"/>
                  </a:lnTo>
                  <a:lnTo>
                    <a:pt x="2220" y="1777"/>
                  </a:lnTo>
                  <a:lnTo>
                    <a:pt x="2223" y="1769"/>
                  </a:lnTo>
                  <a:lnTo>
                    <a:pt x="2228" y="1760"/>
                  </a:lnTo>
                  <a:lnTo>
                    <a:pt x="2233" y="1751"/>
                  </a:lnTo>
                  <a:lnTo>
                    <a:pt x="2239" y="1743"/>
                  </a:lnTo>
                  <a:lnTo>
                    <a:pt x="2244" y="1739"/>
                  </a:lnTo>
                  <a:lnTo>
                    <a:pt x="2247" y="1737"/>
                  </a:lnTo>
                  <a:lnTo>
                    <a:pt x="2251" y="1735"/>
                  </a:lnTo>
                  <a:lnTo>
                    <a:pt x="2256" y="1734"/>
                  </a:lnTo>
                  <a:lnTo>
                    <a:pt x="2264" y="1734"/>
                  </a:lnTo>
                  <a:lnTo>
                    <a:pt x="2273" y="1734"/>
                  </a:lnTo>
                  <a:lnTo>
                    <a:pt x="2283" y="1735"/>
                  </a:lnTo>
                  <a:lnTo>
                    <a:pt x="2292" y="1735"/>
                  </a:lnTo>
                  <a:lnTo>
                    <a:pt x="2297" y="1734"/>
                  </a:lnTo>
                  <a:lnTo>
                    <a:pt x="2301" y="1733"/>
                  </a:lnTo>
                  <a:lnTo>
                    <a:pt x="2305" y="1732"/>
                  </a:lnTo>
                  <a:lnTo>
                    <a:pt x="2310" y="1729"/>
                  </a:lnTo>
                  <a:lnTo>
                    <a:pt x="2315" y="1724"/>
                  </a:lnTo>
                  <a:lnTo>
                    <a:pt x="2319" y="1719"/>
                  </a:lnTo>
                  <a:lnTo>
                    <a:pt x="2322" y="1713"/>
                  </a:lnTo>
                  <a:lnTo>
                    <a:pt x="2324" y="1708"/>
                  </a:lnTo>
                  <a:lnTo>
                    <a:pt x="2327" y="1695"/>
                  </a:lnTo>
                  <a:lnTo>
                    <a:pt x="2332" y="1681"/>
                  </a:lnTo>
                  <a:lnTo>
                    <a:pt x="2340" y="1670"/>
                  </a:lnTo>
                  <a:lnTo>
                    <a:pt x="2349" y="1661"/>
                  </a:lnTo>
                  <a:lnTo>
                    <a:pt x="2357" y="1652"/>
                  </a:lnTo>
                  <a:lnTo>
                    <a:pt x="2366" y="1642"/>
                  </a:lnTo>
                  <a:lnTo>
                    <a:pt x="2376" y="1632"/>
                  </a:lnTo>
                  <a:lnTo>
                    <a:pt x="2385" y="1624"/>
                  </a:lnTo>
                  <a:lnTo>
                    <a:pt x="2394" y="1616"/>
                  </a:lnTo>
                  <a:lnTo>
                    <a:pt x="2404" y="1609"/>
                  </a:lnTo>
                  <a:lnTo>
                    <a:pt x="2412" y="1601"/>
                  </a:lnTo>
                  <a:lnTo>
                    <a:pt x="2420" y="1593"/>
                  </a:lnTo>
                  <a:lnTo>
                    <a:pt x="2423" y="1587"/>
                  </a:lnTo>
                  <a:lnTo>
                    <a:pt x="2425" y="1582"/>
                  </a:lnTo>
                  <a:lnTo>
                    <a:pt x="2428" y="1576"/>
                  </a:lnTo>
                  <a:lnTo>
                    <a:pt x="2431" y="1570"/>
                  </a:lnTo>
                  <a:lnTo>
                    <a:pt x="2436" y="1551"/>
                  </a:lnTo>
                  <a:lnTo>
                    <a:pt x="2441" y="1535"/>
                  </a:lnTo>
                  <a:lnTo>
                    <a:pt x="2447" y="1519"/>
                  </a:lnTo>
                  <a:lnTo>
                    <a:pt x="2453" y="1502"/>
                  </a:lnTo>
                  <a:lnTo>
                    <a:pt x="2459" y="1486"/>
                  </a:lnTo>
                  <a:lnTo>
                    <a:pt x="2464" y="1470"/>
                  </a:lnTo>
                  <a:lnTo>
                    <a:pt x="2468" y="1464"/>
                  </a:lnTo>
                  <a:lnTo>
                    <a:pt x="2473" y="1459"/>
                  </a:lnTo>
                  <a:lnTo>
                    <a:pt x="2476" y="1458"/>
                  </a:lnTo>
                  <a:lnTo>
                    <a:pt x="2479" y="1455"/>
                  </a:lnTo>
                  <a:lnTo>
                    <a:pt x="2482" y="1454"/>
                  </a:lnTo>
                  <a:lnTo>
                    <a:pt x="2487" y="1454"/>
                  </a:lnTo>
                  <a:lnTo>
                    <a:pt x="2498" y="1456"/>
                  </a:lnTo>
                  <a:lnTo>
                    <a:pt x="2509" y="1460"/>
                  </a:lnTo>
                  <a:lnTo>
                    <a:pt x="2515" y="1448"/>
                  </a:lnTo>
                  <a:lnTo>
                    <a:pt x="2519" y="1437"/>
                  </a:lnTo>
                  <a:lnTo>
                    <a:pt x="2521" y="1425"/>
                  </a:lnTo>
                  <a:lnTo>
                    <a:pt x="2521" y="1412"/>
                  </a:lnTo>
                  <a:lnTo>
                    <a:pt x="2521" y="1404"/>
                  </a:lnTo>
                  <a:lnTo>
                    <a:pt x="2521" y="1395"/>
                  </a:lnTo>
                  <a:lnTo>
                    <a:pt x="2521" y="1387"/>
                  </a:lnTo>
                  <a:lnTo>
                    <a:pt x="2521" y="1379"/>
                  </a:lnTo>
                  <a:lnTo>
                    <a:pt x="2515" y="1375"/>
                  </a:lnTo>
                  <a:lnTo>
                    <a:pt x="2509" y="1373"/>
                  </a:lnTo>
                  <a:lnTo>
                    <a:pt x="2505" y="1373"/>
                  </a:lnTo>
                  <a:lnTo>
                    <a:pt x="2503" y="1374"/>
                  </a:lnTo>
                  <a:lnTo>
                    <a:pt x="2500" y="1377"/>
                  </a:lnTo>
                  <a:lnTo>
                    <a:pt x="2498" y="1379"/>
                  </a:lnTo>
                  <a:lnTo>
                    <a:pt x="2492" y="1383"/>
                  </a:lnTo>
                  <a:lnTo>
                    <a:pt x="2487" y="1387"/>
                  </a:lnTo>
                  <a:lnTo>
                    <a:pt x="2471" y="1394"/>
                  </a:lnTo>
                  <a:lnTo>
                    <a:pt x="2454" y="1398"/>
                  </a:lnTo>
                  <a:lnTo>
                    <a:pt x="2438" y="1400"/>
                  </a:lnTo>
                  <a:lnTo>
                    <a:pt x="2421" y="1401"/>
                  </a:lnTo>
                  <a:lnTo>
                    <a:pt x="2409" y="1400"/>
                  </a:lnTo>
                  <a:lnTo>
                    <a:pt x="2399" y="1398"/>
                  </a:lnTo>
                  <a:lnTo>
                    <a:pt x="2391" y="1394"/>
                  </a:lnTo>
                  <a:lnTo>
                    <a:pt x="2382" y="1389"/>
                  </a:lnTo>
                  <a:lnTo>
                    <a:pt x="2366" y="1377"/>
                  </a:lnTo>
                  <a:lnTo>
                    <a:pt x="2350" y="1362"/>
                  </a:lnTo>
                  <a:lnTo>
                    <a:pt x="2340" y="1354"/>
                  </a:lnTo>
                  <a:lnTo>
                    <a:pt x="2330" y="1347"/>
                  </a:lnTo>
                  <a:lnTo>
                    <a:pt x="2320" y="1341"/>
                  </a:lnTo>
                  <a:lnTo>
                    <a:pt x="2311" y="1337"/>
                  </a:lnTo>
                  <a:lnTo>
                    <a:pt x="2290" y="1327"/>
                  </a:lnTo>
                  <a:lnTo>
                    <a:pt x="2268" y="1314"/>
                  </a:lnTo>
                  <a:lnTo>
                    <a:pt x="2268" y="1326"/>
                  </a:lnTo>
                  <a:lnTo>
                    <a:pt x="2268" y="1335"/>
                  </a:lnTo>
                  <a:lnTo>
                    <a:pt x="2268" y="1344"/>
                  </a:lnTo>
                  <a:lnTo>
                    <a:pt x="2268" y="1356"/>
                  </a:lnTo>
                  <a:lnTo>
                    <a:pt x="2270" y="1372"/>
                  </a:lnTo>
                  <a:lnTo>
                    <a:pt x="2272" y="1387"/>
                  </a:lnTo>
                  <a:lnTo>
                    <a:pt x="2275" y="1402"/>
                  </a:lnTo>
                  <a:lnTo>
                    <a:pt x="2276" y="1420"/>
                  </a:lnTo>
                  <a:lnTo>
                    <a:pt x="2276" y="1424"/>
                  </a:lnTo>
                  <a:lnTo>
                    <a:pt x="2275" y="1428"/>
                  </a:lnTo>
                  <a:lnTo>
                    <a:pt x="2273" y="1433"/>
                  </a:lnTo>
                  <a:lnTo>
                    <a:pt x="2271" y="1436"/>
                  </a:lnTo>
                  <a:lnTo>
                    <a:pt x="2265" y="1442"/>
                  </a:lnTo>
                  <a:lnTo>
                    <a:pt x="2259" y="1448"/>
                  </a:lnTo>
                  <a:lnTo>
                    <a:pt x="2251" y="1453"/>
                  </a:lnTo>
                  <a:lnTo>
                    <a:pt x="2244" y="1459"/>
                  </a:lnTo>
                  <a:lnTo>
                    <a:pt x="2235" y="1464"/>
                  </a:lnTo>
                  <a:lnTo>
                    <a:pt x="2229" y="1472"/>
                  </a:lnTo>
                  <a:lnTo>
                    <a:pt x="2223" y="1479"/>
                  </a:lnTo>
                  <a:lnTo>
                    <a:pt x="2219" y="1486"/>
                  </a:lnTo>
                  <a:lnTo>
                    <a:pt x="2217" y="1493"/>
                  </a:lnTo>
                  <a:lnTo>
                    <a:pt x="2215" y="1501"/>
                  </a:lnTo>
                  <a:lnTo>
                    <a:pt x="2210" y="1517"/>
                  </a:lnTo>
                  <a:lnTo>
                    <a:pt x="2204" y="1533"/>
                  </a:lnTo>
                  <a:lnTo>
                    <a:pt x="2199" y="1540"/>
                  </a:lnTo>
                  <a:lnTo>
                    <a:pt x="2194" y="1545"/>
                  </a:lnTo>
                  <a:lnTo>
                    <a:pt x="2190" y="1549"/>
                  </a:lnTo>
                  <a:lnTo>
                    <a:pt x="2184" y="1554"/>
                  </a:lnTo>
                  <a:lnTo>
                    <a:pt x="2179" y="1558"/>
                  </a:lnTo>
                  <a:lnTo>
                    <a:pt x="2174" y="1563"/>
                  </a:lnTo>
                  <a:lnTo>
                    <a:pt x="2168" y="1569"/>
                  </a:lnTo>
                  <a:lnTo>
                    <a:pt x="2164" y="1575"/>
                  </a:lnTo>
                  <a:lnTo>
                    <a:pt x="2158" y="1586"/>
                  </a:lnTo>
                  <a:lnTo>
                    <a:pt x="2154" y="1597"/>
                  </a:lnTo>
                  <a:lnTo>
                    <a:pt x="2150" y="1607"/>
                  </a:lnTo>
                  <a:lnTo>
                    <a:pt x="2147" y="1617"/>
                  </a:lnTo>
                  <a:lnTo>
                    <a:pt x="2140" y="1638"/>
                  </a:lnTo>
                  <a:lnTo>
                    <a:pt x="2136" y="1657"/>
                  </a:lnTo>
                  <a:lnTo>
                    <a:pt x="2131" y="1677"/>
                  </a:lnTo>
                  <a:lnTo>
                    <a:pt x="2126" y="1697"/>
                  </a:lnTo>
                  <a:lnTo>
                    <a:pt x="2123" y="1708"/>
                  </a:lnTo>
                  <a:lnTo>
                    <a:pt x="2118" y="1719"/>
                  </a:lnTo>
                  <a:lnTo>
                    <a:pt x="2114" y="1730"/>
                  </a:lnTo>
                  <a:lnTo>
                    <a:pt x="2109" y="1740"/>
                  </a:lnTo>
                  <a:lnTo>
                    <a:pt x="2103" y="1748"/>
                  </a:lnTo>
                  <a:lnTo>
                    <a:pt x="2099" y="1755"/>
                  </a:lnTo>
                  <a:lnTo>
                    <a:pt x="2094" y="1761"/>
                  </a:lnTo>
                  <a:lnTo>
                    <a:pt x="2088" y="1766"/>
                  </a:lnTo>
                  <a:lnTo>
                    <a:pt x="2075" y="1775"/>
                  </a:lnTo>
                  <a:lnTo>
                    <a:pt x="2062" y="1783"/>
                  </a:lnTo>
                  <a:lnTo>
                    <a:pt x="2032" y="1794"/>
                  </a:lnTo>
                  <a:lnTo>
                    <a:pt x="1999" y="1807"/>
                  </a:lnTo>
                  <a:lnTo>
                    <a:pt x="1988" y="1813"/>
                  </a:lnTo>
                  <a:lnTo>
                    <a:pt x="1978" y="1818"/>
                  </a:lnTo>
                  <a:lnTo>
                    <a:pt x="1969" y="1824"/>
                  </a:lnTo>
                  <a:lnTo>
                    <a:pt x="1961" y="1829"/>
                  </a:lnTo>
                  <a:lnTo>
                    <a:pt x="1946" y="1841"/>
                  </a:lnTo>
                  <a:lnTo>
                    <a:pt x="1932" y="1854"/>
                  </a:lnTo>
                  <a:lnTo>
                    <a:pt x="1904" y="1883"/>
                  </a:lnTo>
                  <a:lnTo>
                    <a:pt x="1873" y="1914"/>
                  </a:lnTo>
                  <a:lnTo>
                    <a:pt x="1853" y="1931"/>
                  </a:lnTo>
                  <a:lnTo>
                    <a:pt x="1833" y="1945"/>
                  </a:lnTo>
                  <a:lnTo>
                    <a:pt x="1826" y="1952"/>
                  </a:lnTo>
                  <a:lnTo>
                    <a:pt x="1819" y="1962"/>
                  </a:lnTo>
                  <a:lnTo>
                    <a:pt x="1817" y="1966"/>
                  </a:lnTo>
                  <a:lnTo>
                    <a:pt x="1815" y="1972"/>
                  </a:lnTo>
                  <a:lnTo>
                    <a:pt x="1814" y="1978"/>
                  </a:lnTo>
                  <a:lnTo>
                    <a:pt x="1814" y="1985"/>
                  </a:lnTo>
                  <a:lnTo>
                    <a:pt x="1815" y="1993"/>
                  </a:lnTo>
                  <a:lnTo>
                    <a:pt x="1817" y="2001"/>
                  </a:lnTo>
                  <a:lnTo>
                    <a:pt x="1820" y="2007"/>
                  </a:lnTo>
                  <a:lnTo>
                    <a:pt x="1825" y="2014"/>
                  </a:lnTo>
                  <a:lnTo>
                    <a:pt x="1829" y="2020"/>
                  </a:lnTo>
                  <a:lnTo>
                    <a:pt x="1833" y="2027"/>
                  </a:lnTo>
                  <a:lnTo>
                    <a:pt x="1837" y="2034"/>
                  </a:lnTo>
                  <a:lnTo>
                    <a:pt x="1839" y="2043"/>
                  </a:lnTo>
                  <a:lnTo>
                    <a:pt x="1843" y="2077"/>
                  </a:lnTo>
                  <a:lnTo>
                    <a:pt x="1845" y="2110"/>
                  </a:lnTo>
                  <a:lnTo>
                    <a:pt x="1846" y="2117"/>
                  </a:lnTo>
                  <a:lnTo>
                    <a:pt x="1848" y="2125"/>
                  </a:lnTo>
                  <a:lnTo>
                    <a:pt x="1851" y="2133"/>
                  </a:lnTo>
                  <a:lnTo>
                    <a:pt x="1854" y="2140"/>
                  </a:lnTo>
                  <a:lnTo>
                    <a:pt x="1857" y="2147"/>
                  </a:lnTo>
                  <a:lnTo>
                    <a:pt x="1861" y="2153"/>
                  </a:lnTo>
                  <a:lnTo>
                    <a:pt x="1867" y="2160"/>
                  </a:lnTo>
                  <a:lnTo>
                    <a:pt x="1873" y="2166"/>
                  </a:lnTo>
                  <a:lnTo>
                    <a:pt x="1870" y="2172"/>
                  </a:lnTo>
                  <a:lnTo>
                    <a:pt x="1867" y="2178"/>
                  </a:lnTo>
                  <a:lnTo>
                    <a:pt x="1864" y="2183"/>
                  </a:lnTo>
                  <a:lnTo>
                    <a:pt x="1859" y="2189"/>
                  </a:lnTo>
                  <a:lnTo>
                    <a:pt x="1851" y="2197"/>
                  </a:lnTo>
                  <a:lnTo>
                    <a:pt x="1842" y="2205"/>
                  </a:lnTo>
                  <a:lnTo>
                    <a:pt x="1832" y="2212"/>
                  </a:lnTo>
                  <a:lnTo>
                    <a:pt x="1824" y="2221"/>
                  </a:lnTo>
                  <a:lnTo>
                    <a:pt x="1816" y="2230"/>
                  </a:lnTo>
                  <a:lnTo>
                    <a:pt x="1809" y="2242"/>
                  </a:lnTo>
                  <a:lnTo>
                    <a:pt x="1799" y="2260"/>
                  </a:lnTo>
                  <a:lnTo>
                    <a:pt x="1791" y="2278"/>
                  </a:lnTo>
                  <a:lnTo>
                    <a:pt x="1784" y="2296"/>
                  </a:lnTo>
                  <a:lnTo>
                    <a:pt x="1778" y="2312"/>
                  </a:lnTo>
                  <a:lnTo>
                    <a:pt x="1766" y="2344"/>
                  </a:lnTo>
                  <a:lnTo>
                    <a:pt x="1757" y="2377"/>
                  </a:lnTo>
                  <a:lnTo>
                    <a:pt x="1746" y="2408"/>
                  </a:lnTo>
                  <a:lnTo>
                    <a:pt x="1734" y="2440"/>
                  </a:lnTo>
                  <a:lnTo>
                    <a:pt x="1726" y="2457"/>
                  </a:lnTo>
                  <a:lnTo>
                    <a:pt x="1719" y="2474"/>
                  </a:lnTo>
                  <a:lnTo>
                    <a:pt x="1709" y="2490"/>
                  </a:lnTo>
                  <a:lnTo>
                    <a:pt x="1699" y="2508"/>
                  </a:lnTo>
                  <a:lnTo>
                    <a:pt x="1692" y="2519"/>
                  </a:lnTo>
                  <a:lnTo>
                    <a:pt x="1684" y="2529"/>
                  </a:lnTo>
                  <a:lnTo>
                    <a:pt x="1677" y="2539"/>
                  </a:lnTo>
                  <a:lnTo>
                    <a:pt x="1671" y="2550"/>
                  </a:lnTo>
                  <a:lnTo>
                    <a:pt x="1669" y="2557"/>
                  </a:lnTo>
                  <a:lnTo>
                    <a:pt x="1669" y="2563"/>
                  </a:lnTo>
                  <a:lnTo>
                    <a:pt x="1669" y="2567"/>
                  </a:lnTo>
                  <a:lnTo>
                    <a:pt x="1669" y="2570"/>
                  </a:lnTo>
                  <a:lnTo>
                    <a:pt x="1667" y="2573"/>
                  </a:lnTo>
                  <a:lnTo>
                    <a:pt x="1666" y="2575"/>
                  </a:lnTo>
                  <a:lnTo>
                    <a:pt x="1641" y="2596"/>
                  </a:lnTo>
                  <a:lnTo>
                    <a:pt x="1621" y="2615"/>
                  </a:lnTo>
                  <a:lnTo>
                    <a:pt x="1600" y="2634"/>
                  </a:lnTo>
                  <a:lnTo>
                    <a:pt x="1581" y="2651"/>
                  </a:lnTo>
                  <a:lnTo>
                    <a:pt x="1560" y="2667"/>
                  </a:lnTo>
                  <a:lnTo>
                    <a:pt x="1538" y="2682"/>
                  </a:lnTo>
                  <a:lnTo>
                    <a:pt x="1514" y="2698"/>
                  </a:lnTo>
                  <a:lnTo>
                    <a:pt x="1486" y="2712"/>
                  </a:lnTo>
                  <a:lnTo>
                    <a:pt x="1460" y="2727"/>
                  </a:lnTo>
                  <a:lnTo>
                    <a:pt x="1437" y="2739"/>
                  </a:lnTo>
                  <a:lnTo>
                    <a:pt x="1426" y="2747"/>
                  </a:lnTo>
                  <a:lnTo>
                    <a:pt x="1415" y="2756"/>
                  </a:lnTo>
                  <a:lnTo>
                    <a:pt x="1405" y="2764"/>
                  </a:lnTo>
                  <a:lnTo>
                    <a:pt x="1394" y="2774"/>
                  </a:lnTo>
                  <a:lnTo>
                    <a:pt x="1394" y="2774"/>
                  </a:lnTo>
                  <a:lnTo>
                    <a:pt x="1358" y="2671"/>
                  </a:lnTo>
                  <a:lnTo>
                    <a:pt x="1356" y="2658"/>
                  </a:lnTo>
                  <a:lnTo>
                    <a:pt x="1353" y="2647"/>
                  </a:lnTo>
                  <a:lnTo>
                    <a:pt x="1351" y="2635"/>
                  </a:lnTo>
                  <a:lnTo>
                    <a:pt x="1349" y="2621"/>
                  </a:lnTo>
                  <a:lnTo>
                    <a:pt x="1351" y="2604"/>
                  </a:lnTo>
                  <a:lnTo>
                    <a:pt x="1354" y="2589"/>
                  </a:lnTo>
                  <a:lnTo>
                    <a:pt x="1355" y="2575"/>
                  </a:lnTo>
                  <a:lnTo>
                    <a:pt x="1358" y="2562"/>
                  </a:lnTo>
                  <a:lnTo>
                    <a:pt x="1361" y="2548"/>
                  </a:lnTo>
                  <a:lnTo>
                    <a:pt x="1366" y="2536"/>
                  </a:lnTo>
                  <a:lnTo>
                    <a:pt x="1369" y="2525"/>
                  </a:lnTo>
                  <a:lnTo>
                    <a:pt x="1374" y="2512"/>
                  </a:lnTo>
                  <a:lnTo>
                    <a:pt x="1378" y="2504"/>
                  </a:lnTo>
                  <a:lnTo>
                    <a:pt x="1382" y="2496"/>
                  </a:lnTo>
                  <a:lnTo>
                    <a:pt x="1394" y="2484"/>
                  </a:lnTo>
                  <a:lnTo>
                    <a:pt x="1405" y="2471"/>
                  </a:lnTo>
                  <a:lnTo>
                    <a:pt x="1407" y="2467"/>
                  </a:lnTo>
                  <a:lnTo>
                    <a:pt x="1410" y="2464"/>
                  </a:lnTo>
                  <a:lnTo>
                    <a:pt x="1414" y="2461"/>
                  </a:lnTo>
                  <a:lnTo>
                    <a:pt x="1420" y="2458"/>
                  </a:lnTo>
                  <a:lnTo>
                    <a:pt x="1424" y="2454"/>
                  </a:lnTo>
                  <a:lnTo>
                    <a:pt x="1429" y="2450"/>
                  </a:lnTo>
                  <a:lnTo>
                    <a:pt x="1439" y="2435"/>
                  </a:lnTo>
                  <a:lnTo>
                    <a:pt x="1449" y="2420"/>
                  </a:lnTo>
                  <a:lnTo>
                    <a:pt x="1452" y="2417"/>
                  </a:lnTo>
                  <a:lnTo>
                    <a:pt x="1455" y="2413"/>
                  </a:lnTo>
                  <a:lnTo>
                    <a:pt x="1455" y="2411"/>
                  </a:lnTo>
                  <a:lnTo>
                    <a:pt x="1455" y="2409"/>
                  </a:lnTo>
                  <a:lnTo>
                    <a:pt x="1456" y="2408"/>
                  </a:lnTo>
                  <a:lnTo>
                    <a:pt x="1457" y="2407"/>
                  </a:lnTo>
                  <a:lnTo>
                    <a:pt x="1459" y="2404"/>
                  </a:lnTo>
                  <a:lnTo>
                    <a:pt x="1460" y="2399"/>
                  </a:lnTo>
                  <a:lnTo>
                    <a:pt x="1463" y="2390"/>
                  </a:lnTo>
                  <a:lnTo>
                    <a:pt x="1464" y="2380"/>
                  </a:lnTo>
                  <a:lnTo>
                    <a:pt x="1462" y="2367"/>
                  </a:lnTo>
                  <a:lnTo>
                    <a:pt x="1459" y="2357"/>
                  </a:lnTo>
                  <a:lnTo>
                    <a:pt x="1455" y="2346"/>
                  </a:lnTo>
                  <a:lnTo>
                    <a:pt x="1454" y="2333"/>
                  </a:lnTo>
                  <a:lnTo>
                    <a:pt x="1453" y="2325"/>
                  </a:lnTo>
                  <a:lnTo>
                    <a:pt x="1452" y="2316"/>
                  </a:lnTo>
                  <a:lnTo>
                    <a:pt x="1450" y="2309"/>
                  </a:lnTo>
                  <a:lnTo>
                    <a:pt x="1446" y="2302"/>
                  </a:lnTo>
                  <a:lnTo>
                    <a:pt x="1442" y="2296"/>
                  </a:lnTo>
                  <a:lnTo>
                    <a:pt x="1437" y="2289"/>
                  </a:lnTo>
                  <a:lnTo>
                    <a:pt x="1432" y="2284"/>
                  </a:lnTo>
                  <a:lnTo>
                    <a:pt x="1426" y="2277"/>
                  </a:lnTo>
                  <a:lnTo>
                    <a:pt x="1413" y="2266"/>
                  </a:lnTo>
                  <a:lnTo>
                    <a:pt x="1400" y="2256"/>
                  </a:lnTo>
                  <a:lnTo>
                    <a:pt x="1386" y="2244"/>
                  </a:lnTo>
                  <a:lnTo>
                    <a:pt x="1374" y="2231"/>
                  </a:lnTo>
                  <a:lnTo>
                    <a:pt x="1368" y="2223"/>
                  </a:lnTo>
                  <a:lnTo>
                    <a:pt x="1364" y="2216"/>
                  </a:lnTo>
                  <a:lnTo>
                    <a:pt x="1359" y="2208"/>
                  </a:lnTo>
                  <a:lnTo>
                    <a:pt x="1356" y="2199"/>
                  </a:lnTo>
                  <a:lnTo>
                    <a:pt x="1351" y="2183"/>
                  </a:lnTo>
                  <a:lnTo>
                    <a:pt x="1346" y="2167"/>
                  </a:lnTo>
                  <a:lnTo>
                    <a:pt x="1341" y="2152"/>
                  </a:lnTo>
                  <a:lnTo>
                    <a:pt x="1333" y="2138"/>
                  </a:lnTo>
                  <a:lnTo>
                    <a:pt x="1329" y="2130"/>
                  </a:lnTo>
                  <a:lnTo>
                    <a:pt x="1324" y="2124"/>
                  </a:lnTo>
                  <a:lnTo>
                    <a:pt x="1317" y="2118"/>
                  </a:lnTo>
                  <a:lnTo>
                    <a:pt x="1310" y="2113"/>
                  </a:lnTo>
                  <a:lnTo>
                    <a:pt x="1291" y="2103"/>
                  </a:lnTo>
                  <a:lnTo>
                    <a:pt x="1274" y="2095"/>
                  </a:lnTo>
                  <a:lnTo>
                    <a:pt x="1258" y="2088"/>
                  </a:lnTo>
                  <a:lnTo>
                    <a:pt x="1241" y="2081"/>
                  </a:lnTo>
                  <a:lnTo>
                    <a:pt x="1225" y="2074"/>
                  </a:lnTo>
                  <a:lnTo>
                    <a:pt x="1210" y="2064"/>
                  </a:lnTo>
                  <a:lnTo>
                    <a:pt x="1203" y="2060"/>
                  </a:lnTo>
                  <a:lnTo>
                    <a:pt x="1195" y="2054"/>
                  </a:lnTo>
                  <a:lnTo>
                    <a:pt x="1187" y="2047"/>
                  </a:lnTo>
                  <a:lnTo>
                    <a:pt x="1181" y="2040"/>
                  </a:lnTo>
                  <a:lnTo>
                    <a:pt x="1150" y="2006"/>
                  </a:lnTo>
                  <a:lnTo>
                    <a:pt x="1122" y="1977"/>
                  </a:lnTo>
                  <a:lnTo>
                    <a:pt x="1093" y="1950"/>
                  </a:lnTo>
                  <a:lnTo>
                    <a:pt x="1060" y="1920"/>
                  </a:lnTo>
                  <a:lnTo>
                    <a:pt x="1055" y="1914"/>
                  </a:lnTo>
                  <a:lnTo>
                    <a:pt x="1050" y="1909"/>
                  </a:lnTo>
                  <a:lnTo>
                    <a:pt x="1047" y="1904"/>
                  </a:lnTo>
                  <a:lnTo>
                    <a:pt x="1045" y="1897"/>
                  </a:lnTo>
                  <a:lnTo>
                    <a:pt x="1041" y="1885"/>
                  </a:lnTo>
                  <a:lnTo>
                    <a:pt x="1037" y="1872"/>
                  </a:lnTo>
                  <a:lnTo>
                    <a:pt x="1034" y="1859"/>
                  </a:lnTo>
                  <a:lnTo>
                    <a:pt x="1030" y="1847"/>
                  </a:lnTo>
                  <a:lnTo>
                    <a:pt x="1027" y="1842"/>
                  </a:lnTo>
                  <a:lnTo>
                    <a:pt x="1023" y="1837"/>
                  </a:lnTo>
                  <a:lnTo>
                    <a:pt x="1018" y="1831"/>
                  </a:lnTo>
                  <a:lnTo>
                    <a:pt x="1012" y="1827"/>
                  </a:lnTo>
                  <a:lnTo>
                    <a:pt x="988" y="1813"/>
                  </a:lnTo>
                  <a:lnTo>
                    <a:pt x="965" y="1801"/>
                  </a:lnTo>
                  <a:lnTo>
                    <a:pt x="941" y="1791"/>
                  </a:lnTo>
                  <a:lnTo>
                    <a:pt x="914" y="1779"/>
                  </a:lnTo>
                  <a:lnTo>
                    <a:pt x="907" y="1777"/>
                  </a:lnTo>
                  <a:lnTo>
                    <a:pt x="900" y="1776"/>
                  </a:lnTo>
                  <a:lnTo>
                    <a:pt x="894" y="1776"/>
                  </a:lnTo>
                  <a:lnTo>
                    <a:pt x="886" y="1777"/>
                  </a:lnTo>
                  <a:lnTo>
                    <a:pt x="880" y="1778"/>
                  </a:lnTo>
                  <a:lnTo>
                    <a:pt x="873" y="1778"/>
                  </a:lnTo>
                  <a:lnTo>
                    <a:pt x="866" y="1778"/>
                  </a:lnTo>
                  <a:lnTo>
                    <a:pt x="858" y="1777"/>
                  </a:lnTo>
                  <a:lnTo>
                    <a:pt x="846" y="1774"/>
                  </a:lnTo>
                  <a:lnTo>
                    <a:pt x="834" y="1772"/>
                  </a:lnTo>
                  <a:lnTo>
                    <a:pt x="829" y="1771"/>
                  </a:lnTo>
                  <a:lnTo>
                    <a:pt x="823" y="1769"/>
                  </a:lnTo>
                  <a:lnTo>
                    <a:pt x="819" y="1766"/>
                  </a:lnTo>
                  <a:lnTo>
                    <a:pt x="814" y="1763"/>
                  </a:lnTo>
                  <a:lnTo>
                    <a:pt x="809" y="1758"/>
                  </a:lnTo>
                  <a:lnTo>
                    <a:pt x="806" y="1753"/>
                  </a:lnTo>
                  <a:lnTo>
                    <a:pt x="804" y="1748"/>
                  </a:lnTo>
                  <a:lnTo>
                    <a:pt x="803" y="1743"/>
                  </a:lnTo>
                  <a:lnTo>
                    <a:pt x="802" y="1731"/>
                  </a:lnTo>
                  <a:lnTo>
                    <a:pt x="800" y="1718"/>
                  </a:lnTo>
                  <a:lnTo>
                    <a:pt x="795" y="1708"/>
                  </a:lnTo>
                  <a:lnTo>
                    <a:pt x="790" y="1699"/>
                  </a:lnTo>
                  <a:lnTo>
                    <a:pt x="785" y="1691"/>
                  </a:lnTo>
                  <a:lnTo>
                    <a:pt x="779" y="1684"/>
                  </a:lnTo>
                  <a:lnTo>
                    <a:pt x="765" y="1670"/>
                  </a:lnTo>
                  <a:lnTo>
                    <a:pt x="752" y="1653"/>
                  </a:lnTo>
                  <a:lnTo>
                    <a:pt x="742" y="1640"/>
                  </a:lnTo>
                  <a:lnTo>
                    <a:pt x="734" y="1628"/>
                  </a:lnTo>
                  <a:lnTo>
                    <a:pt x="725" y="1616"/>
                  </a:lnTo>
                  <a:lnTo>
                    <a:pt x="715" y="1605"/>
                  </a:lnTo>
                  <a:lnTo>
                    <a:pt x="711" y="1601"/>
                  </a:lnTo>
                  <a:lnTo>
                    <a:pt x="706" y="1597"/>
                  </a:lnTo>
                  <a:lnTo>
                    <a:pt x="700" y="1593"/>
                  </a:lnTo>
                  <a:lnTo>
                    <a:pt x="694" y="1589"/>
                  </a:lnTo>
                  <a:lnTo>
                    <a:pt x="687" y="1587"/>
                  </a:lnTo>
                  <a:lnTo>
                    <a:pt x="681" y="1585"/>
                  </a:lnTo>
                  <a:lnTo>
                    <a:pt x="674" y="1584"/>
                  </a:lnTo>
                  <a:lnTo>
                    <a:pt x="666" y="1584"/>
                  </a:lnTo>
                  <a:lnTo>
                    <a:pt x="657" y="1584"/>
                  </a:lnTo>
                  <a:lnTo>
                    <a:pt x="649" y="1585"/>
                  </a:lnTo>
                  <a:lnTo>
                    <a:pt x="640" y="1588"/>
                  </a:lnTo>
                  <a:lnTo>
                    <a:pt x="632" y="1590"/>
                  </a:lnTo>
                  <a:lnTo>
                    <a:pt x="618" y="1598"/>
                  </a:lnTo>
                  <a:lnTo>
                    <a:pt x="605" y="1608"/>
                  </a:lnTo>
                  <a:lnTo>
                    <a:pt x="592" y="1616"/>
                  </a:lnTo>
                  <a:lnTo>
                    <a:pt x="577" y="1624"/>
                  </a:lnTo>
                  <a:lnTo>
                    <a:pt x="570" y="1627"/>
                  </a:lnTo>
                  <a:lnTo>
                    <a:pt x="562" y="1629"/>
                  </a:lnTo>
                  <a:lnTo>
                    <a:pt x="553" y="1630"/>
                  </a:lnTo>
                  <a:lnTo>
                    <a:pt x="544" y="1631"/>
                  </a:lnTo>
                  <a:lnTo>
                    <a:pt x="537" y="1630"/>
                  </a:lnTo>
                  <a:lnTo>
                    <a:pt x="532" y="1627"/>
                  </a:lnTo>
                  <a:lnTo>
                    <a:pt x="528" y="1623"/>
                  </a:lnTo>
                  <a:lnTo>
                    <a:pt x="524" y="1617"/>
                  </a:lnTo>
                  <a:lnTo>
                    <a:pt x="520" y="1603"/>
                  </a:lnTo>
                  <a:lnTo>
                    <a:pt x="517" y="1589"/>
                  </a:lnTo>
                  <a:lnTo>
                    <a:pt x="512" y="1576"/>
                  </a:lnTo>
                  <a:lnTo>
                    <a:pt x="507" y="1566"/>
                  </a:lnTo>
                  <a:lnTo>
                    <a:pt x="503" y="1554"/>
                  </a:lnTo>
                  <a:lnTo>
                    <a:pt x="499" y="1542"/>
                  </a:lnTo>
                  <a:lnTo>
                    <a:pt x="496" y="1522"/>
                  </a:lnTo>
                  <a:lnTo>
                    <a:pt x="492" y="1505"/>
                  </a:lnTo>
                  <a:lnTo>
                    <a:pt x="488" y="1490"/>
                  </a:lnTo>
                  <a:lnTo>
                    <a:pt x="481" y="1475"/>
                  </a:lnTo>
                  <a:lnTo>
                    <a:pt x="475" y="1460"/>
                  </a:lnTo>
                  <a:lnTo>
                    <a:pt x="466" y="1446"/>
                  </a:lnTo>
                  <a:lnTo>
                    <a:pt x="455" y="1432"/>
                  </a:lnTo>
                  <a:lnTo>
                    <a:pt x="443" y="1418"/>
                  </a:lnTo>
                  <a:lnTo>
                    <a:pt x="418" y="1392"/>
                  </a:lnTo>
                  <a:lnTo>
                    <a:pt x="395" y="1368"/>
                  </a:lnTo>
                  <a:lnTo>
                    <a:pt x="372" y="1345"/>
                  </a:lnTo>
                  <a:lnTo>
                    <a:pt x="345" y="1320"/>
                  </a:lnTo>
                  <a:lnTo>
                    <a:pt x="334" y="1311"/>
                  </a:lnTo>
                  <a:lnTo>
                    <a:pt x="323" y="1301"/>
                  </a:lnTo>
                  <a:lnTo>
                    <a:pt x="319" y="1297"/>
                  </a:lnTo>
                  <a:lnTo>
                    <a:pt x="316" y="1291"/>
                  </a:lnTo>
                  <a:lnTo>
                    <a:pt x="312" y="1285"/>
                  </a:lnTo>
                  <a:lnTo>
                    <a:pt x="309" y="1278"/>
                  </a:lnTo>
                  <a:lnTo>
                    <a:pt x="305" y="1267"/>
                  </a:lnTo>
                  <a:lnTo>
                    <a:pt x="301" y="1259"/>
                  </a:lnTo>
                  <a:lnTo>
                    <a:pt x="296" y="1249"/>
                  </a:lnTo>
                  <a:lnTo>
                    <a:pt x="291" y="1242"/>
                  </a:lnTo>
                  <a:lnTo>
                    <a:pt x="285" y="1234"/>
                  </a:lnTo>
                  <a:lnTo>
                    <a:pt x="277" y="1230"/>
                  </a:lnTo>
                  <a:lnTo>
                    <a:pt x="273" y="1227"/>
                  </a:lnTo>
                  <a:lnTo>
                    <a:pt x="268" y="1225"/>
                  </a:lnTo>
                  <a:lnTo>
                    <a:pt x="264" y="1225"/>
                  </a:lnTo>
                  <a:lnTo>
                    <a:pt x="259" y="1224"/>
                  </a:lnTo>
                  <a:lnTo>
                    <a:pt x="249" y="1225"/>
                  </a:lnTo>
                  <a:lnTo>
                    <a:pt x="239" y="1226"/>
                  </a:lnTo>
                  <a:lnTo>
                    <a:pt x="231" y="1227"/>
                  </a:lnTo>
                  <a:lnTo>
                    <a:pt x="222" y="1230"/>
                  </a:lnTo>
                  <a:lnTo>
                    <a:pt x="207" y="1234"/>
                  </a:lnTo>
                  <a:lnTo>
                    <a:pt x="192" y="1240"/>
                  </a:lnTo>
                  <a:lnTo>
                    <a:pt x="175" y="1246"/>
                  </a:lnTo>
                  <a:lnTo>
                    <a:pt x="160" y="1250"/>
                  </a:lnTo>
                  <a:lnTo>
                    <a:pt x="152" y="1252"/>
                  </a:lnTo>
                  <a:lnTo>
                    <a:pt x="143" y="1254"/>
                  </a:lnTo>
                  <a:lnTo>
                    <a:pt x="133" y="1256"/>
                  </a:lnTo>
                  <a:lnTo>
                    <a:pt x="124" y="1256"/>
                  </a:lnTo>
                  <a:lnTo>
                    <a:pt x="106" y="1254"/>
                  </a:lnTo>
                  <a:lnTo>
                    <a:pt x="90" y="1252"/>
                  </a:lnTo>
                  <a:lnTo>
                    <a:pt x="75" y="1248"/>
                  </a:lnTo>
                  <a:lnTo>
                    <a:pt x="61" y="1243"/>
                  </a:lnTo>
                  <a:lnTo>
                    <a:pt x="34" y="1229"/>
                  </a:lnTo>
                  <a:lnTo>
                    <a:pt x="5" y="1211"/>
                  </a:lnTo>
                  <a:lnTo>
                    <a:pt x="5" y="1211"/>
                  </a:lnTo>
                  <a:lnTo>
                    <a:pt x="3" y="1199"/>
                  </a:lnTo>
                  <a:lnTo>
                    <a:pt x="0" y="1188"/>
                  </a:lnTo>
                  <a:lnTo>
                    <a:pt x="2" y="1181"/>
                  </a:lnTo>
                  <a:lnTo>
                    <a:pt x="3" y="1176"/>
                  </a:lnTo>
                  <a:lnTo>
                    <a:pt x="5" y="1171"/>
                  </a:lnTo>
                  <a:lnTo>
                    <a:pt x="8" y="1167"/>
                  </a:lnTo>
                  <a:lnTo>
                    <a:pt x="11" y="1163"/>
                  </a:lnTo>
                  <a:lnTo>
                    <a:pt x="16" y="1159"/>
                  </a:lnTo>
                  <a:lnTo>
                    <a:pt x="21" y="1156"/>
                  </a:lnTo>
                  <a:lnTo>
                    <a:pt x="26" y="1154"/>
                  </a:lnTo>
                  <a:lnTo>
                    <a:pt x="50" y="1144"/>
                  </a:lnTo>
                  <a:lnTo>
                    <a:pt x="74" y="1132"/>
                  </a:lnTo>
                  <a:lnTo>
                    <a:pt x="84" y="1125"/>
                  </a:lnTo>
                  <a:lnTo>
                    <a:pt x="92" y="1117"/>
                  </a:lnTo>
                  <a:lnTo>
                    <a:pt x="99" y="1109"/>
                  </a:lnTo>
                  <a:lnTo>
                    <a:pt x="105" y="1100"/>
                  </a:lnTo>
                  <a:lnTo>
                    <a:pt x="117" y="1081"/>
                  </a:lnTo>
                  <a:lnTo>
                    <a:pt x="129" y="1059"/>
                  </a:lnTo>
                  <a:lnTo>
                    <a:pt x="139" y="1041"/>
                  </a:lnTo>
                  <a:lnTo>
                    <a:pt x="145" y="1023"/>
                  </a:lnTo>
                  <a:lnTo>
                    <a:pt x="150" y="1015"/>
                  </a:lnTo>
                  <a:lnTo>
                    <a:pt x="154" y="1007"/>
                  </a:lnTo>
                  <a:lnTo>
                    <a:pt x="160" y="1001"/>
                  </a:lnTo>
                  <a:lnTo>
                    <a:pt x="169" y="995"/>
                  </a:lnTo>
                  <a:lnTo>
                    <a:pt x="194" y="983"/>
                  </a:lnTo>
                  <a:lnTo>
                    <a:pt x="218" y="973"/>
                  </a:lnTo>
                  <a:lnTo>
                    <a:pt x="227" y="967"/>
                  </a:lnTo>
                  <a:lnTo>
                    <a:pt x="237" y="960"/>
                  </a:lnTo>
                  <a:lnTo>
                    <a:pt x="241" y="955"/>
                  </a:lnTo>
                  <a:lnTo>
                    <a:pt x="246" y="950"/>
                  </a:lnTo>
                  <a:lnTo>
                    <a:pt x="249" y="945"/>
                  </a:lnTo>
                  <a:lnTo>
                    <a:pt x="253" y="939"/>
                  </a:lnTo>
                  <a:lnTo>
                    <a:pt x="265" y="933"/>
                  </a:lnTo>
                  <a:lnTo>
                    <a:pt x="276" y="926"/>
                  </a:lnTo>
                  <a:lnTo>
                    <a:pt x="285" y="919"/>
                  </a:lnTo>
                  <a:lnTo>
                    <a:pt x="294" y="911"/>
                  </a:lnTo>
                  <a:lnTo>
                    <a:pt x="312" y="896"/>
                  </a:lnTo>
                  <a:lnTo>
                    <a:pt x="331" y="880"/>
                  </a:lnTo>
                  <a:lnTo>
                    <a:pt x="346" y="870"/>
                  </a:lnTo>
                  <a:lnTo>
                    <a:pt x="361" y="862"/>
                  </a:lnTo>
                  <a:lnTo>
                    <a:pt x="368" y="857"/>
                  </a:lnTo>
                  <a:lnTo>
                    <a:pt x="373" y="852"/>
                  </a:lnTo>
                  <a:lnTo>
                    <a:pt x="378" y="846"/>
                  </a:lnTo>
                  <a:lnTo>
                    <a:pt x="382" y="838"/>
                  </a:lnTo>
                  <a:lnTo>
                    <a:pt x="384" y="830"/>
                  </a:lnTo>
                  <a:lnTo>
                    <a:pt x="385" y="821"/>
                  </a:lnTo>
                  <a:lnTo>
                    <a:pt x="385" y="814"/>
                  </a:lnTo>
                  <a:lnTo>
                    <a:pt x="385" y="806"/>
                  </a:lnTo>
                  <a:lnTo>
                    <a:pt x="385" y="799"/>
                  </a:lnTo>
                  <a:lnTo>
                    <a:pt x="386" y="791"/>
                  </a:lnTo>
                  <a:lnTo>
                    <a:pt x="389" y="784"/>
                  </a:lnTo>
                  <a:lnTo>
                    <a:pt x="393" y="776"/>
                  </a:lnTo>
                  <a:lnTo>
                    <a:pt x="397" y="771"/>
                  </a:lnTo>
                  <a:lnTo>
                    <a:pt x="402" y="766"/>
                  </a:lnTo>
                  <a:lnTo>
                    <a:pt x="407" y="763"/>
                  </a:lnTo>
                  <a:lnTo>
                    <a:pt x="412" y="761"/>
                  </a:lnTo>
                  <a:lnTo>
                    <a:pt x="424" y="757"/>
                  </a:lnTo>
                  <a:lnTo>
                    <a:pt x="436" y="754"/>
                  </a:lnTo>
                  <a:lnTo>
                    <a:pt x="448" y="752"/>
                  </a:lnTo>
                  <a:lnTo>
                    <a:pt x="461" y="749"/>
                  </a:lnTo>
                  <a:lnTo>
                    <a:pt x="466" y="747"/>
                  </a:lnTo>
                  <a:lnTo>
                    <a:pt x="471" y="745"/>
                  </a:lnTo>
                  <a:lnTo>
                    <a:pt x="478" y="741"/>
                  </a:lnTo>
                  <a:lnTo>
                    <a:pt x="482" y="737"/>
                  </a:lnTo>
                  <a:lnTo>
                    <a:pt x="503" y="720"/>
                  </a:lnTo>
                  <a:lnTo>
                    <a:pt x="522" y="705"/>
                  </a:lnTo>
                  <a:lnTo>
                    <a:pt x="531" y="697"/>
                  </a:lnTo>
                  <a:lnTo>
                    <a:pt x="541" y="690"/>
                  </a:lnTo>
                  <a:lnTo>
                    <a:pt x="549" y="680"/>
                  </a:lnTo>
                  <a:lnTo>
                    <a:pt x="558" y="670"/>
                  </a:lnTo>
                  <a:lnTo>
                    <a:pt x="571" y="652"/>
                  </a:lnTo>
                  <a:lnTo>
                    <a:pt x="580" y="633"/>
                  </a:lnTo>
                  <a:lnTo>
                    <a:pt x="585" y="625"/>
                  </a:lnTo>
                  <a:lnTo>
                    <a:pt x="590" y="617"/>
                  </a:lnTo>
                  <a:lnTo>
                    <a:pt x="596" y="609"/>
                  </a:lnTo>
                  <a:lnTo>
                    <a:pt x="603" y="600"/>
                  </a:lnTo>
                  <a:lnTo>
                    <a:pt x="612" y="592"/>
                  </a:lnTo>
                  <a:lnTo>
                    <a:pt x="622" y="586"/>
                  </a:lnTo>
                  <a:lnTo>
                    <a:pt x="626" y="583"/>
                  </a:lnTo>
                  <a:lnTo>
                    <a:pt x="629" y="578"/>
                  </a:lnTo>
                  <a:lnTo>
                    <a:pt x="632" y="574"/>
                  </a:lnTo>
                  <a:lnTo>
                    <a:pt x="634" y="569"/>
                  </a:lnTo>
                  <a:lnTo>
                    <a:pt x="636" y="557"/>
                  </a:lnTo>
                  <a:lnTo>
                    <a:pt x="636" y="546"/>
                  </a:lnTo>
                  <a:lnTo>
                    <a:pt x="636" y="541"/>
                  </a:lnTo>
                  <a:lnTo>
                    <a:pt x="636" y="535"/>
                  </a:lnTo>
                  <a:lnTo>
                    <a:pt x="638" y="530"/>
                  </a:lnTo>
                  <a:lnTo>
                    <a:pt x="640" y="524"/>
                  </a:lnTo>
                  <a:lnTo>
                    <a:pt x="652" y="518"/>
                  </a:lnTo>
                  <a:lnTo>
                    <a:pt x="665" y="513"/>
                  </a:lnTo>
                  <a:lnTo>
                    <a:pt x="674" y="502"/>
                  </a:lnTo>
                  <a:lnTo>
                    <a:pt x="684" y="493"/>
                  </a:lnTo>
                  <a:lnTo>
                    <a:pt x="690" y="490"/>
                  </a:lnTo>
                  <a:lnTo>
                    <a:pt x="696" y="487"/>
                  </a:lnTo>
                  <a:lnTo>
                    <a:pt x="703" y="486"/>
                  </a:lnTo>
                  <a:lnTo>
                    <a:pt x="710" y="484"/>
                  </a:lnTo>
                  <a:lnTo>
                    <a:pt x="713" y="486"/>
                  </a:lnTo>
                  <a:lnTo>
                    <a:pt x="718" y="487"/>
                  </a:lnTo>
                  <a:lnTo>
                    <a:pt x="721" y="488"/>
                  </a:lnTo>
                  <a:lnTo>
                    <a:pt x="723" y="490"/>
                  </a:lnTo>
                  <a:lnTo>
                    <a:pt x="728" y="495"/>
                  </a:lnTo>
                  <a:lnTo>
                    <a:pt x="733" y="501"/>
                  </a:lnTo>
                  <a:lnTo>
                    <a:pt x="737" y="508"/>
                  </a:lnTo>
                  <a:lnTo>
                    <a:pt x="742" y="515"/>
                  </a:lnTo>
                  <a:lnTo>
                    <a:pt x="748" y="520"/>
                  </a:lnTo>
                  <a:lnTo>
                    <a:pt x="754" y="524"/>
                  </a:lnTo>
                  <a:lnTo>
                    <a:pt x="760" y="525"/>
                  </a:lnTo>
                  <a:lnTo>
                    <a:pt x="765" y="527"/>
                  </a:lnTo>
                  <a:lnTo>
                    <a:pt x="769" y="525"/>
                  </a:lnTo>
                  <a:lnTo>
                    <a:pt x="775" y="524"/>
                  </a:lnTo>
                  <a:lnTo>
                    <a:pt x="779" y="522"/>
                  </a:lnTo>
                  <a:lnTo>
                    <a:pt x="784" y="519"/>
                  </a:lnTo>
                  <a:lnTo>
                    <a:pt x="788" y="516"/>
                  </a:lnTo>
                  <a:lnTo>
                    <a:pt x="792" y="511"/>
                  </a:lnTo>
                  <a:lnTo>
                    <a:pt x="799" y="502"/>
                  </a:lnTo>
                  <a:lnTo>
                    <a:pt x="803" y="491"/>
                  </a:lnTo>
                  <a:lnTo>
                    <a:pt x="806" y="479"/>
                  </a:lnTo>
                  <a:lnTo>
                    <a:pt x="807" y="468"/>
                  </a:lnTo>
                  <a:lnTo>
                    <a:pt x="806" y="456"/>
                  </a:lnTo>
                  <a:lnTo>
                    <a:pt x="804" y="446"/>
                  </a:lnTo>
                  <a:lnTo>
                    <a:pt x="801" y="436"/>
                  </a:lnTo>
                  <a:lnTo>
                    <a:pt x="800" y="424"/>
                  </a:lnTo>
                  <a:lnTo>
                    <a:pt x="798" y="413"/>
                  </a:lnTo>
                  <a:lnTo>
                    <a:pt x="795" y="403"/>
                  </a:lnTo>
                  <a:lnTo>
                    <a:pt x="794" y="399"/>
                  </a:lnTo>
                  <a:lnTo>
                    <a:pt x="794" y="396"/>
                  </a:lnTo>
                  <a:lnTo>
                    <a:pt x="796" y="392"/>
                  </a:lnTo>
                  <a:lnTo>
                    <a:pt x="800" y="388"/>
                  </a:lnTo>
                  <a:lnTo>
                    <a:pt x="805" y="385"/>
                  </a:lnTo>
                  <a:lnTo>
                    <a:pt x="812" y="384"/>
                  </a:lnTo>
                  <a:lnTo>
                    <a:pt x="817" y="384"/>
                  </a:lnTo>
                  <a:lnTo>
                    <a:pt x="823" y="386"/>
                  </a:lnTo>
                  <a:lnTo>
                    <a:pt x="830" y="387"/>
                  </a:lnTo>
                  <a:lnTo>
                    <a:pt x="836" y="388"/>
                  </a:lnTo>
                  <a:lnTo>
                    <a:pt x="843" y="388"/>
                  </a:lnTo>
                  <a:lnTo>
                    <a:pt x="849" y="386"/>
                  </a:lnTo>
                  <a:lnTo>
                    <a:pt x="861" y="380"/>
                  </a:lnTo>
                  <a:lnTo>
                    <a:pt x="872" y="371"/>
                  </a:lnTo>
                  <a:lnTo>
                    <a:pt x="882" y="361"/>
                  </a:lnTo>
                  <a:lnTo>
                    <a:pt x="889" y="352"/>
                  </a:lnTo>
                  <a:lnTo>
                    <a:pt x="904" y="330"/>
                  </a:lnTo>
                  <a:lnTo>
                    <a:pt x="917" y="308"/>
                  </a:lnTo>
                  <a:lnTo>
                    <a:pt x="924" y="299"/>
                  </a:lnTo>
                  <a:lnTo>
                    <a:pt x="931" y="288"/>
                  </a:lnTo>
                  <a:lnTo>
                    <a:pt x="939" y="278"/>
                  </a:lnTo>
                  <a:lnTo>
                    <a:pt x="948" y="270"/>
                  </a:lnTo>
                  <a:lnTo>
                    <a:pt x="956" y="262"/>
                  </a:lnTo>
                  <a:lnTo>
                    <a:pt x="967" y="255"/>
                  </a:lnTo>
                  <a:lnTo>
                    <a:pt x="979" y="250"/>
                  </a:lnTo>
                  <a:lnTo>
                    <a:pt x="993" y="247"/>
                  </a:lnTo>
                  <a:lnTo>
                    <a:pt x="993" y="239"/>
                  </a:lnTo>
                  <a:lnTo>
                    <a:pt x="993" y="232"/>
                  </a:lnTo>
                  <a:lnTo>
                    <a:pt x="992" y="220"/>
                  </a:lnTo>
                  <a:lnTo>
                    <a:pt x="991" y="208"/>
                  </a:lnTo>
                  <a:lnTo>
                    <a:pt x="992" y="203"/>
                  </a:lnTo>
                  <a:lnTo>
                    <a:pt x="993" y="197"/>
                  </a:lnTo>
                  <a:lnTo>
                    <a:pt x="995" y="193"/>
                  </a:lnTo>
                  <a:lnTo>
                    <a:pt x="998" y="187"/>
                  </a:lnTo>
                  <a:lnTo>
                    <a:pt x="1002" y="184"/>
                  </a:lnTo>
                  <a:lnTo>
                    <a:pt x="1006" y="182"/>
                  </a:lnTo>
                  <a:lnTo>
                    <a:pt x="1009" y="180"/>
                  </a:lnTo>
                  <a:lnTo>
                    <a:pt x="1014" y="179"/>
                  </a:lnTo>
                  <a:lnTo>
                    <a:pt x="1022" y="177"/>
                  </a:lnTo>
                  <a:lnTo>
                    <a:pt x="1031" y="177"/>
                  </a:lnTo>
                  <a:lnTo>
                    <a:pt x="1041" y="177"/>
                  </a:lnTo>
                  <a:lnTo>
                    <a:pt x="1050" y="176"/>
                  </a:lnTo>
                  <a:lnTo>
                    <a:pt x="1059" y="174"/>
                  </a:lnTo>
                  <a:lnTo>
                    <a:pt x="1069" y="171"/>
                  </a:lnTo>
                  <a:lnTo>
                    <a:pt x="1076" y="166"/>
                  </a:lnTo>
                  <a:lnTo>
                    <a:pt x="1084" y="160"/>
                  </a:lnTo>
                  <a:lnTo>
                    <a:pt x="1090" y="154"/>
                  </a:lnTo>
                  <a:lnTo>
                    <a:pt x="1096" y="146"/>
                  </a:lnTo>
                  <a:lnTo>
                    <a:pt x="1106" y="132"/>
                  </a:lnTo>
                  <a:lnTo>
                    <a:pt x="1115" y="117"/>
                  </a:lnTo>
                  <a:lnTo>
                    <a:pt x="1121" y="110"/>
                  </a:lnTo>
                  <a:lnTo>
                    <a:pt x="1125" y="103"/>
                  </a:lnTo>
                  <a:lnTo>
                    <a:pt x="1130" y="97"/>
                  </a:lnTo>
                  <a:lnTo>
                    <a:pt x="1136" y="92"/>
                  </a:lnTo>
                  <a:lnTo>
                    <a:pt x="1142" y="87"/>
                  </a:lnTo>
                  <a:lnTo>
                    <a:pt x="1150" y="84"/>
                  </a:lnTo>
                  <a:lnTo>
                    <a:pt x="1157" y="82"/>
                  </a:lnTo>
                  <a:lnTo>
                    <a:pt x="1167" y="82"/>
                  </a:lnTo>
                  <a:lnTo>
                    <a:pt x="1183" y="83"/>
                  </a:lnTo>
                  <a:lnTo>
                    <a:pt x="1197" y="86"/>
                  </a:lnTo>
                  <a:lnTo>
                    <a:pt x="1212" y="88"/>
                  </a:lnTo>
                  <a:lnTo>
                    <a:pt x="1229" y="89"/>
                  </a:lnTo>
                  <a:lnTo>
                    <a:pt x="1234" y="89"/>
                  </a:lnTo>
                  <a:lnTo>
                    <a:pt x="1238" y="87"/>
                  </a:lnTo>
                  <a:lnTo>
                    <a:pt x="1241" y="84"/>
                  </a:lnTo>
                  <a:lnTo>
                    <a:pt x="1245" y="81"/>
                  </a:lnTo>
                  <a:lnTo>
                    <a:pt x="1251" y="72"/>
                  </a:lnTo>
                  <a:lnTo>
                    <a:pt x="1259" y="64"/>
                  </a:lnTo>
                  <a:lnTo>
                    <a:pt x="1279" y="51"/>
                  </a:lnTo>
                  <a:lnTo>
                    <a:pt x="1297" y="41"/>
                  </a:lnTo>
                  <a:lnTo>
                    <a:pt x="1316" y="32"/>
                  </a:lnTo>
                  <a:lnTo>
                    <a:pt x="1338" y="22"/>
                  </a:lnTo>
                  <a:lnTo>
                    <a:pt x="1347" y="19"/>
                  </a:lnTo>
                  <a:lnTo>
                    <a:pt x="1357" y="16"/>
                  </a:lnTo>
                  <a:lnTo>
                    <a:pt x="1367" y="11"/>
                  </a:lnTo>
                  <a:lnTo>
                    <a:pt x="1378" y="9"/>
                  </a:lnTo>
                  <a:lnTo>
                    <a:pt x="1381" y="8"/>
                  </a:lnTo>
                  <a:lnTo>
                    <a:pt x="1385" y="8"/>
                  </a:lnTo>
                  <a:lnTo>
                    <a:pt x="1395" y="9"/>
                  </a:lnTo>
                  <a:lnTo>
                    <a:pt x="1403" y="12"/>
                  </a:lnTo>
                  <a:lnTo>
                    <a:pt x="1411" y="15"/>
                  </a:lnTo>
                  <a:lnTo>
                    <a:pt x="1422" y="17"/>
                  </a:lnTo>
                  <a:lnTo>
                    <a:pt x="1426" y="14"/>
                  </a:lnTo>
                  <a:lnTo>
                    <a:pt x="1430" y="10"/>
                  </a:lnTo>
                  <a:lnTo>
                    <a:pt x="1430" y="1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63">
              <a:extLst>
                <a:ext uri="{FF2B5EF4-FFF2-40B4-BE49-F238E27FC236}">
                  <a16:creationId xmlns:a16="http://schemas.microsoft.com/office/drawing/2014/main" id="{6929FBB4-845A-4A72-A4DA-071714329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73500" y="5399088"/>
              <a:ext cx="803275" cy="561975"/>
            </a:xfrm>
            <a:custGeom>
              <a:avLst/>
              <a:gdLst>
                <a:gd name="T0" fmla="*/ 42 w 2027"/>
                <a:gd name="T1" fmla="*/ 344 h 1415"/>
                <a:gd name="T2" fmla="*/ 126 w 2027"/>
                <a:gd name="T3" fmla="*/ 206 h 1415"/>
                <a:gd name="T4" fmla="*/ 112 w 2027"/>
                <a:gd name="T5" fmla="*/ 126 h 1415"/>
                <a:gd name="T6" fmla="*/ 113 w 2027"/>
                <a:gd name="T7" fmla="*/ 41 h 1415"/>
                <a:gd name="T8" fmla="*/ 215 w 2027"/>
                <a:gd name="T9" fmla="*/ 47 h 1415"/>
                <a:gd name="T10" fmla="*/ 290 w 2027"/>
                <a:gd name="T11" fmla="*/ 23 h 1415"/>
                <a:gd name="T12" fmla="*/ 343 w 2027"/>
                <a:gd name="T13" fmla="*/ 54 h 1415"/>
                <a:gd name="T14" fmla="*/ 448 w 2027"/>
                <a:gd name="T15" fmla="*/ 94 h 1415"/>
                <a:gd name="T16" fmla="*/ 574 w 2027"/>
                <a:gd name="T17" fmla="*/ 99 h 1415"/>
                <a:gd name="T18" fmla="*/ 751 w 2027"/>
                <a:gd name="T19" fmla="*/ 167 h 1415"/>
                <a:gd name="T20" fmla="*/ 908 w 2027"/>
                <a:gd name="T21" fmla="*/ 241 h 1415"/>
                <a:gd name="T22" fmla="*/ 974 w 2027"/>
                <a:gd name="T23" fmla="*/ 273 h 1415"/>
                <a:gd name="T24" fmla="*/ 1021 w 2027"/>
                <a:gd name="T25" fmla="*/ 233 h 1415"/>
                <a:gd name="T26" fmla="*/ 1038 w 2027"/>
                <a:gd name="T27" fmla="*/ 154 h 1415"/>
                <a:gd name="T28" fmla="*/ 1090 w 2027"/>
                <a:gd name="T29" fmla="*/ 118 h 1415"/>
                <a:gd name="T30" fmla="*/ 1197 w 2027"/>
                <a:gd name="T31" fmla="*/ 30 h 1415"/>
                <a:gd name="T32" fmla="*/ 1317 w 2027"/>
                <a:gd name="T33" fmla="*/ 1 h 1415"/>
                <a:gd name="T34" fmla="*/ 1605 w 2027"/>
                <a:gd name="T35" fmla="*/ 61 h 1415"/>
                <a:gd name="T36" fmla="*/ 1769 w 2027"/>
                <a:gd name="T37" fmla="*/ 93 h 1415"/>
                <a:gd name="T38" fmla="*/ 1866 w 2027"/>
                <a:gd name="T39" fmla="*/ 82 h 1415"/>
                <a:gd name="T40" fmla="*/ 1993 w 2027"/>
                <a:gd name="T41" fmla="*/ 114 h 1415"/>
                <a:gd name="T42" fmla="*/ 1976 w 2027"/>
                <a:gd name="T43" fmla="*/ 162 h 1415"/>
                <a:gd name="T44" fmla="*/ 2009 w 2027"/>
                <a:gd name="T45" fmla="*/ 251 h 1415"/>
                <a:gd name="T46" fmla="*/ 2011 w 2027"/>
                <a:gd name="T47" fmla="*/ 409 h 1415"/>
                <a:gd name="T48" fmla="*/ 2026 w 2027"/>
                <a:gd name="T49" fmla="*/ 541 h 1415"/>
                <a:gd name="T50" fmla="*/ 2002 w 2027"/>
                <a:gd name="T51" fmla="*/ 584 h 1415"/>
                <a:gd name="T52" fmla="*/ 1991 w 2027"/>
                <a:gd name="T53" fmla="*/ 641 h 1415"/>
                <a:gd name="T54" fmla="*/ 1955 w 2027"/>
                <a:gd name="T55" fmla="*/ 749 h 1415"/>
                <a:gd name="T56" fmla="*/ 1908 w 2027"/>
                <a:gd name="T57" fmla="*/ 904 h 1415"/>
                <a:gd name="T58" fmla="*/ 1879 w 2027"/>
                <a:gd name="T59" fmla="*/ 1037 h 1415"/>
                <a:gd name="T60" fmla="*/ 1843 w 2027"/>
                <a:gd name="T61" fmla="*/ 1079 h 1415"/>
                <a:gd name="T62" fmla="*/ 1801 w 2027"/>
                <a:gd name="T63" fmla="*/ 1077 h 1415"/>
                <a:gd name="T64" fmla="*/ 1815 w 2027"/>
                <a:gd name="T65" fmla="*/ 1130 h 1415"/>
                <a:gd name="T66" fmla="*/ 1769 w 2027"/>
                <a:gd name="T67" fmla="*/ 1144 h 1415"/>
                <a:gd name="T68" fmla="*/ 1717 w 2027"/>
                <a:gd name="T69" fmla="*/ 1175 h 1415"/>
                <a:gd name="T70" fmla="*/ 1585 w 2027"/>
                <a:gd name="T71" fmla="*/ 1281 h 1415"/>
                <a:gd name="T72" fmla="*/ 1469 w 2027"/>
                <a:gd name="T73" fmla="*/ 1415 h 1415"/>
                <a:gd name="T74" fmla="*/ 1328 w 2027"/>
                <a:gd name="T75" fmla="*/ 1384 h 1415"/>
                <a:gd name="T76" fmla="*/ 1312 w 2027"/>
                <a:gd name="T77" fmla="*/ 1331 h 1415"/>
                <a:gd name="T78" fmla="*/ 1359 w 2027"/>
                <a:gd name="T79" fmla="*/ 1230 h 1415"/>
                <a:gd name="T80" fmla="*/ 1354 w 2027"/>
                <a:gd name="T81" fmla="*/ 1073 h 1415"/>
                <a:gd name="T82" fmla="*/ 1314 w 2027"/>
                <a:gd name="T83" fmla="*/ 1018 h 1415"/>
                <a:gd name="T84" fmla="*/ 1236 w 2027"/>
                <a:gd name="T85" fmla="*/ 1001 h 1415"/>
                <a:gd name="T86" fmla="*/ 1166 w 2027"/>
                <a:gd name="T87" fmla="*/ 936 h 1415"/>
                <a:gd name="T88" fmla="*/ 1062 w 2027"/>
                <a:gd name="T89" fmla="*/ 826 h 1415"/>
                <a:gd name="T90" fmla="*/ 964 w 2027"/>
                <a:gd name="T91" fmla="*/ 715 h 1415"/>
                <a:gd name="T92" fmla="*/ 853 w 2027"/>
                <a:gd name="T93" fmla="*/ 578 h 1415"/>
                <a:gd name="T94" fmla="*/ 803 w 2027"/>
                <a:gd name="T95" fmla="*/ 557 h 1415"/>
                <a:gd name="T96" fmla="*/ 719 w 2027"/>
                <a:gd name="T97" fmla="*/ 552 h 1415"/>
                <a:gd name="T98" fmla="*/ 696 w 2027"/>
                <a:gd name="T99" fmla="*/ 480 h 1415"/>
                <a:gd name="T100" fmla="*/ 547 w 2027"/>
                <a:gd name="T101" fmla="*/ 445 h 1415"/>
                <a:gd name="T102" fmla="*/ 398 w 2027"/>
                <a:gd name="T103" fmla="*/ 442 h 1415"/>
                <a:gd name="T104" fmla="*/ 346 w 2027"/>
                <a:gd name="T105" fmla="*/ 403 h 1415"/>
                <a:gd name="T106" fmla="*/ 289 w 2027"/>
                <a:gd name="T107" fmla="*/ 422 h 1415"/>
                <a:gd name="T108" fmla="*/ 233 w 2027"/>
                <a:gd name="T109" fmla="*/ 442 h 1415"/>
                <a:gd name="T110" fmla="*/ 177 w 2027"/>
                <a:gd name="T111" fmla="*/ 413 h 1415"/>
                <a:gd name="T112" fmla="*/ 98 w 2027"/>
                <a:gd name="T113" fmla="*/ 431 h 1415"/>
                <a:gd name="T114" fmla="*/ 20 w 2027"/>
                <a:gd name="T115" fmla="*/ 415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27" h="1415">
                  <a:moveTo>
                    <a:pt x="0" y="411"/>
                  </a:moveTo>
                  <a:lnTo>
                    <a:pt x="6" y="407"/>
                  </a:lnTo>
                  <a:lnTo>
                    <a:pt x="10" y="402"/>
                  </a:lnTo>
                  <a:lnTo>
                    <a:pt x="15" y="395"/>
                  </a:lnTo>
                  <a:lnTo>
                    <a:pt x="18" y="390"/>
                  </a:lnTo>
                  <a:lnTo>
                    <a:pt x="24" y="377"/>
                  </a:lnTo>
                  <a:lnTo>
                    <a:pt x="31" y="365"/>
                  </a:lnTo>
                  <a:lnTo>
                    <a:pt x="42" y="344"/>
                  </a:lnTo>
                  <a:lnTo>
                    <a:pt x="53" y="328"/>
                  </a:lnTo>
                  <a:lnTo>
                    <a:pt x="64" y="311"/>
                  </a:lnTo>
                  <a:lnTo>
                    <a:pt x="76" y="291"/>
                  </a:lnTo>
                  <a:lnTo>
                    <a:pt x="93" y="263"/>
                  </a:lnTo>
                  <a:lnTo>
                    <a:pt x="111" y="240"/>
                  </a:lnTo>
                  <a:lnTo>
                    <a:pt x="118" y="227"/>
                  </a:lnTo>
                  <a:lnTo>
                    <a:pt x="124" y="214"/>
                  </a:lnTo>
                  <a:lnTo>
                    <a:pt x="126" y="206"/>
                  </a:lnTo>
                  <a:lnTo>
                    <a:pt x="128" y="199"/>
                  </a:lnTo>
                  <a:lnTo>
                    <a:pt x="129" y="191"/>
                  </a:lnTo>
                  <a:lnTo>
                    <a:pt x="129" y="182"/>
                  </a:lnTo>
                  <a:lnTo>
                    <a:pt x="128" y="169"/>
                  </a:lnTo>
                  <a:lnTo>
                    <a:pt x="125" y="158"/>
                  </a:lnTo>
                  <a:lnTo>
                    <a:pt x="121" y="147"/>
                  </a:lnTo>
                  <a:lnTo>
                    <a:pt x="116" y="137"/>
                  </a:lnTo>
                  <a:lnTo>
                    <a:pt x="112" y="126"/>
                  </a:lnTo>
                  <a:lnTo>
                    <a:pt x="107" y="115"/>
                  </a:lnTo>
                  <a:lnTo>
                    <a:pt x="105" y="105"/>
                  </a:lnTo>
                  <a:lnTo>
                    <a:pt x="104" y="92"/>
                  </a:lnTo>
                  <a:lnTo>
                    <a:pt x="104" y="78"/>
                  </a:lnTo>
                  <a:lnTo>
                    <a:pt x="106" y="65"/>
                  </a:lnTo>
                  <a:lnTo>
                    <a:pt x="110" y="52"/>
                  </a:lnTo>
                  <a:lnTo>
                    <a:pt x="113" y="41"/>
                  </a:lnTo>
                  <a:lnTo>
                    <a:pt x="113" y="41"/>
                  </a:lnTo>
                  <a:lnTo>
                    <a:pt x="123" y="43"/>
                  </a:lnTo>
                  <a:lnTo>
                    <a:pt x="132" y="45"/>
                  </a:lnTo>
                  <a:lnTo>
                    <a:pt x="142" y="47"/>
                  </a:lnTo>
                  <a:lnTo>
                    <a:pt x="152" y="47"/>
                  </a:lnTo>
                  <a:lnTo>
                    <a:pt x="169" y="47"/>
                  </a:lnTo>
                  <a:lnTo>
                    <a:pt x="183" y="47"/>
                  </a:lnTo>
                  <a:lnTo>
                    <a:pt x="198" y="47"/>
                  </a:lnTo>
                  <a:lnTo>
                    <a:pt x="215" y="47"/>
                  </a:lnTo>
                  <a:lnTo>
                    <a:pt x="226" y="46"/>
                  </a:lnTo>
                  <a:lnTo>
                    <a:pt x="236" y="44"/>
                  </a:lnTo>
                  <a:lnTo>
                    <a:pt x="245" y="40"/>
                  </a:lnTo>
                  <a:lnTo>
                    <a:pt x="252" y="35"/>
                  </a:lnTo>
                  <a:lnTo>
                    <a:pt x="261" y="30"/>
                  </a:lnTo>
                  <a:lnTo>
                    <a:pt x="269" y="27"/>
                  </a:lnTo>
                  <a:lnTo>
                    <a:pt x="279" y="24"/>
                  </a:lnTo>
                  <a:lnTo>
                    <a:pt x="290" y="23"/>
                  </a:lnTo>
                  <a:lnTo>
                    <a:pt x="296" y="23"/>
                  </a:lnTo>
                  <a:lnTo>
                    <a:pt x="302" y="24"/>
                  </a:lnTo>
                  <a:lnTo>
                    <a:pt x="306" y="26"/>
                  </a:lnTo>
                  <a:lnTo>
                    <a:pt x="310" y="28"/>
                  </a:lnTo>
                  <a:lnTo>
                    <a:pt x="319" y="33"/>
                  </a:lnTo>
                  <a:lnTo>
                    <a:pt x="327" y="40"/>
                  </a:lnTo>
                  <a:lnTo>
                    <a:pt x="334" y="46"/>
                  </a:lnTo>
                  <a:lnTo>
                    <a:pt x="343" y="54"/>
                  </a:lnTo>
                  <a:lnTo>
                    <a:pt x="352" y="61"/>
                  </a:lnTo>
                  <a:lnTo>
                    <a:pt x="361" y="68"/>
                  </a:lnTo>
                  <a:lnTo>
                    <a:pt x="376" y="74"/>
                  </a:lnTo>
                  <a:lnTo>
                    <a:pt x="391" y="81"/>
                  </a:lnTo>
                  <a:lnTo>
                    <a:pt x="406" y="85"/>
                  </a:lnTo>
                  <a:lnTo>
                    <a:pt x="418" y="89"/>
                  </a:lnTo>
                  <a:lnTo>
                    <a:pt x="433" y="92"/>
                  </a:lnTo>
                  <a:lnTo>
                    <a:pt x="448" y="94"/>
                  </a:lnTo>
                  <a:lnTo>
                    <a:pt x="463" y="95"/>
                  </a:lnTo>
                  <a:lnTo>
                    <a:pt x="480" y="96"/>
                  </a:lnTo>
                  <a:lnTo>
                    <a:pt x="497" y="96"/>
                  </a:lnTo>
                  <a:lnTo>
                    <a:pt x="512" y="96"/>
                  </a:lnTo>
                  <a:lnTo>
                    <a:pt x="529" y="96"/>
                  </a:lnTo>
                  <a:lnTo>
                    <a:pt x="546" y="96"/>
                  </a:lnTo>
                  <a:lnTo>
                    <a:pt x="560" y="96"/>
                  </a:lnTo>
                  <a:lnTo>
                    <a:pt x="574" y="99"/>
                  </a:lnTo>
                  <a:lnTo>
                    <a:pt x="586" y="102"/>
                  </a:lnTo>
                  <a:lnTo>
                    <a:pt x="598" y="108"/>
                  </a:lnTo>
                  <a:lnTo>
                    <a:pt x="620" y="119"/>
                  </a:lnTo>
                  <a:lnTo>
                    <a:pt x="647" y="129"/>
                  </a:lnTo>
                  <a:lnTo>
                    <a:pt x="677" y="138"/>
                  </a:lnTo>
                  <a:lnTo>
                    <a:pt x="704" y="148"/>
                  </a:lnTo>
                  <a:lnTo>
                    <a:pt x="727" y="158"/>
                  </a:lnTo>
                  <a:lnTo>
                    <a:pt x="751" y="167"/>
                  </a:lnTo>
                  <a:lnTo>
                    <a:pt x="775" y="178"/>
                  </a:lnTo>
                  <a:lnTo>
                    <a:pt x="799" y="189"/>
                  </a:lnTo>
                  <a:lnTo>
                    <a:pt x="825" y="201"/>
                  </a:lnTo>
                  <a:lnTo>
                    <a:pt x="852" y="214"/>
                  </a:lnTo>
                  <a:lnTo>
                    <a:pt x="868" y="220"/>
                  </a:lnTo>
                  <a:lnTo>
                    <a:pt x="881" y="226"/>
                  </a:lnTo>
                  <a:lnTo>
                    <a:pt x="894" y="233"/>
                  </a:lnTo>
                  <a:lnTo>
                    <a:pt x="908" y="241"/>
                  </a:lnTo>
                  <a:lnTo>
                    <a:pt x="921" y="251"/>
                  </a:lnTo>
                  <a:lnTo>
                    <a:pt x="933" y="262"/>
                  </a:lnTo>
                  <a:lnTo>
                    <a:pt x="938" y="268"/>
                  </a:lnTo>
                  <a:lnTo>
                    <a:pt x="944" y="271"/>
                  </a:lnTo>
                  <a:lnTo>
                    <a:pt x="952" y="274"/>
                  </a:lnTo>
                  <a:lnTo>
                    <a:pt x="960" y="275"/>
                  </a:lnTo>
                  <a:lnTo>
                    <a:pt x="967" y="274"/>
                  </a:lnTo>
                  <a:lnTo>
                    <a:pt x="974" y="273"/>
                  </a:lnTo>
                  <a:lnTo>
                    <a:pt x="980" y="272"/>
                  </a:lnTo>
                  <a:lnTo>
                    <a:pt x="986" y="270"/>
                  </a:lnTo>
                  <a:lnTo>
                    <a:pt x="991" y="267"/>
                  </a:lnTo>
                  <a:lnTo>
                    <a:pt x="996" y="263"/>
                  </a:lnTo>
                  <a:lnTo>
                    <a:pt x="1001" y="259"/>
                  </a:lnTo>
                  <a:lnTo>
                    <a:pt x="1006" y="255"/>
                  </a:lnTo>
                  <a:lnTo>
                    <a:pt x="1014" y="245"/>
                  </a:lnTo>
                  <a:lnTo>
                    <a:pt x="1021" y="233"/>
                  </a:lnTo>
                  <a:lnTo>
                    <a:pt x="1027" y="221"/>
                  </a:lnTo>
                  <a:lnTo>
                    <a:pt x="1031" y="207"/>
                  </a:lnTo>
                  <a:lnTo>
                    <a:pt x="1034" y="197"/>
                  </a:lnTo>
                  <a:lnTo>
                    <a:pt x="1035" y="189"/>
                  </a:lnTo>
                  <a:lnTo>
                    <a:pt x="1035" y="180"/>
                  </a:lnTo>
                  <a:lnTo>
                    <a:pt x="1036" y="170"/>
                  </a:lnTo>
                  <a:lnTo>
                    <a:pt x="1036" y="163"/>
                  </a:lnTo>
                  <a:lnTo>
                    <a:pt x="1038" y="154"/>
                  </a:lnTo>
                  <a:lnTo>
                    <a:pt x="1041" y="146"/>
                  </a:lnTo>
                  <a:lnTo>
                    <a:pt x="1045" y="137"/>
                  </a:lnTo>
                  <a:lnTo>
                    <a:pt x="1049" y="133"/>
                  </a:lnTo>
                  <a:lnTo>
                    <a:pt x="1055" y="129"/>
                  </a:lnTo>
                  <a:lnTo>
                    <a:pt x="1060" y="126"/>
                  </a:lnTo>
                  <a:lnTo>
                    <a:pt x="1065" y="124"/>
                  </a:lnTo>
                  <a:lnTo>
                    <a:pt x="1077" y="121"/>
                  </a:lnTo>
                  <a:lnTo>
                    <a:pt x="1090" y="118"/>
                  </a:lnTo>
                  <a:lnTo>
                    <a:pt x="1104" y="112"/>
                  </a:lnTo>
                  <a:lnTo>
                    <a:pt x="1117" y="106"/>
                  </a:lnTo>
                  <a:lnTo>
                    <a:pt x="1129" y="97"/>
                  </a:lnTo>
                  <a:lnTo>
                    <a:pt x="1140" y="88"/>
                  </a:lnTo>
                  <a:lnTo>
                    <a:pt x="1159" y="69"/>
                  </a:lnTo>
                  <a:lnTo>
                    <a:pt x="1179" y="50"/>
                  </a:lnTo>
                  <a:lnTo>
                    <a:pt x="1187" y="40"/>
                  </a:lnTo>
                  <a:lnTo>
                    <a:pt x="1197" y="30"/>
                  </a:lnTo>
                  <a:lnTo>
                    <a:pt x="1207" y="23"/>
                  </a:lnTo>
                  <a:lnTo>
                    <a:pt x="1218" y="15"/>
                  </a:lnTo>
                  <a:lnTo>
                    <a:pt x="1229" y="8"/>
                  </a:lnTo>
                  <a:lnTo>
                    <a:pt x="1241" y="4"/>
                  </a:lnTo>
                  <a:lnTo>
                    <a:pt x="1254" y="1"/>
                  </a:lnTo>
                  <a:lnTo>
                    <a:pt x="1270" y="0"/>
                  </a:lnTo>
                  <a:lnTo>
                    <a:pt x="1294" y="1"/>
                  </a:lnTo>
                  <a:lnTo>
                    <a:pt x="1317" y="1"/>
                  </a:lnTo>
                  <a:lnTo>
                    <a:pt x="1339" y="3"/>
                  </a:lnTo>
                  <a:lnTo>
                    <a:pt x="1360" y="5"/>
                  </a:lnTo>
                  <a:lnTo>
                    <a:pt x="1400" y="11"/>
                  </a:lnTo>
                  <a:lnTo>
                    <a:pt x="1439" y="17"/>
                  </a:lnTo>
                  <a:lnTo>
                    <a:pt x="1478" y="27"/>
                  </a:lnTo>
                  <a:lnTo>
                    <a:pt x="1518" y="38"/>
                  </a:lnTo>
                  <a:lnTo>
                    <a:pt x="1560" y="48"/>
                  </a:lnTo>
                  <a:lnTo>
                    <a:pt x="1605" y="61"/>
                  </a:lnTo>
                  <a:lnTo>
                    <a:pt x="1644" y="73"/>
                  </a:lnTo>
                  <a:lnTo>
                    <a:pt x="1678" y="84"/>
                  </a:lnTo>
                  <a:lnTo>
                    <a:pt x="1695" y="88"/>
                  </a:lnTo>
                  <a:lnTo>
                    <a:pt x="1712" y="93"/>
                  </a:lnTo>
                  <a:lnTo>
                    <a:pt x="1731" y="95"/>
                  </a:lnTo>
                  <a:lnTo>
                    <a:pt x="1751" y="96"/>
                  </a:lnTo>
                  <a:lnTo>
                    <a:pt x="1760" y="95"/>
                  </a:lnTo>
                  <a:lnTo>
                    <a:pt x="1769" y="93"/>
                  </a:lnTo>
                  <a:lnTo>
                    <a:pt x="1775" y="91"/>
                  </a:lnTo>
                  <a:lnTo>
                    <a:pt x="1783" y="87"/>
                  </a:lnTo>
                  <a:lnTo>
                    <a:pt x="1789" y="84"/>
                  </a:lnTo>
                  <a:lnTo>
                    <a:pt x="1797" y="81"/>
                  </a:lnTo>
                  <a:lnTo>
                    <a:pt x="1804" y="80"/>
                  </a:lnTo>
                  <a:lnTo>
                    <a:pt x="1813" y="79"/>
                  </a:lnTo>
                  <a:lnTo>
                    <a:pt x="1841" y="80"/>
                  </a:lnTo>
                  <a:lnTo>
                    <a:pt x="1866" y="82"/>
                  </a:lnTo>
                  <a:lnTo>
                    <a:pt x="1888" y="85"/>
                  </a:lnTo>
                  <a:lnTo>
                    <a:pt x="1910" y="89"/>
                  </a:lnTo>
                  <a:lnTo>
                    <a:pt x="1932" y="94"/>
                  </a:lnTo>
                  <a:lnTo>
                    <a:pt x="1954" y="98"/>
                  </a:lnTo>
                  <a:lnTo>
                    <a:pt x="1978" y="102"/>
                  </a:lnTo>
                  <a:lnTo>
                    <a:pt x="2006" y="106"/>
                  </a:lnTo>
                  <a:lnTo>
                    <a:pt x="2006" y="106"/>
                  </a:lnTo>
                  <a:lnTo>
                    <a:pt x="1993" y="114"/>
                  </a:lnTo>
                  <a:lnTo>
                    <a:pt x="1981" y="123"/>
                  </a:lnTo>
                  <a:lnTo>
                    <a:pt x="1977" y="128"/>
                  </a:lnTo>
                  <a:lnTo>
                    <a:pt x="1974" y="134"/>
                  </a:lnTo>
                  <a:lnTo>
                    <a:pt x="1972" y="141"/>
                  </a:lnTo>
                  <a:lnTo>
                    <a:pt x="1971" y="149"/>
                  </a:lnTo>
                  <a:lnTo>
                    <a:pt x="1971" y="154"/>
                  </a:lnTo>
                  <a:lnTo>
                    <a:pt x="1973" y="159"/>
                  </a:lnTo>
                  <a:lnTo>
                    <a:pt x="1976" y="162"/>
                  </a:lnTo>
                  <a:lnTo>
                    <a:pt x="1978" y="166"/>
                  </a:lnTo>
                  <a:lnTo>
                    <a:pt x="1985" y="174"/>
                  </a:lnTo>
                  <a:lnTo>
                    <a:pt x="1990" y="182"/>
                  </a:lnTo>
                  <a:lnTo>
                    <a:pt x="1998" y="203"/>
                  </a:lnTo>
                  <a:lnTo>
                    <a:pt x="2004" y="222"/>
                  </a:lnTo>
                  <a:lnTo>
                    <a:pt x="2006" y="231"/>
                  </a:lnTo>
                  <a:lnTo>
                    <a:pt x="2008" y="241"/>
                  </a:lnTo>
                  <a:lnTo>
                    <a:pt x="2009" y="251"/>
                  </a:lnTo>
                  <a:lnTo>
                    <a:pt x="2011" y="263"/>
                  </a:lnTo>
                  <a:lnTo>
                    <a:pt x="2011" y="286"/>
                  </a:lnTo>
                  <a:lnTo>
                    <a:pt x="2011" y="308"/>
                  </a:lnTo>
                  <a:lnTo>
                    <a:pt x="2011" y="328"/>
                  </a:lnTo>
                  <a:lnTo>
                    <a:pt x="2011" y="348"/>
                  </a:lnTo>
                  <a:lnTo>
                    <a:pt x="2011" y="367"/>
                  </a:lnTo>
                  <a:lnTo>
                    <a:pt x="2011" y="388"/>
                  </a:lnTo>
                  <a:lnTo>
                    <a:pt x="2011" y="409"/>
                  </a:lnTo>
                  <a:lnTo>
                    <a:pt x="2011" y="433"/>
                  </a:lnTo>
                  <a:lnTo>
                    <a:pt x="2011" y="450"/>
                  </a:lnTo>
                  <a:lnTo>
                    <a:pt x="2013" y="466"/>
                  </a:lnTo>
                  <a:lnTo>
                    <a:pt x="2016" y="480"/>
                  </a:lnTo>
                  <a:lnTo>
                    <a:pt x="2018" y="496"/>
                  </a:lnTo>
                  <a:lnTo>
                    <a:pt x="2021" y="510"/>
                  </a:lnTo>
                  <a:lnTo>
                    <a:pt x="2023" y="525"/>
                  </a:lnTo>
                  <a:lnTo>
                    <a:pt x="2026" y="541"/>
                  </a:lnTo>
                  <a:lnTo>
                    <a:pt x="2027" y="558"/>
                  </a:lnTo>
                  <a:lnTo>
                    <a:pt x="2026" y="561"/>
                  </a:lnTo>
                  <a:lnTo>
                    <a:pt x="2025" y="566"/>
                  </a:lnTo>
                  <a:lnTo>
                    <a:pt x="2023" y="568"/>
                  </a:lnTo>
                  <a:lnTo>
                    <a:pt x="2020" y="571"/>
                  </a:lnTo>
                  <a:lnTo>
                    <a:pt x="2015" y="575"/>
                  </a:lnTo>
                  <a:lnTo>
                    <a:pt x="2008" y="580"/>
                  </a:lnTo>
                  <a:lnTo>
                    <a:pt x="2002" y="584"/>
                  </a:lnTo>
                  <a:lnTo>
                    <a:pt x="1995" y="590"/>
                  </a:lnTo>
                  <a:lnTo>
                    <a:pt x="1993" y="592"/>
                  </a:lnTo>
                  <a:lnTo>
                    <a:pt x="1991" y="595"/>
                  </a:lnTo>
                  <a:lnTo>
                    <a:pt x="1990" y="599"/>
                  </a:lnTo>
                  <a:lnTo>
                    <a:pt x="1990" y="602"/>
                  </a:lnTo>
                  <a:lnTo>
                    <a:pt x="1991" y="617"/>
                  </a:lnTo>
                  <a:lnTo>
                    <a:pt x="1993" y="631"/>
                  </a:lnTo>
                  <a:lnTo>
                    <a:pt x="1991" y="641"/>
                  </a:lnTo>
                  <a:lnTo>
                    <a:pt x="1989" y="651"/>
                  </a:lnTo>
                  <a:lnTo>
                    <a:pt x="1987" y="660"/>
                  </a:lnTo>
                  <a:lnTo>
                    <a:pt x="1982" y="668"/>
                  </a:lnTo>
                  <a:lnTo>
                    <a:pt x="1975" y="685"/>
                  </a:lnTo>
                  <a:lnTo>
                    <a:pt x="1967" y="704"/>
                  </a:lnTo>
                  <a:lnTo>
                    <a:pt x="1963" y="720"/>
                  </a:lnTo>
                  <a:lnTo>
                    <a:pt x="1959" y="735"/>
                  </a:lnTo>
                  <a:lnTo>
                    <a:pt x="1955" y="749"/>
                  </a:lnTo>
                  <a:lnTo>
                    <a:pt x="1953" y="763"/>
                  </a:lnTo>
                  <a:lnTo>
                    <a:pt x="1948" y="793"/>
                  </a:lnTo>
                  <a:lnTo>
                    <a:pt x="1939" y="824"/>
                  </a:lnTo>
                  <a:lnTo>
                    <a:pt x="1934" y="837"/>
                  </a:lnTo>
                  <a:lnTo>
                    <a:pt x="1928" y="848"/>
                  </a:lnTo>
                  <a:lnTo>
                    <a:pt x="1922" y="858"/>
                  </a:lnTo>
                  <a:lnTo>
                    <a:pt x="1918" y="871"/>
                  </a:lnTo>
                  <a:lnTo>
                    <a:pt x="1908" y="904"/>
                  </a:lnTo>
                  <a:lnTo>
                    <a:pt x="1899" y="932"/>
                  </a:lnTo>
                  <a:lnTo>
                    <a:pt x="1895" y="945"/>
                  </a:lnTo>
                  <a:lnTo>
                    <a:pt x="1892" y="960"/>
                  </a:lnTo>
                  <a:lnTo>
                    <a:pt x="1888" y="975"/>
                  </a:lnTo>
                  <a:lnTo>
                    <a:pt x="1886" y="992"/>
                  </a:lnTo>
                  <a:lnTo>
                    <a:pt x="1884" y="1007"/>
                  </a:lnTo>
                  <a:lnTo>
                    <a:pt x="1882" y="1023"/>
                  </a:lnTo>
                  <a:lnTo>
                    <a:pt x="1879" y="1037"/>
                  </a:lnTo>
                  <a:lnTo>
                    <a:pt x="1874" y="1051"/>
                  </a:lnTo>
                  <a:lnTo>
                    <a:pt x="1871" y="1056"/>
                  </a:lnTo>
                  <a:lnTo>
                    <a:pt x="1868" y="1061"/>
                  </a:lnTo>
                  <a:lnTo>
                    <a:pt x="1864" y="1067"/>
                  </a:lnTo>
                  <a:lnTo>
                    <a:pt x="1859" y="1071"/>
                  </a:lnTo>
                  <a:lnTo>
                    <a:pt x="1855" y="1074"/>
                  </a:lnTo>
                  <a:lnTo>
                    <a:pt x="1850" y="1077"/>
                  </a:lnTo>
                  <a:lnTo>
                    <a:pt x="1843" y="1079"/>
                  </a:lnTo>
                  <a:lnTo>
                    <a:pt x="1836" y="1079"/>
                  </a:lnTo>
                  <a:lnTo>
                    <a:pt x="1831" y="1079"/>
                  </a:lnTo>
                  <a:lnTo>
                    <a:pt x="1827" y="1078"/>
                  </a:lnTo>
                  <a:lnTo>
                    <a:pt x="1823" y="1077"/>
                  </a:lnTo>
                  <a:lnTo>
                    <a:pt x="1819" y="1074"/>
                  </a:lnTo>
                  <a:lnTo>
                    <a:pt x="1812" y="1070"/>
                  </a:lnTo>
                  <a:lnTo>
                    <a:pt x="1802" y="1068"/>
                  </a:lnTo>
                  <a:lnTo>
                    <a:pt x="1801" y="1077"/>
                  </a:lnTo>
                  <a:lnTo>
                    <a:pt x="1800" y="1085"/>
                  </a:lnTo>
                  <a:lnTo>
                    <a:pt x="1800" y="1092"/>
                  </a:lnTo>
                  <a:lnTo>
                    <a:pt x="1802" y="1099"/>
                  </a:lnTo>
                  <a:lnTo>
                    <a:pt x="1804" y="1105"/>
                  </a:lnTo>
                  <a:lnTo>
                    <a:pt x="1807" y="1111"/>
                  </a:lnTo>
                  <a:lnTo>
                    <a:pt x="1811" y="1117"/>
                  </a:lnTo>
                  <a:lnTo>
                    <a:pt x="1814" y="1123"/>
                  </a:lnTo>
                  <a:lnTo>
                    <a:pt x="1815" y="1130"/>
                  </a:lnTo>
                  <a:lnTo>
                    <a:pt x="1816" y="1137"/>
                  </a:lnTo>
                  <a:lnTo>
                    <a:pt x="1816" y="1149"/>
                  </a:lnTo>
                  <a:lnTo>
                    <a:pt x="1816" y="1161"/>
                  </a:lnTo>
                  <a:lnTo>
                    <a:pt x="1802" y="1154"/>
                  </a:lnTo>
                  <a:lnTo>
                    <a:pt x="1789" y="1149"/>
                  </a:lnTo>
                  <a:lnTo>
                    <a:pt x="1783" y="1147"/>
                  </a:lnTo>
                  <a:lnTo>
                    <a:pt x="1775" y="1145"/>
                  </a:lnTo>
                  <a:lnTo>
                    <a:pt x="1769" y="1144"/>
                  </a:lnTo>
                  <a:lnTo>
                    <a:pt x="1760" y="1144"/>
                  </a:lnTo>
                  <a:lnTo>
                    <a:pt x="1753" y="1144"/>
                  </a:lnTo>
                  <a:lnTo>
                    <a:pt x="1748" y="1146"/>
                  </a:lnTo>
                  <a:lnTo>
                    <a:pt x="1744" y="1147"/>
                  </a:lnTo>
                  <a:lnTo>
                    <a:pt x="1738" y="1150"/>
                  </a:lnTo>
                  <a:lnTo>
                    <a:pt x="1731" y="1157"/>
                  </a:lnTo>
                  <a:lnTo>
                    <a:pt x="1723" y="1165"/>
                  </a:lnTo>
                  <a:lnTo>
                    <a:pt x="1717" y="1175"/>
                  </a:lnTo>
                  <a:lnTo>
                    <a:pt x="1710" y="1185"/>
                  </a:lnTo>
                  <a:lnTo>
                    <a:pt x="1703" y="1194"/>
                  </a:lnTo>
                  <a:lnTo>
                    <a:pt x="1693" y="1203"/>
                  </a:lnTo>
                  <a:lnTo>
                    <a:pt x="1659" y="1227"/>
                  </a:lnTo>
                  <a:lnTo>
                    <a:pt x="1629" y="1247"/>
                  </a:lnTo>
                  <a:lnTo>
                    <a:pt x="1615" y="1258"/>
                  </a:lnTo>
                  <a:lnTo>
                    <a:pt x="1600" y="1269"/>
                  </a:lnTo>
                  <a:lnTo>
                    <a:pt x="1585" y="1281"/>
                  </a:lnTo>
                  <a:lnTo>
                    <a:pt x="1570" y="1295"/>
                  </a:lnTo>
                  <a:lnTo>
                    <a:pt x="1554" y="1311"/>
                  </a:lnTo>
                  <a:lnTo>
                    <a:pt x="1539" y="1326"/>
                  </a:lnTo>
                  <a:lnTo>
                    <a:pt x="1526" y="1341"/>
                  </a:lnTo>
                  <a:lnTo>
                    <a:pt x="1514" y="1355"/>
                  </a:lnTo>
                  <a:lnTo>
                    <a:pt x="1491" y="1385"/>
                  </a:lnTo>
                  <a:lnTo>
                    <a:pt x="1469" y="1415"/>
                  </a:lnTo>
                  <a:lnTo>
                    <a:pt x="1469" y="1415"/>
                  </a:lnTo>
                  <a:lnTo>
                    <a:pt x="1443" y="1402"/>
                  </a:lnTo>
                  <a:lnTo>
                    <a:pt x="1419" y="1392"/>
                  </a:lnTo>
                  <a:lnTo>
                    <a:pt x="1406" y="1388"/>
                  </a:lnTo>
                  <a:lnTo>
                    <a:pt x="1393" y="1384"/>
                  </a:lnTo>
                  <a:lnTo>
                    <a:pt x="1379" y="1382"/>
                  </a:lnTo>
                  <a:lnTo>
                    <a:pt x="1365" y="1382"/>
                  </a:lnTo>
                  <a:lnTo>
                    <a:pt x="1345" y="1382"/>
                  </a:lnTo>
                  <a:lnTo>
                    <a:pt x="1328" y="1384"/>
                  </a:lnTo>
                  <a:lnTo>
                    <a:pt x="1320" y="1385"/>
                  </a:lnTo>
                  <a:lnTo>
                    <a:pt x="1312" y="1385"/>
                  </a:lnTo>
                  <a:lnTo>
                    <a:pt x="1302" y="1385"/>
                  </a:lnTo>
                  <a:lnTo>
                    <a:pt x="1292" y="1384"/>
                  </a:lnTo>
                  <a:lnTo>
                    <a:pt x="1298" y="1370"/>
                  </a:lnTo>
                  <a:lnTo>
                    <a:pt x="1302" y="1357"/>
                  </a:lnTo>
                  <a:lnTo>
                    <a:pt x="1306" y="1344"/>
                  </a:lnTo>
                  <a:lnTo>
                    <a:pt x="1312" y="1331"/>
                  </a:lnTo>
                  <a:lnTo>
                    <a:pt x="1327" y="1306"/>
                  </a:lnTo>
                  <a:lnTo>
                    <a:pt x="1343" y="1283"/>
                  </a:lnTo>
                  <a:lnTo>
                    <a:pt x="1349" y="1271"/>
                  </a:lnTo>
                  <a:lnTo>
                    <a:pt x="1355" y="1259"/>
                  </a:lnTo>
                  <a:lnTo>
                    <a:pt x="1357" y="1253"/>
                  </a:lnTo>
                  <a:lnTo>
                    <a:pt x="1358" y="1246"/>
                  </a:lnTo>
                  <a:lnTo>
                    <a:pt x="1359" y="1239"/>
                  </a:lnTo>
                  <a:lnTo>
                    <a:pt x="1359" y="1230"/>
                  </a:lnTo>
                  <a:lnTo>
                    <a:pt x="1358" y="1217"/>
                  </a:lnTo>
                  <a:lnTo>
                    <a:pt x="1357" y="1203"/>
                  </a:lnTo>
                  <a:lnTo>
                    <a:pt x="1357" y="1177"/>
                  </a:lnTo>
                  <a:lnTo>
                    <a:pt x="1357" y="1153"/>
                  </a:lnTo>
                  <a:lnTo>
                    <a:pt x="1357" y="1130"/>
                  </a:lnTo>
                  <a:lnTo>
                    <a:pt x="1357" y="1104"/>
                  </a:lnTo>
                  <a:lnTo>
                    <a:pt x="1356" y="1088"/>
                  </a:lnTo>
                  <a:lnTo>
                    <a:pt x="1354" y="1073"/>
                  </a:lnTo>
                  <a:lnTo>
                    <a:pt x="1349" y="1060"/>
                  </a:lnTo>
                  <a:lnTo>
                    <a:pt x="1343" y="1047"/>
                  </a:lnTo>
                  <a:lnTo>
                    <a:pt x="1340" y="1042"/>
                  </a:lnTo>
                  <a:lnTo>
                    <a:pt x="1335" y="1037"/>
                  </a:lnTo>
                  <a:lnTo>
                    <a:pt x="1331" y="1031"/>
                  </a:lnTo>
                  <a:lnTo>
                    <a:pt x="1326" y="1027"/>
                  </a:lnTo>
                  <a:lnTo>
                    <a:pt x="1320" y="1023"/>
                  </a:lnTo>
                  <a:lnTo>
                    <a:pt x="1314" y="1018"/>
                  </a:lnTo>
                  <a:lnTo>
                    <a:pt x="1307" y="1015"/>
                  </a:lnTo>
                  <a:lnTo>
                    <a:pt x="1301" y="1012"/>
                  </a:lnTo>
                  <a:lnTo>
                    <a:pt x="1289" y="1007"/>
                  </a:lnTo>
                  <a:lnTo>
                    <a:pt x="1278" y="1005"/>
                  </a:lnTo>
                  <a:lnTo>
                    <a:pt x="1267" y="1004"/>
                  </a:lnTo>
                  <a:lnTo>
                    <a:pt x="1258" y="1003"/>
                  </a:lnTo>
                  <a:lnTo>
                    <a:pt x="1247" y="1002"/>
                  </a:lnTo>
                  <a:lnTo>
                    <a:pt x="1236" y="1001"/>
                  </a:lnTo>
                  <a:lnTo>
                    <a:pt x="1225" y="999"/>
                  </a:lnTo>
                  <a:lnTo>
                    <a:pt x="1213" y="995"/>
                  </a:lnTo>
                  <a:lnTo>
                    <a:pt x="1204" y="991"/>
                  </a:lnTo>
                  <a:lnTo>
                    <a:pt x="1196" y="986"/>
                  </a:lnTo>
                  <a:lnTo>
                    <a:pt x="1190" y="979"/>
                  </a:lnTo>
                  <a:lnTo>
                    <a:pt x="1184" y="972"/>
                  </a:lnTo>
                  <a:lnTo>
                    <a:pt x="1175" y="956"/>
                  </a:lnTo>
                  <a:lnTo>
                    <a:pt x="1166" y="936"/>
                  </a:lnTo>
                  <a:lnTo>
                    <a:pt x="1156" y="918"/>
                  </a:lnTo>
                  <a:lnTo>
                    <a:pt x="1144" y="901"/>
                  </a:lnTo>
                  <a:lnTo>
                    <a:pt x="1132" y="885"/>
                  </a:lnTo>
                  <a:lnTo>
                    <a:pt x="1119" y="872"/>
                  </a:lnTo>
                  <a:lnTo>
                    <a:pt x="1105" y="860"/>
                  </a:lnTo>
                  <a:lnTo>
                    <a:pt x="1091" y="848"/>
                  </a:lnTo>
                  <a:lnTo>
                    <a:pt x="1077" y="837"/>
                  </a:lnTo>
                  <a:lnTo>
                    <a:pt x="1062" y="826"/>
                  </a:lnTo>
                  <a:lnTo>
                    <a:pt x="1048" y="815"/>
                  </a:lnTo>
                  <a:lnTo>
                    <a:pt x="1034" y="804"/>
                  </a:lnTo>
                  <a:lnTo>
                    <a:pt x="1020" y="793"/>
                  </a:lnTo>
                  <a:lnTo>
                    <a:pt x="1007" y="781"/>
                  </a:lnTo>
                  <a:lnTo>
                    <a:pt x="995" y="767"/>
                  </a:lnTo>
                  <a:lnTo>
                    <a:pt x="983" y="752"/>
                  </a:lnTo>
                  <a:lnTo>
                    <a:pt x="974" y="734"/>
                  </a:lnTo>
                  <a:lnTo>
                    <a:pt x="964" y="715"/>
                  </a:lnTo>
                  <a:lnTo>
                    <a:pt x="955" y="696"/>
                  </a:lnTo>
                  <a:lnTo>
                    <a:pt x="947" y="679"/>
                  </a:lnTo>
                  <a:lnTo>
                    <a:pt x="936" y="665"/>
                  </a:lnTo>
                  <a:lnTo>
                    <a:pt x="925" y="651"/>
                  </a:lnTo>
                  <a:lnTo>
                    <a:pt x="900" y="625"/>
                  </a:lnTo>
                  <a:lnTo>
                    <a:pt x="872" y="597"/>
                  </a:lnTo>
                  <a:lnTo>
                    <a:pt x="861" y="586"/>
                  </a:lnTo>
                  <a:lnTo>
                    <a:pt x="853" y="578"/>
                  </a:lnTo>
                  <a:lnTo>
                    <a:pt x="847" y="573"/>
                  </a:lnTo>
                  <a:lnTo>
                    <a:pt x="842" y="570"/>
                  </a:lnTo>
                  <a:lnTo>
                    <a:pt x="836" y="567"/>
                  </a:lnTo>
                  <a:lnTo>
                    <a:pt x="830" y="564"/>
                  </a:lnTo>
                  <a:lnTo>
                    <a:pt x="822" y="561"/>
                  </a:lnTo>
                  <a:lnTo>
                    <a:pt x="816" y="559"/>
                  </a:lnTo>
                  <a:lnTo>
                    <a:pt x="809" y="558"/>
                  </a:lnTo>
                  <a:lnTo>
                    <a:pt x="803" y="557"/>
                  </a:lnTo>
                  <a:lnTo>
                    <a:pt x="791" y="557"/>
                  </a:lnTo>
                  <a:lnTo>
                    <a:pt x="778" y="558"/>
                  </a:lnTo>
                  <a:lnTo>
                    <a:pt x="766" y="558"/>
                  </a:lnTo>
                  <a:lnTo>
                    <a:pt x="753" y="559"/>
                  </a:lnTo>
                  <a:lnTo>
                    <a:pt x="740" y="558"/>
                  </a:lnTo>
                  <a:lnTo>
                    <a:pt x="726" y="555"/>
                  </a:lnTo>
                  <a:lnTo>
                    <a:pt x="722" y="554"/>
                  </a:lnTo>
                  <a:lnTo>
                    <a:pt x="719" y="552"/>
                  </a:lnTo>
                  <a:lnTo>
                    <a:pt x="715" y="548"/>
                  </a:lnTo>
                  <a:lnTo>
                    <a:pt x="713" y="546"/>
                  </a:lnTo>
                  <a:lnTo>
                    <a:pt x="710" y="539"/>
                  </a:lnTo>
                  <a:lnTo>
                    <a:pt x="708" y="530"/>
                  </a:lnTo>
                  <a:lnTo>
                    <a:pt x="707" y="512"/>
                  </a:lnTo>
                  <a:lnTo>
                    <a:pt x="704" y="493"/>
                  </a:lnTo>
                  <a:lnTo>
                    <a:pt x="700" y="486"/>
                  </a:lnTo>
                  <a:lnTo>
                    <a:pt x="696" y="480"/>
                  </a:lnTo>
                  <a:lnTo>
                    <a:pt x="690" y="476"/>
                  </a:lnTo>
                  <a:lnTo>
                    <a:pt x="683" y="473"/>
                  </a:lnTo>
                  <a:lnTo>
                    <a:pt x="667" y="469"/>
                  </a:lnTo>
                  <a:lnTo>
                    <a:pt x="651" y="465"/>
                  </a:lnTo>
                  <a:lnTo>
                    <a:pt x="613" y="457"/>
                  </a:lnTo>
                  <a:lnTo>
                    <a:pt x="580" y="450"/>
                  </a:lnTo>
                  <a:lnTo>
                    <a:pt x="564" y="447"/>
                  </a:lnTo>
                  <a:lnTo>
                    <a:pt x="547" y="445"/>
                  </a:lnTo>
                  <a:lnTo>
                    <a:pt x="529" y="444"/>
                  </a:lnTo>
                  <a:lnTo>
                    <a:pt x="509" y="443"/>
                  </a:lnTo>
                  <a:lnTo>
                    <a:pt x="483" y="443"/>
                  </a:lnTo>
                  <a:lnTo>
                    <a:pt x="460" y="443"/>
                  </a:lnTo>
                  <a:lnTo>
                    <a:pt x="436" y="443"/>
                  </a:lnTo>
                  <a:lnTo>
                    <a:pt x="410" y="443"/>
                  </a:lnTo>
                  <a:lnTo>
                    <a:pt x="403" y="443"/>
                  </a:lnTo>
                  <a:lnTo>
                    <a:pt x="398" y="442"/>
                  </a:lnTo>
                  <a:lnTo>
                    <a:pt x="394" y="439"/>
                  </a:lnTo>
                  <a:lnTo>
                    <a:pt x="388" y="436"/>
                  </a:lnTo>
                  <a:lnTo>
                    <a:pt x="381" y="430"/>
                  </a:lnTo>
                  <a:lnTo>
                    <a:pt x="372" y="422"/>
                  </a:lnTo>
                  <a:lnTo>
                    <a:pt x="364" y="415"/>
                  </a:lnTo>
                  <a:lnTo>
                    <a:pt x="356" y="407"/>
                  </a:lnTo>
                  <a:lnTo>
                    <a:pt x="352" y="405"/>
                  </a:lnTo>
                  <a:lnTo>
                    <a:pt x="346" y="403"/>
                  </a:lnTo>
                  <a:lnTo>
                    <a:pt x="341" y="402"/>
                  </a:lnTo>
                  <a:lnTo>
                    <a:pt x="335" y="401"/>
                  </a:lnTo>
                  <a:lnTo>
                    <a:pt x="328" y="402"/>
                  </a:lnTo>
                  <a:lnTo>
                    <a:pt x="321" y="403"/>
                  </a:lnTo>
                  <a:lnTo>
                    <a:pt x="315" y="405"/>
                  </a:lnTo>
                  <a:lnTo>
                    <a:pt x="309" y="407"/>
                  </a:lnTo>
                  <a:lnTo>
                    <a:pt x="300" y="415"/>
                  </a:lnTo>
                  <a:lnTo>
                    <a:pt x="289" y="422"/>
                  </a:lnTo>
                  <a:lnTo>
                    <a:pt x="279" y="430"/>
                  </a:lnTo>
                  <a:lnTo>
                    <a:pt x="269" y="436"/>
                  </a:lnTo>
                  <a:lnTo>
                    <a:pt x="263" y="439"/>
                  </a:lnTo>
                  <a:lnTo>
                    <a:pt x="258" y="442"/>
                  </a:lnTo>
                  <a:lnTo>
                    <a:pt x="251" y="443"/>
                  </a:lnTo>
                  <a:lnTo>
                    <a:pt x="243" y="443"/>
                  </a:lnTo>
                  <a:lnTo>
                    <a:pt x="238" y="443"/>
                  </a:lnTo>
                  <a:lnTo>
                    <a:pt x="233" y="442"/>
                  </a:lnTo>
                  <a:lnTo>
                    <a:pt x="227" y="440"/>
                  </a:lnTo>
                  <a:lnTo>
                    <a:pt x="222" y="438"/>
                  </a:lnTo>
                  <a:lnTo>
                    <a:pt x="213" y="433"/>
                  </a:lnTo>
                  <a:lnTo>
                    <a:pt x="205" y="428"/>
                  </a:lnTo>
                  <a:lnTo>
                    <a:pt x="196" y="422"/>
                  </a:lnTo>
                  <a:lnTo>
                    <a:pt x="187" y="417"/>
                  </a:lnTo>
                  <a:lnTo>
                    <a:pt x="182" y="415"/>
                  </a:lnTo>
                  <a:lnTo>
                    <a:pt x="177" y="413"/>
                  </a:lnTo>
                  <a:lnTo>
                    <a:pt x="171" y="412"/>
                  </a:lnTo>
                  <a:lnTo>
                    <a:pt x="166" y="412"/>
                  </a:lnTo>
                  <a:lnTo>
                    <a:pt x="152" y="413"/>
                  </a:lnTo>
                  <a:lnTo>
                    <a:pt x="141" y="416"/>
                  </a:lnTo>
                  <a:lnTo>
                    <a:pt x="129" y="419"/>
                  </a:lnTo>
                  <a:lnTo>
                    <a:pt x="119" y="423"/>
                  </a:lnTo>
                  <a:lnTo>
                    <a:pt x="108" y="428"/>
                  </a:lnTo>
                  <a:lnTo>
                    <a:pt x="98" y="431"/>
                  </a:lnTo>
                  <a:lnTo>
                    <a:pt x="86" y="434"/>
                  </a:lnTo>
                  <a:lnTo>
                    <a:pt x="73" y="435"/>
                  </a:lnTo>
                  <a:lnTo>
                    <a:pt x="63" y="434"/>
                  </a:lnTo>
                  <a:lnTo>
                    <a:pt x="54" y="431"/>
                  </a:lnTo>
                  <a:lnTo>
                    <a:pt x="46" y="428"/>
                  </a:lnTo>
                  <a:lnTo>
                    <a:pt x="37" y="423"/>
                  </a:lnTo>
                  <a:lnTo>
                    <a:pt x="29" y="419"/>
                  </a:lnTo>
                  <a:lnTo>
                    <a:pt x="20" y="415"/>
                  </a:lnTo>
                  <a:lnTo>
                    <a:pt x="10" y="412"/>
                  </a:lnTo>
                  <a:lnTo>
                    <a:pt x="0" y="411"/>
                  </a:lnTo>
                  <a:lnTo>
                    <a:pt x="0" y="411"/>
                  </a:lnTo>
                  <a:close/>
                </a:path>
              </a:pathLst>
            </a:custGeom>
            <a:solidFill>
              <a:srgbClr val="FEFEFE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64">
              <a:extLst>
                <a:ext uri="{FF2B5EF4-FFF2-40B4-BE49-F238E27FC236}">
                  <a16:creationId xmlns:a16="http://schemas.microsoft.com/office/drawing/2014/main" id="{EF3F9DA7-E445-4338-B4A6-FC1B07418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73500" y="5399088"/>
              <a:ext cx="803275" cy="561975"/>
            </a:xfrm>
            <a:custGeom>
              <a:avLst/>
              <a:gdLst>
                <a:gd name="T0" fmla="*/ 42 w 2027"/>
                <a:gd name="T1" fmla="*/ 344 h 1415"/>
                <a:gd name="T2" fmla="*/ 126 w 2027"/>
                <a:gd name="T3" fmla="*/ 206 h 1415"/>
                <a:gd name="T4" fmla="*/ 112 w 2027"/>
                <a:gd name="T5" fmla="*/ 126 h 1415"/>
                <a:gd name="T6" fmla="*/ 113 w 2027"/>
                <a:gd name="T7" fmla="*/ 41 h 1415"/>
                <a:gd name="T8" fmla="*/ 215 w 2027"/>
                <a:gd name="T9" fmla="*/ 47 h 1415"/>
                <a:gd name="T10" fmla="*/ 290 w 2027"/>
                <a:gd name="T11" fmla="*/ 23 h 1415"/>
                <a:gd name="T12" fmla="*/ 343 w 2027"/>
                <a:gd name="T13" fmla="*/ 54 h 1415"/>
                <a:gd name="T14" fmla="*/ 448 w 2027"/>
                <a:gd name="T15" fmla="*/ 94 h 1415"/>
                <a:gd name="T16" fmla="*/ 574 w 2027"/>
                <a:gd name="T17" fmla="*/ 99 h 1415"/>
                <a:gd name="T18" fmla="*/ 751 w 2027"/>
                <a:gd name="T19" fmla="*/ 167 h 1415"/>
                <a:gd name="T20" fmla="*/ 908 w 2027"/>
                <a:gd name="T21" fmla="*/ 241 h 1415"/>
                <a:gd name="T22" fmla="*/ 974 w 2027"/>
                <a:gd name="T23" fmla="*/ 273 h 1415"/>
                <a:gd name="T24" fmla="*/ 1021 w 2027"/>
                <a:gd name="T25" fmla="*/ 233 h 1415"/>
                <a:gd name="T26" fmla="*/ 1038 w 2027"/>
                <a:gd name="T27" fmla="*/ 154 h 1415"/>
                <a:gd name="T28" fmla="*/ 1090 w 2027"/>
                <a:gd name="T29" fmla="*/ 118 h 1415"/>
                <a:gd name="T30" fmla="*/ 1197 w 2027"/>
                <a:gd name="T31" fmla="*/ 30 h 1415"/>
                <a:gd name="T32" fmla="*/ 1317 w 2027"/>
                <a:gd name="T33" fmla="*/ 1 h 1415"/>
                <a:gd name="T34" fmla="*/ 1605 w 2027"/>
                <a:gd name="T35" fmla="*/ 61 h 1415"/>
                <a:gd name="T36" fmla="*/ 1769 w 2027"/>
                <a:gd name="T37" fmla="*/ 93 h 1415"/>
                <a:gd name="T38" fmla="*/ 1866 w 2027"/>
                <a:gd name="T39" fmla="*/ 82 h 1415"/>
                <a:gd name="T40" fmla="*/ 1993 w 2027"/>
                <a:gd name="T41" fmla="*/ 114 h 1415"/>
                <a:gd name="T42" fmla="*/ 1976 w 2027"/>
                <a:gd name="T43" fmla="*/ 162 h 1415"/>
                <a:gd name="T44" fmla="*/ 2009 w 2027"/>
                <a:gd name="T45" fmla="*/ 251 h 1415"/>
                <a:gd name="T46" fmla="*/ 2011 w 2027"/>
                <a:gd name="T47" fmla="*/ 409 h 1415"/>
                <a:gd name="T48" fmla="*/ 2026 w 2027"/>
                <a:gd name="T49" fmla="*/ 541 h 1415"/>
                <a:gd name="T50" fmla="*/ 2002 w 2027"/>
                <a:gd name="T51" fmla="*/ 584 h 1415"/>
                <a:gd name="T52" fmla="*/ 1991 w 2027"/>
                <a:gd name="T53" fmla="*/ 641 h 1415"/>
                <a:gd name="T54" fmla="*/ 1955 w 2027"/>
                <a:gd name="T55" fmla="*/ 749 h 1415"/>
                <a:gd name="T56" fmla="*/ 1908 w 2027"/>
                <a:gd name="T57" fmla="*/ 904 h 1415"/>
                <a:gd name="T58" fmla="*/ 1879 w 2027"/>
                <a:gd name="T59" fmla="*/ 1037 h 1415"/>
                <a:gd name="T60" fmla="*/ 1843 w 2027"/>
                <a:gd name="T61" fmla="*/ 1079 h 1415"/>
                <a:gd name="T62" fmla="*/ 1801 w 2027"/>
                <a:gd name="T63" fmla="*/ 1077 h 1415"/>
                <a:gd name="T64" fmla="*/ 1815 w 2027"/>
                <a:gd name="T65" fmla="*/ 1130 h 1415"/>
                <a:gd name="T66" fmla="*/ 1769 w 2027"/>
                <a:gd name="T67" fmla="*/ 1144 h 1415"/>
                <a:gd name="T68" fmla="*/ 1717 w 2027"/>
                <a:gd name="T69" fmla="*/ 1175 h 1415"/>
                <a:gd name="T70" fmla="*/ 1585 w 2027"/>
                <a:gd name="T71" fmla="*/ 1281 h 1415"/>
                <a:gd name="T72" fmla="*/ 1469 w 2027"/>
                <a:gd name="T73" fmla="*/ 1415 h 1415"/>
                <a:gd name="T74" fmla="*/ 1328 w 2027"/>
                <a:gd name="T75" fmla="*/ 1384 h 1415"/>
                <a:gd name="T76" fmla="*/ 1312 w 2027"/>
                <a:gd name="T77" fmla="*/ 1331 h 1415"/>
                <a:gd name="T78" fmla="*/ 1359 w 2027"/>
                <a:gd name="T79" fmla="*/ 1230 h 1415"/>
                <a:gd name="T80" fmla="*/ 1354 w 2027"/>
                <a:gd name="T81" fmla="*/ 1073 h 1415"/>
                <a:gd name="T82" fmla="*/ 1314 w 2027"/>
                <a:gd name="T83" fmla="*/ 1018 h 1415"/>
                <a:gd name="T84" fmla="*/ 1236 w 2027"/>
                <a:gd name="T85" fmla="*/ 1001 h 1415"/>
                <a:gd name="T86" fmla="*/ 1166 w 2027"/>
                <a:gd name="T87" fmla="*/ 936 h 1415"/>
                <a:gd name="T88" fmla="*/ 1062 w 2027"/>
                <a:gd name="T89" fmla="*/ 826 h 1415"/>
                <a:gd name="T90" fmla="*/ 964 w 2027"/>
                <a:gd name="T91" fmla="*/ 715 h 1415"/>
                <a:gd name="T92" fmla="*/ 853 w 2027"/>
                <a:gd name="T93" fmla="*/ 578 h 1415"/>
                <a:gd name="T94" fmla="*/ 803 w 2027"/>
                <a:gd name="T95" fmla="*/ 557 h 1415"/>
                <a:gd name="T96" fmla="*/ 719 w 2027"/>
                <a:gd name="T97" fmla="*/ 552 h 1415"/>
                <a:gd name="T98" fmla="*/ 696 w 2027"/>
                <a:gd name="T99" fmla="*/ 480 h 1415"/>
                <a:gd name="T100" fmla="*/ 547 w 2027"/>
                <a:gd name="T101" fmla="*/ 445 h 1415"/>
                <a:gd name="T102" fmla="*/ 398 w 2027"/>
                <a:gd name="T103" fmla="*/ 442 h 1415"/>
                <a:gd name="T104" fmla="*/ 346 w 2027"/>
                <a:gd name="T105" fmla="*/ 403 h 1415"/>
                <a:gd name="T106" fmla="*/ 289 w 2027"/>
                <a:gd name="T107" fmla="*/ 422 h 1415"/>
                <a:gd name="T108" fmla="*/ 233 w 2027"/>
                <a:gd name="T109" fmla="*/ 442 h 1415"/>
                <a:gd name="T110" fmla="*/ 177 w 2027"/>
                <a:gd name="T111" fmla="*/ 413 h 1415"/>
                <a:gd name="T112" fmla="*/ 98 w 2027"/>
                <a:gd name="T113" fmla="*/ 431 h 1415"/>
                <a:gd name="T114" fmla="*/ 20 w 2027"/>
                <a:gd name="T115" fmla="*/ 415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27" h="1415">
                  <a:moveTo>
                    <a:pt x="0" y="411"/>
                  </a:moveTo>
                  <a:lnTo>
                    <a:pt x="6" y="407"/>
                  </a:lnTo>
                  <a:lnTo>
                    <a:pt x="10" y="402"/>
                  </a:lnTo>
                  <a:lnTo>
                    <a:pt x="15" y="395"/>
                  </a:lnTo>
                  <a:lnTo>
                    <a:pt x="18" y="390"/>
                  </a:lnTo>
                  <a:lnTo>
                    <a:pt x="24" y="377"/>
                  </a:lnTo>
                  <a:lnTo>
                    <a:pt x="31" y="365"/>
                  </a:lnTo>
                  <a:lnTo>
                    <a:pt x="42" y="344"/>
                  </a:lnTo>
                  <a:lnTo>
                    <a:pt x="53" y="328"/>
                  </a:lnTo>
                  <a:lnTo>
                    <a:pt x="64" y="311"/>
                  </a:lnTo>
                  <a:lnTo>
                    <a:pt x="76" y="291"/>
                  </a:lnTo>
                  <a:lnTo>
                    <a:pt x="93" y="263"/>
                  </a:lnTo>
                  <a:lnTo>
                    <a:pt x="111" y="240"/>
                  </a:lnTo>
                  <a:lnTo>
                    <a:pt x="118" y="227"/>
                  </a:lnTo>
                  <a:lnTo>
                    <a:pt x="124" y="214"/>
                  </a:lnTo>
                  <a:lnTo>
                    <a:pt x="126" y="206"/>
                  </a:lnTo>
                  <a:lnTo>
                    <a:pt x="128" y="199"/>
                  </a:lnTo>
                  <a:lnTo>
                    <a:pt x="129" y="191"/>
                  </a:lnTo>
                  <a:lnTo>
                    <a:pt x="129" y="182"/>
                  </a:lnTo>
                  <a:lnTo>
                    <a:pt x="128" y="169"/>
                  </a:lnTo>
                  <a:lnTo>
                    <a:pt x="125" y="158"/>
                  </a:lnTo>
                  <a:lnTo>
                    <a:pt x="121" y="147"/>
                  </a:lnTo>
                  <a:lnTo>
                    <a:pt x="116" y="137"/>
                  </a:lnTo>
                  <a:lnTo>
                    <a:pt x="112" y="126"/>
                  </a:lnTo>
                  <a:lnTo>
                    <a:pt x="107" y="115"/>
                  </a:lnTo>
                  <a:lnTo>
                    <a:pt x="105" y="105"/>
                  </a:lnTo>
                  <a:lnTo>
                    <a:pt x="104" y="92"/>
                  </a:lnTo>
                  <a:lnTo>
                    <a:pt x="104" y="78"/>
                  </a:lnTo>
                  <a:lnTo>
                    <a:pt x="106" y="65"/>
                  </a:lnTo>
                  <a:lnTo>
                    <a:pt x="110" y="52"/>
                  </a:lnTo>
                  <a:lnTo>
                    <a:pt x="113" y="41"/>
                  </a:lnTo>
                  <a:lnTo>
                    <a:pt x="113" y="41"/>
                  </a:lnTo>
                  <a:lnTo>
                    <a:pt x="123" y="43"/>
                  </a:lnTo>
                  <a:lnTo>
                    <a:pt x="132" y="45"/>
                  </a:lnTo>
                  <a:lnTo>
                    <a:pt x="142" y="47"/>
                  </a:lnTo>
                  <a:lnTo>
                    <a:pt x="152" y="47"/>
                  </a:lnTo>
                  <a:lnTo>
                    <a:pt x="169" y="47"/>
                  </a:lnTo>
                  <a:lnTo>
                    <a:pt x="183" y="47"/>
                  </a:lnTo>
                  <a:lnTo>
                    <a:pt x="198" y="47"/>
                  </a:lnTo>
                  <a:lnTo>
                    <a:pt x="215" y="47"/>
                  </a:lnTo>
                  <a:lnTo>
                    <a:pt x="226" y="46"/>
                  </a:lnTo>
                  <a:lnTo>
                    <a:pt x="236" y="44"/>
                  </a:lnTo>
                  <a:lnTo>
                    <a:pt x="245" y="40"/>
                  </a:lnTo>
                  <a:lnTo>
                    <a:pt x="252" y="35"/>
                  </a:lnTo>
                  <a:lnTo>
                    <a:pt x="261" y="30"/>
                  </a:lnTo>
                  <a:lnTo>
                    <a:pt x="269" y="27"/>
                  </a:lnTo>
                  <a:lnTo>
                    <a:pt x="279" y="24"/>
                  </a:lnTo>
                  <a:lnTo>
                    <a:pt x="290" y="23"/>
                  </a:lnTo>
                  <a:lnTo>
                    <a:pt x="296" y="23"/>
                  </a:lnTo>
                  <a:lnTo>
                    <a:pt x="302" y="24"/>
                  </a:lnTo>
                  <a:lnTo>
                    <a:pt x="306" y="26"/>
                  </a:lnTo>
                  <a:lnTo>
                    <a:pt x="310" y="28"/>
                  </a:lnTo>
                  <a:lnTo>
                    <a:pt x="319" y="33"/>
                  </a:lnTo>
                  <a:lnTo>
                    <a:pt x="327" y="40"/>
                  </a:lnTo>
                  <a:lnTo>
                    <a:pt x="334" y="46"/>
                  </a:lnTo>
                  <a:lnTo>
                    <a:pt x="343" y="54"/>
                  </a:lnTo>
                  <a:lnTo>
                    <a:pt x="352" y="61"/>
                  </a:lnTo>
                  <a:lnTo>
                    <a:pt x="361" y="68"/>
                  </a:lnTo>
                  <a:lnTo>
                    <a:pt x="376" y="74"/>
                  </a:lnTo>
                  <a:lnTo>
                    <a:pt x="391" y="81"/>
                  </a:lnTo>
                  <a:lnTo>
                    <a:pt x="406" y="85"/>
                  </a:lnTo>
                  <a:lnTo>
                    <a:pt x="418" y="89"/>
                  </a:lnTo>
                  <a:lnTo>
                    <a:pt x="433" y="92"/>
                  </a:lnTo>
                  <a:lnTo>
                    <a:pt x="448" y="94"/>
                  </a:lnTo>
                  <a:lnTo>
                    <a:pt x="463" y="95"/>
                  </a:lnTo>
                  <a:lnTo>
                    <a:pt x="480" y="96"/>
                  </a:lnTo>
                  <a:lnTo>
                    <a:pt x="497" y="96"/>
                  </a:lnTo>
                  <a:lnTo>
                    <a:pt x="512" y="96"/>
                  </a:lnTo>
                  <a:lnTo>
                    <a:pt x="529" y="96"/>
                  </a:lnTo>
                  <a:lnTo>
                    <a:pt x="546" y="96"/>
                  </a:lnTo>
                  <a:lnTo>
                    <a:pt x="560" y="96"/>
                  </a:lnTo>
                  <a:lnTo>
                    <a:pt x="574" y="99"/>
                  </a:lnTo>
                  <a:lnTo>
                    <a:pt x="586" y="102"/>
                  </a:lnTo>
                  <a:lnTo>
                    <a:pt x="598" y="108"/>
                  </a:lnTo>
                  <a:lnTo>
                    <a:pt x="620" y="119"/>
                  </a:lnTo>
                  <a:lnTo>
                    <a:pt x="647" y="129"/>
                  </a:lnTo>
                  <a:lnTo>
                    <a:pt x="677" y="138"/>
                  </a:lnTo>
                  <a:lnTo>
                    <a:pt x="704" y="148"/>
                  </a:lnTo>
                  <a:lnTo>
                    <a:pt x="727" y="158"/>
                  </a:lnTo>
                  <a:lnTo>
                    <a:pt x="751" y="167"/>
                  </a:lnTo>
                  <a:lnTo>
                    <a:pt x="775" y="178"/>
                  </a:lnTo>
                  <a:lnTo>
                    <a:pt x="799" y="189"/>
                  </a:lnTo>
                  <a:lnTo>
                    <a:pt x="825" y="201"/>
                  </a:lnTo>
                  <a:lnTo>
                    <a:pt x="852" y="214"/>
                  </a:lnTo>
                  <a:lnTo>
                    <a:pt x="868" y="220"/>
                  </a:lnTo>
                  <a:lnTo>
                    <a:pt x="881" y="226"/>
                  </a:lnTo>
                  <a:lnTo>
                    <a:pt x="894" y="233"/>
                  </a:lnTo>
                  <a:lnTo>
                    <a:pt x="908" y="241"/>
                  </a:lnTo>
                  <a:lnTo>
                    <a:pt x="921" y="251"/>
                  </a:lnTo>
                  <a:lnTo>
                    <a:pt x="933" y="262"/>
                  </a:lnTo>
                  <a:lnTo>
                    <a:pt x="938" y="268"/>
                  </a:lnTo>
                  <a:lnTo>
                    <a:pt x="944" y="271"/>
                  </a:lnTo>
                  <a:lnTo>
                    <a:pt x="952" y="274"/>
                  </a:lnTo>
                  <a:lnTo>
                    <a:pt x="960" y="275"/>
                  </a:lnTo>
                  <a:lnTo>
                    <a:pt x="967" y="274"/>
                  </a:lnTo>
                  <a:lnTo>
                    <a:pt x="974" y="273"/>
                  </a:lnTo>
                  <a:lnTo>
                    <a:pt x="980" y="272"/>
                  </a:lnTo>
                  <a:lnTo>
                    <a:pt x="986" y="270"/>
                  </a:lnTo>
                  <a:lnTo>
                    <a:pt x="991" y="267"/>
                  </a:lnTo>
                  <a:lnTo>
                    <a:pt x="996" y="263"/>
                  </a:lnTo>
                  <a:lnTo>
                    <a:pt x="1001" y="259"/>
                  </a:lnTo>
                  <a:lnTo>
                    <a:pt x="1006" y="255"/>
                  </a:lnTo>
                  <a:lnTo>
                    <a:pt x="1014" y="245"/>
                  </a:lnTo>
                  <a:lnTo>
                    <a:pt x="1021" y="233"/>
                  </a:lnTo>
                  <a:lnTo>
                    <a:pt x="1027" y="221"/>
                  </a:lnTo>
                  <a:lnTo>
                    <a:pt x="1031" y="207"/>
                  </a:lnTo>
                  <a:lnTo>
                    <a:pt x="1034" y="197"/>
                  </a:lnTo>
                  <a:lnTo>
                    <a:pt x="1035" y="189"/>
                  </a:lnTo>
                  <a:lnTo>
                    <a:pt x="1035" y="180"/>
                  </a:lnTo>
                  <a:lnTo>
                    <a:pt x="1036" y="170"/>
                  </a:lnTo>
                  <a:lnTo>
                    <a:pt x="1036" y="163"/>
                  </a:lnTo>
                  <a:lnTo>
                    <a:pt x="1038" y="154"/>
                  </a:lnTo>
                  <a:lnTo>
                    <a:pt x="1041" y="146"/>
                  </a:lnTo>
                  <a:lnTo>
                    <a:pt x="1045" y="137"/>
                  </a:lnTo>
                  <a:lnTo>
                    <a:pt x="1049" y="133"/>
                  </a:lnTo>
                  <a:lnTo>
                    <a:pt x="1055" y="129"/>
                  </a:lnTo>
                  <a:lnTo>
                    <a:pt x="1060" y="126"/>
                  </a:lnTo>
                  <a:lnTo>
                    <a:pt x="1065" y="124"/>
                  </a:lnTo>
                  <a:lnTo>
                    <a:pt x="1077" y="121"/>
                  </a:lnTo>
                  <a:lnTo>
                    <a:pt x="1090" y="118"/>
                  </a:lnTo>
                  <a:lnTo>
                    <a:pt x="1104" y="112"/>
                  </a:lnTo>
                  <a:lnTo>
                    <a:pt x="1117" y="106"/>
                  </a:lnTo>
                  <a:lnTo>
                    <a:pt x="1129" y="97"/>
                  </a:lnTo>
                  <a:lnTo>
                    <a:pt x="1140" y="88"/>
                  </a:lnTo>
                  <a:lnTo>
                    <a:pt x="1159" y="69"/>
                  </a:lnTo>
                  <a:lnTo>
                    <a:pt x="1179" y="50"/>
                  </a:lnTo>
                  <a:lnTo>
                    <a:pt x="1187" y="40"/>
                  </a:lnTo>
                  <a:lnTo>
                    <a:pt x="1197" y="30"/>
                  </a:lnTo>
                  <a:lnTo>
                    <a:pt x="1207" y="23"/>
                  </a:lnTo>
                  <a:lnTo>
                    <a:pt x="1218" y="15"/>
                  </a:lnTo>
                  <a:lnTo>
                    <a:pt x="1229" y="8"/>
                  </a:lnTo>
                  <a:lnTo>
                    <a:pt x="1241" y="4"/>
                  </a:lnTo>
                  <a:lnTo>
                    <a:pt x="1254" y="1"/>
                  </a:lnTo>
                  <a:lnTo>
                    <a:pt x="1270" y="0"/>
                  </a:lnTo>
                  <a:lnTo>
                    <a:pt x="1294" y="1"/>
                  </a:lnTo>
                  <a:lnTo>
                    <a:pt x="1317" y="1"/>
                  </a:lnTo>
                  <a:lnTo>
                    <a:pt x="1339" y="3"/>
                  </a:lnTo>
                  <a:lnTo>
                    <a:pt x="1360" y="5"/>
                  </a:lnTo>
                  <a:lnTo>
                    <a:pt x="1400" y="11"/>
                  </a:lnTo>
                  <a:lnTo>
                    <a:pt x="1439" y="17"/>
                  </a:lnTo>
                  <a:lnTo>
                    <a:pt x="1478" y="27"/>
                  </a:lnTo>
                  <a:lnTo>
                    <a:pt x="1518" y="38"/>
                  </a:lnTo>
                  <a:lnTo>
                    <a:pt x="1560" y="48"/>
                  </a:lnTo>
                  <a:lnTo>
                    <a:pt x="1605" y="61"/>
                  </a:lnTo>
                  <a:lnTo>
                    <a:pt x="1644" y="73"/>
                  </a:lnTo>
                  <a:lnTo>
                    <a:pt x="1678" y="84"/>
                  </a:lnTo>
                  <a:lnTo>
                    <a:pt x="1695" y="88"/>
                  </a:lnTo>
                  <a:lnTo>
                    <a:pt x="1712" y="93"/>
                  </a:lnTo>
                  <a:lnTo>
                    <a:pt x="1731" y="95"/>
                  </a:lnTo>
                  <a:lnTo>
                    <a:pt x="1751" y="96"/>
                  </a:lnTo>
                  <a:lnTo>
                    <a:pt x="1760" y="95"/>
                  </a:lnTo>
                  <a:lnTo>
                    <a:pt x="1769" y="93"/>
                  </a:lnTo>
                  <a:lnTo>
                    <a:pt x="1775" y="91"/>
                  </a:lnTo>
                  <a:lnTo>
                    <a:pt x="1783" y="87"/>
                  </a:lnTo>
                  <a:lnTo>
                    <a:pt x="1789" y="84"/>
                  </a:lnTo>
                  <a:lnTo>
                    <a:pt x="1797" y="81"/>
                  </a:lnTo>
                  <a:lnTo>
                    <a:pt x="1804" y="80"/>
                  </a:lnTo>
                  <a:lnTo>
                    <a:pt x="1813" y="79"/>
                  </a:lnTo>
                  <a:lnTo>
                    <a:pt x="1841" y="80"/>
                  </a:lnTo>
                  <a:lnTo>
                    <a:pt x="1866" y="82"/>
                  </a:lnTo>
                  <a:lnTo>
                    <a:pt x="1888" y="85"/>
                  </a:lnTo>
                  <a:lnTo>
                    <a:pt x="1910" y="89"/>
                  </a:lnTo>
                  <a:lnTo>
                    <a:pt x="1932" y="94"/>
                  </a:lnTo>
                  <a:lnTo>
                    <a:pt x="1954" y="98"/>
                  </a:lnTo>
                  <a:lnTo>
                    <a:pt x="1978" y="102"/>
                  </a:lnTo>
                  <a:lnTo>
                    <a:pt x="2006" y="106"/>
                  </a:lnTo>
                  <a:lnTo>
                    <a:pt x="2006" y="106"/>
                  </a:lnTo>
                  <a:lnTo>
                    <a:pt x="1993" y="114"/>
                  </a:lnTo>
                  <a:lnTo>
                    <a:pt x="1981" y="123"/>
                  </a:lnTo>
                  <a:lnTo>
                    <a:pt x="1977" y="128"/>
                  </a:lnTo>
                  <a:lnTo>
                    <a:pt x="1974" y="134"/>
                  </a:lnTo>
                  <a:lnTo>
                    <a:pt x="1972" y="141"/>
                  </a:lnTo>
                  <a:lnTo>
                    <a:pt x="1971" y="149"/>
                  </a:lnTo>
                  <a:lnTo>
                    <a:pt x="1971" y="154"/>
                  </a:lnTo>
                  <a:lnTo>
                    <a:pt x="1973" y="159"/>
                  </a:lnTo>
                  <a:lnTo>
                    <a:pt x="1976" y="162"/>
                  </a:lnTo>
                  <a:lnTo>
                    <a:pt x="1978" y="166"/>
                  </a:lnTo>
                  <a:lnTo>
                    <a:pt x="1985" y="174"/>
                  </a:lnTo>
                  <a:lnTo>
                    <a:pt x="1990" y="182"/>
                  </a:lnTo>
                  <a:lnTo>
                    <a:pt x="1998" y="203"/>
                  </a:lnTo>
                  <a:lnTo>
                    <a:pt x="2004" y="222"/>
                  </a:lnTo>
                  <a:lnTo>
                    <a:pt x="2006" y="231"/>
                  </a:lnTo>
                  <a:lnTo>
                    <a:pt x="2008" y="241"/>
                  </a:lnTo>
                  <a:lnTo>
                    <a:pt x="2009" y="251"/>
                  </a:lnTo>
                  <a:lnTo>
                    <a:pt x="2011" y="263"/>
                  </a:lnTo>
                  <a:lnTo>
                    <a:pt x="2011" y="286"/>
                  </a:lnTo>
                  <a:lnTo>
                    <a:pt x="2011" y="308"/>
                  </a:lnTo>
                  <a:lnTo>
                    <a:pt x="2011" y="328"/>
                  </a:lnTo>
                  <a:lnTo>
                    <a:pt x="2011" y="348"/>
                  </a:lnTo>
                  <a:lnTo>
                    <a:pt x="2011" y="367"/>
                  </a:lnTo>
                  <a:lnTo>
                    <a:pt x="2011" y="388"/>
                  </a:lnTo>
                  <a:lnTo>
                    <a:pt x="2011" y="409"/>
                  </a:lnTo>
                  <a:lnTo>
                    <a:pt x="2011" y="433"/>
                  </a:lnTo>
                  <a:lnTo>
                    <a:pt x="2011" y="450"/>
                  </a:lnTo>
                  <a:lnTo>
                    <a:pt x="2013" y="466"/>
                  </a:lnTo>
                  <a:lnTo>
                    <a:pt x="2016" y="480"/>
                  </a:lnTo>
                  <a:lnTo>
                    <a:pt x="2018" y="496"/>
                  </a:lnTo>
                  <a:lnTo>
                    <a:pt x="2021" y="510"/>
                  </a:lnTo>
                  <a:lnTo>
                    <a:pt x="2023" y="525"/>
                  </a:lnTo>
                  <a:lnTo>
                    <a:pt x="2026" y="541"/>
                  </a:lnTo>
                  <a:lnTo>
                    <a:pt x="2027" y="558"/>
                  </a:lnTo>
                  <a:lnTo>
                    <a:pt x="2026" y="561"/>
                  </a:lnTo>
                  <a:lnTo>
                    <a:pt x="2025" y="566"/>
                  </a:lnTo>
                  <a:lnTo>
                    <a:pt x="2023" y="568"/>
                  </a:lnTo>
                  <a:lnTo>
                    <a:pt x="2020" y="571"/>
                  </a:lnTo>
                  <a:lnTo>
                    <a:pt x="2015" y="575"/>
                  </a:lnTo>
                  <a:lnTo>
                    <a:pt x="2008" y="580"/>
                  </a:lnTo>
                  <a:lnTo>
                    <a:pt x="2002" y="584"/>
                  </a:lnTo>
                  <a:lnTo>
                    <a:pt x="1995" y="590"/>
                  </a:lnTo>
                  <a:lnTo>
                    <a:pt x="1993" y="592"/>
                  </a:lnTo>
                  <a:lnTo>
                    <a:pt x="1991" y="595"/>
                  </a:lnTo>
                  <a:lnTo>
                    <a:pt x="1990" y="599"/>
                  </a:lnTo>
                  <a:lnTo>
                    <a:pt x="1990" y="602"/>
                  </a:lnTo>
                  <a:lnTo>
                    <a:pt x="1991" y="617"/>
                  </a:lnTo>
                  <a:lnTo>
                    <a:pt x="1993" y="631"/>
                  </a:lnTo>
                  <a:lnTo>
                    <a:pt x="1991" y="641"/>
                  </a:lnTo>
                  <a:lnTo>
                    <a:pt x="1989" y="651"/>
                  </a:lnTo>
                  <a:lnTo>
                    <a:pt x="1987" y="660"/>
                  </a:lnTo>
                  <a:lnTo>
                    <a:pt x="1982" y="668"/>
                  </a:lnTo>
                  <a:lnTo>
                    <a:pt x="1975" y="685"/>
                  </a:lnTo>
                  <a:lnTo>
                    <a:pt x="1967" y="704"/>
                  </a:lnTo>
                  <a:lnTo>
                    <a:pt x="1963" y="720"/>
                  </a:lnTo>
                  <a:lnTo>
                    <a:pt x="1959" y="735"/>
                  </a:lnTo>
                  <a:lnTo>
                    <a:pt x="1955" y="749"/>
                  </a:lnTo>
                  <a:lnTo>
                    <a:pt x="1953" y="763"/>
                  </a:lnTo>
                  <a:lnTo>
                    <a:pt x="1948" y="793"/>
                  </a:lnTo>
                  <a:lnTo>
                    <a:pt x="1939" y="824"/>
                  </a:lnTo>
                  <a:lnTo>
                    <a:pt x="1934" y="837"/>
                  </a:lnTo>
                  <a:lnTo>
                    <a:pt x="1928" y="848"/>
                  </a:lnTo>
                  <a:lnTo>
                    <a:pt x="1922" y="858"/>
                  </a:lnTo>
                  <a:lnTo>
                    <a:pt x="1918" y="871"/>
                  </a:lnTo>
                  <a:lnTo>
                    <a:pt x="1908" y="904"/>
                  </a:lnTo>
                  <a:lnTo>
                    <a:pt x="1899" y="932"/>
                  </a:lnTo>
                  <a:lnTo>
                    <a:pt x="1895" y="945"/>
                  </a:lnTo>
                  <a:lnTo>
                    <a:pt x="1892" y="960"/>
                  </a:lnTo>
                  <a:lnTo>
                    <a:pt x="1888" y="975"/>
                  </a:lnTo>
                  <a:lnTo>
                    <a:pt x="1886" y="992"/>
                  </a:lnTo>
                  <a:lnTo>
                    <a:pt x="1884" y="1007"/>
                  </a:lnTo>
                  <a:lnTo>
                    <a:pt x="1882" y="1023"/>
                  </a:lnTo>
                  <a:lnTo>
                    <a:pt x="1879" y="1037"/>
                  </a:lnTo>
                  <a:lnTo>
                    <a:pt x="1874" y="1051"/>
                  </a:lnTo>
                  <a:lnTo>
                    <a:pt x="1871" y="1056"/>
                  </a:lnTo>
                  <a:lnTo>
                    <a:pt x="1868" y="1061"/>
                  </a:lnTo>
                  <a:lnTo>
                    <a:pt x="1864" y="1067"/>
                  </a:lnTo>
                  <a:lnTo>
                    <a:pt x="1859" y="1071"/>
                  </a:lnTo>
                  <a:lnTo>
                    <a:pt x="1855" y="1074"/>
                  </a:lnTo>
                  <a:lnTo>
                    <a:pt x="1850" y="1077"/>
                  </a:lnTo>
                  <a:lnTo>
                    <a:pt x="1843" y="1079"/>
                  </a:lnTo>
                  <a:lnTo>
                    <a:pt x="1836" y="1079"/>
                  </a:lnTo>
                  <a:lnTo>
                    <a:pt x="1831" y="1079"/>
                  </a:lnTo>
                  <a:lnTo>
                    <a:pt x="1827" y="1078"/>
                  </a:lnTo>
                  <a:lnTo>
                    <a:pt x="1823" y="1077"/>
                  </a:lnTo>
                  <a:lnTo>
                    <a:pt x="1819" y="1074"/>
                  </a:lnTo>
                  <a:lnTo>
                    <a:pt x="1812" y="1070"/>
                  </a:lnTo>
                  <a:lnTo>
                    <a:pt x="1802" y="1068"/>
                  </a:lnTo>
                  <a:lnTo>
                    <a:pt x="1801" y="1077"/>
                  </a:lnTo>
                  <a:lnTo>
                    <a:pt x="1800" y="1085"/>
                  </a:lnTo>
                  <a:lnTo>
                    <a:pt x="1800" y="1092"/>
                  </a:lnTo>
                  <a:lnTo>
                    <a:pt x="1802" y="1099"/>
                  </a:lnTo>
                  <a:lnTo>
                    <a:pt x="1804" y="1105"/>
                  </a:lnTo>
                  <a:lnTo>
                    <a:pt x="1807" y="1111"/>
                  </a:lnTo>
                  <a:lnTo>
                    <a:pt x="1811" y="1117"/>
                  </a:lnTo>
                  <a:lnTo>
                    <a:pt x="1814" y="1123"/>
                  </a:lnTo>
                  <a:lnTo>
                    <a:pt x="1815" y="1130"/>
                  </a:lnTo>
                  <a:lnTo>
                    <a:pt x="1816" y="1137"/>
                  </a:lnTo>
                  <a:lnTo>
                    <a:pt x="1816" y="1149"/>
                  </a:lnTo>
                  <a:lnTo>
                    <a:pt x="1816" y="1161"/>
                  </a:lnTo>
                  <a:lnTo>
                    <a:pt x="1802" y="1154"/>
                  </a:lnTo>
                  <a:lnTo>
                    <a:pt x="1789" y="1149"/>
                  </a:lnTo>
                  <a:lnTo>
                    <a:pt x="1783" y="1147"/>
                  </a:lnTo>
                  <a:lnTo>
                    <a:pt x="1775" y="1145"/>
                  </a:lnTo>
                  <a:lnTo>
                    <a:pt x="1769" y="1144"/>
                  </a:lnTo>
                  <a:lnTo>
                    <a:pt x="1760" y="1144"/>
                  </a:lnTo>
                  <a:lnTo>
                    <a:pt x="1753" y="1144"/>
                  </a:lnTo>
                  <a:lnTo>
                    <a:pt x="1748" y="1146"/>
                  </a:lnTo>
                  <a:lnTo>
                    <a:pt x="1744" y="1147"/>
                  </a:lnTo>
                  <a:lnTo>
                    <a:pt x="1738" y="1150"/>
                  </a:lnTo>
                  <a:lnTo>
                    <a:pt x="1731" y="1157"/>
                  </a:lnTo>
                  <a:lnTo>
                    <a:pt x="1723" y="1165"/>
                  </a:lnTo>
                  <a:lnTo>
                    <a:pt x="1717" y="1175"/>
                  </a:lnTo>
                  <a:lnTo>
                    <a:pt x="1710" y="1185"/>
                  </a:lnTo>
                  <a:lnTo>
                    <a:pt x="1703" y="1194"/>
                  </a:lnTo>
                  <a:lnTo>
                    <a:pt x="1693" y="1203"/>
                  </a:lnTo>
                  <a:lnTo>
                    <a:pt x="1659" y="1227"/>
                  </a:lnTo>
                  <a:lnTo>
                    <a:pt x="1629" y="1247"/>
                  </a:lnTo>
                  <a:lnTo>
                    <a:pt x="1615" y="1258"/>
                  </a:lnTo>
                  <a:lnTo>
                    <a:pt x="1600" y="1269"/>
                  </a:lnTo>
                  <a:lnTo>
                    <a:pt x="1585" y="1281"/>
                  </a:lnTo>
                  <a:lnTo>
                    <a:pt x="1570" y="1295"/>
                  </a:lnTo>
                  <a:lnTo>
                    <a:pt x="1554" y="1311"/>
                  </a:lnTo>
                  <a:lnTo>
                    <a:pt x="1539" y="1326"/>
                  </a:lnTo>
                  <a:lnTo>
                    <a:pt x="1526" y="1341"/>
                  </a:lnTo>
                  <a:lnTo>
                    <a:pt x="1514" y="1355"/>
                  </a:lnTo>
                  <a:lnTo>
                    <a:pt x="1491" y="1385"/>
                  </a:lnTo>
                  <a:lnTo>
                    <a:pt x="1469" y="1415"/>
                  </a:lnTo>
                  <a:lnTo>
                    <a:pt x="1469" y="1415"/>
                  </a:lnTo>
                  <a:lnTo>
                    <a:pt x="1443" y="1402"/>
                  </a:lnTo>
                  <a:lnTo>
                    <a:pt x="1419" y="1392"/>
                  </a:lnTo>
                  <a:lnTo>
                    <a:pt x="1406" y="1388"/>
                  </a:lnTo>
                  <a:lnTo>
                    <a:pt x="1393" y="1384"/>
                  </a:lnTo>
                  <a:lnTo>
                    <a:pt x="1379" y="1382"/>
                  </a:lnTo>
                  <a:lnTo>
                    <a:pt x="1365" y="1382"/>
                  </a:lnTo>
                  <a:lnTo>
                    <a:pt x="1345" y="1382"/>
                  </a:lnTo>
                  <a:lnTo>
                    <a:pt x="1328" y="1384"/>
                  </a:lnTo>
                  <a:lnTo>
                    <a:pt x="1320" y="1385"/>
                  </a:lnTo>
                  <a:lnTo>
                    <a:pt x="1312" y="1385"/>
                  </a:lnTo>
                  <a:lnTo>
                    <a:pt x="1302" y="1385"/>
                  </a:lnTo>
                  <a:lnTo>
                    <a:pt x="1292" y="1384"/>
                  </a:lnTo>
                  <a:lnTo>
                    <a:pt x="1298" y="1370"/>
                  </a:lnTo>
                  <a:lnTo>
                    <a:pt x="1302" y="1357"/>
                  </a:lnTo>
                  <a:lnTo>
                    <a:pt x="1306" y="1344"/>
                  </a:lnTo>
                  <a:lnTo>
                    <a:pt x="1312" y="1331"/>
                  </a:lnTo>
                  <a:lnTo>
                    <a:pt x="1327" y="1306"/>
                  </a:lnTo>
                  <a:lnTo>
                    <a:pt x="1343" y="1283"/>
                  </a:lnTo>
                  <a:lnTo>
                    <a:pt x="1349" y="1271"/>
                  </a:lnTo>
                  <a:lnTo>
                    <a:pt x="1355" y="1259"/>
                  </a:lnTo>
                  <a:lnTo>
                    <a:pt x="1357" y="1253"/>
                  </a:lnTo>
                  <a:lnTo>
                    <a:pt x="1358" y="1246"/>
                  </a:lnTo>
                  <a:lnTo>
                    <a:pt x="1359" y="1239"/>
                  </a:lnTo>
                  <a:lnTo>
                    <a:pt x="1359" y="1230"/>
                  </a:lnTo>
                  <a:lnTo>
                    <a:pt x="1358" y="1217"/>
                  </a:lnTo>
                  <a:lnTo>
                    <a:pt x="1357" y="1203"/>
                  </a:lnTo>
                  <a:lnTo>
                    <a:pt x="1357" y="1177"/>
                  </a:lnTo>
                  <a:lnTo>
                    <a:pt x="1357" y="1153"/>
                  </a:lnTo>
                  <a:lnTo>
                    <a:pt x="1357" y="1130"/>
                  </a:lnTo>
                  <a:lnTo>
                    <a:pt x="1357" y="1104"/>
                  </a:lnTo>
                  <a:lnTo>
                    <a:pt x="1356" y="1088"/>
                  </a:lnTo>
                  <a:lnTo>
                    <a:pt x="1354" y="1073"/>
                  </a:lnTo>
                  <a:lnTo>
                    <a:pt x="1349" y="1060"/>
                  </a:lnTo>
                  <a:lnTo>
                    <a:pt x="1343" y="1047"/>
                  </a:lnTo>
                  <a:lnTo>
                    <a:pt x="1340" y="1042"/>
                  </a:lnTo>
                  <a:lnTo>
                    <a:pt x="1335" y="1037"/>
                  </a:lnTo>
                  <a:lnTo>
                    <a:pt x="1331" y="1031"/>
                  </a:lnTo>
                  <a:lnTo>
                    <a:pt x="1326" y="1027"/>
                  </a:lnTo>
                  <a:lnTo>
                    <a:pt x="1320" y="1023"/>
                  </a:lnTo>
                  <a:lnTo>
                    <a:pt x="1314" y="1018"/>
                  </a:lnTo>
                  <a:lnTo>
                    <a:pt x="1307" y="1015"/>
                  </a:lnTo>
                  <a:lnTo>
                    <a:pt x="1301" y="1012"/>
                  </a:lnTo>
                  <a:lnTo>
                    <a:pt x="1289" y="1007"/>
                  </a:lnTo>
                  <a:lnTo>
                    <a:pt x="1278" y="1005"/>
                  </a:lnTo>
                  <a:lnTo>
                    <a:pt x="1267" y="1004"/>
                  </a:lnTo>
                  <a:lnTo>
                    <a:pt x="1258" y="1003"/>
                  </a:lnTo>
                  <a:lnTo>
                    <a:pt x="1247" y="1002"/>
                  </a:lnTo>
                  <a:lnTo>
                    <a:pt x="1236" y="1001"/>
                  </a:lnTo>
                  <a:lnTo>
                    <a:pt x="1225" y="999"/>
                  </a:lnTo>
                  <a:lnTo>
                    <a:pt x="1213" y="995"/>
                  </a:lnTo>
                  <a:lnTo>
                    <a:pt x="1204" y="991"/>
                  </a:lnTo>
                  <a:lnTo>
                    <a:pt x="1196" y="986"/>
                  </a:lnTo>
                  <a:lnTo>
                    <a:pt x="1190" y="979"/>
                  </a:lnTo>
                  <a:lnTo>
                    <a:pt x="1184" y="972"/>
                  </a:lnTo>
                  <a:lnTo>
                    <a:pt x="1175" y="956"/>
                  </a:lnTo>
                  <a:lnTo>
                    <a:pt x="1166" y="936"/>
                  </a:lnTo>
                  <a:lnTo>
                    <a:pt x="1156" y="918"/>
                  </a:lnTo>
                  <a:lnTo>
                    <a:pt x="1144" y="901"/>
                  </a:lnTo>
                  <a:lnTo>
                    <a:pt x="1132" y="885"/>
                  </a:lnTo>
                  <a:lnTo>
                    <a:pt x="1119" y="872"/>
                  </a:lnTo>
                  <a:lnTo>
                    <a:pt x="1105" y="860"/>
                  </a:lnTo>
                  <a:lnTo>
                    <a:pt x="1091" y="848"/>
                  </a:lnTo>
                  <a:lnTo>
                    <a:pt x="1077" y="837"/>
                  </a:lnTo>
                  <a:lnTo>
                    <a:pt x="1062" y="826"/>
                  </a:lnTo>
                  <a:lnTo>
                    <a:pt x="1048" y="815"/>
                  </a:lnTo>
                  <a:lnTo>
                    <a:pt x="1034" y="804"/>
                  </a:lnTo>
                  <a:lnTo>
                    <a:pt x="1020" y="793"/>
                  </a:lnTo>
                  <a:lnTo>
                    <a:pt x="1007" y="781"/>
                  </a:lnTo>
                  <a:lnTo>
                    <a:pt x="995" y="767"/>
                  </a:lnTo>
                  <a:lnTo>
                    <a:pt x="983" y="752"/>
                  </a:lnTo>
                  <a:lnTo>
                    <a:pt x="974" y="734"/>
                  </a:lnTo>
                  <a:lnTo>
                    <a:pt x="964" y="715"/>
                  </a:lnTo>
                  <a:lnTo>
                    <a:pt x="955" y="696"/>
                  </a:lnTo>
                  <a:lnTo>
                    <a:pt x="947" y="679"/>
                  </a:lnTo>
                  <a:lnTo>
                    <a:pt x="936" y="665"/>
                  </a:lnTo>
                  <a:lnTo>
                    <a:pt x="925" y="651"/>
                  </a:lnTo>
                  <a:lnTo>
                    <a:pt x="900" y="625"/>
                  </a:lnTo>
                  <a:lnTo>
                    <a:pt x="872" y="597"/>
                  </a:lnTo>
                  <a:lnTo>
                    <a:pt x="861" y="586"/>
                  </a:lnTo>
                  <a:lnTo>
                    <a:pt x="853" y="578"/>
                  </a:lnTo>
                  <a:lnTo>
                    <a:pt x="847" y="573"/>
                  </a:lnTo>
                  <a:lnTo>
                    <a:pt x="842" y="570"/>
                  </a:lnTo>
                  <a:lnTo>
                    <a:pt x="836" y="567"/>
                  </a:lnTo>
                  <a:lnTo>
                    <a:pt x="830" y="564"/>
                  </a:lnTo>
                  <a:lnTo>
                    <a:pt x="822" y="561"/>
                  </a:lnTo>
                  <a:lnTo>
                    <a:pt x="816" y="559"/>
                  </a:lnTo>
                  <a:lnTo>
                    <a:pt x="809" y="558"/>
                  </a:lnTo>
                  <a:lnTo>
                    <a:pt x="803" y="557"/>
                  </a:lnTo>
                  <a:lnTo>
                    <a:pt x="791" y="557"/>
                  </a:lnTo>
                  <a:lnTo>
                    <a:pt x="778" y="558"/>
                  </a:lnTo>
                  <a:lnTo>
                    <a:pt x="766" y="558"/>
                  </a:lnTo>
                  <a:lnTo>
                    <a:pt x="753" y="559"/>
                  </a:lnTo>
                  <a:lnTo>
                    <a:pt x="740" y="558"/>
                  </a:lnTo>
                  <a:lnTo>
                    <a:pt x="726" y="555"/>
                  </a:lnTo>
                  <a:lnTo>
                    <a:pt x="722" y="554"/>
                  </a:lnTo>
                  <a:lnTo>
                    <a:pt x="719" y="552"/>
                  </a:lnTo>
                  <a:lnTo>
                    <a:pt x="715" y="548"/>
                  </a:lnTo>
                  <a:lnTo>
                    <a:pt x="713" y="546"/>
                  </a:lnTo>
                  <a:lnTo>
                    <a:pt x="710" y="539"/>
                  </a:lnTo>
                  <a:lnTo>
                    <a:pt x="708" y="530"/>
                  </a:lnTo>
                  <a:lnTo>
                    <a:pt x="707" y="512"/>
                  </a:lnTo>
                  <a:lnTo>
                    <a:pt x="704" y="493"/>
                  </a:lnTo>
                  <a:lnTo>
                    <a:pt x="700" y="486"/>
                  </a:lnTo>
                  <a:lnTo>
                    <a:pt x="696" y="480"/>
                  </a:lnTo>
                  <a:lnTo>
                    <a:pt x="690" y="476"/>
                  </a:lnTo>
                  <a:lnTo>
                    <a:pt x="683" y="473"/>
                  </a:lnTo>
                  <a:lnTo>
                    <a:pt x="667" y="469"/>
                  </a:lnTo>
                  <a:lnTo>
                    <a:pt x="651" y="465"/>
                  </a:lnTo>
                  <a:lnTo>
                    <a:pt x="613" y="457"/>
                  </a:lnTo>
                  <a:lnTo>
                    <a:pt x="580" y="450"/>
                  </a:lnTo>
                  <a:lnTo>
                    <a:pt x="564" y="447"/>
                  </a:lnTo>
                  <a:lnTo>
                    <a:pt x="547" y="445"/>
                  </a:lnTo>
                  <a:lnTo>
                    <a:pt x="529" y="444"/>
                  </a:lnTo>
                  <a:lnTo>
                    <a:pt x="509" y="443"/>
                  </a:lnTo>
                  <a:lnTo>
                    <a:pt x="483" y="443"/>
                  </a:lnTo>
                  <a:lnTo>
                    <a:pt x="460" y="443"/>
                  </a:lnTo>
                  <a:lnTo>
                    <a:pt x="436" y="443"/>
                  </a:lnTo>
                  <a:lnTo>
                    <a:pt x="410" y="443"/>
                  </a:lnTo>
                  <a:lnTo>
                    <a:pt x="403" y="443"/>
                  </a:lnTo>
                  <a:lnTo>
                    <a:pt x="398" y="442"/>
                  </a:lnTo>
                  <a:lnTo>
                    <a:pt x="394" y="439"/>
                  </a:lnTo>
                  <a:lnTo>
                    <a:pt x="388" y="436"/>
                  </a:lnTo>
                  <a:lnTo>
                    <a:pt x="381" y="430"/>
                  </a:lnTo>
                  <a:lnTo>
                    <a:pt x="372" y="422"/>
                  </a:lnTo>
                  <a:lnTo>
                    <a:pt x="364" y="415"/>
                  </a:lnTo>
                  <a:lnTo>
                    <a:pt x="356" y="407"/>
                  </a:lnTo>
                  <a:lnTo>
                    <a:pt x="352" y="405"/>
                  </a:lnTo>
                  <a:lnTo>
                    <a:pt x="346" y="403"/>
                  </a:lnTo>
                  <a:lnTo>
                    <a:pt x="341" y="402"/>
                  </a:lnTo>
                  <a:lnTo>
                    <a:pt x="335" y="401"/>
                  </a:lnTo>
                  <a:lnTo>
                    <a:pt x="328" y="402"/>
                  </a:lnTo>
                  <a:lnTo>
                    <a:pt x="321" y="403"/>
                  </a:lnTo>
                  <a:lnTo>
                    <a:pt x="315" y="405"/>
                  </a:lnTo>
                  <a:lnTo>
                    <a:pt x="309" y="407"/>
                  </a:lnTo>
                  <a:lnTo>
                    <a:pt x="300" y="415"/>
                  </a:lnTo>
                  <a:lnTo>
                    <a:pt x="289" y="422"/>
                  </a:lnTo>
                  <a:lnTo>
                    <a:pt x="279" y="430"/>
                  </a:lnTo>
                  <a:lnTo>
                    <a:pt x="269" y="436"/>
                  </a:lnTo>
                  <a:lnTo>
                    <a:pt x="263" y="439"/>
                  </a:lnTo>
                  <a:lnTo>
                    <a:pt x="258" y="442"/>
                  </a:lnTo>
                  <a:lnTo>
                    <a:pt x="251" y="443"/>
                  </a:lnTo>
                  <a:lnTo>
                    <a:pt x="243" y="443"/>
                  </a:lnTo>
                  <a:lnTo>
                    <a:pt x="238" y="443"/>
                  </a:lnTo>
                  <a:lnTo>
                    <a:pt x="233" y="442"/>
                  </a:lnTo>
                  <a:lnTo>
                    <a:pt x="227" y="440"/>
                  </a:lnTo>
                  <a:lnTo>
                    <a:pt x="222" y="438"/>
                  </a:lnTo>
                  <a:lnTo>
                    <a:pt x="213" y="433"/>
                  </a:lnTo>
                  <a:lnTo>
                    <a:pt x="205" y="428"/>
                  </a:lnTo>
                  <a:lnTo>
                    <a:pt x="196" y="422"/>
                  </a:lnTo>
                  <a:lnTo>
                    <a:pt x="187" y="417"/>
                  </a:lnTo>
                  <a:lnTo>
                    <a:pt x="182" y="415"/>
                  </a:lnTo>
                  <a:lnTo>
                    <a:pt x="177" y="413"/>
                  </a:lnTo>
                  <a:lnTo>
                    <a:pt x="171" y="412"/>
                  </a:lnTo>
                  <a:lnTo>
                    <a:pt x="166" y="412"/>
                  </a:lnTo>
                  <a:lnTo>
                    <a:pt x="152" y="413"/>
                  </a:lnTo>
                  <a:lnTo>
                    <a:pt x="141" y="416"/>
                  </a:lnTo>
                  <a:lnTo>
                    <a:pt x="129" y="419"/>
                  </a:lnTo>
                  <a:lnTo>
                    <a:pt x="119" y="423"/>
                  </a:lnTo>
                  <a:lnTo>
                    <a:pt x="108" y="428"/>
                  </a:lnTo>
                  <a:lnTo>
                    <a:pt x="98" y="431"/>
                  </a:lnTo>
                  <a:lnTo>
                    <a:pt x="86" y="434"/>
                  </a:lnTo>
                  <a:lnTo>
                    <a:pt x="73" y="435"/>
                  </a:lnTo>
                  <a:lnTo>
                    <a:pt x="63" y="434"/>
                  </a:lnTo>
                  <a:lnTo>
                    <a:pt x="54" y="431"/>
                  </a:lnTo>
                  <a:lnTo>
                    <a:pt x="46" y="428"/>
                  </a:lnTo>
                  <a:lnTo>
                    <a:pt x="37" y="423"/>
                  </a:lnTo>
                  <a:lnTo>
                    <a:pt x="29" y="419"/>
                  </a:lnTo>
                  <a:lnTo>
                    <a:pt x="20" y="415"/>
                  </a:lnTo>
                  <a:lnTo>
                    <a:pt x="10" y="412"/>
                  </a:lnTo>
                  <a:lnTo>
                    <a:pt x="0" y="411"/>
                  </a:lnTo>
                  <a:lnTo>
                    <a:pt x="0" y="411"/>
                  </a:lnTo>
                  <a:close/>
                </a:path>
              </a:pathLst>
            </a:custGeom>
            <a:solidFill>
              <a:srgbClr val="3B61AC"/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 83">
              <a:extLst>
                <a:ext uri="{FF2B5EF4-FFF2-40B4-BE49-F238E27FC236}">
                  <a16:creationId xmlns:a16="http://schemas.microsoft.com/office/drawing/2014/main" id="{546E8298-C9B7-43D0-BCBA-69D1A4C93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98800" y="652463"/>
              <a:ext cx="52388" cy="84138"/>
            </a:xfrm>
            <a:custGeom>
              <a:avLst/>
              <a:gdLst>
                <a:gd name="T0" fmla="*/ 70 w 132"/>
                <a:gd name="T1" fmla="*/ 22 h 209"/>
                <a:gd name="T2" fmla="*/ 51 w 132"/>
                <a:gd name="T3" fmla="*/ 18 h 209"/>
                <a:gd name="T4" fmla="*/ 34 w 132"/>
                <a:gd name="T5" fmla="*/ 15 h 209"/>
                <a:gd name="T6" fmla="*/ 18 w 132"/>
                <a:gd name="T7" fmla="*/ 9 h 209"/>
                <a:gd name="T8" fmla="*/ 0 w 132"/>
                <a:gd name="T9" fmla="*/ 0 h 209"/>
                <a:gd name="T10" fmla="*/ 2 w 132"/>
                <a:gd name="T11" fmla="*/ 9 h 209"/>
                <a:gd name="T12" fmla="*/ 5 w 132"/>
                <a:gd name="T13" fmla="*/ 16 h 209"/>
                <a:gd name="T14" fmla="*/ 8 w 132"/>
                <a:gd name="T15" fmla="*/ 24 h 209"/>
                <a:gd name="T16" fmla="*/ 9 w 132"/>
                <a:gd name="T17" fmla="*/ 32 h 209"/>
                <a:gd name="T18" fmla="*/ 9 w 132"/>
                <a:gd name="T19" fmla="*/ 47 h 209"/>
                <a:gd name="T20" fmla="*/ 9 w 132"/>
                <a:gd name="T21" fmla="*/ 61 h 209"/>
                <a:gd name="T22" fmla="*/ 9 w 132"/>
                <a:gd name="T23" fmla="*/ 74 h 209"/>
                <a:gd name="T24" fmla="*/ 9 w 132"/>
                <a:gd name="T25" fmla="*/ 90 h 209"/>
                <a:gd name="T26" fmla="*/ 9 w 132"/>
                <a:gd name="T27" fmla="*/ 98 h 209"/>
                <a:gd name="T28" fmla="*/ 10 w 132"/>
                <a:gd name="T29" fmla="*/ 107 h 209"/>
                <a:gd name="T30" fmla="*/ 12 w 132"/>
                <a:gd name="T31" fmla="*/ 114 h 209"/>
                <a:gd name="T32" fmla="*/ 14 w 132"/>
                <a:gd name="T33" fmla="*/ 122 h 209"/>
                <a:gd name="T34" fmla="*/ 21 w 132"/>
                <a:gd name="T35" fmla="*/ 136 h 209"/>
                <a:gd name="T36" fmla="*/ 27 w 132"/>
                <a:gd name="T37" fmla="*/ 150 h 209"/>
                <a:gd name="T38" fmla="*/ 34 w 132"/>
                <a:gd name="T39" fmla="*/ 163 h 209"/>
                <a:gd name="T40" fmla="*/ 39 w 132"/>
                <a:gd name="T41" fmla="*/ 177 h 209"/>
                <a:gd name="T42" fmla="*/ 42 w 132"/>
                <a:gd name="T43" fmla="*/ 185 h 209"/>
                <a:gd name="T44" fmla="*/ 43 w 132"/>
                <a:gd name="T45" fmla="*/ 192 h 209"/>
                <a:gd name="T46" fmla="*/ 45 w 132"/>
                <a:gd name="T47" fmla="*/ 201 h 209"/>
                <a:gd name="T48" fmla="*/ 46 w 132"/>
                <a:gd name="T49" fmla="*/ 209 h 209"/>
                <a:gd name="T50" fmla="*/ 56 w 132"/>
                <a:gd name="T51" fmla="*/ 209 h 209"/>
                <a:gd name="T52" fmla="*/ 67 w 132"/>
                <a:gd name="T53" fmla="*/ 209 h 209"/>
                <a:gd name="T54" fmla="*/ 75 w 132"/>
                <a:gd name="T55" fmla="*/ 209 h 209"/>
                <a:gd name="T56" fmla="*/ 82 w 132"/>
                <a:gd name="T57" fmla="*/ 207 h 209"/>
                <a:gd name="T58" fmla="*/ 90 w 132"/>
                <a:gd name="T59" fmla="*/ 205 h 209"/>
                <a:gd name="T60" fmla="*/ 96 w 132"/>
                <a:gd name="T61" fmla="*/ 201 h 209"/>
                <a:gd name="T62" fmla="*/ 102 w 132"/>
                <a:gd name="T63" fmla="*/ 196 h 209"/>
                <a:gd name="T64" fmla="*/ 107 w 132"/>
                <a:gd name="T65" fmla="*/ 192 h 209"/>
                <a:gd name="T66" fmla="*/ 112 w 132"/>
                <a:gd name="T67" fmla="*/ 186 h 209"/>
                <a:gd name="T68" fmla="*/ 116 w 132"/>
                <a:gd name="T69" fmla="*/ 180 h 209"/>
                <a:gd name="T70" fmla="*/ 120 w 132"/>
                <a:gd name="T71" fmla="*/ 173 h 209"/>
                <a:gd name="T72" fmla="*/ 123 w 132"/>
                <a:gd name="T73" fmla="*/ 166 h 209"/>
                <a:gd name="T74" fmla="*/ 126 w 132"/>
                <a:gd name="T75" fmla="*/ 158 h 209"/>
                <a:gd name="T76" fmla="*/ 129 w 132"/>
                <a:gd name="T77" fmla="*/ 150 h 209"/>
                <a:gd name="T78" fmla="*/ 131 w 132"/>
                <a:gd name="T79" fmla="*/ 134 h 209"/>
                <a:gd name="T80" fmla="*/ 132 w 132"/>
                <a:gd name="T81" fmla="*/ 118 h 209"/>
                <a:gd name="T82" fmla="*/ 131 w 132"/>
                <a:gd name="T83" fmla="*/ 101 h 209"/>
                <a:gd name="T84" fmla="*/ 128 w 132"/>
                <a:gd name="T85" fmla="*/ 86 h 209"/>
                <a:gd name="T86" fmla="*/ 126 w 132"/>
                <a:gd name="T87" fmla="*/ 79 h 209"/>
                <a:gd name="T88" fmla="*/ 123 w 132"/>
                <a:gd name="T89" fmla="*/ 71 h 209"/>
                <a:gd name="T90" fmla="*/ 120 w 132"/>
                <a:gd name="T91" fmla="*/ 65 h 209"/>
                <a:gd name="T92" fmla="*/ 117 w 132"/>
                <a:gd name="T93" fmla="*/ 57 h 209"/>
                <a:gd name="T94" fmla="*/ 113 w 132"/>
                <a:gd name="T95" fmla="*/ 52 h 209"/>
                <a:gd name="T96" fmla="*/ 107 w 132"/>
                <a:gd name="T97" fmla="*/ 45 h 209"/>
                <a:gd name="T98" fmla="*/ 103 w 132"/>
                <a:gd name="T99" fmla="*/ 40 h 209"/>
                <a:gd name="T100" fmla="*/ 97 w 132"/>
                <a:gd name="T101" fmla="*/ 36 h 209"/>
                <a:gd name="T102" fmla="*/ 91 w 132"/>
                <a:gd name="T103" fmla="*/ 31 h 209"/>
                <a:gd name="T104" fmla="*/ 85 w 132"/>
                <a:gd name="T105" fmla="*/ 27 h 209"/>
                <a:gd name="T106" fmla="*/ 78 w 132"/>
                <a:gd name="T107" fmla="*/ 24 h 209"/>
                <a:gd name="T108" fmla="*/ 70 w 132"/>
                <a:gd name="T109" fmla="*/ 22 h 209"/>
                <a:gd name="T110" fmla="*/ 70 w 132"/>
                <a:gd name="T111" fmla="*/ 2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209">
                  <a:moveTo>
                    <a:pt x="70" y="22"/>
                  </a:moveTo>
                  <a:lnTo>
                    <a:pt x="51" y="18"/>
                  </a:lnTo>
                  <a:lnTo>
                    <a:pt x="34" y="15"/>
                  </a:lnTo>
                  <a:lnTo>
                    <a:pt x="18" y="9"/>
                  </a:lnTo>
                  <a:lnTo>
                    <a:pt x="0" y="0"/>
                  </a:lnTo>
                  <a:lnTo>
                    <a:pt x="2" y="9"/>
                  </a:lnTo>
                  <a:lnTo>
                    <a:pt x="5" y="16"/>
                  </a:lnTo>
                  <a:lnTo>
                    <a:pt x="8" y="24"/>
                  </a:lnTo>
                  <a:lnTo>
                    <a:pt x="9" y="32"/>
                  </a:lnTo>
                  <a:lnTo>
                    <a:pt x="9" y="47"/>
                  </a:lnTo>
                  <a:lnTo>
                    <a:pt x="9" y="61"/>
                  </a:lnTo>
                  <a:lnTo>
                    <a:pt x="9" y="74"/>
                  </a:lnTo>
                  <a:lnTo>
                    <a:pt x="9" y="90"/>
                  </a:lnTo>
                  <a:lnTo>
                    <a:pt x="9" y="98"/>
                  </a:lnTo>
                  <a:lnTo>
                    <a:pt x="10" y="107"/>
                  </a:lnTo>
                  <a:lnTo>
                    <a:pt x="12" y="114"/>
                  </a:lnTo>
                  <a:lnTo>
                    <a:pt x="14" y="122"/>
                  </a:lnTo>
                  <a:lnTo>
                    <a:pt x="21" y="136"/>
                  </a:lnTo>
                  <a:lnTo>
                    <a:pt x="27" y="150"/>
                  </a:lnTo>
                  <a:lnTo>
                    <a:pt x="34" y="163"/>
                  </a:lnTo>
                  <a:lnTo>
                    <a:pt x="39" y="177"/>
                  </a:lnTo>
                  <a:lnTo>
                    <a:pt x="42" y="185"/>
                  </a:lnTo>
                  <a:lnTo>
                    <a:pt x="43" y="192"/>
                  </a:lnTo>
                  <a:lnTo>
                    <a:pt x="45" y="201"/>
                  </a:lnTo>
                  <a:lnTo>
                    <a:pt x="46" y="209"/>
                  </a:lnTo>
                  <a:lnTo>
                    <a:pt x="56" y="209"/>
                  </a:lnTo>
                  <a:lnTo>
                    <a:pt x="67" y="209"/>
                  </a:lnTo>
                  <a:lnTo>
                    <a:pt x="75" y="209"/>
                  </a:lnTo>
                  <a:lnTo>
                    <a:pt x="82" y="207"/>
                  </a:lnTo>
                  <a:lnTo>
                    <a:pt x="90" y="205"/>
                  </a:lnTo>
                  <a:lnTo>
                    <a:pt x="96" y="201"/>
                  </a:lnTo>
                  <a:lnTo>
                    <a:pt x="102" y="196"/>
                  </a:lnTo>
                  <a:lnTo>
                    <a:pt x="107" y="192"/>
                  </a:lnTo>
                  <a:lnTo>
                    <a:pt x="112" y="186"/>
                  </a:lnTo>
                  <a:lnTo>
                    <a:pt x="116" y="180"/>
                  </a:lnTo>
                  <a:lnTo>
                    <a:pt x="120" y="173"/>
                  </a:lnTo>
                  <a:lnTo>
                    <a:pt x="123" y="166"/>
                  </a:lnTo>
                  <a:lnTo>
                    <a:pt x="126" y="158"/>
                  </a:lnTo>
                  <a:lnTo>
                    <a:pt x="129" y="150"/>
                  </a:lnTo>
                  <a:lnTo>
                    <a:pt x="131" y="134"/>
                  </a:lnTo>
                  <a:lnTo>
                    <a:pt x="132" y="118"/>
                  </a:lnTo>
                  <a:lnTo>
                    <a:pt x="131" y="101"/>
                  </a:lnTo>
                  <a:lnTo>
                    <a:pt x="128" y="86"/>
                  </a:lnTo>
                  <a:lnTo>
                    <a:pt x="126" y="79"/>
                  </a:lnTo>
                  <a:lnTo>
                    <a:pt x="123" y="71"/>
                  </a:lnTo>
                  <a:lnTo>
                    <a:pt x="120" y="65"/>
                  </a:lnTo>
                  <a:lnTo>
                    <a:pt x="117" y="57"/>
                  </a:lnTo>
                  <a:lnTo>
                    <a:pt x="113" y="52"/>
                  </a:lnTo>
                  <a:lnTo>
                    <a:pt x="107" y="45"/>
                  </a:lnTo>
                  <a:lnTo>
                    <a:pt x="103" y="40"/>
                  </a:lnTo>
                  <a:lnTo>
                    <a:pt x="97" y="36"/>
                  </a:lnTo>
                  <a:lnTo>
                    <a:pt x="91" y="31"/>
                  </a:lnTo>
                  <a:lnTo>
                    <a:pt x="85" y="27"/>
                  </a:lnTo>
                  <a:lnTo>
                    <a:pt x="78" y="24"/>
                  </a:lnTo>
                  <a:lnTo>
                    <a:pt x="70" y="22"/>
                  </a:lnTo>
                  <a:lnTo>
                    <a:pt x="70" y="22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Line 84">
              <a:extLst>
                <a:ext uri="{FF2B5EF4-FFF2-40B4-BE49-F238E27FC236}">
                  <a16:creationId xmlns:a16="http://schemas.microsoft.com/office/drawing/2014/main" id="{B7AE3A6A-E784-43AB-984B-15619A76A0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2990850" y="1069976"/>
              <a:ext cx="7938" cy="1588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85">
              <a:extLst>
                <a:ext uri="{FF2B5EF4-FFF2-40B4-BE49-F238E27FC236}">
                  <a16:creationId xmlns:a16="http://schemas.microsoft.com/office/drawing/2014/main" id="{6B6EEEFC-7789-4807-86B4-D9B984474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86100" y="977901"/>
              <a:ext cx="103188" cy="93663"/>
            </a:xfrm>
            <a:custGeom>
              <a:avLst/>
              <a:gdLst>
                <a:gd name="T0" fmla="*/ 257 w 258"/>
                <a:gd name="T1" fmla="*/ 216 h 236"/>
                <a:gd name="T2" fmla="*/ 257 w 258"/>
                <a:gd name="T3" fmla="*/ 185 h 236"/>
                <a:gd name="T4" fmla="*/ 258 w 258"/>
                <a:gd name="T5" fmla="*/ 154 h 236"/>
                <a:gd name="T6" fmla="*/ 258 w 258"/>
                <a:gd name="T7" fmla="*/ 133 h 236"/>
                <a:gd name="T8" fmla="*/ 254 w 258"/>
                <a:gd name="T9" fmla="*/ 121 h 236"/>
                <a:gd name="T10" fmla="*/ 242 w 258"/>
                <a:gd name="T11" fmla="*/ 110 h 236"/>
                <a:gd name="T12" fmla="*/ 227 w 258"/>
                <a:gd name="T13" fmla="*/ 101 h 236"/>
                <a:gd name="T14" fmla="*/ 201 w 258"/>
                <a:gd name="T15" fmla="*/ 94 h 236"/>
                <a:gd name="T16" fmla="*/ 170 w 258"/>
                <a:gd name="T17" fmla="*/ 81 h 236"/>
                <a:gd name="T18" fmla="*/ 150 w 258"/>
                <a:gd name="T19" fmla="*/ 65 h 236"/>
                <a:gd name="T20" fmla="*/ 130 w 258"/>
                <a:gd name="T21" fmla="*/ 48 h 236"/>
                <a:gd name="T22" fmla="*/ 110 w 258"/>
                <a:gd name="T23" fmla="*/ 33 h 236"/>
                <a:gd name="T24" fmla="*/ 98 w 258"/>
                <a:gd name="T25" fmla="*/ 26 h 236"/>
                <a:gd name="T26" fmla="*/ 78 w 258"/>
                <a:gd name="T27" fmla="*/ 9 h 236"/>
                <a:gd name="T28" fmla="*/ 67 w 258"/>
                <a:gd name="T29" fmla="*/ 3 h 236"/>
                <a:gd name="T30" fmla="*/ 54 w 258"/>
                <a:gd name="T31" fmla="*/ 0 h 236"/>
                <a:gd name="T32" fmla="*/ 44 w 258"/>
                <a:gd name="T33" fmla="*/ 4 h 236"/>
                <a:gd name="T34" fmla="*/ 39 w 258"/>
                <a:gd name="T35" fmla="*/ 11 h 236"/>
                <a:gd name="T36" fmla="*/ 28 w 258"/>
                <a:gd name="T37" fmla="*/ 32 h 236"/>
                <a:gd name="T38" fmla="*/ 11 w 258"/>
                <a:gd name="T39" fmla="*/ 51 h 236"/>
                <a:gd name="T40" fmla="*/ 3 w 258"/>
                <a:gd name="T41" fmla="*/ 61 h 236"/>
                <a:gd name="T42" fmla="*/ 0 w 258"/>
                <a:gd name="T43" fmla="*/ 74 h 236"/>
                <a:gd name="T44" fmla="*/ 4 w 258"/>
                <a:gd name="T45" fmla="*/ 89 h 236"/>
                <a:gd name="T46" fmla="*/ 13 w 258"/>
                <a:gd name="T47" fmla="*/ 102 h 236"/>
                <a:gd name="T48" fmla="*/ 22 w 258"/>
                <a:gd name="T49" fmla="*/ 115 h 236"/>
                <a:gd name="T50" fmla="*/ 31 w 258"/>
                <a:gd name="T51" fmla="*/ 130 h 236"/>
                <a:gd name="T52" fmla="*/ 41 w 258"/>
                <a:gd name="T53" fmla="*/ 165 h 236"/>
                <a:gd name="T54" fmla="*/ 47 w 258"/>
                <a:gd name="T55" fmla="*/ 180 h 236"/>
                <a:gd name="T56" fmla="*/ 59 w 258"/>
                <a:gd name="T57" fmla="*/ 194 h 236"/>
                <a:gd name="T58" fmla="*/ 69 w 258"/>
                <a:gd name="T59" fmla="*/ 201 h 236"/>
                <a:gd name="T60" fmla="*/ 79 w 258"/>
                <a:gd name="T61" fmla="*/ 207 h 236"/>
                <a:gd name="T62" fmla="*/ 100 w 258"/>
                <a:gd name="T63" fmla="*/ 212 h 236"/>
                <a:gd name="T64" fmla="*/ 149 w 258"/>
                <a:gd name="T65" fmla="*/ 216 h 236"/>
                <a:gd name="T66" fmla="*/ 193 w 258"/>
                <a:gd name="T67" fmla="*/ 227 h 236"/>
                <a:gd name="T68" fmla="*/ 238 w 258"/>
                <a:gd name="T6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8" h="236">
                  <a:moveTo>
                    <a:pt x="257" y="234"/>
                  </a:moveTo>
                  <a:lnTo>
                    <a:pt x="257" y="216"/>
                  </a:lnTo>
                  <a:lnTo>
                    <a:pt x="257" y="200"/>
                  </a:lnTo>
                  <a:lnTo>
                    <a:pt x="257" y="185"/>
                  </a:lnTo>
                  <a:lnTo>
                    <a:pt x="257" y="168"/>
                  </a:lnTo>
                  <a:lnTo>
                    <a:pt x="258" y="154"/>
                  </a:lnTo>
                  <a:lnTo>
                    <a:pt x="258" y="140"/>
                  </a:lnTo>
                  <a:lnTo>
                    <a:pt x="258" y="133"/>
                  </a:lnTo>
                  <a:lnTo>
                    <a:pt x="257" y="127"/>
                  </a:lnTo>
                  <a:lnTo>
                    <a:pt x="254" y="121"/>
                  </a:lnTo>
                  <a:lnTo>
                    <a:pt x="249" y="116"/>
                  </a:lnTo>
                  <a:lnTo>
                    <a:pt x="242" y="110"/>
                  </a:lnTo>
                  <a:lnTo>
                    <a:pt x="234" y="104"/>
                  </a:lnTo>
                  <a:lnTo>
                    <a:pt x="227" y="101"/>
                  </a:lnTo>
                  <a:lnTo>
                    <a:pt x="218" y="99"/>
                  </a:lnTo>
                  <a:lnTo>
                    <a:pt x="201" y="94"/>
                  </a:lnTo>
                  <a:lnTo>
                    <a:pt x="182" y="88"/>
                  </a:lnTo>
                  <a:lnTo>
                    <a:pt x="170" y="81"/>
                  </a:lnTo>
                  <a:lnTo>
                    <a:pt x="161" y="74"/>
                  </a:lnTo>
                  <a:lnTo>
                    <a:pt x="150" y="65"/>
                  </a:lnTo>
                  <a:lnTo>
                    <a:pt x="140" y="57"/>
                  </a:lnTo>
                  <a:lnTo>
                    <a:pt x="130" y="48"/>
                  </a:lnTo>
                  <a:lnTo>
                    <a:pt x="121" y="40"/>
                  </a:lnTo>
                  <a:lnTo>
                    <a:pt x="110" y="33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87" y="18"/>
                  </a:lnTo>
                  <a:lnTo>
                    <a:pt x="78" y="9"/>
                  </a:lnTo>
                  <a:lnTo>
                    <a:pt x="72" y="6"/>
                  </a:lnTo>
                  <a:lnTo>
                    <a:pt x="67" y="3"/>
                  </a:lnTo>
                  <a:lnTo>
                    <a:pt x="60" y="2"/>
                  </a:lnTo>
                  <a:lnTo>
                    <a:pt x="54" y="0"/>
                  </a:lnTo>
                  <a:lnTo>
                    <a:pt x="48" y="2"/>
                  </a:lnTo>
                  <a:lnTo>
                    <a:pt x="44" y="4"/>
                  </a:lnTo>
                  <a:lnTo>
                    <a:pt x="41" y="7"/>
                  </a:lnTo>
                  <a:lnTo>
                    <a:pt x="39" y="11"/>
                  </a:lnTo>
                  <a:lnTo>
                    <a:pt x="33" y="21"/>
                  </a:lnTo>
                  <a:lnTo>
                    <a:pt x="28" y="32"/>
                  </a:lnTo>
                  <a:lnTo>
                    <a:pt x="19" y="43"/>
                  </a:lnTo>
                  <a:lnTo>
                    <a:pt x="11" y="51"/>
                  </a:lnTo>
                  <a:lnTo>
                    <a:pt x="6" y="56"/>
                  </a:lnTo>
                  <a:lnTo>
                    <a:pt x="3" y="61"/>
                  </a:lnTo>
                  <a:lnTo>
                    <a:pt x="1" y="66"/>
                  </a:lnTo>
                  <a:lnTo>
                    <a:pt x="0" y="74"/>
                  </a:lnTo>
                  <a:lnTo>
                    <a:pt x="1" y="83"/>
                  </a:lnTo>
                  <a:lnTo>
                    <a:pt x="4" y="89"/>
                  </a:lnTo>
                  <a:lnTo>
                    <a:pt x="7" y="97"/>
                  </a:lnTo>
                  <a:lnTo>
                    <a:pt x="13" y="102"/>
                  </a:lnTo>
                  <a:lnTo>
                    <a:pt x="17" y="108"/>
                  </a:lnTo>
                  <a:lnTo>
                    <a:pt x="22" y="115"/>
                  </a:lnTo>
                  <a:lnTo>
                    <a:pt x="27" y="121"/>
                  </a:lnTo>
                  <a:lnTo>
                    <a:pt x="31" y="130"/>
                  </a:lnTo>
                  <a:lnTo>
                    <a:pt x="36" y="147"/>
                  </a:lnTo>
                  <a:lnTo>
                    <a:pt x="41" y="165"/>
                  </a:lnTo>
                  <a:lnTo>
                    <a:pt x="44" y="172"/>
                  </a:lnTo>
                  <a:lnTo>
                    <a:pt x="47" y="180"/>
                  </a:lnTo>
                  <a:lnTo>
                    <a:pt x="53" y="187"/>
                  </a:lnTo>
                  <a:lnTo>
                    <a:pt x="59" y="194"/>
                  </a:lnTo>
                  <a:lnTo>
                    <a:pt x="63" y="198"/>
                  </a:lnTo>
                  <a:lnTo>
                    <a:pt x="69" y="201"/>
                  </a:lnTo>
                  <a:lnTo>
                    <a:pt x="74" y="205"/>
                  </a:lnTo>
                  <a:lnTo>
                    <a:pt x="79" y="207"/>
                  </a:lnTo>
                  <a:lnTo>
                    <a:pt x="89" y="210"/>
                  </a:lnTo>
                  <a:lnTo>
                    <a:pt x="100" y="212"/>
                  </a:lnTo>
                  <a:lnTo>
                    <a:pt x="124" y="213"/>
                  </a:lnTo>
                  <a:lnTo>
                    <a:pt x="149" y="216"/>
                  </a:lnTo>
                  <a:lnTo>
                    <a:pt x="173" y="222"/>
                  </a:lnTo>
                  <a:lnTo>
                    <a:pt x="193" y="227"/>
                  </a:lnTo>
                  <a:lnTo>
                    <a:pt x="214" y="232"/>
                  </a:lnTo>
                  <a:lnTo>
                    <a:pt x="238" y="236"/>
                  </a:lnTo>
                  <a:lnTo>
                    <a:pt x="257" y="23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86">
              <a:extLst>
                <a:ext uri="{FF2B5EF4-FFF2-40B4-BE49-F238E27FC236}">
                  <a16:creationId xmlns:a16="http://schemas.microsoft.com/office/drawing/2014/main" id="{A63E14C4-5166-4E0F-A424-7373723FB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65450" y="1052513"/>
              <a:ext cx="47625" cy="36513"/>
            </a:xfrm>
            <a:custGeom>
              <a:avLst/>
              <a:gdLst>
                <a:gd name="T0" fmla="*/ 50 w 120"/>
                <a:gd name="T1" fmla="*/ 0 h 93"/>
                <a:gd name="T2" fmla="*/ 45 w 120"/>
                <a:gd name="T3" fmla="*/ 1 h 93"/>
                <a:gd name="T4" fmla="*/ 39 w 120"/>
                <a:gd name="T5" fmla="*/ 4 h 93"/>
                <a:gd name="T6" fmla="*/ 35 w 120"/>
                <a:gd name="T7" fmla="*/ 7 h 93"/>
                <a:gd name="T8" fmla="*/ 32 w 120"/>
                <a:gd name="T9" fmla="*/ 10 h 93"/>
                <a:gd name="T10" fmla="*/ 24 w 120"/>
                <a:gd name="T11" fmla="*/ 20 h 93"/>
                <a:gd name="T12" fmla="*/ 16 w 120"/>
                <a:gd name="T13" fmla="*/ 28 h 93"/>
                <a:gd name="T14" fmla="*/ 11 w 120"/>
                <a:gd name="T15" fmla="*/ 33 h 93"/>
                <a:gd name="T16" fmla="*/ 6 w 120"/>
                <a:gd name="T17" fmla="*/ 37 h 93"/>
                <a:gd name="T18" fmla="*/ 3 w 120"/>
                <a:gd name="T19" fmla="*/ 39 h 93"/>
                <a:gd name="T20" fmla="*/ 1 w 120"/>
                <a:gd name="T21" fmla="*/ 41 h 93"/>
                <a:gd name="T22" fmla="*/ 0 w 120"/>
                <a:gd name="T23" fmla="*/ 45 h 93"/>
                <a:gd name="T24" fmla="*/ 0 w 120"/>
                <a:gd name="T25" fmla="*/ 48 h 93"/>
                <a:gd name="T26" fmla="*/ 0 w 120"/>
                <a:gd name="T27" fmla="*/ 53 h 93"/>
                <a:gd name="T28" fmla="*/ 1 w 120"/>
                <a:gd name="T29" fmla="*/ 58 h 93"/>
                <a:gd name="T30" fmla="*/ 2 w 120"/>
                <a:gd name="T31" fmla="*/ 62 h 93"/>
                <a:gd name="T32" fmla="*/ 5 w 120"/>
                <a:gd name="T33" fmla="*/ 66 h 93"/>
                <a:gd name="T34" fmla="*/ 9 w 120"/>
                <a:gd name="T35" fmla="*/ 74 h 93"/>
                <a:gd name="T36" fmla="*/ 15 w 120"/>
                <a:gd name="T37" fmla="*/ 80 h 93"/>
                <a:gd name="T38" fmla="*/ 23 w 120"/>
                <a:gd name="T39" fmla="*/ 86 h 93"/>
                <a:gd name="T40" fmla="*/ 32 w 120"/>
                <a:gd name="T41" fmla="*/ 90 h 93"/>
                <a:gd name="T42" fmla="*/ 40 w 120"/>
                <a:gd name="T43" fmla="*/ 92 h 93"/>
                <a:gd name="T44" fmla="*/ 50 w 120"/>
                <a:gd name="T45" fmla="*/ 93 h 93"/>
                <a:gd name="T46" fmla="*/ 57 w 120"/>
                <a:gd name="T47" fmla="*/ 92 h 93"/>
                <a:gd name="T48" fmla="*/ 63 w 120"/>
                <a:gd name="T49" fmla="*/ 90 h 93"/>
                <a:gd name="T50" fmla="*/ 68 w 120"/>
                <a:gd name="T51" fmla="*/ 88 h 93"/>
                <a:gd name="T52" fmla="*/ 74 w 120"/>
                <a:gd name="T53" fmla="*/ 85 h 93"/>
                <a:gd name="T54" fmla="*/ 83 w 120"/>
                <a:gd name="T55" fmla="*/ 77 h 93"/>
                <a:gd name="T56" fmla="*/ 95 w 120"/>
                <a:gd name="T57" fmla="*/ 71 h 93"/>
                <a:gd name="T58" fmla="*/ 104 w 120"/>
                <a:gd name="T59" fmla="*/ 67 h 93"/>
                <a:gd name="T60" fmla="*/ 113 w 120"/>
                <a:gd name="T61" fmla="*/ 62 h 93"/>
                <a:gd name="T62" fmla="*/ 116 w 120"/>
                <a:gd name="T63" fmla="*/ 60 h 93"/>
                <a:gd name="T64" fmla="*/ 118 w 120"/>
                <a:gd name="T65" fmla="*/ 57 h 93"/>
                <a:gd name="T66" fmla="*/ 120 w 120"/>
                <a:gd name="T67" fmla="*/ 52 h 93"/>
                <a:gd name="T68" fmla="*/ 120 w 120"/>
                <a:gd name="T69" fmla="*/ 48 h 93"/>
                <a:gd name="T70" fmla="*/ 120 w 120"/>
                <a:gd name="T71" fmla="*/ 43 h 93"/>
                <a:gd name="T72" fmla="*/ 119 w 120"/>
                <a:gd name="T73" fmla="*/ 37 h 93"/>
                <a:gd name="T74" fmla="*/ 117 w 120"/>
                <a:gd name="T75" fmla="*/ 32 h 93"/>
                <a:gd name="T76" fmla="*/ 114 w 120"/>
                <a:gd name="T77" fmla="*/ 26 h 93"/>
                <a:gd name="T78" fmla="*/ 110 w 120"/>
                <a:gd name="T79" fmla="*/ 22 h 93"/>
                <a:gd name="T80" fmla="*/ 107 w 120"/>
                <a:gd name="T81" fmla="*/ 19 h 93"/>
                <a:gd name="T82" fmla="*/ 103 w 120"/>
                <a:gd name="T83" fmla="*/ 16 h 93"/>
                <a:gd name="T84" fmla="*/ 97 w 120"/>
                <a:gd name="T85" fmla="*/ 12 h 93"/>
                <a:gd name="T86" fmla="*/ 87 w 120"/>
                <a:gd name="T87" fmla="*/ 7 h 93"/>
                <a:gd name="T88" fmla="*/ 75 w 120"/>
                <a:gd name="T89" fmla="*/ 4 h 93"/>
                <a:gd name="T90" fmla="*/ 63 w 120"/>
                <a:gd name="T91" fmla="*/ 1 h 93"/>
                <a:gd name="T92" fmla="*/ 50 w 120"/>
                <a:gd name="T93" fmla="*/ 0 h 93"/>
                <a:gd name="T94" fmla="*/ 50 w 120"/>
                <a:gd name="T9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93">
                  <a:moveTo>
                    <a:pt x="50" y="0"/>
                  </a:moveTo>
                  <a:lnTo>
                    <a:pt x="45" y="1"/>
                  </a:lnTo>
                  <a:lnTo>
                    <a:pt x="39" y="4"/>
                  </a:lnTo>
                  <a:lnTo>
                    <a:pt x="35" y="7"/>
                  </a:lnTo>
                  <a:lnTo>
                    <a:pt x="32" y="10"/>
                  </a:lnTo>
                  <a:lnTo>
                    <a:pt x="24" y="20"/>
                  </a:lnTo>
                  <a:lnTo>
                    <a:pt x="16" y="28"/>
                  </a:lnTo>
                  <a:lnTo>
                    <a:pt x="11" y="33"/>
                  </a:lnTo>
                  <a:lnTo>
                    <a:pt x="6" y="37"/>
                  </a:lnTo>
                  <a:lnTo>
                    <a:pt x="3" y="39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1" y="58"/>
                  </a:lnTo>
                  <a:lnTo>
                    <a:pt x="2" y="62"/>
                  </a:lnTo>
                  <a:lnTo>
                    <a:pt x="5" y="66"/>
                  </a:lnTo>
                  <a:lnTo>
                    <a:pt x="9" y="74"/>
                  </a:lnTo>
                  <a:lnTo>
                    <a:pt x="15" y="80"/>
                  </a:lnTo>
                  <a:lnTo>
                    <a:pt x="23" y="86"/>
                  </a:lnTo>
                  <a:lnTo>
                    <a:pt x="32" y="90"/>
                  </a:lnTo>
                  <a:lnTo>
                    <a:pt x="40" y="92"/>
                  </a:lnTo>
                  <a:lnTo>
                    <a:pt x="50" y="93"/>
                  </a:lnTo>
                  <a:lnTo>
                    <a:pt x="57" y="92"/>
                  </a:lnTo>
                  <a:lnTo>
                    <a:pt x="63" y="90"/>
                  </a:lnTo>
                  <a:lnTo>
                    <a:pt x="68" y="88"/>
                  </a:lnTo>
                  <a:lnTo>
                    <a:pt x="74" y="85"/>
                  </a:lnTo>
                  <a:lnTo>
                    <a:pt x="83" y="77"/>
                  </a:lnTo>
                  <a:lnTo>
                    <a:pt x="95" y="71"/>
                  </a:lnTo>
                  <a:lnTo>
                    <a:pt x="104" y="67"/>
                  </a:lnTo>
                  <a:lnTo>
                    <a:pt x="113" y="62"/>
                  </a:lnTo>
                  <a:lnTo>
                    <a:pt x="116" y="60"/>
                  </a:lnTo>
                  <a:lnTo>
                    <a:pt x="118" y="57"/>
                  </a:lnTo>
                  <a:lnTo>
                    <a:pt x="120" y="52"/>
                  </a:lnTo>
                  <a:lnTo>
                    <a:pt x="120" y="48"/>
                  </a:lnTo>
                  <a:lnTo>
                    <a:pt x="120" y="43"/>
                  </a:lnTo>
                  <a:lnTo>
                    <a:pt x="119" y="37"/>
                  </a:lnTo>
                  <a:lnTo>
                    <a:pt x="117" y="32"/>
                  </a:lnTo>
                  <a:lnTo>
                    <a:pt x="114" y="26"/>
                  </a:lnTo>
                  <a:lnTo>
                    <a:pt x="110" y="22"/>
                  </a:lnTo>
                  <a:lnTo>
                    <a:pt x="107" y="19"/>
                  </a:lnTo>
                  <a:lnTo>
                    <a:pt x="103" y="16"/>
                  </a:lnTo>
                  <a:lnTo>
                    <a:pt x="97" y="12"/>
                  </a:lnTo>
                  <a:lnTo>
                    <a:pt x="87" y="7"/>
                  </a:lnTo>
                  <a:lnTo>
                    <a:pt x="75" y="4"/>
                  </a:lnTo>
                  <a:lnTo>
                    <a:pt x="63" y="1"/>
                  </a:lnTo>
                  <a:lnTo>
                    <a:pt x="50" y="0"/>
                  </a:lnTo>
                  <a:lnTo>
                    <a:pt x="5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87">
              <a:extLst>
                <a:ext uri="{FF2B5EF4-FFF2-40B4-BE49-F238E27FC236}">
                  <a16:creationId xmlns:a16="http://schemas.microsoft.com/office/drawing/2014/main" id="{E1FBB993-474A-4156-9F92-67A4F79EC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7700" y="1047751"/>
              <a:ext cx="84138" cy="58738"/>
            </a:xfrm>
            <a:custGeom>
              <a:avLst/>
              <a:gdLst>
                <a:gd name="T0" fmla="*/ 170 w 209"/>
                <a:gd name="T1" fmla="*/ 0 h 145"/>
                <a:gd name="T2" fmla="*/ 155 w 209"/>
                <a:gd name="T3" fmla="*/ 0 h 145"/>
                <a:gd name="T4" fmla="*/ 142 w 209"/>
                <a:gd name="T5" fmla="*/ 2 h 145"/>
                <a:gd name="T6" fmla="*/ 130 w 209"/>
                <a:gd name="T7" fmla="*/ 5 h 145"/>
                <a:gd name="T8" fmla="*/ 118 w 209"/>
                <a:gd name="T9" fmla="*/ 10 h 145"/>
                <a:gd name="T10" fmla="*/ 107 w 209"/>
                <a:gd name="T11" fmla="*/ 16 h 145"/>
                <a:gd name="T12" fmla="*/ 96 w 209"/>
                <a:gd name="T13" fmla="*/ 22 h 145"/>
                <a:gd name="T14" fmla="*/ 84 w 209"/>
                <a:gd name="T15" fmla="*/ 30 h 145"/>
                <a:gd name="T16" fmla="*/ 72 w 209"/>
                <a:gd name="T17" fmla="*/ 38 h 145"/>
                <a:gd name="T18" fmla="*/ 46 w 209"/>
                <a:gd name="T19" fmla="*/ 57 h 145"/>
                <a:gd name="T20" fmla="*/ 22 w 209"/>
                <a:gd name="T21" fmla="*/ 75 h 145"/>
                <a:gd name="T22" fmla="*/ 17 w 209"/>
                <a:gd name="T23" fmla="*/ 81 h 145"/>
                <a:gd name="T24" fmla="*/ 13 w 209"/>
                <a:gd name="T25" fmla="*/ 85 h 145"/>
                <a:gd name="T26" fmla="*/ 9 w 209"/>
                <a:gd name="T27" fmla="*/ 91 h 145"/>
                <a:gd name="T28" fmla="*/ 6 w 209"/>
                <a:gd name="T29" fmla="*/ 97 h 145"/>
                <a:gd name="T30" fmla="*/ 3 w 209"/>
                <a:gd name="T31" fmla="*/ 103 h 145"/>
                <a:gd name="T32" fmla="*/ 1 w 209"/>
                <a:gd name="T33" fmla="*/ 110 h 145"/>
                <a:gd name="T34" fmla="*/ 0 w 209"/>
                <a:gd name="T35" fmla="*/ 117 h 145"/>
                <a:gd name="T36" fmla="*/ 0 w 209"/>
                <a:gd name="T37" fmla="*/ 125 h 145"/>
                <a:gd name="T38" fmla="*/ 0 w 209"/>
                <a:gd name="T39" fmla="*/ 130 h 145"/>
                <a:gd name="T40" fmla="*/ 2 w 209"/>
                <a:gd name="T41" fmla="*/ 134 h 145"/>
                <a:gd name="T42" fmla="*/ 4 w 209"/>
                <a:gd name="T43" fmla="*/ 137 h 145"/>
                <a:gd name="T44" fmla="*/ 7 w 209"/>
                <a:gd name="T45" fmla="*/ 140 h 145"/>
                <a:gd name="T46" fmla="*/ 10 w 209"/>
                <a:gd name="T47" fmla="*/ 142 h 145"/>
                <a:gd name="T48" fmla="*/ 15 w 209"/>
                <a:gd name="T49" fmla="*/ 143 h 145"/>
                <a:gd name="T50" fmla="*/ 20 w 209"/>
                <a:gd name="T51" fmla="*/ 144 h 145"/>
                <a:gd name="T52" fmla="*/ 25 w 209"/>
                <a:gd name="T53" fmla="*/ 145 h 145"/>
                <a:gd name="T54" fmla="*/ 30 w 209"/>
                <a:gd name="T55" fmla="*/ 144 h 145"/>
                <a:gd name="T56" fmla="*/ 34 w 209"/>
                <a:gd name="T57" fmla="*/ 142 h 145"/>
                <a:gd name="T58" fmla="*/ 37 w 209"/>
                <a:gd name="T59" fmla="*/ 138 h 145"/>
                <a:gd name="T60" fmla="*/ 40 w 209"/>
                <a:gd name="T61" fmla="*/ 134 h 145"/>
                <a:gd name="T62" fmla="*/ 45 w 209"/>
                <a:gd name="T63" fmla="*/ 124 h 145"/>
                <a:gd name="T64" fmla="*/ 53 w 209"/>
                <a:gd name="T65" fmla="*/ 114 h 145"/>
                <a:gd name="T66" fmla="*/ 71 w 209"/>
                <a:gd name="T67" fmla="*/ 99 h 145"/>
                <a:gd name="T68" fmla="*/ 89 w 209"/>
                <a:gd name="T69" fmla="*/ 86 h 145"/>
                <a:gd name="T70" fmla="*/ 98 w 209"/>
                <a:gd name="T71" fmla="*/ 81 h 145"/>
                <a:gd name="T72" fmla="*/ 108 w 209"/>
                <a:gd name="T73" fmla="*/ 75 h 145"/>
                <a:gd name="T74" fmla="*/ 120 w 209"/>
                <a:gd name="T75" fmla="*/ 71 h 145"/>
                <a:gd name="T76" fmla="*/ 131 w 209"/>
                <a:gd name="T77" fmla="*/ 67 h 145"/>
                <a:gd name="T78" fmla="*/ 157 w 209"/>
                <a:gd name="T79" fmla="*/ 61 h 145"/>
                <a:gd name="T80" fmla="*/ 182 w 209"/>
                <a:gd name="T81" fmla="*/ 55 h 145"/>
                <a:gd name="T82" fmla="*/ 189 w 209"/>
                <a:gd name="T83" fmla="*/ 53 h 145"/>
                <a:gd name="T84" fmla="*/ 193 w 209"/>
                <a:gd name="T85" fmla="*/ 50 h 145"/>
                <a:gd name="T86" fmla="*/ 198 w 209"/>
                <a:gd name="T87" fmla="*/ 48 h 145"/>
                <a:gd name="T88" fmla="*/ 202 w 209"/>
                <a:gd name="T89" fmla="*/ 45 h 145"/>
                <a:gd name="T90" fmla="*/ 205 w 209"/>
                <a:gd name="T91" fmla="*/ 41 h 145"/>
                <a:gd name="T92" fmla="*/ 207 w 209"/>
                <a:gd name="T93" fmla="*/ 36 h 145"/>
                <a:gd name="T94" fmla="*/ 209 w 209"/>
                <a:gd name="T95" fmla="*/ 31 h 145"/>
                <a:gd name="T96" fmla="*/ 209 w 209"/>
                <a:gd name="T97" fmla="*/ 24 h 145"/>
                <a:gd name="T98" fmla="*/ 208 w 209"/>
                <a:gd name="T99" fmla="*/ 19 h 145"/>
                <a:gd name="T100" fmla="*/ 205 w 209"/>
                <a:gd name="T101" fmla="*/ 15 h 145"/>
                <a:gd name="T102" fmla="*/ 201 w 209"/>
                <a:gd name="T103" fmla="*/ 11 h 145"/>
                <a:gd name="T104" fmla="*/ 195 w 209"/>
                <a:gd name="T105" fmla="*/ 8 h 145"/>
                <a:gd name="T106" fmla="*/ 182 w 209"/>
                <a:gd name="T107" fmla="*/ 3 h 145"/>
                <a:gd name="T108" fmla="*/ 170 w 209"/>
                <a:gd name="T109" fmla="*/ 0 h 145"/>
                <a:gd name="T110" fmla="*/ 170 w 209"/>
                <a:gd name="T111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9" h="145">
                  <a:moveTo>
                    <a:pt x="170" y="0"/>
                  </a:moveTo>
                  <a:lnTo>
                    <a:pt x="155" y="0"/>
                  </a:lnTo>
                  <a:lnTo>
                    <a:pt x="142" y="2"/>
                  </a:lnTo>
                  <a:lnTo>
                    <a:pt x="130" y="5"/>
                  </a:lnTo>
                  <a:lnTo>
                    <a:pt x="118" y="10"/>
                  </a:lnTo>
                  <a:lnTo>
                    <a:pt x="107" y="16"/>
                  </a:lnTo>
                  <a:lnTo>
                    <a:pt x="96" y="22"/>
                  </a:lnTo>
                  <a:lnTo>
                    <a:pt x="84" y="30"/>
                  </a:lnTo>
                  <a:lnTo>
                    <a:pt x="72" y="38"/>
                  </a:lnTo>
                  <a:lnTo>
                    <a:pt x="46" y="57"/>
                  </a:lnTo>
                  <a:lnTo>
                    <a:pt x="22" y="75"/>
                  </a:lnTo>
                  <a:lnTo>
                    <a:pt x="17" y="81"/>
                  </a:lnTo>
                  <a:lnTo>
                    <a:pt x="13" y="85"/>
                  </a:lnTo>
                  <a:lnTo>
                    <a:pt x="9" y="91"/>
                  </a:lnTo>
                  <a:lnTo>
                    <a:pt x="6" y="97"/>
                  </a:lnTo>
                  <a:lnTo>
                    <a:pt x="3" y="103"/>
                  </a:lnTo>
                  <a:lnTo>
                    <a:pt x="1" y="110"/>
                  </a:lnTo>
                  <a:lnTo>
                    <a:pt x="0" y="117"/>
                  </a:lnTo>
                  <a:lnTo>
                    <a:pt x="0" y="125"/>
                  </a:lnTo>
                  <a:lnTo>
                    <a:pt x="0" y="130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5" y="143"/>
                  </a:lnTo>
                  <a:lnTo>
                    <a:pt x="20" y="144"/>
                  </a:lnTo>
                  <a:lnTo>
                    <a:pt x="25" y="145"/>
                  </a:lnTo>
                  <a:lnTo>
                    <a:pt x="30" y="144"/>
                  </a:lnTo>
                  <a:lnTo>
                    <a:pt x="34" y="142"/>
                  </a:lnTo>
                  <a:lnTo>
                    <a:pt x="37" y="138"/>
                  </a:lnTo>
                  <a:lnTo>
                    <a:pt x="40" y="134"/>
                  </a:lnTo>
                  <a:lnTo>
                    <a:pt x="45" y="124"/>
                  </a:lnTo>
                  <a:lnTo>
                    <a:pt x="53" y="114"/>
                  </a:lnTo>
                  <a:lnTo>
                    <a:pt x="71" y="99"/>
                  </a:lnTo>
                  <a:lnTo>
                    <a:pt x="89" y="86"/>
                  </a:lnTo>
                  <a:lnTo>
                    <a:pt x="98" y="81"/>
                  </a:lnTo>
                  <a:lnTo>
                    <a:pt x="108" y="75"/>
                  </a:lnTo>
                  <a:lnTo>
                    <a:pt x="120" y="71"/>
                  </a:lnTo>
                  <a:lnTo>
                    <a:pt x="131" y="67"/>
                  </a:lnTo>
                  <a:lnTo>
                    <a:pt x="157" y="61"/>
                  </a:lnTo>
                  <a:lnTo>
                    <a:pt x="182" y="55"/>
                  </a:lnTo>
                  <a:lnTo>
                    <a:pt x="189" y="53"/>
                  </a:lnTo>
                  <a:lnTo>
                    <a:pt x="193" y="50"/>
                  </a:lnTo>
                  <a:lnTo>
                    <a:pt x="198" y="48"/>
                  </a:lnTo>
                  <a:lnTo>
                    <a:pt x="202" y="45"/>
                  </a:lnTo>
                  <a:lnTo>
                    <a:pt x="205" y="41"/>
                  </a:lnTo>
                  <a:lnTo>
                    <a:pt x="207" y="36"/>
                  </a:lnTo>
                  <a:lnTo>
                    <a:pt x="209" y="31"/>
                  </a:lnTo>
                  <a:lnTo>
                    <a:pt x="209" y="24"/>
                  </a:lnTo>
                  <a:lnTo>
                    <a:pt x="208" y="19"/>
                  </a:lnTo>
                  <a:lnTo>
                    <a:pt x="205" y="15"/>
                  </a:lnTo>
                  <a:lnTo>
                    <a:pt x="201" y="11"/>
                  </a:lnTo>
                  <a:lnTo>
                    <a:pt x="195" y="8"/>
                  </a:lnTo>
                  <a:lnTo>
                    <a:pt x="182" y="3"/>
                  </a:lnTo>
                  <a:lnTo>
                    <a:pt x="170" y="0"/>
                  </a:lnTo>
                  <a:lnTo>
                    <a:pt x="170" y="0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88">
              <a:extLst>
                <a:ext uri="{FF2B5EF4-FFF2-40B4-BE49-F238E27FC236}">
                  <a16:creationId xmlns:a16="http://schemas.microsoft.com/office/drawing/2014/main" id="{4D42BE2E-B9D4-445D-9D71-2129DB42D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2938" y="1092201"/>
              <a:ext cx="53975" cy="39688"/>
            </a:xfrm>
            <a:custGeom>
              <a:avLst/>
              <a:gdLst>
                <a:gd name="T0" fmla="*/ 135 w 135"/>
                <a:gd name="T1" fmla="*/ 54 h 98"/>
                <a:gd name="T2" fmla="*/ 135 w 135"/>
                <a:gd name="T3" fmla="*/ 20 h 98"/>
                <a:gd name="T4" fmla="*/ 124 w 135"/>
                <a:gd name="T5" fmla="*/ 17 h 98"/>
                <a:gd name="T6" fmla="*/ 118 w 135"/>
                <a:gd name="T7" fmla="*/ 6 h 98"/>
                <a:gd name="T8" fmla="*/ 118 w 135"/>
                <a:gd name="T9" fmla="*/ 6 h 98"/>
                <a:gd name="T10" fmla="*/ 110 w 135"/>
                <a:gd name="T11" fmla="*/ 2 h 98"/>
                <a:gd name="T12" fmla="*/ 101 w 135"/>
                <a:gd name="T13" fmla="*/ 0 h 98"/>
                <a:gd name="T14" fmla="*/ 94 w 135"/>
                <a:gd name="T15" fmla="*/ 1 h 98"/>
                <a:gd name="T16" fmla="*/ 88 w 135"/>
                <a:gd name="T17" fmla="*/ 4 h 98"/>
                <a:gd name="T18" fmla="*/ 83 w 135"/>
                <a:gd name="T19" fmla="*/ 7 h 98"/>
                <a:gd name="T20" fmla="*/ 78 w 135"/>
                <a:gd name="T21" fmla="*/ 12 h 98"/>
                <a:gd name="T22" fmla="*/ 70 w 135"/>
                <a:gd name="T23" fmla="*/ 24 h 98"/>
                <a:gd name="T24" fmla="*/ 60 w 135"/>
                <a:gd name="T25" fmla="*/ 34 h 98"/>
                <a:gd name="T26" fmla="*/ 43 w 135"/>
                <a:gd name="T27" fmla="*/ 48 h 98"/>
                <a:gd name="T28" fmla="*/ 26 w 135"/>
                <a:gd name="T29" fmla="*/ 61 h 98"/>
                <a:gd name="T30" fmla="*/ 20 w 135"/>
                <a:gd name="T31" fmla="*/ 68 h 98"/>
                <a:gd name="T32" fmla="*/ 12 w 135"/>
                <a:gd name="T33" fmla="*/ 77 h 98"/>
                <a:gd name="T34" fmla="*/ 7 w 135"/>
                <a:gd name="T35" fmla="*/ 85 h 98"/>
                <a:gd name="T36" fmla="*/ 0 w 135"/>
                <a:gd name="T37" fmla="*/ 96 h 98"/>
                <a:gd name="T38" fmla="*/ 8 w 135"/>
                <a:gd name="T39" fmla="*/ 97 h 98"/>
                <a:gd name="T40" fmla="*/ 17 w 135"/>
                <a:gd name="T41" fmla="*/ 98 h 98"/>
                <a:gd name="T42" fmla="*/ 34 w 135"/>
                <a:gd name="T43" fmla="*/ 98 h 98"/>
                <a:gd name="T44" fmla="*/ 50 w 135"/>
                <a:gd name="T45" fmla="*/ 96 h 98"/>
                <a:gd name="T46" fmla="*/ 65 w 135"/>
                <a:gd name="T47" fmla="*/ 92 h 98"/>
                <a:gd name="T48" fmla="*/ 79 w 135"/>
                <a:gd name="T49" fmla="*/ 87 h 98"/>
                <a:gd name="T50" fmla="*/ 93 w 135"/>
                <a:gd name="T51" fmla="*/ 81 h 98"/>
                <a:gd name="T52" fmla="*/ 106 w 135"/>
                <a:gd name="T53" fmla="*/ 72 h 98"/>
                <a:gd name="T54" fmla="*/ 120 w 135"/>
                <a:gd name="T55" fmla="*/ 64 h 98"/>
                <a:gd name="T56" fmla="*/ 135 w 135"/>
                <a:gd name="T57" fmla="*/ 54 h 98"/>
                <a:gd name="T58" fmla="*/ 135 w 135"/>
                <a:gd name="T59" fmla="*/ 5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5" h="98">
                  <a:moveTo>
                    <a:pt x="135" y="54"/>
                  </a:moveTo>
                  <a:lnTo>
                    <a:pt x="135" y="20"/>
                  </a:lnTo>
                  <a:lnTo>
                    <a:pt x="124" y="17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0" y="2"/>
                  </a:lnTo>
                  <a:lnTo>
                    <a:pt x="101" y="0"/>
                  </a:lnTo>
                  <a:lnTo>
                    <a:pt x="94" y="1"/>
                  </a:lnTo>
                  <a:lnTo>
                    <a:pt x="88" y="4"/>
                  </a:lnTo>
                  <a:lnTo>
                    <a:pt x="83" y="7"/>
                  </a:lnTo>
                  <a:lnTo>
                    <a:pt x="78" y="12"/>
                  </a:lnTo>
                  <a:lnTo>
                    <a:pt x="70" y="24"/>
                  </a:lnTo>
                  <a:lnTo>
                    <a:pt x="60" y="34"/>
                  </a:lnTo>
                  <a:lnTo>
                    <a:pt x="43" y="48"/>
                  </a:lnTo>
                  <a:lnTo>
                    <a:pt x="26" y="61"/>
                  </a:lnTo>
                  <a:lnTo>
                    <a:pt x="20" y="68"/>
                  </a:lnTo>
                  <a:lnTo>
                    <a:pt x="12" y="77"/>
                  </a:lnTo>
                  <a:lnTo>
                    <a:pt x="7" y="85"/>
                  </a:lnTo>
                  <a:lnTo>
                    <a:pt x="0" y="96"/>
                  </a:lnTo>
                  <a:lnTo>
                    <a:pt x="8" y="97"/>
                  </a:lnTo>
                  <a:lnTo>
                    <a:pt x="17" y="98"/>
                  </a:lnTo>
                  <a:lnTo>
                    <a:pt x="34" y="98"/>
                  </a:lnTo>
                  <a:lnTo>
                    <a:pt x="50" y="96"/>
                  </a:lnTo>
                  <a:lnTo>
                    <a:pt x="65" y="92"/>
                  </a:lnTo>
                  <a:lnTo>
                    <a:pt x="79" y="87"/>
                  </a:lnTo>
                  <a:lnTo>
                    <a:pt x="93" y="81"/>
                  </a:lnTo>
                  <a:lnTo>
                    <a:pt x="106" y="72"/>
                  </a:lnTo>
                  <a:lnTo>
                    <a:pt x="120" y="64"/>
                  </a:lnTo>
                  <a:lnTo>
                    <a:pt x="135" y="54"/>
                  </a:lnTo>
                  <a:lnTo>
                    <a:pt x="135" y="54"/>
                  </a:lnTo>
                  <a:close/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Line 89">
              <a:extLst>
                <a:ext uri="{FF2B5EF4-FFF2-40B4-BE49-F238E27FC236}">
                  <a16:creationId xmlns:a16="http://schemas.microsoft.com/office/drawing/2014/main" id="{A70815F4-BE05-4A02-B63D-FC02B77773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3270250" y="1223963"/>
              <a:ext cx="12700" cy="11113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TextBox 64">
            <a:extLst>
              <a:ext uri="{FF2B5EF4-FFF2-40B4-BE49-F238E27FC236}">
                <a16:creationId xmlns:a16="http://schemas.microsoft.com/office/drawing/2014/main" id="{6DB067AF-8D61-49D3-A6F3-02C8C287B084}"/>
              </a:ext>
            </a:extLst>
          </p:cNvPr>
          <p:cNvSpPr txBox="1"/>
          <p:nvPr/>
        </p:nvSpPr>
        <p:spPr>
          <a:xfrm>
            <a:off x="2371874" y="6175036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prstClr val="black">
                    <a:lumMod val="75000"/>
                    <a:lumOff val="25000"/>
                  </a:prstClr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3B84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3.73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3B844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10" name="TextBox 81">
            <a:extLst>
              <a:ext uri="{FF2B5EF4-FFF2-40B4-BE49-F238E27FC236}">
                <a16:creationId xmlns:a16="http://schemas.microsoft.com/office/drawing/2014/main" id="{9655098F-27A9-45CE-B8C1-69A05EB58ED7}"/>
              </a:ext>
            </a:extLst>
          </p:cNvPr>
          <p:cNvSpPr txBox="1"/>
          <p:nvPr/>
        </p:nvSpPr>
        <p:spPr>
          <a:xfrm>
            <a:off x="5187377" y="7025489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prstClr val="black">
                    <a:lumMod val="75000"/>
                    <a:lumOff val="25000"/>
                  </a:prstClr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3B84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3.53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3B844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11" name="TextBox 82">
            <a:extLst>
              <a:ext uri="{FF2B5EF4-FFF2-40B4-BE49-F238E27FC236}">
                <a16:creationId xmlns:a16="http://schemas.microsoft.com/office/drawing/2014/main" id="{36D736F9-A2D0-4546-B51B-6A041C2906EB}"/>
              </a:ext>
            </a:extLst>
          </p:cNvPr>
          <p:cNvSpPr txBox="1"/>
          <p:nvPr/>
        </p:nvSpPr>
        <p:spPr>
          <a:xfrm>
            <a:off x="4973748" y="7400065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prstClr val="black">
                    <a:lumMod val="75000"/>
                    <a:lumOff val="25000"/>
                  </a:prstClr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73B84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10.05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3B844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12" name="TextBox 83">
            <a:extLst>
              <a:ext uri="{FF2B5EF4-FFF2-40B4-BE49-F238E27FC236}">
                <a16:creationId xmlns:a16="http://schemas.microsoft.com/office/drawing/2014/main" id="{FA611C81-1A86-4ECC-A609-70CC76E94147}"/>
              </a:ext>
            </a:extLst>
          </p:cNvPr>
          <p:cNvSpPr txBox="1"/>
          <p:nvPr/>
        </p:nvSpPr>
        <p:spPr>
          <a:xfrm>
            <a:off x="4754453" y="7754946"/>
            <a:ext cx="9235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3B84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3.89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3B844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4CBCAC9E-76AB-4941-92E9-95ED9377E049}"/>
              </a:ext>
            </a:extLst>
          </p:cNvPr>
          <p:cNvCxnSpPr>
            <a:cxnSpLocks/>
          </p:cNvCxnSpPr>
          <p:nvPr/>
        </p:nvCxnSpPr>
        <p:spPr>
          <a:xfrm>
            <a:off x="3963031" y="7955001"/>
            <a:ext cx="858155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Conector de Seta Reta 241">
            <a:extLst>
              <a:ext uri="{FF2B5EF4-FFF2-40B4-BE49-F238E27FC236}">
                <a16:creationId xmlns:a16="http://schemas.microsoft.com/office/drawing/2014/main" id="{5066FD39-0B78-4D2B-99D4-52778B4214B6}"/>
              </a:ext>
            </a:extLst>
          </p:cNvPr>
          <p:cNvCxnSpPr>
            <a:cxnSpLocks/>
          </p:cNvCxnSpPr>
          <p:nvPr/>
        </p:nvCxnSpPr>
        <p:spPr>
          <a:xfrm>
            <a:off x="4448496" y="7601338"/>
            <a:ext cx="567953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Conector de Seta Reta 242">
            <a:extLst>
              <a:ext uri="{FF2B5EF4-FFF2-40B4-BE49-F238E27FC236}">
                <a16:creationId xmlns:a16="http://schemas.microsoft.com/office/drawing/2014/main" id="{46E9E5E4-4DF7-48D6-84ED-EAB1CCC6CB22}"/>
              </a:ext>
            </a:extLst>
          </p:cNvPr>
          <p:cNvCxnSpPr>
            <a:cxnSpLocks/>
          </p:cNvCxnSpPr>
          <p:nvPr/>
        </p:nvCxnSpPr>
        <p:spPr>
          <a:xfrm>
            <a:off x="4570589" y="7226762"/>
            <a:ext cx="645147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Conector de Seta Reta 243">
            <a:extLst>
              <a:ext uri="{FF2B5EF4-FFF2-40B4-BE49-F238E27FC236}">
                <a16:creationId xmlns:a16="http://schemas.microsoft.com/office/drawing/2014/main" id="{2076028D-19E7-4E07-B824-C563F2B0808E}"/>
              </a:ext>
            </a:extLst>
          </p:cNvPr>
          <p:cNvCxnSpPr>
            <a:cxnSpLocks/>
          </p:cNvCxnSpPr>
          <p:nvPr/>
        </p:nvCxnSpPr>
        <p:spPr>
          <a:xfrm>
            <a:off x="4762052" y="7028758"/>
            <a:ext cx="1173559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Conector de Seta Reta 244">
            <a:extLst>
              <a:ext uri="{FF2B5EF4-FFF2-40B4-BE49-F238E27FC236}">
                <a16:creationId xmlns:a16="http://schemas.microsoft.com/office/drawing/2014/main" id="{FC938557-6238-4E86-BC74-DD6B56575800}"/>
              </a:ext>
            </a:extLst>
          </p:cNvPr>
          <p:cNvCxnSpPr>
            <a:cxnSpLocks/>
          </p:cNvCxnSpPr>
          <p:nvPr/>
        </p:nvCxnSpPr>
        <p:spPr>
          <a:xfrm>
            <a:off x="5568428" y="6744296"/>
            <a:ext cx="679921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Conector de Seta Reta 246">
            <a:extLst>
              <a:ext uri="{FF2B5EF4-FFF2-40B4-BE49-F238E27FC236}">
                <a16:creationId xmlns:a16="http://schemas.microsoft.com/office/drawing/2014/main" id="{A0F14A0F-6F54-4970-B639-B77C74F2A604}"/>
              </a:ext>
            </a:extLst>
          </p:cNvPr>
          <p:cNvCxnSpPr>
            <a:cxnSpLocks/>
          </p:cNvCxnSpPr>
          <p:nvPr/>
        </p:nvCxnSpPr>
        <p:spPr>
          <a:xfrm flipH="1">
            <a:off x="2972518" y="6376309"/>
            <a:ext cx="645147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78">
            <a:extLst>
              <a:ext uri="{FF2B5EF4-FFF2-40B4-BE49-F238E27FC236}">
                <a16:creationId xmlns:a16="http://schemas.microsoft.com/office/drawing/2014/main" id="{16171448-123F-4569-BC15-4761B9D1380A}"/>
              </a:ext>
            </a:extLst>
          </p:cNvPr>
          <p:cNvSpPr txBox="1"/>
          <p:nvPr/>
        </p:nvSpPr>
        <p:spPr>
          <a:xfrm>
            <a:off x="6324646" y="6100174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prstClr val="black">
                    <a:lumMod val="75000"/>
                    <a:lumOff val="25000"/>
                  </a:prstClr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3B84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3.03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3B844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7" name="TextBox 79">
            <a:extLst>
              <a:ext uri="{FF2B5EF4-FFF2-40B4-BE49-F238E27FC236}">
                <a16:creationId xmlns:a16="http://schemas.microsoft.com/office/drawing/2014/main" id="{871750FA-A17B-4C05-9AEA-578F7DAFD082}"/>
              </a:ext>
            </a:extLst>
          </p:cNvPr>
          <p:cNvSpPr txBox="1"/>
          <p:nvPr/>
        </p:nvSpPr>
        <p:spPr>
          <a:xfrm>
            <a:off x="6197961" y="6543023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prstClr val="black">
                    <a:lumMod val="75000"/>
                    <a:lumOff val="25000"/>
                  </a:prstClr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3B84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2.75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3B844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8" name="TextBox 80">
            <a:extLst>
              <a:ext uri="{FF2B5EF4-FFF2-40B4-BE49-F238E27FC236}">
                <a16:creationId xmlns:a16="http://schemas.microsoft.com/office/drawing/2014/main" id="{C1E430A4-0607-4078-942B-78715BE99303}"/>
              </a:ext>
            </a:extLst>
          </p:cNvPr>
          <p:cNvSpPr txBox="1"/>
          <p:nvPr/>
        </p:nvSpPr>
        <p:spPr>
          <a:xfrm>
            <a:off x="5898749" y="6827485"/>
            <a:ext cx="751237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prstClr val="black">
                    <a:lumMod val="75000"/>
                    <a:lumOff val="25000"/>
                  </a:prstClr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73B84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6.78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3B844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cxnSp>
        <p:nvCxnSpPr>
          <p:cNvPr id="252" name="Conector de Seta Reta 251">
            <a:extLst>
              <a:ext uri="{FF2B5EF4-FFF2-40B4-BE49-F238E27FC236}">
                <a16:creationId xmlns:a16="http://schemas.microsoft.com/office/drawing/2014/main" id="{4749DC17-24B0-49D0-913B-1F106BD2B7BA}"/>
              </a:ext>
            </a:extLst>
          </p:cNvPr>
          <p:cNvCxnSpPr>
            <a:cxnSpLocks/>
          </p:cNvCxnSpPr>
          <p:nvPr/>
        </p:nvCxnSpPr>
        <p:spPr>
          <a:xfrm>
            <a:off x="5268861" y="6301447"/>
            <a:ext cx="1117600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CaixaDeTexto 252">
            <a:extLst>
              <a:ext uri="{FF2B5EF4-FFF2-40B4-BE49-F238E27FC236}">
                <a16:creationId xmlns:a16="http://schemas.microsoft.com/office/drawing/2014/main" id="{E04550BA-618E-4397-93C0-488147A2B9BE}"/>
              </a:ext>
            </a:extLst>
          </p:cNvPr>
          <p:cNvSpPr txBox="1"/>
          <p:nvPr/>
        </p:nvSpPr>
        <p:spPr>
          <a:xfrm>
            <a:off x="5558794" y="2306739"/>
            <a:ext cx="238923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Incidência</a:t>
            </a:r>
          </a:p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(em 100.000)</a:t>
            </a:r>
          </a:p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73B844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Homen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73B844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56" name="TextBox 81">
            <a:extLst>
              <a:ext uri="{FF2B5EF4-FFF2-40B4-BE49-F238E27FC236}">
                <a16:creationId xmlns:a16="http://schemas.microsoft.com/office/drawing/2014/main" id="{2E828B3D-824E-4F40-A221-1DEEA0B6CDDA}"/>
              </a:ext>
            </a:extLst>
          </p:cNvPr>
          <p:cNvSpPr txBox="1"/>
          <p:nvPr/>
        </p:nvSpPr>
        <p:spPr>
          <a:xfrm>
            <a:off x="14611697" y="7025489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9851A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3.79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B61AC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57" name="TextBox 82">
            <a:extLst>
              <a:ext uri="{FF2B5EF4-FFF2-40B4-BE49-F238E27FC236}">
                <a16:creationId xmlns:a16="http://schemas.microsoft.com/office/drawing/2014/main" id="{4C69A28F-54A5-4A9B-BA8E-048DCB4700C1}"/>
              </a:ext>
            </a:extLst>
          </p:cNvPr>
          <p:cNvSpPr txBox="1"/>
          <p:nvPr/>
        </p:nvSpPr>
        <p:spPr>
          <a:xfrm>
            <a:off x="14398068" y="7400065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9851A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7.99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B61AC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cxnSp>
        <p:nvCxnSpPr>
          <p:cNvPr id="260" name="Conector de Seta Reta 259">
            <a:extLst>
              <a:ext uri="{FF2B5EF4-FFF2-40B4-BE49-F238E27FC236}">
                <a16:creationId xmlns:a16="http://schemas.microsoft.com/office/drawing/2014/main" id="{A637F11D-095B-466F-B1E7-B16DC0E1A282}"/>
              </a:ext>
            </a:extLst>
          </p:cNvPr>
          <p:cNvCxnSpPr>
            <a:cxnSpLocks/>
          </p:cNvCxnSpPr>
          <p:nvPr/>
        </p:nvCxnSpPr>
        <p:spPr>
          <a:xfrm>
            <a:off x="13872816" y="7601338"/>
            <a:ext cx="567953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Conector de Seta Reta 260">
            <a:extLst>
              <a:ext uri="{FF2B5EF4-FFF2-40B4-BE49-F238E27FC236}">
                <a16:creationId xmlns:a16="http://schemas.microsoft.com/office/drawing/2014/main" id="{909140BE-A136-4DB4-AEB2-DF05C022CC0F}"/>
              </a:ext>
            </a:extLst>
          </p:cNvPr>
          <p:cNvCxnSpPr>
            <a:cxnSpLocks/>
          </p:cNvCxnSpPr>
          <p:nvPr/>
        </p:nvCxnSpPr>
        <p:spPr>
          <a:xfrm>
            <a:off x="13994909" y="7226762"/>
            <a:ext cx="645147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Conector de Seta Reta 261">
            <a:extLst>
              <a:ext uri="{FF2B5EF4-FFF2-40B4-BE49-F238E27FC236}">
                <a16:creationId xmlns:a16="http://schemas.microsoft.com/office/drawing/2014/main" id="{6D0A3FE2-4113-428C-8ABB-C49BC341B516}"/>
              </a:ext>
            </a:extLst>
          </p:cNvPr>
          <p:cNvCxnSpPr>
            <a:cxnSpLocks/>
          </p:cNvCxnSpPr>
          <p:nvPr/>
        </p:nvCxnSpPr>
        <p:spPr>
          <a:xfrm>
            <a:off x="14186372" y="7028758"/>
            <a:ext cx="1173559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TextBox 78">
            <a:extLst>
              <a:ext uri="{FF2B5EF4-FFF2-40B4-BE49-F238E27FC236}">
                <a16:creationId xmlns:a16="http://schemas.microsoft.com/office/drawing/2014/main" id="{6F8FC55C-362E-49C1-BA74-5F634D6ADD23}"/>
              </a:ext>
            </a:extLst>
          </p:cNvPr>
          <p:cNvSpPr txBox="1"/>
          <p:nvPr/>
        </p:nvSpPr>
        <p:spPr>
          <a:xfrm>
            <a:off x="15748966" y="6100174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9851A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3.13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B61AC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66" name="TextBox 80">
            <a:extLst>
              <a:ext uri="{FF2B5EF4-FFF2-40B4-BE49-F238E27FC236}">
                <a16:creationId xmlns:a16="http://schemas.microsoft.com/office/drawing/2014/main" id="{87B3EF2F-B86E-4A0B-9E7F-4D0599CD05A6}"/>
              </a:ext>
            </a:extLst>
          </p:cNvPr>
          <p:cNvSpPr txBox="1"/>
          <p:nvPr/>
        </p:nvSpPr>
        <p:spPr>
          <a:xfrm>
            <a:off x="15323069" y="6827485"/>
            <a:ext cx="751237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9851A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4.08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B61AC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cxnSp>
        <p:nvCxnSpPr>
          <p:cNvPr id="267" name="Conector de Seta Reta 266">
            <a:extLst>
              <a:ext uri="{FF2B5EF4-FFF2-40B4-BE49-F238E27FC236}">
                <a16:creationId xmlns:a16="http://schemas.microsoft.com/office/drawing/2014/main" id="{103D46C3-6D1E-4780-8CDE-3B16503E023D}"/>
              </a:ext>
            </a:extLst>
          </p:cNvPr>
          <p:cNvCxnSpPr>
            <a:cxnSpLocks/>
          </p:cNvCxnSpPr>
          <p:nvPr/>
        </p:nvCxnSpPr>
        <p:spPr>
          <a:xfrm>
            <a:off x="14693181" y="6301447"/>
            <a:ext cx="1117600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64">
            <a:extLst>
              <a:ext uri="{FF2B5EF4-FFF2-40B4-BE49-F238E27FC236}">
                <a16:creationId xmlns:a16="http://schemas.microsoft.com/office/drawing/2014/main" id="{3B3C85F1-827E-4BCA-B4BC-3C742D1B38C1}"/>
              </a:ext>
            </a:extLst>
          </p:cNvPr>
          <p:cNvSpPr txBox="1"/>
          <p:nvPr/>
        </p:nvSpPr>
        <p:spPr>
          <a:xfrm>
            <a:off x="11730501" y="6175036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9851A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2.93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B61AC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cxnSp>
        <p:nvCxnSpPr>
          <p:cNvPr id="269" name="Conector de Seta Reta 268">
            <a:extLst>
              <a:ext uri="{FF2B5EF4-FFF2-40B4-BE49-F238E27FC236}">
                <a16:creationId xmlns:a16="http://schemas.microsoft.com/office/drawing/2014/main" id="{29628C60-3E77-4B7E-8751-B4181DCE2EF4}"/>
              </a:ext>
            </a:extLst>
          </p:cNvPr>
          <p:cNvCxnSpPr>
            <a:cxnSpLocks/>
          </p:cNvCxnSpPr>
          <p:nvPr/>
        </p:nvCxnSpPr>
        <p:spPr>
          <a:xfrm flipH="1">
            <a:off x="12331145" y="6376309"/>
            <a:ext cx="645147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64">
            <a:extLst>
              <a:ext uri="{FF2B5EF4-FFF2-40B4-BE49-F238E27FC236}">
                <a16:creationId xmlns:a16="http://schemas.microsoft.com/office/drawing/2014/main" id="{E7464C3D-59D7-409E-B858-EC8AFF343094}"/>
              </a:ext>
            </a:extLst>
          </p:cNvPr>
          <p:cNvSpPr txBox="1"/>
          <p:nvPr/>
        </p:nvSpPr>
        <p:spPr>
          <a:xfrm>
            <a:off x="10074317" y="2776885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9851A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2.96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B61AC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cxnSp>
        <p:nvCxnSpPr>
          <p:cNvPr id="271" name="Conector de Seta Reta 270">
            <a:extLst>
              <a:ext uri="{FF2B5EF4-FFF2-40B4-BE49-F238E27FC236}">
                <a16:creationId xmlns:a16="http://schemas.microsoft.com/office/drawing/2014/main" id="{595531EA-5164-4A50-9028-12FF6DC23598}"/>
              </a:ext>
            </a:extLst>
          </p:cNvPr>
          <p:cNvCxnSpPr>
            <a:cxnSpLocks/>
          </p:cNvCxnSpPr>
          <p:nvPr/>
        </p:nvCxnSpPr>
        <p:spPr>
          <a:xfrm flipH="1">
            <a:off x="10674962" y="2978158"/>
            <a:ext cx="1692174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TextBox 78">
            <a:extLst>
              <a:ext uri="{FF2B5EF4-FFF2-40B4-BE49-F238E27FC236}">
                <a16:creationId xmlns:a16="http://schemas.microsoft.com/office/drawing/2014/main" id="{52D0B2AF-E44F-47CB-915F-4565ABF4CCE4}"/>
              </a:ext>
            </a:extLst>
          </p:cNvPr>
          <p:cNvSpPr txBox="1"/>
          <p:nvPr/>
        </p:nvSpPr>
        <p:spPr>
          <a:xfrm>
            <a:off x="16347769" y="4924425"/>
            <a:ext cx="92357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9851A0"/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3.04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B61AC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cxnSp>
        <p:nvCxnSpPr>
          <p:cNvPr id="273" name="Conector de Seta Reta 272">
            <a:extLst>
              <a:ext uri="{FF2B5EF4-FFF2-40B4-BE49-F238E27FC236}">
                <a16:creationId xmlns:a16="http://schemas.microsoft.com/office/drawing/2014/main" id="{29BAB34D-7247-4903-8663-97EEC6A02B9B}"/>
              </a:ext>
            </a:extLst>
          </p:cNvPr>
          <p:cNvCxnSpPr>
            <a:cxnSpLocks/>
          </p:cNvCxnSpPr>
          <p:nvPr/>
        </p:nvCxnSpPr>
        <p:spPr>
          <a:xfrm>
            <a:off x="15844434" y="5138398"/>
            <a:ext cx="595510" cy="0"/>
          </a:xfrm>
          <a:prstGeom prst="straightConnector1">
            <a:avLst/>
          </a:prstGeom>
          <a:ln w="190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CaixaDeTexto 273">
            <a:extLst>
              <a:ext uri="{FF2B5EF4-FFF2-40B4-BE49-F238E27FC236}">
                <a16:creationId xmlns:a16="http://schemas.microsoft.com/office/drawing/2014/main" id="{AD8D003F-2F39-4F5F-B173-74C9FF303052}"/>
              </a:ext>
            </a:extLst>
          </p:cNvPr>
          <p:cNvSpPr txBox="1"/>
          <p:nvPr/>
        </p:nvSpPr>
        <p:spPr>
          <a:xfrm>
            <a:off x="14887574" y="2345670"/>
            <a:ext cx="212407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2400" b="1">
                <a:solidFill>
                  <a:prstClr val="black">
                    <a:lumMod val="75000"/>
                    <a:lumOff val="25000"/>
                  </a:prstClr>
                </a:solidFill>
                <a:latin typeface="Bahnschrift" panose="020B0502040204020203" pitchFamily="34" charset="0"/>
              </a:defRPr>
            </a:lvl1pPr>
          </a:lstStyle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Incidência</a:t>
            </a:r>
          </a:p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(em 100.000)</a:t>
            </a:r>
          </a:p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Mulher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3B61AC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35DD6D09-BCB7-42DD-90D4-73CC9C56C334}"/>
              </a:ext>
            </a:extLst>
          </p:cNvPr>
          <p:cNvGrpSpPr/>
          <p:nvPr/>
        </p:nvGrpSpPr>
        <p:grpSpPr>
          <a:xfrm>
            <a:off x="1345467" y="7510354"/>
            <a:ext cx="1969556" cy="1696254"/>
            <a:chOff x="6983943" y="1768773"/>
            <a:chExt cx="1969556" cy="1696254"/>
          </a:xfrm>
        </p:grpSpPr>
        <p:sp>
          <p:nvSpPr>
            <p:cNvPr id="36" name="Retângulo 35">
              <a:extLst>
                <a:ext uri="{FF2B5EF4-FFF2-40B4-BE49-F238E27FC236}">
                  <a16:creationId xmlns:a16="http://schemas.microsoft.com/office/drawing/2014/main" id="{C74FDE5C-F446-4234-BE20-3B39A40E1513}"/>
                </a:ext>
              </a:extLst>
            </p:cNvPr>
            <p:cNvSpPr/>
            <p:nvPr/>
          </p:nvSpPr>
          <p:spPr>
            <a:xfrm>
              <a:off x="6983943" y="1818546"/>
              <a:ext cx="300564" cy="300564"/>
            </a:xfrm>
            <a:prstGeom prst="rect">
              <a:avLst/>
            </a:prstGeom>
            <a:solidFill>
              <a:srgbClr val="73B8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Retângulo 274">
              <a:extLst>
                <a:ext uri="{FF2B5EF4-FFF2-40B4-BE49-F238E27FC236}">
                  <a16:creationId xmlns:a16="http://schemas.microsoft.com/office/drawing/2014/main" id="{E0E2C5B4-A478-48AE-86B8-A93899DD521F}"/>
                </a:ext>
              </a:extLst>
            </p:cNvPr>
            <p:cNvSpPr/>
            <p:nvPr/>
          </p:nvSpPr>
          <p:spPr>
            <a:xfrm>
              <a:off x="6983943" y="2250594"/>
              <a:ext cx="300564" cy="300564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Retângulo 275">
              <a:extLst>
                <a:ext uri="{FF2B5EF4-FFF2-40B4-BE49-F238E27FC236}">
                  <a16:creationId xmlns:a16="http://schemas.microsoft.com/office/drawing/2014/main" id="{219BCC6F-9103-4CD3-A4EB-55145B6AADC5}"/>
                </a:ext>
              </a:extLst>
            </p:cNvPr>
            <p:cNvSpPr/>
            <p:nvPr/>
          </p:nvSpPr>
          <p:spPr>
            <a:xfrm>
              <a:off x="6983943" y="2682642"/>
              <a:ext cx="300564" cy="300564"/>
            </a:xfrm>
            <a:prstGeom prst="rect">
              <a:avLst/>
            </a:prstGeom>
            <a:solidFill>
              <a:srgbClr val="9DC8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Retângulo 276">
              <a:extLst>
                <a:ext uri="{FF2B5EF4-FFF2-40B4-BE49-F238E27FC236}">
                  <a16:creationId xmlns:a16="http://schemas.microsoft.com/office/drawing/2014/main" id="{FF0C80E5-60C6-49E3-939C-CCF564C7751B}"/>
                </a:ext>
              </a:extLst>
            </p:cNvPr>
            <p:cNvSpPr/>
            <p:nvPr/>
          </p:nvSpPr>
          <p:spPr>
            <a:xfrm>
              <a:off x="6983943" y="3114690"/>
              <a:ext cx="300564" cy="300564"/>
            </a:xfrm>
            <a:prstGeom prst="rect">
              <a:avLst/>
            </a:prstGeom>
            <a:solidFill>
              <a:srgbClr val="C1EF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TextBox 78">
              <a:extLst>
                <a:ext uri="{FF2B5EF4-FFF2-40B4-BE49-F238E27FC236}">
                  <a16:creationId xmlns:a16="http://schemas.microsoft.com/office/drawing/2014/main" id="{CB23112F-26C0-47BA-9470-D942409927E2}"/>
                </a:ext>
              </a:extLst>
            </p:cNvPr>
            <p:cNvSpPr txBox="1"/>
            <p:nvPr/>
          </p:nvSpPr>
          <p:spPr>
            <a:xfrm>
              <a:off x="7338714" y="1768773"/>
              <a:ext cx="16147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2000">
                  <a:solidFill>
                    <a:prstClr val="black">
                      <a:lumMod val="75000"/>
                      <a:lumOff val="25000"/>
                    </a:prstClr>
                  </a:solidFill>
                  <a:latin typeface="Bahnschrift" panose="020B0502040204020203" pitchFamily="34" charset="0"/>
                </a:defRPr>
              </a:lvl1pPr>
            </a:lstStyle>
            <a:p>
              <a:pPr marL="0" marR="0" lvl="0" indent="0" algn="l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2,70 – 10,05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79" name="TextBox 78">
              <a:extLst>
                <a:ext uri="{FF2B5EF4-FFF2-40B4-BE49-F238E27FC236}">
                  <a16:creationId xmlns:a16="http://schemas.microsoft.com/office/drawing/2014/main" id="{7AED303F-C1DD-4BFC-9CE7-3D98BC442AE6}"/>
                </a:ext>
              </a:extLst>
            </p:cNvPr>
            <p:cNvSpPr txBox="1"/>
            <p:nvPr/>
          </p:nvSpPr>
          <p:spPr>
            <a:xfrm>
              <a:off x="7338714" y="2200821"/>
              <a:ext cx="16147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2000">
                  <a:solidFill>
                    <a:prstClr val="black">
                      <a:lumMod val="75000"/>
                      <a:lumOff val="25000"/>
                    </a:prstClr>
                  </a:solidFill>
                  <a:latin typeface="Bahnschrift" panose="020B0502040204020203" pitchFamily="34" charset="0"/>
                </a:defRPr>
              </a:lvl1pPr>
            </a:lstStyle>
            <a:p>
              <a:pPr marL="0" marR="0" lvl="0" indent="0" algn="l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1,72 – 2,69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80" name="TextBox 78">
              <a:extLst>
                <a:ext uri="{FF2B5EF4-FFF2-40B4-BE49-F238E27FC236}">
                  <a16:creationId xmlns:a16="http://schemas.microsoft.com/office/drawing/2014/main" id="{DE0F6FA1-7FBF-4FA4-BC57-EE44B010A5AB}"/>
                </a:ext>
              </a:extLst>
            </p:cNvPr>
            <p:cNvSpPr txBox="1"/>
            <p:nvPr/>
          </p:nvSpPr>
          <p:spPr>
            <a:xfrm>
              <a:off x="7338714" y="2632869"/>
              <a:ext cx="16147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2000">
                  <a:solidFill>
                    <a:prstClr val="black">
                      <a:lumMod val="75000"/>
                      <a:lumOff val="25000"/>
                    </a:prstClr>
                  </a:solidFill>
                  <a:latin typeface="Bahnschrift" panose="020B0502040204020203" pitchFamily="34" charset="0"/>
                </a:defRPr>
              </a:lvl1pPr>
            </a:lstStyle>
            <a:p>
              <a:pPr marL="0" marR="0" lvl="0" indent="0" algn="l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1,35 – 1,71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81" name="TextBox 78">
              <a:extLst>
                <a:ext uri="{FF2B5EF4-FFF2-40B4-BE49-F238E27FC236}">
                  <a16:creationId xmlns:a16="http://schemas.microsoft.com/office/drawing/2014/main" id="{92ED10ED-B2A7-4BF0-A165-E8461D0B66BC}"/>
                </a:ext>
              </a:extLst>
            </p:cNvPr>
            <p:cNvSpPr txBox="1"/>
            <p:nvPr/>
          </p:nvSpPr>
          <p:spPr>
            <a:xfrm>
              <a:off x="7338714" y="3064917"/>
              <a:ext cx="16147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2000">
                  <a:solidFill>
                    <a:prstClr val="black">
                      <a:lumMod val="75000"/>
                      <a:lumOff val="25000"/>
                    </a:prstClr>
                  </a:solidFill>
                  <a:latin typeface="Bahnschrift" panose="020B0502040204020203" pitchFamily="34" charset="0"/>
                </a:defRPr>
              </a:lvl1pPr>
            </a:lstStyle>
            <a:p>
              <a:pPr marL="0" marR="0" lvl="0" indent="0" algn="l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0,65 – 1,34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82" name="Agrupar 281">
            <a:extLst>
              <a:ext uri="{FF2B5EF4-FFF2-40B4-BE49-F238E27FC236}">
                <a16:creationId xmlns:a16="http://schemas.microsoft.com/office/drawing/2014/main" id="{EEE4653A-98CB-4FBE-BEDE-E6DECA42406B}"/>
              </a:ext>
            </a:extLst>
          </p:cNvPr>
          <p:cNvGrpSpPr/>
          <p:nvPr/>
        </p:nvGrpSpPr>
        <p:grpSpPr>
          <a:xfrm>
            <a:off x="10529863" y="7510354"/>
            <a:ext cx="1969556" cy="1696254"/>
            <a:chOff x="6983943" y="1768773"/>
            <a:chExt cx="1969556" cy="1696254"/>
          </a:xfrm>
        </p:grpSpPr>
        <p:sp>
          <p:nvSpPr>
            <p:cNvPr id="283" name="Retângulo 282">
              <a:extLst>
                <a:ext uri="{FF2B5EF4-FFF2-40B4-BE49-F238E27FC236}">
                  <a16:creationId xmlns:a16="http://schemas.microsoft.com/office/drawing/2014/main" id="{0F1C22AF-D98B-4197-A105-A80F5B628493}"/>
                </a:ext>
              </a:extLst>
            </p:cNvPr>
            <p:cNvSpPr/>
            <p:nvPr/>
          </p:nvSpPr>
          <p:spPr>
            <a:xfrm>
              <a:off x="6983943" y="1818546"/>
              <a:ext cx="300564" cy="300564"/>
            </a:xfrm>
            <a:prstGeom prst="rect">
              <a:avLst/>
            </a:prstGeom>
            <a:solidFill>
              <a:srgbClr val="3B61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Retângulo 283">
              <a:extLst>
                <a:ext uri="{FF2B5EF4-FFF2-40B4-BE49-F238E27FC236}">
                  <a16:creationId xmlns:a16="http://schemas.microsoft.com/office/drawing/2014/main" id="{5CFF90B4-0763-4F37-8D33-0924E36873EE}"/>
                </a:ext>
              </a:extLst>
            </p:cNvPr>
            <p:cNvSpPr/>
            <p:nvPr/>
          </p:nvSpPr>
          <p:spPr>
            <a:xfrm>
              <a:off x="6983943" y="2250594"/>
              <a:ext cx="300564" cy="300564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Retângulo 284">
              <a:extLst>
                <a:ext uri="{FF2B5EF4-FFF2-40B4-BE49-F238E27FC236}">
                  <a16:creationId xmlns:a16="http://schemas.microsoft.com/office/drawing/2014/main" id="{CEB61473-ADA7-4271-849B-4E914FBDBD6B}"/>
                </a:ext>
              </a:extLst>
            </p:cNvPr>
            <p:cNvSpPr/>
            <p:nvPr/>
          </p:nvSpPr>
          <p:spPr>
            <a:xfrm>
              <a:off x="6983943" y="2682642"/>
              <a:ext cx="300564" cy="300564"/>
            </a:xfrm>
            <a:prstGeom prst="rect">
              <a:avLst/>
            </a:prstGeom>
            <a:solidFill>
              <a:srgbClr val="1496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Retângulo 285">
              <a:extLst>
                <a:ext uri="{FF2B5EF4-FFF2-40B4-BE49-F238E27FC236}">
                  <a16:creationId xmlns:a16="http://schemas.microsoft.com/office/drawing/2014/main" id="{FF440039-F400-4D3E-964A-30A201FAFF4F}"/>
                </a:ext>
              </a:extLst>
            </p:cNvPr>
            <p:cNvSpPr/>
            <p:nvPr/>
          </p:nvSpPr>
          <p:spPr>
            <a:xfrm>
              <a:off x="6983943" y="3114690"/>
              <a:ext cx="300564" cy="300564"/>
            </a:xfrm>
            <a:prstGeom prst="rect">
              <a:avLst/>
            </a:prstGeom>
            <a:solidFill>
              <a:srgbClr val="56EF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TextBox 78">
              <a:extLst>
                <a:ext uri="{FF2B5EF4-FFF2-40B4-BE49-F238E27FC236}">
                  <a16:creationId xmlns:a16="http://schemas.microsoft.com/office/drawing/2014/main" id="{6BC8D21A-6E7D-47F3-A5ED-697A75612607}"/>
                </a:ext>
              </a:extLst>
            </p:cNvPr>
            <p:cNvSpPr txBox="1"/>
            <p:nvPr/>
          </p:nvSpPr>
          <p:spPr>
            <a:xfrm>
              <a:off x="7338714" y="1768773"/>
              <a:ext cx="16147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2000">
                  <a:solidFill>
                    <a:prstClr val="black">
                      <a:lumMod val="75000"/>
                      <a:lumOff val="25000"/>
                    </a:prstClr>
                  </a:solidFill>
                  <a:latin typeface="Bahnschrift" panose="020B0502040204020203" pitchFamily="34" charset="0"/>
                </a:defRPr>
              </a:lvl1pPr>
            </a:lstStyle>
            <a:p>
              <a:pPr marL="0" marR="0" lvl="0" indent="0" algn="l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2,70 – 10,05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88" name="TextBox 78">
              <a:extLst>
                <a:ext uri="{FF2B5EF4-FFF2-40B4-BE49-F238E27FC236}">
                  <a16:creationId xmlns:a16="http://schemas.microsoft.com/office/drawing/2014/main" id="{45FAED84-049F-4A5F-BB35-99F1A7898D78}"/>
                </a:ext>
              </a:extLst>
            </p:cNvPr>
            <p:cNvSpPr txBox="1"/>
            <p:nvPr/>
          </p:nvSpPr>
          <p:spPr>
            <a:xfrm>
              <a:off x="7338714" y="2200821"/>
              <a:ext cx="16147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2000">
                  <a:solidFill>
                    <a:prstClr val="black">
                      <a:lumMod val="75000"/>
                      <a:lumOff val="25000"/>
                    </a:prstClr>
                  </a:solidFill>
                  <a:latin typeface="Bahnschrift" panose="020B0502040204020203" pitchFamily="34" charset="0"/>
                </a:defRPr>
              </a:lvl1pPr>
            </a:lstStyle>
            <a:p>
              <a:pPr marL="0" marR="0" lvl="0" indent="0" algn="l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1,72 – 2,69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89" name="TextBox 78">
              <a:extLst>
                <a:ext uri="{FF2B5EF4-FFF2-40B4-BE49-F238E27FC236}">
                  <a16:creationId xmlns:a16="http://schemas.microsoft.com/office/drawing/2014/main" id="{A3AE45B5-5216-4CA9-A350-66EAD07F8345}"/>
                </a:ext>
              </a:extLst>
            </p:cNvPr>
            <p:cNvSpPr txBox="1"/>
            <p:nvPr/>
          </p:nvSpPr>
          <p:spPr>
            <a:xfrm>
              <a:off x="7338714" y="2632869"/>
              <a:ext cx="16147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2000">
                  <a:solidFill>
                    <a:prstClr val="black">
                      <a:lumMod val="75000"/>
                      <a:lumOff val="25000"/>
                    </a:prstClr>
                  </a:solidFill>
                  <a:latin typeface="Bahnschrift" panose="020B0502040204020203" pitchFamily="34" charset="0"/>
                </a:defRPr>
              </a:lvl1pPr>
            </a:lstStyle>
            <a:p>
              <a:pPr marL="0" marR="0" lvl="0" indent="0" algn="l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1,35 – 1,71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90" name="TextBox 78">
              <a:extLst>
                <a:ext uri="{FF2B5EF4-FFF2-40B4-BE49-F238E27FC236}">
                  <a16:creationId xmlns:a16="http://schemas.microsoft.com/office/drawing/2014/main" id="{4EAD639C-652D-4FE1-8218-17023B916ABA}"/>
                </a:ext>
              </a:extLst>
            </p:cNvPr>
            <p:cNvSpPr txBox="1"/>
            <p:nvPr/>
          </p:nvSpPr>
          <p:spPr>
            <a:xfrm>
              <a:off x="7338714" y="3064917"/>
              <a:ext cx="16147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2000">
                  <a:solidFill>
                    <a:prstClr val="black">
                      <a:lumMod val="75000"/>
                      <a:lumOff val="25000"/>
                    </a:prstClr>
                  </a:solidFill>
                  <a:latin typeface="Bahnschrift" panose="020B0502040204020203" pitchFamily="34" charset="0"/>
                </a:defRPr>
              </a:lvl1pPr>
            </a:lstStyle>
            <a:p>
              <a:pPr marL="0" marR="0" lvl="0" indent="0" algn="l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0,65 – 1,34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40" name="TextBox 46">
            <a:extLst>
              <a:ext uri="{FF2B5EF4-FFF2-40B4-BE49-F238E27FC236}">
                <a16:creationId xmlns:a16="http://schemas.microsoft.com/office/drawing/2014/main" id="{36C57B9A-112E-4B0A-B7F5-8F50BBC91E5B}"/>
              </a:ext>
            </a:extLst>
          </p:cNvPr>
          <p:cNvSpPr txBox="1"/>
          <p:nvPr/>
        </p:nvSpPr>
        <p:spPr>
          <a:xfrm>
            <a:off x="598293" y="9368339"/>
            <a:ext cx="10116410" cy="469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Arial" panose="020B0604020202020204" pitchFamily="34" charset="0"/>
              </a:rPr>
              <a:t>Disponível em: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hlinkClick r:id="rId3"/>
              </a:rPr>
              <a:t>https://www.inca.gov.br/publicacoes/livros/estimativa-2020-incidencia-de-cancer-no-brasil</a:t>
            </a: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Arial" panose="020B0604020202020204" pitchFamily="34" charset="0"/>
              </a:rPr>
              <a:t>. Acesso 24 Março 2020</a:t>
            </a:r>
            <a:r>
              <a:rPr kumimoji="0" lang="pt-BR" sz="115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5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4" name="CaixaDeTexto 293">
            <a:extLst>
              <a:ext uri="{FF2B5EF4-FFF2-40B4-BE49-F238E27FC236}">
                <a16:creationId xmlns:a16="http://schemas.microsoft.com/office/drawing/2014/main" id="{390ECED1-C962-4ED8-8342-640BDDAE7918}"/>
              </a:ext>
            </a:extLst>
          </p:cNvPr>
          <p:cNvSpPr txBox="1"/>
          <p:nvPr/>
        </p:nvSpPr>
        <p:spPr>
          <a:xfrm>
            <a:off x="7433186" y="4723345"/>
            <a:ext cx="3281517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8.450</a:t>
            </a:r>
          </a:p>
        </p:txBody>
      </p:sp>
      <p:sp>
        <p:nvSpPr>
          <p:cNvPr id="295" name="CaixaDeTexto 294">
            <a:extLst>
              <a:ext uri="{FF2B5EF4-FFF2-40B4-BE49-F238E27FC236}">
                <a16:creationId xmlns:a16="http://schemas.microsoft.com/office/drawing/2014/main" id="{53C1BE69-90F4-4411-8134-0AD72326E0D7}"/>
              </a:ext>
            </a:extLst>
          </p:cNvPr>
          <p:cNvSpPr txBox="1"/>
          <p:nvPr/>
        </p:nvSpPr>
        <p:spPr>
          <a:xfrm>
            <a:off x="7300451" y="5785231"/>
            <a:ext cx="354698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novos casos</a:t>
            </a:r>
          </a:p>
        </p:txBody>
      </p:sp>
      <p:sp>
        <p:nvSpPr>
          <p:cNvPr id="296" name="CaixaDeTexto 295">
            <a:extLst>
              <a:ext uri="{FF2B5EF4-FFF2-40B4-BE49-F238E27FC236}">
                <a16:creationId xmlns:a16="http://schemas.microsoft.com/office/drawing/2014/main" id="{86697C58-11B0-431B-B39C-F82A5C441A2F}"/>
              </a:ext>
            </a:extLst>
          </p:cNvPr>
          <p:cNvSpPr txBox="1"/>
          <p:nvPr/>
        </p:nvSpPr>
        <p:spPr>
          <a:xfrm>
            <a:off x="7285702" y="6404661"/>
            <a:ext cx="357648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Homens e mulhere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99" name="CaixaDeTexto 298">
            <a:extLst>
              <a:ext uri="{FF2B5EF4-FFF2-40B4-BE49-F238E27FC236}">
                <a16:creationId xmlns:a16="http://schemas.microsoft.com/office/drawing/2014/main" id="{BD802CB0-3152-4A47-A8BE-97B2A7F9E540}"/>
              </a:ext>
            </a:extLst>
          </p:cNvPr>
          <p:cNvSpPr txBox="1"/>
          <p:nvPr/>
        </p:nvSpPr>
        <p:spPr>
          <a:xfrm>
            <a:off x="920553" y="637778"/>
            <a:ext cx="8132007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defTabSz="1316553">
              <a:lnSpc>
                <a:spcPct val="75000"/>
              </a:lnSpc>
              <a:defRPr sz="4800" b="1">
                <a:solidFill>
                  <a:prstClr val="black">
                    <a:lumMod val="75000"/>
                    <a:lumOff val="25000"/>
                  </a:prstClr>
                </a:solidFill>
                <a:latin typeface="Bahnschrift" panose="020B0502040204020203" pitchFamily="34" charset="0"/>
                <a:ea typeface="Verdana" panose="020B0604030504040204" pitchFamily="34" charset="0"/>
              </a:defRPr>
            </a:lvl1pPr>
          </a:lstStyle>
          <a:p>
            <a:pPr marL="0" marR="0" lvl="0" indent="0" algn="l" defTabSz="1316553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Verdana" panose="020B0604030504040204" pitchFamily="34" charset="0"/>
                <a:cs typeface="+mn-cs"/>
              </a:rPr>
              <a:t>ESTIMATIVA DO INCA PARA 2020</a:t>
            </a:r>
          </a:p>
        </p:txBody>
      </p:sp>
    </p:spTree>
    <p:extLst>
      <p:ext uri="{BB962C8B-B14F-4D97-AF65-F5344CB8AC3E}">
        <p14:creationId xmlns:p14="http://schemas.microsoft.com/office/powerpoint/2010/main" val="33573233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1248E-6 0.03714 L 2.71248E-6 -3.95498E-6 " pathEditMode="relative" rAng="0" ptsTypes="AA">
                                      <p:cBhvr>
                                        <p:cTn id="15" dur="7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865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75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75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75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75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5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5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1248E-6 0.03714 L 2.71248E-6 -3.95498E-6 " pathEditMode="relative" rAng="0" ptsTypes="AA">
                                      <p:cBhvr>
                                        <p:cTn id="68" dur="75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865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6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750"/>
                                        <p:tgtEl>
                                          <p:spTgt spid="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75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750"/>
                                        <p:tgtEl>
                                          <p:spTgt spid="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26" grpId="0"/>
      <p:bldP spid="27" grpId="0"/>
      <p:bldP spid="28" grpId="0"/>
      <p:bldP spid="253" grpId="0"/>
      <p:bldP spid="256" grpId="0"/>
      <p:bldP spid="257" grpId="0"/>
      <p:bldP spid="264" grpId="0"/>
      <p:bldP spid="266" grpId="0"/>
      <p:bldP spid="268" grpId="0"/>
      <p:bldP spid="270" grpId="0"/>
      <p:bldP spid="272" grpId="0"/>
      <p:bldP spid="274" grpId="0"/>
      <p:bldP spid="40" grpId="0"/>
      <p:bldP spid="294" grpId="0"/>
      <p:bldP spid="295" grpId="0"/>
      <p:bldP spid="296" grpId="0"/>
      <p:bldP spid="299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14200A34-6A0A-5B5F-5FD1-5680D29D87E5}"/>
              </a:ext>
            </a:extLst>
          </p:cNvPr>
          <p:cNvSpPr/>
          <p:nvPr/>
        </p:nvSpPr>
        <p:spPr>
          <a:xfrm>
            <a:off x="14992350" y="7448550"/>
            <a:ext cx="1733550" cy="1674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 descr="Tabela&#10;&#10;Descrição gerada automaticamente">
            <a:extLst>
              <a:ext uri="{FF2B5EF4-FFF2-40B4-BE49-F238E27FC236}">
                <a16:creationId xmlns:a16="http://schemas.microsoft.com/office/drawing/2014/main" id="{A7F4F7F8-081C-C752-1D57-901FFC53AF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925" y="415925"/>
            <a:ext cx="15721418" cy="855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9526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14200A34-6A0A-5B5F-5FD1-5680D29D87E5}"/>
              </a:ext>
            </a:extLst>
          </p:cNvPr>
          <p:cNvSpPr/>
          <p:nvPr/>
        </p:nvSpPr>
        <p:spPr>
          <a:xfrm>
            <a:off x="14992350" y="7448550"/>
            <a:ext cx="1733550" cy="1674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 descr="Uma imagem contendo Gráfico&#10;&#10;Descrição gerada automaticamente">
            <a:extLst>
              <a:ext uri="{FF2B5EF4-FFF2-40B4-BE49-F238E27FC236}">
                <a16:creationId xmlns:a16="http://schemas.microsoft.com/office/drawing/2014/main" id="{8D9CC9F5-1567-D847-852F-E2C1D50806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425" y="788172"/>
            <a:ext cx="15357475" cy="8334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5002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14200A34-6A0A-5B5F-5FD1-5680D29D87E5}"/>
              </a:ext>
            </a:extLst>
          </p:cNvPr>
          <p:cNvSpPr/>
          <p:nvPr/>
        </p:nvSpPr>
        <p:spPr>
          <a:xfrm>
            <a:off x="14992350" y="7448550"/>
            <a:ext cx="1733550" cy="1674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Imagem 5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BEDEF9D5-FF55-3336-6C25-9434716B05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505950" cy="4874847"/>
          </a:xfrm>
          <a:prstGeom prst="rect">
            <a:avLst/>
          </a:prstGeom>
        </p:spPr>
      </p:pic>
      <p:pic>
        <p:nvPicPr>
          <p:cNvPr id="7" name="Imagem 6" descr="Uma imagem contendo Gráfico&#10;&#10;Descrição gerada automaticamente">
            <a:extLst>
              <a:ext uri="{FF2B5EF4-FFF2-40B4-BE49-F238E27FC236}">
                <a16:creationId xmlns:a16="http://schemas.microsoft.com/office/drawing/2014/main" id="{9CA44C7C-1ED7-F051-63D5-E5029AB7FE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0050" y="4874846"/>
            <a:ext cx="9537700" cy="4931522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EEAE5E4B-745B-D1B6-6F8C-22B175576484}"/>
              </a:ext>
            </a:extLst>
          </p:cNvPr>
          <p:cNvSpPr txBox="1"/>
          <p:nvPr/>
        </p:nvSpPr>
        <p:spPr>
          <a:xfrm>
            <a:off x="1200150" y="8938214"/>
            <a:ext cx="4229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/>
              <a:t>Tawbi</a:t>
            </a:r>
            <a:r>
              <a:rPr lang="pt-BR" dirty="0"/>
              <a:t> H A., et al.  N </a:t>
            </a:r>
            <a:r>
              <a:rPr lang="pt-BR" dirty="0" err="1"/>
              <a:t>Engl</a:t>
            </a:r>
            <a:r>
              <a:rPr lang="pt-BR" dirty="0"/>
              <a:t> J Medicine, 2022</a:t>
            </a:r>
          </a:p>
        </p:txBody>
      </p:sp>
    </p:spTree>
    <p:extLst>
      <p:ext uri="{BB962C8B-B14F-4D97-AF65-F5344CB8AC3E}">
        <p14:creationId xmlns:p14="http://schemas.microsoft.com/office/powerpoint/2010/main" val="28099309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14200A34-6A0A-5B5F-5FD1-5680D29D87E5}"/>
              </a:ext>
            </a:extLst>
          </p:cNvPr>
          <p:cNvSpPr/>
          <p:nvPr/>
        </p:nvSpPr>
        <p:spPr>
          <a:xfrm>
            <a:off x="14992350" y="7448550"/>
            <a:ext cx="1733550" cy="1674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Imagem 3" descr="Tabela&#10;&#10;Descrição gerada automaticamente">
            <a:extLst>
              <a:ext uri="{FF2B5EF4-FFF2-40B4-BE49-F238E27FC236}">
                <a16:creationId xmlns:a16="http://schemas.microsoft.com/office/drawing/2014/main" id="{0BBDAE22-4A46-9BDB-AE04-E42EBDCD31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192" y="751370"/>
            <a:ext cx="16084983" cy="8735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646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40E1BAD4-B1C5-CD07-7836-8F608E33E5DF}"/>
              </a:ext>
            </a:extLst>
          </p:cNvPr>
          <p:cNvSpPr/>
          <p:nvPr/>
        </p:nvSpPr>
        <p:spPr>
          <a:xfrm>
            <a:off x="706664" y="8360229"/>
            <a:ext cx="16144422" cy="9415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EE35AA12-F2FB-425C-AC74-A009DF26A01C}"/>
              </a:ext>
            </a:extLst>
          </p:cNvPr>
          <p:cNvSpPr/>
          <p:nvPr/>
        </p:nvSpPr>
        <p:spPr>
          <a:xfrm>
            <a:off x="15059608" y="6736702"/>
            <a:ext cx="1791478" cy="1783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71786929-9D00-B319-CF6F-0CBEA1871913}"/>
              </a:ext>
            </a:extLst>
          </p:cNvPr>
          <p:cNvSpPr txBox="1"/>
          <p:nvPr/>
        </p:nvSpPr>
        <p:spPr>
          <a:xfrm>
            <a:off x="1103384" y="630799"/>
            <a:ext cx="157477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/>
              <a:t>Cenário atual dos biomarcadores na doença avançada?</a:t>
            </a:r>
          </a:p>
        </p:txBody>
      </p:sp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CEF72FD1-349F-0D7C-2548-D88666E98D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920059"/>
              </p:ext>
            </p:extLst>
          </p:nvPr>
        </p:nvGraphicFramePr>
        <p:xfrm>
          <a:off x="905024" y="2140302"/>
          <a:ext cx="15946064" cy="69655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86516">
                  <a:extLst>
                    <a:ext uri="{9D8B030D-6E8A-4147-A177-3AD203B41FA5}">
                      <a16:colId xmlns:a16="http://schemas.microsoft.com/office/drawing/2014/main" val="2918187748"/>
                    </a:ext>
                  </a:extLst>
                </a:gridCol>
                <a:gridCol w="3986516">
                  <a:extLst>
                    <a:ext uri="{9D8B030D-6E8A-4147-A177-3AD203B41FA5}">
                      <a16:colId xmlns:a16="http://schemas.microsoft.com/office/drawing/2014/main" val="3279245417"/>
                    </a:ext>
                  </a:extLst>
                </a:gridCol>
                <a:gridCol w="3986516">
                  <a:extLst>
                    <a:ext uri="{9D8B030D-6E8A-4147-A177-3AD203B41FA5}">
                      <a16:colId xmlns:a16="http://schemas.microsoft.com/office/drawing/2014/main" val="1001923586"/>
                    </a:ext>
                  </a:extLst>
                </a:gridCol>
                <a:gridCol w="3986516">
                  <a:extLst>
                    <a:ext uri="{9D8B030D-6E8A-4147-A177-3AD203B41FA5}">
                      <a16:colId xmlns:a16="http://schemas.microsoft.com/office/drawing/2014/main" val="1022847823"/>
                    </a:ext>
                  </a:extLst>
                </a:gridCol>
              </a:tblGrid>
              <a:tr h="773955">
                <a:tc>
                  <a:txBody>
                    <a:bodyPr/>
                    <a:lstStyle/>
                    <a:p>
                      <a:endParaRPr lang="pt-BR" sz="3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Prognóst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Preditiv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Dicotômic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2057865"/>
                  </a:ext>
                </a:extLst>
              </a:tr>
              <a:tr h="773955"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BRA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+ (</a:t>
                      </a:r>
                      <a:r>
                        <a:rPr lang="pt-BR" sz="3600" dirty="0" err="1">
                          <a:solidFill>
                            <a:srgbClr val="C00000"/>
                          </a:solidFill>
                        </a:rPr>
                        <a:t>neg</a:t>
                      </a:r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+++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+++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131491"/>
                  </a:ext>
                </a:extLst>
              </a:tr>
              <a:tr h="773955"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K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+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++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3340758"/>
                  </a:ext>
                </a:extLst>
              </a:tr>
              <a:tr h="773955"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NR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+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5229531"/>
                  </a:ext>
                </a:extLst>
              </a:tr>
              <a:tr h="773955"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PD-L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++ (</a:t>
                      </a:r>
                      <a:r>
                        <a:rPr lang="pt-BR" sz="3600" dirty="0" err="1">
                          <a:solidFill>
                            <a:srgbClr val="C00000"/>
                          </a:solidFill>
                        </a:rPr>
                        <a:t>pos</a:t>
                      </a:r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0240956"/>
                  </a:ext>
                </a:extLst>
              </a:tr>
              <a:tr h="773955"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NT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+++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+++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2397087"/>
                  </a:ext>
                </a:extLst>
              </a:tr>
              <a:tr h="773955"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TM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9861121"/>
                  </a:ext>
                </a:extLst>
              </a:tr>
              <a:tr h="773955"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DH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+++(</a:t>
                      </a:r>
                      <a:r>
                        <a:rPr lang="pt-BR" sz="3600" dirty="0" err="1">
                          <a:solidFill>
                            <a:srgbClr val="C00000"/>
                          </a:solidFill>
                        </a:rPr>
                        <a:t>neg</a:t>
                      </a:r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348030"/>
                  </a:ext>
                </a:extLst>
              </a:tr>
              <a:tr h="773955">
                <a:tc>
                  <a:txBody>
                    <a:bodyPr/>
                    <a:lstStyle/>
                    <a:p>
                      <a:pPr algn="ctr"/>
                      <a:r>
                        <a:rPr lang="pt-BR" sz="3600" dirty="0"/>
                        <a:t>LAG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++ (</a:t>
                      </a:r>
                      <a:r>
                        <a:rPr lang="pt-BR" sz="3600" dirty="0" err="1">
                          <a:solidFill>
                            <a:srgbClr val="C00000"/>
                          </a:solidFill>
                        </a:rPr>
                        <a:t>neg</a:t>
                      </a:r>
                      <a:r>
                        <a:rPr lang="pt-BR" sz="3600" dirty="0">
                          <a:solidFill>
                            <a:srgbClr val="C00000"/>
                          </a:solidFill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360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65464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76551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obrigado</a:t>
            </a:r>
          </a:p>
        </p:txBody>
      </p:sp>
      <p:pic>
        <p:nvPicPr>
          <p:cNvPr id="4" name="Imagem 3"/>
          <p:cNvPicPr>
            <a:picLocks noChangeAspect="1"/>
          </p:cNvPicPr>
          <p:nvPr>
            <p:custDataLst>
              <p:custData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6578" y="5814836"/>
            <a:ext cx="7544595" cy="5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1260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ângulo 21">
            <a:extLst>
              <a:ext uri="{FF2B5EF4-FFF2-40B4-BE49-F238E27FC236}">
                <a16:creationId xmlns:a16="http://schemas.microsoft.com/office/drawing/2014/main" id="{169B6B15-3522-450C-BF6F-6C6997587E61}"/>
              </a:ext>
            </a:extLst>
          </p:cNvPr>
          <p:cNvSpPr/>
          <p:nvPr/>
        </p:nvSpPr>
        <p:spPr>
          <a:xfrm>
            <a:off x="0" y="0"/>
            <a:ext cx="17557749" cy="9874250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93000">
                <a:srgbClr val="9851A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tângulo 61">
            <a:extLst>
              <a:ext uri="{FF2B5EF4-FFF2-40B4-BE49-F238E27FC236}">
                <a16:creationId xmlns:a16="http://schemas.microsoft.com/office/drawing/2014/main" id="{B0A95E5A-83E6-4358-8A78-13B45D867A60}"/>
              </a:ext>
            </a:extLst>
          </p:cNvPr>
          <p:cNvSpPr/>
          <p:nvPr/>
        </p:nvSpPr>
        <p:spPr>
          <a:xfrm>
            <a:off x="12083118" y="0"/>
            <a:ext cx="5472868" cy="9875540"/>
          </a:xfrm>
          <a:prstGeom prst="rect">
            <a:avLst/>
          </a:prstGeom>
          <a:solidFill>
            <a:schemeClr val="bg1"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E0093BE9-4E99-4470-8207-7989C49C44C0}"/>
              </a:ext>
            </a:extLst>
          </p:cNvPr>
          <p:cNvSpPr/>
          <p:nvPr/>
        </p:nvSpPr>
        <p:spPr>
          <a:xfrm>
            <a:off x="0" y="0"/>
            <a:ext cx="5570807" cy="9875540"/>
          </a:xfrm>
          <a:prstGeom prst="rect">
            <a:avLst/>
          </a:prstGeom>
          <a:solidFill>
            <a:schemeClr val="bg1"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046CBB78-ADE6-4F4C-BEFE-41CB91B004B6}"/>
              </a:ext>
            </a:extLst>
          </p:cNvPr>
          <p:cNvSpPr/>
          <p:nvPr/>
        </p:nvSpPr>
        <p:spPr>
          <a:xfrm>
            <a:off x="0" y="0"/>
            <a:ext cx="5138057" cy="9874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tângulo 60">
            <a:extLst>
              <a:ext uri="{FF2B5EF4-FFF2-40B4-BE49-F238E27FC236}">
                <a16:creationId xmlns:a16="http://schemas.microsoft.com/office/drawing/2014/main" id="{088A066B-E64B-4DC4-99F0-BE367A004B36}"/>
              </a:ext>
            </a:extLst>
          </p:cNvPr>
          <p:cNvSpPr/>
          <p:nvPr/>
        </p:nvSpPr>
        <p:spPr>
          <a:xfrm>
            <a:off x="12419693" y="0"/>
            <a:ext cx="5138057" cy="9874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FD93-5BAC-41C5-B280-B8DAADF4C215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557838" y="4078288"/>
            <a:ext cx="6442075" cy="2017712"/>
          </a:xfr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 defTabSz="1316736">
              <a:lnSpc>
                <a:spcPct val="100000"/>
              </a:lnSpc>
              <a:spcBef>
                <a:spcPts val="0"/>
              </a:spcBef>
            </a:pP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rgbClr val="56EFFD"/>
                </a:solidFill>
                <a:latin typeface="Bahnschrift" panose="020B0502040204020203" pitchFamily="34" charset="0"/>
                <a:ea typeface="+mn-ea"/>
                <a:cs typeface="+mn-cs"/>
              </a:rPr>
              <a:t>DIAGNÓSTICO</a:t>
            </a: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chemeClr val="bg1"/>
                </a:solidFill>
                <a:latin typeface="Bahnschrift" panose="020B0502040204020203" pitchFamily="34" charset="0"/>
                <a:ea typeface="+mn-ea"/>
                <a:cs typeface="+mn-cs"/>
              </a:rPr>
              <a:t> BÁSICO</a:t>
            </a:r>
            <a:endParaRPr lang="pt-BR" sz="6000" b="1" spc="-150" dirty="0">
              <a:ln w="5000" cmpd="sng">
                <a:noFill/>
                <a:prstDash val="solid"/>
              </a:ln>
              <a:solidFill>
                <a:schemeClr val="bg1"/>
              </a:solidFill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A6BE426-F5F4-4223-AAA3-33D0FA43C242}"/>
              </a:ext>
            </a:extLst>
          </p:cNvPr>
          <p:cNvSpPr txBox="1">
            <a:spLocks/>
          </p:cNvSpPr>
          <p:nvPr/>
        </p:nvSpPr>
        <p:spPr>
          <a:xfrm>
            <a:off x="1051559" y="5263617"/>
            <a:ext cx="342900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1316736" fontAlgn="auto">
              <a:lnSpc>
                <a:spcPct val="85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3167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Estadiamento</a:t>
            </a:r>
            <a:endParaRPr kumimoji="0" lang="pt-BR" sz="4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AEDE0B5-60E3-4B8B-BB53-F2527CCE5472}"/>
              </a:ext>
            </a:extLst>
          </p:cNvPr>
          <p:cNvSpPr txBox="1">
            <a:spLocks/>
          </p:cNvSpPr>
          <p:nvPr/>
        </p:nvSpPr>
        <p:spPr>
          <a:xfrm>
            <a:off x="13473430" y="5263617"/>
            <a:ext cx="260477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1316736" fontAlgn="auto">
              <a:lnSpc>
                <a:spcPct val="85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 kumimoji="0" sz="4000" b="0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</a:defRPr>
            </a:lvl1pPr>
          </a:lstStyle>
          <a:p>
            <a:pPr marL="0" marR="0" lvl="0" indent="0" algn="ctr" defTabSz="13167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Mutação</a:t>
            </a:r>
            <a:endParaRPr kumimoji="0" lang="pt-BR" sz="4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22EF534B-4BF4-4793-A283-B8B6E6FF5F0A}"/>
              </a:ext>
            </a:extLst>
          </p:cNvPr>
          <p:cNvGrpSpPr/>
          <p:nvPr/>
        </p:nvGrpSpPr>
        <p:grpSpPr>
          <a:xfrm>
            <a:off x="2192924" y="4002975"/>
            <a:ext cx="1114156" cy="961177"/>
            <a:chOff x="3340916" y="2248973"/>
            <a:chExt cx="612775" cy="528638"/>
          </a:xfrm>
        </p:grpSpPr>
        <p:sp>
          <p:nvSpPr>
            <p:cNvPr id="31" name="Freeform 64">
              <a:extLst>
                <a:ext uri="{FF2B5EF4-FFF2-40B4-BE49-F238E27FC236}">
                  <a16:creationId xmlns:a16="http://schemas.microsoft.com/office/drawing/2014/main" id="{EB694CFD-4F95-4C0F-BCF1-81E580B14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0916" y="2520436"/>
              <a:ext cx="612775" cy="180975"/>
            </a:xfrm>
            <a:custGeom>
              <a:avLst/>
              <a:gdLst>
                <a:gd name="T0" fmla="*/ 0 w 386"/>
                <a:gd name="T1" fmla="*/ 114 h 114"/>
                <a:gd name="T2" fmla="*/ 48 w 386"/>
                <a:gd name="T3" fmla="*/ 114 h 114"/>
                <a:gd name="T4" fmla="*/ 80 w 386"/>
                <a:gd name="T5" fmla="*/ 73 h 114"/>
                <a:gd name="T6" fmla="*/ 113 w 386"/>
                <a:gd name="T7" fmla="*/ 73 h 114"/>
                <a:gd name="T8" fmla="*/ 145 w 386"/>
                <a:gd name="T9" fmla="*/ 105 h 114"/>
                <a:gd name="T10" fmla="*/ 193 w 386"/>
                <a:gd name="T11" fmla="*/ 105 h 114"/>
                <a:gd name="T12" fmla="*/ 257 w 386"/>
                <a:gd name="T13" fmla="*/ 40 h 114"/>
                <a:gd name="T14" fmla="*/ 314 w 386"/>
                <a:gd name="T15" fmla="*/ 40 h 114"/>
                <a:gd name="T16" fmla="*/ 338 w 386"/>
                <a:gd name="T17" fmla="*/ 0 h 114"/>
                <a:gd name="T18" fmla="*/ 386 w 386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6" h="114">
                  <a:moveTo>
                    <a:pt x="0" y="114"/>
                  </a:moveTo>
                  <a:lnTo>
                    <a:pt x="48" y="114"/>
                  </a:lnTo>
                  <a:lnTo>
                    <a:pt x="80" y="73"/>
                  </a:lnTo>
                  <a:lnTo>
                    <a:pt x="113" y="73"/>
                  </a:lnTo>
                  <a:lnTo>
                    <a:pt x="145" y="105"/>
                  </a:lnTo>
                  <a:lnTo>
                    <a:pt x="193" y="105"/>
                  </a:lnTo>
                  <a:lnTo>
                    <a:pt x="257" y="40"/>
                  </a:lnTo>
                  <a:lnTo>
                    <a:pt x="314" y="40"/>
                  </a:lnTo>
                  <a:lnTo>
                    <a:pt x="338" y="0"/>
                  </a:lnTo>
                  <a:lnTo>
                    <a:pt x="386" y="0"/>
                  </a:lnTo>
                </a:path>
              </a:pathLst>
            </a:cu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Line 65">
              <a:extLst>
                <a:ext uri="{FF2B5EF4-FFF2-40B4-BE49-F238E27FC236}">
                  <a16:creationId xmlns:a16="http://schemas.microsoft.com/office/drawing/2014/main" id="{F443A12F-43FF-4851-9076-0D85396346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40916" y="2777611"/>
              <a:ext cx="612775" cy="0"/>
            </a:xfrm>
            <a:prstGeom prst="line">
              <a:avLst/>
            </a:pr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66">
              <a:extLst>
                <a:ext uri="{FF2B5EF4-FFF2-40B4-BE49-F238E27FC236}">
                  <a16:creationId xmlns:a16="http://schemas.microsoft.com/office/drawing/2014/main" id="{DA7441E7-CCB2-4F83-98FE-4AD40909C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6504" y="2390261"/>
              <a:ext cx="101600" cy="193675"/>
            </a:xfrm>
            <a:custGeom>
              <a:avLst/>
              <a:gdLst>
                <a:gd name="T0" fmla="*/ 64 w 64"/>
                <a:gd name="T1" fmla="*/ 122 h 122"/>
                <a:gd name="T2" fmla="*/ 64 w 64"/>
                <a:gd name="T3" fmla="*/ 0 h 122"/>
                <a:gd name="T4" fmla="*/ 0 w 64"/>
                <a:gd name="T5" fmla="*/ 0 h 122"/>
                <a:gd name="T6" fmla="*/ 0 w 64"/>
                <a:gd name="T7" fmla="*/ 7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122">
                  <a:moveTo>
                    <a:pt x="64" y="122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73"/>
                  </a:lnTo>
                </a:path>
              </a:pathLst>
            </a:cu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Line 67">
              <a:extLst>
                <a:ext uri="{FF2B5EF4-FFF2-40B4-BE49-F238E27FC236}">
                  <a16:creationId xmlns:a16="http://schemas.microsoft.com/office/drawing/2014/main" id="{06BE72B4-5E41-455F-BCDC-161B1739EE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98104" y="2687123"/>
              <a:ext cx="0" cy="90488"/>
            </a:xfrm>
            <a:prstGeom prst="line">
              <a:avLst/>
            </a:pr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Line 68">
              <a:extLst>
                <a:ext uri="{FF2B5EF4-FFF2-40B4-BE49-F238E27FC236}">
                  <a16:creationId xmlns:a16="http://schemas.microsoft.com/office/drawing/2014/main" id="{1BAED797-D5F5-4A80-963D-F203A9F5DD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01291" y="2623623"/>
              <a:ext cx="0" cy="153988"/>
            </a:xfrm>
            <a:prstGeom prst="line">
              <a:avLst/>
            </a:pr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69">
              <a:extLst>
                <a:ext uri="{FF2B5EF4-FFF2-40B4-BE49-F238E27FC236}">
                  <a16:creationId xmlns:a16="http://schemas.microsoft.com/office/drawing/2014/main" id="{BF53F06B-476D-495B-BBAC-4F8944F51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8104" y="2442648"/>
              <a:ext cx="103188" cy="103188"/>
            </a:xfrm>
            <a:custGeom>
              <a:avLst/>
              <a:gdLst>
                <a:gd name="T0" fmla="*/ 0 w 65"/>
                <a:gd name="T1" fmla="*/ 0 h 65"/>
                <a:gd name="T2" fmla="*/ 65 w 65"/>
                <a:gd name="T3" fmla="*/ 0 h 65"/>
                <a:gd name="T4" fmla="*/ 65 w 65"/>
                <a:gd name="T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" h="65">
                  <a:moveTo>
                    <a:pt x="0" y="0"/>
                  </a:moveTo>
                  <a:lnTo>
                    <a:pt x="65" y="0"/>
                  </a:lnTo>
                  <a:lnTo>
                    <a:pt x="65" y="65"/>
                  </a:lnTo>
                </a:path>
              </a:pathLst>
            </a:cu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Line 70">
              <a:extLst>
                <a:ext uri="{FF2B5EF4-FFF2-40B4-BE49-F238E27FC236}">
                  <a16:creationId xmlns:a16="http://schemas.microsoft.com/office/drawing/2014/main" id="{EF07C89C-0112-4688-8199-A36A0921AE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6504" y="2726811"/>
              <a:ext cx="0" cy="50800"/>
            </a:xfrm>
            <a:prstGeom prst="line">
              <a:avLst/>
            </a:pr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71">
              <a:extLst>
                <a:ext uri="{FF2B5EF4-FFF2-40B4-BE49-F238E27FC236}">
                  <a16:creationId xmlns:a16="http://schemas.microsoft.com/office/drawing/2014/main" id="{C75CA41F-3837-45E3-8667-C447E8A2E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3316" y="2506148"/>
              <a:ext cx="103188" cy="142875"/>
            </a:xfrm>
            <a:custGeom>
              <a:avLst/>
              <a:gdLst>
                <a:gd name="T0" fmla="*/ 0 w 65"/>
                <a:gd name="T1" fmla="*/ 0 h 90"/>
                <a:gd name="T2" fmla="*/ 65 w 65"/>
                <a:gd name="T3" fmla="*/ 0 h 90"/>
                <a:gd name="T4" fmla="*/ 65 w 65"/>
                <a:gd name="T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" h="90">
                  <a:moveTo>
                    <a:pt x="0" y="0"/>
                  </a:moveTo>
                  <a:lnTo>
                    <a:pt x="65" y="0"/>
                  </a:lnTo>
                  <a:lnTo>
                    <a:pt x="65" y="90"/>
                  </a:lnTo>
                </a:path>
              </a:pathLst>
            </a:cu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Line 72">
              <a:extLst>
                <a:ext uri="{FF2B5EF4-FFF2-40B4-BE49-F238E27FC236}">
                  <a16:creationId xmlns:a16="http://schemas.microsoft.com/office/drawing/2014/main" id="{B0983949-E025-420F-B992-43B4C9D7560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391716" y="2739511"/>
              <a:ext cx="0" cy="38100"/>
            </a:xfrm>
            <a:prstGeom prst="line">
              <a:avLst/>
            </a:pr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Line 73">
              <a:extLst>
                <a:ext uri="{FF2B5EF4-FFF2-40B4-BE49-F238E27FC236}">
                  <a16:creationId xmlns:a16="http://schemas.microsoft.com/office/drawing/2014/main" id="{C30C2DAA-75A5-49E0-994A-07846B51AC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3316" y="2674423"/>
              <a:ext cx="0" cy="103188"/>
            </a:xfrm>
            <a:prstGeom prst="line">
              <a:avLst/>
            </a:pr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74">
              <a:extLst>
                <a:ext uri="{FF2B5EF4-FFF2-40B4-BE49-F238E27FC236}">
                  <a16:creationId xmlns:a16="http://schemas.microsoft.com/office/drawing/2014/main" id="{BF6633AC-5F68-47A0-BC8B-5ADA3D425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1716" y="2455348"/>
              <a:ext cx="101600" cy="206375"/>
            </a:xfrm>
            <a:custGeom>
              <a:avLst/>
              <a:gdLst>
                <a:gd name="T0" fmla="*/ 0 w 64"/>
                <a:gd name="T1" fmla="*/ 130 h 130"/>
                <a:gd name="T2" fmla="*/ 0 w 64"/>
                <a:gd name="T3" fmla="*/ 0 h 130"/>
                <a:gd name="T4" fmla="*/ 64 w 64"/>
                <a:gd name="T5" fmla="*/ 0 h 130"/>
                <a:gd name="T6" fmla="*/ 64 w 64"/>
                <a:gd name="T7" fmla="*/ 89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130">
                  <a:moveTo>
                    <a:pt x="0" y="130"/>
                  </a:moveTo>
                  <a:lnTo>
                    <a:pt x="0" y="0"/>
                  </a:lnTo>
                  <a:lnTo>
                    <a:pt x="64" y="0"/>
                  </a:lnTo>
                  <a:lnTo>
                    <a:pt x="64" y="89"/>
                  </a:lnTo>
                </a:path>
              </a:pathLst>
            </a:cu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Line 75">
              <a:extLst>
                <a:ext uri="{FF2B5EF4-FFF2-40B4-BE49-F238E27FC236}">
                  <a16:creationId xmlns:a16="http://schemas.microsoft.com/office/drawing/2014/main" id="{379CA0A6-4996-4EFC-AD42-08D78992BF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2891" y="2558536"/>
              <a:ext cx="0" cy="219075"/>
            </a:xfrm>
            <a:prstGeom prst="line">
              <a:avLst/>
            </a:pr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76">
              <a:extLst>
                <a:ext uri="{FF2B5EF4-FFF2-40B4-BE49-F238E27FC236}">
                  <a16:creationId xmlns:a16="http://schemas.microsoft.com/office/drawing/2014/main" id="{65C1241A-1EF3-40E7-87A5-D96314DC7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1291" y="2248973"/>
              <a:ext cx="101600" cy="231775"/>
            </a:xfrm>
            <a:custGeom>
              <a:avLst/>
              <a:gdLst>
                <a:gd name="T0" fmla="*/ 64 w 64"/>
                <a:gd name="T1" fmla="*/ 146 h 146"/>
                <a:gd name="T2" fmla="*/ 64 w 64"/>
                <a:gd name="T3" fmla="*/ 0 h 146"/>
                <a:gd name="T4" fmla="*/ 0 w 64"/>
                <a:gd name="T5" fmla="*/ 0 h 146"/>
                <a:gd name="T6" fmla="*/ 0 w 64"/>
                <a:gd name="T7" fmla="*/ 12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146">
                  <a:moveTo>
                    <a:pt x="64" y="146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122"/>
                  </a:lnTo>
                </a:path>
              </a:pathLst>
            </a:custGeom>
            <a:noFill/>
            <a:ln w="57150" cap="flat">
              <a:solidFill>
                <a:srgbClr val="1496D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CFB724FF-29A0-4D24-B5D5-749489092589}"/>
              </a:ext>
            </a:extLst>
          </p:cNvPr>
          <p:cNvGrpSpPr/>
          <p:nvPr/>
        </p:nvGrpSpPr>
        <p:grpSpPr>
          <a:xfrm>
            <a:off x="14363397" y="4004611"/>
            <a:ext cx="785163" cy="924035"/>
            <a:chOff x="17730744" y="4767991"/>
            <a:chExt cx="466725" cy="549275"/>
          </a:xfrm>
        </p:grpSpPr>
        <p:sp>
          <p:nvSpPr>
            <p:cNvPr id="45" name="Freeform 200">
              <a:extLst>
                <a:ext uri="{FF2B5EF4-FFF2-40B4-BE49-F238E27FC236}">
                  <a16:creationId xmlns:a16="http://schemas.microsoft.com/office/drawing/2014/main" id="{8A4E5C03-6B92-46F1-AE19-2C6A60937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0119" y="4771166"/>
              <a:ext cx="387350" cy="546100"/>
            </a:xfrm>
            <a:custGeom>
              <a:avLst/>
              <a:gdLst>
                <a:gd name="T0" fmla="*/ 105 w 121"/>
                <a:gd name="T1" fmla="*/ 0 h 169"/>
                <a:gd name="T2" fmla="*/ 117 w 121"/>
                <a:gd name="T3" fmla="*/ 54 h 169"/>
                <a:gd name="T4" fmla="*/ 53 w 121"/>
                <a:gd name="T5" fmla="*/ 119 h 169"/>
                <a:gd name="T6" fmla="*/ 2 w 121"/>
                <a:gd name="T7" fmla="*/ 162 h 169"/>
                <a:gd name="T8" fmla="*/ 0 w 121"/>
                <a:gd name="T9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169">
                  <a:moveTo>
                    <a:pt x="105" y="0"/>
                  </a:moveTo>
                  <a:cubicBezTo>
                    <a:pt x="114" y="10"/>
                    <a:pt x="121" y="29"/>
                    <a:pt x="117" y="54"/>
                  </a:cubicBezTo>
                  <a:cubicBezTo>
                    <a:pt x="110" y="89"/>
                    <a:pt x="84" y="106"/>
                    <a:pt x="53" y="119"/>
                  </a:cubicBezTo>
                  <a:cubicBezTo>
                    <a:pt x="23" y="130"/>
                    <a:pt x="7" y="144"/>
                    <a:pt x="2" y="162"/>
                  </a:cubicBezTo>
                  <a:cubicBezTo>
                    <a:pt x="1" y="164"/>
                    <a:pt x="1" y="167"/>
                    <a:pt x="0" y="169"/>
                  </a:cubicBezTo>
                </a:path>
              </a:pathLst>
            </a:cu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201">
              <a:extLst>
                <a:ext uri="{FF2B5EF4-FFF2-40B4-BE49-F238E27FC236}">
                  <a16:creationId xmlns:a16="http://schemas.microsoft.com/office/drawing/2014/main" id="{5A99B16E-ECE2-4BE3-96C0-786B956E5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0269" y="4767991"/>
              <a:ext cx="379413" cy="549275"/>
            </a:xfrm>
            <a:custGeom>
              <a:avLst/>
              <a:gdLst>
                <a:gd name="T0" fmla="*/ 0 w 119"/>
                <a:gd name="T1" fmla="*/ 170 h 170"/>
                <a:gd name="T2" fmla="*/ 1 w 119"/>
                <a:gd name="T3" fmla="*/ 157 h 170"/>
                <a:gd name="T4" fmla="*/ 65 w 119"/>
                <a:gd name="T5" fmla="*/ 96 h 170"/>
                <a:gd name="T6" fmla="*/ 116 w 119"/>
                <a:gd name="T7" fmla="*/ 49 h 170"/>
                <a:gd name="T8" fmla="*/ 119 w 119"/>
                <a:gd name="T9" fmla="*/ 32 h 170"/>
                <a:gd name="T10" fmla="*/ 112 w 119"/>
                <a:gd name="T1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170">
                  <a:moveTo>
                    <a:pt x="0" y="170"/>
                  </a:moveTo>
                  <a:cubicBezTo>
                    <a:pt x="0" y="166"/>
                    <a:pt x="1" y="162"/>
                    <a:pt x="1" y="157"/>
                  </a:cubicBezTo>
                  <a:cubicBezTo>
                    <a:pt x="8" y="123"/>
                    <a:pt x="34" y="110"/>
                    <a:pt x="65" y="96"/>
                  </a:cubicBezTo>
                  <a:cubicBezTo>
                    <a:pt x="97" y="83"/>
                    <a:pt x="111" y="67"/>
                    <a:pt x="116" y="49"/>
                  </a:cubicBezTo>
                  <a:cubicBezTo>
                    <a:pt x="118" y="44"/>
                    <a:pt x="119" y="38"/>
                    <a:pt x="119" y="32"/>
                  </a:cubicBezTo>
                  <a:cubicBezTo>
                    <a:pt x="119" y="25"/>
                    <a:pt x="117" y="11"/>
                    <a:pt x="112" y="0"/>
                  </a:cubicBezTo>
                </a:path>
              </a:pathLst>
            </a:cu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202">
              <a:extLst>
                <a:ext uri="{FF2B5EF4-FFF2-40B4-BE49-F238E27FC236}">
                  <a16:creationId xmlns:a16="http://schemas.microsoft.com/office/drawing/2014/main" id="{4B5878F4-6A50-412D-8E58-7D948A29D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64107" y="5158516"/>
              <a:ext cx="152400" cy="158750"/>
            </a:xfrm>
            <a:custGeom>
              <a:avLst/>
              <a:gdLst>
                <a:gd name="T0" fmla="*/ 0 w 48"/>
                <a:gd name="T1" fmla="*/ 0 h 49"/>
                <a:gd name="T2" fmla="*/ 46 w 48"/>
                <a:gd name="T3" fmla="*/ 42 h 49"/>
                <a:gd name="T4" fmla="*/ 48 w 48"/>
                <a:gd name="T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49">
                  <a:moveTo>
                    <a:pt x="0" y="0"/>
                  </a:moveTo>
                  <a:cubicBezTo>
                    <a:pt x="27" y="12"/>
                    <a:pt x="41" y="25"/>
                    <a:pt x="46" y="42"/>
                  </a:cubicBezTo>
                  <a:cubicBezTo>
                    <a:pt x="47" y="44"/>
                    <a:pt x="47" y="47"/>
                    <a:pt x="48" y="49"/>
                  </a:cubicBezTo>
                </a:path>
              </a:pathLst>
            </a:cu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03">
              <a:extLst>
                <a:ext uri="{FF2B5EF4-FFF2-40B4-BE49-F238E27FC236}">
                  <a16:creationId xmlns:a16="http://schemas.microsoft.com/office/drawing/2014/main" id="{80E8E2DB-0D15-47D0-9457-426E62973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0744" y="4771166"/>
              <a:ext cx="139700" cy="344488"/>
            </a:xfrm>
            <a:custGeom>
              <a:avLst/>
              <a:gdLst>
                <a:gd name="T0" fmla="*/ 16 w 44"/>
                <a:gd name="T1" fmla="*/ 0 h 107"/>
                <a:gd name="T2" fmla="*/ 4 w 44"/>
                <a:gd name="T3" fmla="*/ 54 h 107"/>
                <a:gd name="T4" fmla="*/ 44 w 44"/>
                <a:gd name="T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107">
                  <a:moveTo>
                    <a:pt x="16" y="0"/>
                  </a:moveTo>
                  <a:cubicBezTo>
                    <a:pt x="7" y="10"/>
                    <a:pt x="0" y="29"/>
                    <a:pt x="4" y="54"/>
                  </a:cubicBezTo>
                  <a:cubicBezTo>
                    <a:pt x="9" y="79"/>
                    <a:pt x="24" y="95"/>
                    <a:pt x="44" y="107"/>
                  </a:cubicBezTo>
                </a:path>
              </a:pathLst>
            </a:cu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04">
              <a:extLst>
                <a:ext uri="{FF2B5EF4-FFF2-40B4-BE49-F238E27FC236}">
                  <a16:creationId xmlns:a16="http://schemas.microsoft.com/office/drawing/2014/main" id="{39503FA5-7DD8-4C38-B2A7-2DD99F53A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0119" y="4767991"/>
              <a:ext cx="153988" cy="303213"/>
            </a:xfrm>
            <a:custGeom>
              <a:avLst/>
              <a:gdLst>
                <a:gd name="T0" fmla="*/ 48 w 48"/>
                <a:gd name="T1" fmla="*/ 94 h 94"/>
                <a:gd name="T2" fmla="*/ 2 w 48"/>
                <a:gd name="T3" fmla="*/ 49 h 94"/>
                <a:gd name="T4" fmla="*/ 0 w 48"/>
                <a:gd name="T5" fmla="*/ 32 h 94"/>
                <a:gd name="T6" fmla="*/ 6 w 48"/>
                <a:gd name="T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94">
                  <a:moveTo>
                    <a:pt x="48" y="94"/>
                  </a:moveTo>
                  <a:cubicBezTo>
                    <a:pt x="20" y="81"/>
                    <a:pt x="7" y="66"/>
                    <a:pt x="2" y="49"/>
                  </a:cubicBezTo>
                  <a:cubicBezTo>
                    <a:pt x="0" y="44"/>
                    <a:pt x="0" y="38"/>
                    <a:pt x="0" y="32"/>
                  </a:cubicBezTo>
                  <a:cubicBezTo>
                    <a:pt x="0" y="25"/>
                    <a:pt x="1" y="11"/>
                    <a:pt x="6" y="0"/>
                  </a:cubicBezTo>
                </a:path>
              </a:pathLst>
            </a:cu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206">
              <a:extLst>
                <a:ext uri="{FF2B5EF4-FFF2-40B4-BE49-F238E27FC236}">
                  <a16:creationId xmlns:a16="http://schemas.microsoft.com/office/drawing/2014/main" id="{BE8879A0-5475-45DC-B400-900487BD0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9357" y="5120416"/>
              <a:ext cx="128588" cy="196850"/>
            </a:xfrm>
            <a:custGeom>
              <a:avLst/>
              <a:gdLst>
                <a:gd name="T0" fmla="*/ 40 w 40"/>
                <a:gd name="T1" fmla="*/ 61 h 61"/>
                <a:gd name="T2" fmla="*/ 39 w 40"/>
                <a:gd name="T3" fmla="*/ 48 h 61"/>
                <a:gd name="T4" fmla="*/ 0 w 40"/>
                <a:gd name="T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61">
                  <a:moveTo>
                    <a:pt x="40" y="61"/>
                  </a:moveTo>
                  <a:cubicBezTo>
                    <a:pt x="40" y="57"/>
                    <a:pt x="40" y="53"/>
                    <a:pt x="39" y="48"/>
                  </a:cubicBezTo>
                  <a:cubicBezTo>
                    <a:pt x="34" y="24"/>
                    <a:pt x="20" y="10"/>
                    <a:pt x="0" y="0"/>
                  </a:cubicBezTo>
                </a:path>
              </a:pathLst>
            </a:cu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Line 207">
              <a:extLst>
                <a:ext uri="{FF2B5EF4-FFF2-40B4-BE49-F238E27FC236}">
                  <a16:creationId xmlns:a16="http://schemas.microsoft.com/office/drawing/2014/main" id="{27B7FE69-C9D9-4E99-A988-218A4FD8DF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059357" y="4852129"/>
              <a:ext cx="50800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Line 208">
              <a:extLst>
                <a:ext uri="{FF2B5EF4-FFF2-40B4-BE49-F238E27FC236}">
                  <a16:creationId xmlns:a16="http://schemas.microsoft.com/office/drawing/2014/main" id="{CCC8EBA8-5BF8-4403-890B-F8D634AD8A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16469" y="4852129"/>
              <a:ext cx="192088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Line 209">
              <a:extLst>
                <a:ext uri="{FF2B5EF4-FFF2-40B4-BE49-F238E27FC236}">
                  <a16:creationId xmlns:a16="http://schemas.microsoft.com/office/drawing/2014/main" id="{A96A538F-4B81-436D-8F7E-20BFDCA3BD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95857" y="4915629"/>
              <a:ext cx="114300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Line 210">
              <a:extLst>
                <a:ext uri="{FF2B5EF4-FFF2-40B4-BE49-F238E27FC236}">
                  <a16:creationId xmlns:a16="http://schemas.microsoft.com/office/drawing/2014/main" id="{61D06A03-B6D1-4589-8F06-38F1846972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16469" y="4915629"/>
              <a:ext cx="128588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Line 211">
              <a:extLst>
                <a:ext uri="{FF2B5EF4-FFF2-40B4-BE49-F238E27FC236}">
                  <a16:creationId xmlns:a16="http://schemas.microsoft.com/office/drawing/2014/main" id="{FECE182A-EC96-4CAE-A944-40031B8D9D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45057" y="4980716"/>
              <a:ext cx="127000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Line 212">
              <a:extLst>
                <a:ext uri="{FF2B5EF4-FFF2-40B4-BE49-F238E27FC236}">
                  <a16:creationId xmlns:a16="http://schemas.microsoft.com/office/drawing/2014/main" id="{13F3D807-4ED4-4C7F-9F41-B6F4717580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54569" y="4980716"/>
              <a:ext cx="39688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Line 213">
              <a:extLst>
                <a:ext uri="{FF2B5EF4-FFF2-40B4-BE49-F238E27FC236}">
                  <a16:creationId xmlns:a16="http://schemas.microsoft.com/office/drawing/2014/main" id="{4EB48758-BE3B-4CDD-AFDF-78972F461A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008557" y="5302979"/>
              <a:ext cx="101600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Line 214">
              <a:extLst>
                <a:ext uri="{FF2B5EF4-FFF2-40B4-BE49-F238E27FC236}">
                  <a16:creationId xmlns:a16="http://schemas.microsoft.com/office/drawing/2014/main" id="{6FC71B3F-A704-4122-B121-FA51FB2E25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16469" y="5302979"/>
              <a:ext cx="141288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Line 215">
              <a:extLst>
                <a:ext uri="{FF2B5EF4-FFF2-40B4-BE49-F238E27FC236}">
                  <a16:creationId xmlns:a16="http://schemas.microsoft.com/office/drawing/2014/main" id="{732F8B69-9401-4CE6-8F68-EC1F886EDC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57757" y="5239479"/>
              <a:ext cx="114300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Line 216">
              <a:extLst>
                <a:ext uri="{FF2B5EF4-FFF2-40B4-BE49-F238E27FC236}">
                  <a16:creationId xmlns:a16="http://schemas.microsoft.com/office/drawing/2014/main" id="{D4E26704-E95B-465E-BE20-7E367C7AA5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54569" y="5239479"/>
              <a:ext cx="52388" cy="0"/>
            </a:xfrm>
            <a:prstGeom prst="line">
              <a:avLst/>
            </a:prstGeom>
            <a:noFill/>
            <a:ln w="57150" cap="rnd">
              <a:solidFill>
                <a:srgbClr val="1496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0929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5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61664E-7 7.07395E-7 L 0.00027 -0.06608 " pathEditMode="relative" rAng="0" ptsTypes="AA">
                                      <p:cBhvr>
                                        <p:cTn id="28" dur="75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" y="-3312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5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61664E-7 7.07395E-7 L 0.00027 -0.06608 " pathEditMode="relative" rAng="0" ptsTypes="AA">
                                      <p:cBhvr>
                                        <p:cTn id="36" dur="75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" y="-3312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29" grpId="0" animBg="1"/>
      <p:bldP spid="3" grpId="0" animBg="1"/>
      <p:bldP spid="61" grpId="0" animBg="1"/>
      <p:bldP spid="2" grpId="0"/>
      <p:bldP spid="4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ângulo 21">
            <a:extLst>
              <a:ext uri="{FF2B5EF4-FFF2-40B4-BE49-F238E27FC236}">
                <a16:creationId xmlns:a16="http://schemas.microsoft.com/office/drawing/2014/main" id="{169B6B15-3522-450C-BF6F-6C6997587E61}"/>
              </a:ext>
            </a:extLst>
          </p:cNvPr>
          <p:cNvSpPr/>
          <p:nvPr/>
        </p:nvSpPr>
        <p:spPr>
          <a:xfrm>
            <a:off x="0" y="0"/>
            <a:ext cx="17557749" cy="9874250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93000">
                <a:srgbClr val="9851A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3F2AD020-675F-4E83-9F81-E027DC3F15AA}"/>
              </a:ext>
            </a:extLst>
          </p:cNvPr>
          <p:cNvGrpSpPr/>
          <p:nvPr/>
        </p:nvGrpSpPr>
        <p:grpSpPr>
          <a:xfrm>
            <a:off x="12083118" y="0"/>
            <a:ext cx="5474632" cy="9875540"/>
            <a:chOff x="12083118" y="0"/>
            <a:chExt cx="5474632" cy="9875540"/>
          </a:xfrm>
        </p:grpSpPr>
        <p:sp>
          <p:nvSpPr>
            <p:cNvPr id="62" name="Retângulo 61">
              <a:extLst>
                <a:ext uri="{FF2B5EF4-FFF2-40B4-BE49-F238E27FC236}">
                  <a16:creationId xmlns:a16="http://schemas.microsoft.com/office/drawing/2014/main" id="{B0A95E5A-83E6-4358-8A78-13B45D867A60}"/>
                </a:ext>
              </a:extLst>
            </p:cNvPr>
            <p:cNvSpPr/>
            <p:nvPr/>
          </p:nvSpPr>
          <p:spPr>
            <a:xfrm>
              <a:off x="12083118" y="0"/>
              <a:ext cx="5472868" cy="9875540"/>
            </a:xfrm>
            <a:prstGeom prst="rect">
              <a:avLst/>
            </a:prstGeom>
            <a:solidFill>
              <a:schemeClr val="bg1">
                <a:alpha val="1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tângulo 60">
              <a:extLst>
                <a:ext uri="{FF2B5EF4-FFF2-40B4-BE49-F238E27FC236}">
                  <a16:creationId xmlns:a16="http://schemas.microsoft.com/office/drawing/2014/main" id="{088A066B-E64B-4DC4-99F0-BE367A004B36}"/>
                </a:ext>
              </a:extLst>
            </p:cNvPr>
            <p:cNvSpPr/>
            <p:nvPr/>
          </p:nvSpPr>
          <p:spPr>
            <a:xfrm>
              <a:off x="12419693" y="0"/>
              <a:ext cx="5138057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itle 1">
              <a:extLst>
                <a:ext uri="{FF2B5EF4-FFF2-40B4-BE49-F238E27FC236}">
                  <a16:creationId xmlns:a16="http://schemas.microsoft.com/office/drawing/2014/main" id="{8AEDE0B5-60E3-4B8B-BB53-F2527CCE5472}"/>
                </a:ext>
              </a:extLst>
            </p:cNvPr>
            <p:cNvSpPr txBox="1">
              <a:spLocks/>
            </p:cNvSpPr>
            <p:nvPr/>
          </p:nvSpPr>
          <p:spPr>
            <a:xfrm>
              <a:off x="13473430" y="5263617"/>
              <a:ext cx="2604770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defTabSz="1316736" fontAlgn="auto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 kumimoji="0" sz="40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</a:defRPr>
              </a:lvl1pPr>
            </a:lstStyle>
            <a:p>
              <a:pPr marL="0" marR="0" lvl="0" indent="0" algn="ctr" defTabSz="131673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Mutação</a:t>
              </a:r>
              <a:endPara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44" name="Agrupar 43">
              <a:extLst>
                <a:ext uri="{FF2B5EF4-FFF2-40B4-BE49-F238E27FC236}">
                  <a16:creationId xmlns:a16="http://schemas.microsoft.com/office/drawing/2014/main" id="{CFB724FF-29A0-4D24-B5D5-749489092589}"/>
                </a:ext>
              </a:extLst>
            </p:cNvPr>
            <p:cNvGrpSpPr/>
            <p:nvPr/>
          </p:nvGrpSpPr>
          <p:grpSpPr>
            <a:xfrm>
              <a:off x="14363397" y="4004611"/>
              <a:ext cx="785163" cy="924035"/>
              <a:chOff x="17730744" y="4767991"/>
              <a:chExt cx="466725" cy="549275"/>
            </a:xfrm>
          </p:grpSpPr>
          <p:sp>
            <p:nvSpPr>
              <p:cNvPr id="45" name="Freeform 200">
                <a:extLst>
                  <a:ext uri="{FF2B5EF4-FFF2-40B4-BE49-F238E27FC236}">
                    <a16:creationId xmlns:a16="http://schemas.microsoft.com/office/drawing/2014/main" id="{8A4E5C03-6B92-46F1-AE19-2C6A609373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0119" y="4771166"/>
                <a:ext cx="387350" cy="546100"/>
              </a:xfrm>
              <a:custGeom>
                <a:avLst/>
                <a:gdLst>
                  <a:gd name="T0" fmla="*/ 105 w 121"/>
                  <a:gd name="T1" fmla="*/ 0 h 169"/>
                  <a:gd name="T2" fmla="*/ 117 w 121"/>
                  <a:gd name="T3" fmla="*/ 54 h 169"/>
                  <a:gd name="T4" fmla="*/ 53 w 121"/>
                  <a:gd name="T5" fmla="*/ 119 h 169"/>
                  <a:gd name="T6" fmla="*/ 2 w 121"/>
                  <a:gd name="T7" fmla="*/ 162 h 169"/>
                  <a:gd name="T8" fmla="*/ 0 w 121"/>
                  <a:gd name="T9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169">
                    <a:moveTo>
                      <a:pt x="105" y="0"/>
                    </a:moveTo>
                    <a:cubicBezTo>
                      <a:pt x="114" y="10"/>
                      <a:pt x="121" y="29"/>
                      <a:pt x="117" y="54"/>
                    </a:cubicBezTo>
                    <a:cubicBezTo>
                      <a:pt x="110" y="89"/>
                      <a:pt x="84" y="106"/>
                      <a:pt x="53" y="119"/>
                    </a:cubicBezTo>
                    <a:cubicBezTo>
                      <a:pt x="23" y="130"/>
                      <a:pt x="7" y="144"/>
                      <a:pt x="2" y="162"/>
                    </a:cubicBezTo>
                    <a:cubicBezTo>
                      <a:pt x="1" y="164"/>
                      <a:pt x="1" y="167"/>
                      <a:pt x="0" y="169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201">
                <a:extLst>
                  <a:ext uri="{FF2B5EF4-FFF2-40B4-BE49-F238E27FC236}">
                    <a16:creationId xmlns:a16="http://schemas.microsoft.com/office/drawing/2014/main" id="{5A99B16E-ECE2-4BE3-96C0-786B956E5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0269" y="4767991"/>
                <a:ext cx="379413" cy="549275"/>
              </a:xfrm>
              <a:custGeom>
                <a:avLst/>
                <a:gdLst>
                  <a:gd name="T0" fmla="*/ 0 w 119"/>
                  <a:gd name="T1" fmla="*/ 170 h 170"/>
                  <a:gd name="T2" fmla="*/ 1 w 119"/>
                  <a:gd name="T3" fmla="*/ 157 h 170"/>
                  <a:gd name="T4" fmla="*/ 65 w 119"/>
                  <a:gd name="T5" fmla="*/ 96 h 170"/>
                  <a:gd name="T6" fmla="*/ 116 w 119"/>
                  <a:gd name="T7" fmla="*/ 49 h 170"/>
                  <a:gd name="T8" fmla="*/ 119 w 119"/>
                  <a:gd name="T9" fmla="*/ 32 h 170"/>
                  <a:gd name="T10" fmla="*/ 112 w 119"/>
                  <a:gd name="T11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170">
                    <a:moveTo>
                      <a:pt x="0" y="170"/>
                    </a:moveTo>
                    <a:cubicBezTo>
                      <a:pt x="0" y="166"/>
                      <a:pt x="1" y="162"/>
                      <a:pt x="1" y="157"/>
                    </a:cubicBezTo>
                    <a:cubicBezTo>
                      <a:pt x="8" y="123"/>
                      <a:pt x="34" y="110"/>
                      <a:pt x="65" y="96"/>
                    </a:cubicBezTo>
                    <a:cubicBezTo>
                      <a:pt x="97" y="83"/>
                      <a:pt x="111" y="67"/>
                      <a:pt x="116" y="49"/>
                    </a:cubicBezTo>
                    <a:cubicBezTo>
                      <a:pt x="118" y="44"/>
                      <a:pt x="119" y="38"/>
                      <a:pt x="119" y="32"/>
                    </a:cubicBezTo>
                    <a:cubicBezTo>
                      <a:pt x="119" y="25"/>
                      <a:pt x="117" y="11"/>
                      <a:pt x="112" y="0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202">
                <a:extLst>
                  <a:ext uri="{FF2B5EF4-FFF2-40B4-BE49-F238E27FC236}">
                    <a16:creationId xmlns:a16="http://schemas.microsoft.com/office/drawing/2014/main" id="{4B5878F4-6A50-412D-8E58-7D948A29D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4107" y="5158516"/>
                <a:ext cx="152400" cy="158750"/>
              </a:xfrm>
              <a:custGeom>
                <a:avLst/>
                <a:gdLst>
                  <a:gd name="T0" fmla="*/ 0 w 48"/>
                  <a:gd name="T1" fmla="*/ 0 h 49"/>
                  <a:gd name="T2" fmla="*/ 46 w 48"/>
                  <a:gd name="T3" fmla="*/ 42 h 49"/>
                  <a:gd name="T4" fmla="*/ 48 w 48"/>
                  <a:gd name="T5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49">
                    <a:moveTo>
                      <a:pt x="0" y="0"/>
                    </a:moveTo>
                    <a:cubicBezTo>
                      <a:pt x="27" y="12"/>
                      <a:pt x="41" y="25"/>
                      <a:pt x="46" y="42"/>
                    </a:cubicBezTo>
                    <a:cubicBezTo>
                      <a:pt x="47" y="44"/>
                      <a:pt x="47" y="47"/>
                      <a:pt x="48" y="49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203">
                <a:extLst>
                  <a:ext uri="{FF2B5EF4-FFF2-40B4-BE49-F238E27FC236}">
                    <a16:creationId xmlns:a16="http://schemas.microsoft.com/office/drawing/2014/main" id="{80E8E2DB-0D15-47D0-9457-426E62973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30744" y="4771166"/>
                <a:ext cx="139700" cy="344488"/>
              </a:xfrm>
              <a:custGeom>
                <a:avLst/>
                <a:gdLst>
                  <a:gd name="T0" fmla="*/ 16 w 44"/>
                  <a:gd name="T1" fmla="*/ 0 h 107"/>
                  <a:gd name="T2" fmla="*/ 4 w 44"/>
                  <a:gd name="T3" fmla="*/ 54 h 107"/>
                  <a:gd name="T4" fmla="*/ 44 w 44"/>
                  <a:gd name="T5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107">
                    <a:moveTo>
                      <a:pt x="16" y="0"/>
                    </a:moveTo>
                    <a:cubicBezTo>
                      <a:pt x="7" y="10"/>
                      <a:pt x="0" y="29"/>
                      <a:pt x="4" y="54"/>
                    </a:cubicBezTo>
                    <a:cubicBezTo>
                      <a:pt x="9" y="79"/>
                      <a:pt x="24" y="95"/>
                      <a:pt x="44" y="107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204">
                <a:extLst>
                  <a:ext uri="{FF2B5EF4-FFF2-40B4-BE49-F238E27FC236}">
                    <a16:creationId xmlns:a16="http://schemas.microsoft.com/office/drawing/2014/main" id="{39503FA5-7DD8-4C38-B2A7-2DD99F53A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10119" y="4767991"/>
                <a:ext cx="153988" cy="303213"/>
              </a:xfrm>
              <a:custGeom>
                <a:avLst/>
                <a:gdLst>
                  <a:gd name="T0" fmla="*/ 48 w 48"/>
                  <a:gd name="T1" fmla="*/ 94 h 94"/>
                  <a:gd name="T2" fmla="*/ 2 w 48"/>
                  <a:gd name="T3" fmla="*/ 49 h 94"/>
                  <a:gd name="T4" fmla="*/ 0 w 48"/>
                  <a:gd name="T5" fmla="*/ 32 h 94"/>
                  <a:gd name="T6" fmla="*/ 6 w 48"/>
                  <a:gd name="T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94">
                    <a:moveTo>
                      <a:pt x="48" y="94"/>
                    </a:moveTo>
                    <a:cubicBezTo>
                      <a:pt x="20" y="81"/>
                      <a:pt x="7" y="66"/>
                      <a:pt x="2" y="49"/>
                    </a:cubicBezTo>
                    <a:cubicBezTo>
                      <a:pt x="0" y="44"/>
                      <a:pt x="0" y="38"/>
                      <a:pt x="0" y="32"/>
                    </a:cubicBezTo>
                    <a:cubicBezTo>
                      <a:pt x="0" y="25"/>
                      <a:pt x="1" y="11"/>
                      <a:pt x="6" y="0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206">
                <a:extLst>
                  <a:ext uri="{FF2B5EF4-FFF2-40B4-BE49-F238E27FC236}">
                    <a16:creationId xmlns:a16="http://schemas.microsoft.com/office/drawing/2014/main" id="{BE8879A0-5475-45DC-B400-900487BD0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59357" y="5120416"/>
                <a:ext cx="128588" cy="196850"/>
              </a:xfrm>
              <a:custGeom>
                <a:avLst/>
                <a:gdLst>
                  <a:gd name="T0" fmla="*/ 40 w 40"/>
                  <a:gd name="T1" fmla="*/ 61 h 61"/>
                  <a:gd name="T2" fmla="*/ 39 w 40"/>
                  <a:gd name="T3" fmla="*/ 48 h 61"/>
                  <a:gd name="T4" fmla="*/ 0 w 40"/>
                  <a:gd name="T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" h="61">
                    <a:moveTo>
                      <a:pt x="40" y="61"/>
                    </a:moveTo>
                    <a:cubicBezTo>
                      <a:pt x="40" y="57"/>
                      <a:pt x="40" y="53"/>
                      <a:pt x="39" y="48"/>
                    </a:cubicBezTo>
                    <a:cubicBezTo>
                      <a:pt x="34" y="24"/>
                      <a:pt x="20" y="10"/>
                      <a:pt x="0" y="0"/>
                    </a:cubicBezTo>
                  </a:path>
                </a:pathLst>
              </a:cu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Line 207">
                <a:extLst>
                  <a:ext uri="{FF2B5EF4-FFF2-40B4-BE49-F238E27FC236}">
                    <a16:creationId xmlns:a16="http://schemas.microsoft.com/office/drawing/2014/main" id="{27B7FE69-C9D9-4E99-A988-218A4FD8DF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059357" y="4852129"/>
                <a:ext cx="508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Line 208">
                <a:extLst>
                  <a:ext uri="{FF2B5EF4-FFF2-40B4-BE49-F238E27FC236}">
                    <a16:creationId xmlns:a16="http://schemas.microsoft.com/office/drawing/2014/main" id="{CCC8EBA8-5BF8-4403-890B-F8D634AD8A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16469" y="4852129"/>
                <a:ext cx="1920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Line 209">
                <a:extLst>
                  <a:ext uri="{FF2B5EF4-FFF2-40B4-BE49-F238E27FC236}">
                    <a16:creationId xmlns:a16="http://schemas.microsoft.com/office/drawing/2014/main" id="{A96A538F-4B81-436D-8F7E-20BFDCA3BD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995857" y="4915629"/>
                <a:ext cx="1143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Line 210">
                <a:extLst>
                  <a:ext uri="{FF2B5EF4-FFF2-40B4-BE49-F238E27FC236}">
                    <a16:creationId xmlns:a16="http://schemas.microsoft.com/office/drawing/2014/main" id="{61D06A03-B6D1-4589-8F06-38F1846972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16469" y="4915629"/>
                <a:ext cx="1285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Line 211">
                <a:extLst>
                  <a:ext uri="{FF2B5EF4-FFF2-40B4-BE49-F238E27FC236}">
                    <a16:creationId xmlns:a16="http://schemas.microsoft.com/office/drawing/2014/main" id="{FECE182A-EC96-4CAE-A944-40031B8D9D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945057" y="4980716"/>
                <a:ext cx="1270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Line 212">
                <a:extLst>
                  <a:ext uri="{FF2B5EF4-FFF2-40B4-BE49-F238E27FC236}">
                    <a16:creationId xmlns:a16="http://schemas.microsoft.com/office/drawing/2014/main" id="{13F3D807-4ED4-4C7F-9F41-B6F4717580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54569" y="4980716"/>
                <a:ext cx="396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Line 213">
                <a:extLst>
                  <a:ext uri="{FF2B5EF4-FFF2-40B4-BE49-F238E27FC236}">
                    <a16:creationId xmlns:a16="http://schemas.microsoft.com/office/drawing/2014/main" id="{4EB48758-BE3B-4CDD-AFDF-78972F461A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008557" y="5302979"/>
                <a:ext cx="1016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Line 214">
                <a:extLst>
                  <a:ext uri="{FF2B5EF4-FFF2-40B4-BE49-F238E27FC236}">
                    <a16:creationId xmlns:a16="http://schemas.microsoft.com/office/drawing/2014/main" id="{6FC71B3F-A704-4122-B121-FA51FB2E25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16469" y="5302979"/>
                <a:ext cx="1412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Line 215">
                <a:extLst>
                  <a:ext uri="{FF2B5EF4-FFF2-40B4-BE49-F238E27FC236}">
                    <a16:creationId xmlns:a16="http://schemas.microsoft.com/office/drawing/2014/main" id="{732F8B69-9401-4CE6-8F68-EC1F886EDC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957757" y="5239479"/>
                <a:ext cx="114300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Line 216">
                <a:extLst>
                  <a:ext uri="{FF2B5EF4-FFF2-40B4-BE49-F238E27FC236}">
                    <a16:creationId xmlns:a16="http://schemas.microsoft.com/office/drawing/2014/main" id="{D4E26704-E95B-465E-BE20-7E367C7AA5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854569" y="5239479"/>
                <a:ext cx="52388" cy="0"/>
              </a:xfrm>
              <a:prstGeom prst="line">
                <a:avLst/>
              </a:prstGeom>
              <a:noFill/>
              <a:ln w="57150" cap="rnd">
                <a:solidFill>
                  <a:srgbClr val="1496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3" name="Retângulo 62">
              <a:extLst>
                <a:ext uri="{FF2B5EF4-FFF2-40B4-BE49-F238E27FC236}">
                  <a16:creationId xmlns:a16="http://schemas.microsoft.com/office/drawing/2014/main" id="{EA0E528A-BB1F-490A-929D-46192528CFFA}"/>
                </a:ext>
              </a:extLst>
            </p:cNvPr>
            <p:cNvSpPr/>
            <p:nvPr/>
          </p:nvSpPr>
          <p:spPr>
            <a:xfrm>
              <a:off x="13194393" y="2800350"/>
              <a:ext cx="3588658" cy="4000500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9" name="Retângulo 68">
            <a:extLst>
              <a:ext uri="{FF2B5EF4-FFF2-40B4-BE49-F238E27FC236}">
                <a16:creationId xmlns:a16="http://schemas.microsoft.com/office/drawing/2014/main" id="{C6083DC8-7DEB-4A22-B0D7-7FD4D6007079}"/>
              </a:ext>
            </a:extLst>
          </p:cNvPr>
          <p:cNvSpPr/>
          <p:nvPr/>
        </p:nvSpPr>
        <p:spPr>
          <a:xfrm>
            <a:off x="0" y="0"/>
            <a:ext cx="17557749" cy="9874250"/>
          </a:xfrm>
          <a:prstGeom prst="rect">
            <a:avLst/>
          </a:prstGeom>
          <a:gradFill flip="none" rotWithShape="1">
            <a:gsLst>
              <a:gs pos="0">
                <a:srgbClr val="1496D3"/>
              </a:gs>
              <a:gs pos="93000">
                <a:srgbClr val="9851A0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FD93-5BAC-41C5-B280-B8DAADF4C215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557838" y="4078288"/>
            <a:ext cx="6442075" cy="2017712"/>
          </a:xfr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 defTabSz="1316736">
              <a:lnSpc>
                <a:spcPct val="100000"/>
              </a:lnSpc>
              <a:spcBef>
                <a:spcPts val="0"/>
              </a:spcBef>
            </a:pP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rgbClr val="56EFFD"/>
                </a:solidFill>
                <a:latin typeface="Bahnschrift" panose="020B0502040204020203" pitchFamily="34" charset="0"/>
                <a:ea typeface="+mn-ea"/>
                <a:cs typeface="+mn-cs"/>
              </a:rPr>
              <a:t>DIAGNÓSTICO</a:t>
            </a: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chemeClr val="bg1"/>
                </a:solidFill>
                <a:latin typeface="Bahnschrift" panose="020B0502040204020203" pitchFamily="34" charset="0"/>
                <a:ea typeface="+mn-ea"/>
                <a:cs typeface="+mn-cs"/>
              </a:rPr>
              <a:t> BÁSICO</a:t>
            </a:r>
            <a:endParaRPr lang="pt-BR" sz="6000" b="1" spc="-150" dirty="0">
              <a:ln w="5000" cmpd="sng">
                <a:noFill/>
                <a:prstDash val="solid"/>
              </a:ln>
              <a:solidFill>
                <a:schemeClr val="bg1"/>
              </a:solidFill>
              <a:latin typeface="Bahnschrif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D06F9A98-8343-4583-9747-F165582CDA34}"/>
              </a:ext>
            </a:extLst>
          </p:cNvPr>
          <p:cNvGrpSpPr/>
          <p:nvPr/>
        </p:nvGrpSpPr>
        <p:grpSpPr>
          <a:xfrm>
            <a:off x="73983" y="0"/>
            <a:ext cx="5496824" cy="9843770"/>
            <a:chOff x="-6084993" y="0"/>
            <a:chExt cx="11655800" cy="9875540"/>
          </a:xfrm>
        </p:grpSpPr>
        <p:sp>
          <p:nvSpPr>
            <p:cNvPr id="29" name="Retângulo 28">
              <a:extLst>
                <a:ext uri="{FF2B5EF4-FFF2-40B4-BE49-F238E27FC236}">
                  <a16:creationId xmlns:a16="http://schemas.microsoft.com/office/drawing/2014/main" id="{E0093BE9-4E99-4470-8207-7989C49C44C0}"/>
                </a:ext>
              </a:extLst>
            </p:cNvPr>
            <p:cNvSpPr/>
            <p:nvPr/>
          </p:nvSpPr>
          <p:spPr>
            <a:xfrm>
              <a:off x="0" y="0"/>
              <a:ext cx="5570807" cy="9875540"/>
            </a:xfrm>
            <a:prstGeom prst="rect">
              <a:avLst/>
            </a:prstGeom>
            <a:solidFill>
              <a:schemeClr val="bg1">
                <a:alpha val="1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" name="Retângulo 2">
              <a:extLst>
                <a:ext uri="{FF2B5EF4-FFF2-40B4-BE49-F238E27FC236}">
                  <a16:creationId xmlns:a16="http://schemas.microsoft.com/office/drawing/2014/main" id="{046CBB78-ADE6-4F4C-BEFE-41CB91B004B6}"/>
                </a:ext>
              </a:extLst>
            </p:cNvPr>
            <p:cNvSpPr/>
            <p:nvPr/>
          </p:nvSpPr>
          <p:spPr>
            <a:xfrm>
              <a:off x="-6084993" y="0"/>
              <a:ext cx="11223052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368E5E3B-A0F6-4C74-9596-1CFC762EFDFC}"/>
              </a:ext>
            </a:extLst>
          </p:cNvPr>
          <p:cNvGrpSpPr/>
          <p:nvPr/>
        </p:nvGrpSpPr>
        <p:grpSpPr>
          <a:xfrm>
            <a:off x="1051559" y="4002975"/>
            <a:ext cx="3429002" cy="1876195"/>
            <a:chOff x="1051559" y="4002975"/>
            <a:chExt cx="3429002" cy="1876195"/>
          </a:xfrm>
        </p:grpSpPr>
        <p:sp>
          <p:nvSpPr>
            <p:cNvPr id="4" name="Title 1">
              <a:extLst>
                <a:ext uri="{FF2B5EF4-FFF2-40B4-BE49-F238E27FC236}">
                  <a16:creationId xmlns:a16="http://schemas.microsoft.com/office/drawing/2014/main" id="{7A6BE426-F5F4-4223-AAA3-33D0FA43C242}"/>
                </a:ext>
              </a:extLst>
            </p:cNvPr>
            <p:cNvSpPr txBox="1">
              <a:spLocks/>
            </p:cNvSpPr>
            <p:nvPr/>
          </p:nvSpPr>
          <p:spPr>
            <a:xfrm>
              <a:off x="1051559" y="5263617"/>
              <a:ext cx="3429002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defTabSz="1316736" fontAlgn="auto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</a:defRPr>
              </a:lvl1pPr>
            </a:lstStyle>
            <a:p>
              <a:pPr marL="0" marR="0" lvl="0" indent="0" algn="ctr" defTabSz="131673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rPr>
                <a:t>Estadiamento</a:t>
              </a:r>
              <a:endPara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endParaRPr>
            </a:p>
          </p:txBody>
        </p:sp>
        <p:grpSp>
          <p:nvGrpSpPr>
            <p:cNvPr id="30" name="Agrupar 29">
              <a:extLst>
                <a:ext uri="{FF2B5EF4-FFF2-40B4-BE49-F238E27FC236}">
                  <a16:creationId xmlns:a16="http://schemas.microsoft.com/office/drawing/2014/main" id="{22EF534B-4BF4-4793-A283-B8B6E6FF5F0A}"/>
                </a:ext>
              </a:extLst>
            </p:cNvPr>
            <p:cNvGrpSpPr/>
            <p:nvPr/>
          </p:nvGrpSpPr>
          <p:grpSpPr>
            <a:xfrm>
              <a:off x="2192924" y="4002975"/>
              <a:ext cx="1114156" cy="961177"/>
              <a:chOff x="3340916" y="2248973"/>
              <a:chExt cx="612775" cy="528638"/>
            </a:xfrm>
          </p:grpSpPr>
          <p:sp>
            <p:nvSpPr>
              <p:cNvPr id="31" name="Freeform 64">
                <a:extLst>
                  <a:ext uri="{FF2B5EF4-FFF2-40B4-BE49-F238E27FC236}">
                    <a16:creationId xmlns:a16="http://schemas.microsoft.com/office/drawing/2014/main" id="{EB694CFD-4F95-4C0F-BCF1-81E580B14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0916" y="2520436"/>
                <a:ext cx="612775" cy="180975"/>
              </a:xfrm>
              <a:custGeom>
                <a:avLst/>
                <a:gdLst>
                  <a:gd name="T0" fmla="*/ 0 w 386"/>
                  <a:gd name="T1" fmla="*/ 114 h 114"/>
                  <a:gd name="T2" fmla="*/ 48 w 386"/>
                  <a:gd name="T3" fmla="*/ 114 h 114"/>
                  <a:gd name="T4" fmla="*/ 80 w 386"/>
                  <a:gd name="T5" fmla="*/ 73 h 114"/>
                  <a:gd name="T6" fmla="*/ 113 w 386"/>
                  <a:gd name="T7" fmla="*/ 73 h 114"/>
                  <a:gd name="T8" fmla="*/ 145 w 386"/>
                  <a:gd name="T9" fmla="*/ 105 h 114"/>
                  <a:gd name="T10" fmla="*/ 193 w 386"/>
                  <a:gd name="T11" fmla="*/ 105 h 114"/>
                  <a:gd name="T12" fmla="*/ 257 w 386"/>
                  <a:gd name="T13" fmla="*/ 40 h 114"/>
                  <a:gd name="T14" fmla="*/ 314 w 386"/>
                  <a:gd name="T15" fmla="*/ 40 h 114"/>
                  <a:gd name="T16" fmla="*/ 338 w 386"/>
                  <a:gd name="T17" fmla="*/ 0 h 114"/>
                  <a:gd name="T18" fmla="*/ 386 w 386"/>
                  <a:gd name="T1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6" h="114">
                    <a:moveTo>
                      <a:pt x="0" y="114"/>
                    </a:moveTo>
                    <a:lnTo>
                      <a:pt x="48" y="114"/>
                    </a:lnTo>
                    <a:lnTo>
                      <a:pt x="80" y="73"/>
                    </a:lnTo>
                    <a:lnTo>
                      <a:pt x="113" y="73"/>
                    </a:lnTo>
                    <a:lnTo>
                      <a:pt x="145" y="105"/>
                    </a:lnTo>
                    <a:lnTo>
                      <a:pt x="193" y="105"/>
                    </a:lnTo>
                    <a:lnTo>
                      <a:pt x="257" y="40"/>
                    </a:lnTo>
                    <a:lnTo>
                      <a:pt x="314" y="40"/>
                    </a:lnTo>
                    <a:lnTo>
                      <a:pt x="338" y="0"/>
                    </a:lnTo>
                    <a:lnTo>
                      <a:pt x="386" y="0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Line 65">
                <a:extLst>
                  <a:ext uri="{FF2B5EF4-FFF2-40B4-BE49-F238E27FC236}">
                    <a16:creationId xmlns:a16="http://schemas.microsoft.com/office/drawing/2014/main" id="{F443A12F-43FF-4851-9076-0D85396346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0916" y="2777611"/>
                <a:ext cx="612775" cy="0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66">
                <a:extLst>
                  <a:ext uri="{FF2B5EF4-FFF2-40B4-BE49-F238E27FC236}">
                    <a16:creationId xmlns:a16="http://schemas.microsoft.com/office/drawing/2014/main" id="{DA7441E7-CCB2-4F83-98FE-4AD40909C8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6504" y="2390261"/>
                <a:ext cx="101600" cy="193675"/>
              </a:xfrm>
              <a:custGeom>
                <a:avLst/>
                <a:gdLst>
                  <a:gd name="T0" fmla="*/ 64 w 64"/>
                  <a:gd name="T1" fmla="*/ 122 h 122"/>
                  <a:gd name="T2" fmla="*/ 64 w 64"/>
                  <a:gd name="T3" fmla="*/ 0 h 122"/>
                  <a:gd name="T4" fmla="*/ 0 w 64"/>
                  <a:gd name="T5" fmla="*/ 0 h 122"/>
                  <a:gd name="T6" fmla="*/ 0 w 64"/>
                  <a:gd name="T7" fmla="*/ 73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22">
                    <a:moveTo>
                      <a:pt x="64" y="122"/>
                    </a:moveTo>
                    <a:lnTo>
                      <a:pt x="64" y="0"/>
                    </a:lnTo>
                    <a:lnTo>
                      <a:pt x="0" y="0"/>
                    </a:lnTo>
                    <a:lnTo>
                      <a:pt x="0" y="73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Line 67">
                <a:extLst>
                  <a:ext uri="{FF2B5EF4-FFF2-40B4-BE49-F238E27FC236}">
                    <a16:creationId xmlns:a16="http://schemas.microsoft.com/office/drawing/2014/main" id="{06BE72B4-5E41-455F-BCDC-161B1739EE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698104" y="2687123"/>
                <a:ext cx="0" cy="90488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Line 68">
                <a:extLst>
                  <a:ext uri="{FF2B5EF4-FFF2-40B4-BE49-F238E27FC236}">
                    <a16:creationId xmlns:a16="http://schemas.microsoft.com/office/drawing/2014/main" id="{1BAED797-D5F5-4A80-963D-F203A9F5DD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01291" y="2623623"/>
                <a:ext cx="0" cy="153988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69">
                <a:extLst>
                  <a:ext uri="{FF2B5EF4-FFF2-40B4-BE49-F238E27FC236}">
                    <a16:creationId xmlns:a16="http://schemas.microsoft.com/office/drawing/2014/main" id="{BF53F06B-476D-495B-BBAC-4F8944F51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104" y="2442648"/>
                <a:ext cx="103188" cy="103188"/>
              </a:xfrm>
              <a:custGeom>
                <a:avLst/>
                <a:gdLst>
                  <a:gd name="T0" fmla="*/ 0 w 65"/>
                  <a:gd name="T1" fmla="*/ 0 h 65"/>
                  <a:gd name="T2" fmla="*/ 65 w 65"/>
                  <a:gd name="T3" fmla="*/ 0 h 65"/>
                  <a:gd name="T4" fmla="*/ 65 w 65"/>
                  <a:gd name="T5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5" h="65">
                    <a:moveTo>
                      <a:pt x="0" y="0"/>
                    </a:moveTo>
                    <a:lnTo>
                      <a:pt x="65" y="0"/>
                    </a:lnTo>
                    <a:lnTo>
                      <a:pt x="65" y="65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Line 70">
                <a:extLst>
                  <a:ext uri="{FF2B5EF4-FFF2-40B4-BE49-F238E27FC236}">
                    <a16:creationId xmlns:a16="http://schemas.microsoft.com/office/drawing/2014/main" id="{EF07C89C-0112-4688-8199-A36A0921AE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96504" y="2726811"/>
                <a:ext cx="0" cy="50800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71">
                <a:extLst>
                  <a:ext uri="{FF2B5EF4-FFF2-40B4-BE49-F238E27FC236}">
                    <a16:creationId xmlns:a16="http://schemas.microsoft.com/office/drawing/2014/main" id="{C75CA41F-3837-45E3-8667-C447E8A2E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3316" y="2506148"/>
                <a:ext cx="103188" cy="142875"/>
              </a:xfrm>
              <a:custGeom>
                <a:avLst/>
                <a:gdLst>
                  <a:gd name="T0" fmla="*/ 0 w 65"/>
                  <a:gd name="T1" fmla="*/ 0 h 90"/>
                  <a:gd name="T2" fmla="*/ 65 w 65"/>
                  <a:gd name="T3" fmla="*/ 0 h 90"/>
                  <a:gd name="T4" fmla="*/ 65 w 65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5" h="90">
                    <a:moveTo>
                      <a:pt x="0" y="0"/>
                    </a:moveTo>
                    <a:lnTo>
                      <a:pt x="65" y="0"/>
                    </a:lnTo>
                    <a:lnTo>
                      <a:pt x="65" y="90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Line 72">
                <a:extLst>
                  <a:ext uri="{FF2B5EF4-FFF2-40B4-BE49-F238E27FC236}">
                    <a16:creationId xmlns:a16="http://schemas.microsoft.com/office/drawing/2014/main" id="{B0983949-E025-420F-B992-43B4C9D756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91716" y="2739511"/>
                <a:ext cx="0" cy="38100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Line 73">
                <a:extLst>
                  <a:ext uri="{FF2B5EF4-FFF2-40B4-BE49-F238E27FC236}">
                    <a16:creationId xmlns:a16="http://schemas.microsoft.com/office/drawing/2014/main" id="{C30C2DAA-75A5-49E0-994A-07846B51AC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93316" y="2674423"/>
                <a:ext cx="0" cy="103188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 74">
                <a:extLst>
                  <a:ext uri="{FF2B5EF4-FFF2-40B4-BE49-F238E27FC236}">
                    <a16:creationId xmlns:a16="http://schemas.microsoft.com/office/drawing/2014/main" id="{BF6633AC-5F68-47A0-BC8B-5ADA3D425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1716" y="2455348"/>
                <a:ext cx="101600" cy="206375"/>
              </a:xfrm>
              <a:custGeom>
                <a:avLst/>
                <a:gdLst>
                  <a:gd name="T0" fmla="*/ 0 w 64"/>
                  <a:gd name="T1" fmla="*/ 130 h 130"/>
                  <a:gd name="T2" fmla="*/ 0 w 64"/>
                  <a:gd name="T3" fmla="*/ 0 h 130"/>
                  <a:gd name="T4" fmla="*/ 64 w 64"/>
                  <a:gd name="T5" fmla="*/ 0 h 130"/>
                  <a:gd name="T6" fmla="*/ 64 w 64"/>
                  <a:gd name="T7" fmla="*/ 89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30">
                    <a:moveTo>
                      <a:pt x="0" y="130"/>
                    </a:moveTo>
                    <a:lnTo>
                      <a:pt x="0" y="0"/>
                    </a:lnTo>
                    <a:lnTo>
                      <a:pt x="64" y="0"/>
                    </a:lnTo>
                    <a:lnTo>
                      <a:pt x="64" y="89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Line 75">
                <a:extLst>
                  <a:ext uri="{FF2B5EF4-FFF2-40B4-BE49-F238E27FC236}">
                    <a16:creationId xmlns:a16="http://schemas.microsoft.com/office/drawing/2014/main" id="{379CA0A6-4996-4EFC-AD42-08D78992BF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02891" y="2558536"/>
                <a:ext cx="0" cy="219075"/>
              </a:xfrm>
              <a:prstGeom prst="line">
                <a:avLst/>
              </a:pr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76">
                <a:extLst>
                  <a:ext uri="{FF2B5EF4-FFF2-40B4-BE49-F238E27FC236}">
                    <a16:creationId xmlns:a16="http://schemas.microsoft.com/office/drawing/2014/main" id="{65C1241A-1EF3-40E7-87A5-D96314DC7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1291" y="2248973"/>
                <a:ext cx="101600" cy="231775"/>
              </a:xfrm>
              <a:custGeom>
                <a:avLst/>
                <a:gdLst>
                  <a:gd name="T0" fmla="*/ 64 w 64"/>
                  <a:gd name="T1" fmla="*/ 146 h 146"/>
                  <a:gd name="T2" fmla="*/ 64 w 64"/>
                  <a:gd name="T3" fmla="*/ 0 h 146"/>
                  <a:gd name="T4" fmla="*/ 0 w 64"/>
                  <a:gd name="T5" fmla="*/ 0 h 146"/>
                  <a:gd name="T6" fmla="*/ 0 w 64"/>
                  <a:gd name="T7" fmla="*/ 12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146">
                    <a:moveTo>
                      <a:pt x="64" y="146"/>
                    </a:moveTo>
                    <a:lnTo>
                      <a:pt x="64" y="0"/>
                    </a:lnTo>
                    <a:lnTo>
                      <a:pt x="0" y="0"/>
                    </a:lnTo>
                    <a:lnTo>
                      <a:pt x="0" y="122"/>
                    </a:lnTo>
                  </a:path>
                </a:pathLst>
              </a:custGeom>
              <a:noFill/>
              <a:ln w="57150" cap="flat">
                <a:solidFill>
                  <a:srgbClr val="1496D4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4" name="Title 1">
            <a:extLst>
              <a:ext uri="{FF2B5EF4-FFF2-40B4-BE49-F238E27FC236}">
                <a16:creationId xmlns:a16="http://schemas.microsoft.com/office/drawing/2014/main" id="{612B6F79-C029-4722-B276-BA108D15D34B}"/>
              </a:ext>
            </a:extLst>
          </p:cNvPr>
          <p:cNvSpPr txBox="1">
            <a:spLocks/>
          </p:cNvSpPr>
          <p:nvPr/>
        </p:nvSpPr>
        <p:spPr>
          <a:xfrm>
            <a:off x="11024955" y="4078288"/>
            <a:ext cx="6442075" cy="2017712"/>
          </a:xfr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131655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33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316736">
              <a:lnSpc>
                <a:spcPct val="100000"/>
              </a:lnSpc>
              <a:spcBef>
                <a:spcPts val="0"/>
              </a:spcBef>
            </a:pP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rgbClr val="56EFFD"/>
                </a:solidFill>
                <a:latin typeface="Bahnschrift" panose="020B0502040204020203" pitchFamily="34" charset="0"/>
                <a:ea typeface="+mn-ea"/>
                <a:cs typeface="+mn-cs"/>
              </a:rPr>
              <a:t>DIAGNÓSTICO</a:t>
            </a:r>
            <a:r>
              <a:rPr lang="en-US" sz="6000" b="1" spc="-150" dirty="0">
                <a:ln w="5000" cmpd="sng">
                  <a:noFill/>
                  <a:prstDash val="solid"/>
                </a:ln>
                <a:solidFill>
                  <a:schemeClr val="bg1"/>
                </a:solidFill>
                <a:latin typeface="Bahnschrift" panose="020B0502040204020203" pitchFamily="34" charset="0"/>
                <a:ea typeface="+mn-ea"/>
                <a:cs typeface="+mn-cs"/>
              </a:rPr>
              <a:t> BÁSICO</a:t>
            </a:r>
            <a:endParaRPr lang="pt-BR" sz="6000" b="1" spc="-150" dirty="0">
              <a:ln w="5000" cmpd="sng">
                <a:noFill/>
                <a:prstDash val="solid"/>
              </a:ln>
              <a:solidFill>
                <a:schemeClr val="bg1"/>
              </a:solidFill>
              <a:latin typeface="Bahnschrift" panose="020B0502040204020203" pitchFamily="34" charset="0"/>
              <a:ea typeface="+mn-ea"/>
              <a:cs typeface="+mn-cs"/>
            </a:endParaRP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6B3ADF62-CF2B-450E-A772-88B6B6EA6B32}"/>
              </a:ext>
            </a:extLst>
          </p:cNvPr>
          <p:cNvGrpSpPr/>
          <p:nvPr/>
        </p:nvGrpSpPr>
        <p:grpSpPr>
          <a:xfrm>
            <a:off x="-1" y="-30480"/>
            <a:ext cx="11529923" cy="9932402"/>
            <a:chOff x="-1" y="-30480"/>
            <a:chExt cx="11529923" cy="9932402"/>
          </a:xfrm>
        </p:grpSpPr>
        <p:sp>
          <p:nvSpPr>
            <p:cNvPr id="83" name="Retângulo 82">
              <a:extLst>
                <a:ext uri="{FF2B5EF4-FFF2-40B4-BE49-F238E27FC236}">
                  <a16:creationId xmlns:a16="http://schemas.microsoft.com/office/drawing/2014/main" id="{FC330CE5-8584-4A61-BEC7-838A9EF862D1}"/>
                </a:ext>
              </a:extLst>
            </p:cNvPr>
            <p:cNvSpPr/>
            <p:nvPr/>
          </p:nvSpPr>
          <p:spPr>
            <a:xfrm>
              <a:off x="-1" y="26382"/>
              <a:ext cx="11529923" cy="9875540"/>
            </a:xfrm>
            <a:prstGeom prst="rect">
              <a:avLst/>
            </a:prstGeom>
            <a:solidFill>
              <a:schemeClr val="bg1">
                <a:alpha val="1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167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59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Retângulo 84">
              <a:extLst>
                <a:ext uri="{FF2B5EF4-FFF2-40B4-BE49-F238E27FC236}">
                  <a16:creationId xmlns:a16="http://schemas.microsoft.com/office/drawing/2014/main" id="{3F58117B-40F4-4E0B-82BB-1C102B2239FB}"/>
                </a:ext>
              </a:extLst>
            </p:cNvPr>
            <p:cNvSpPr/>
            <p:nvPr/>
          </p:nvSpPr>
          <p:spPr>
            <a:xfrm>
              <a:off x="1764" y="-30480"/>
              <a:ext cx="11095410" cy="98742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Agrupar 8">
              <a:extLst>
                <a:ext uri="{FF2B5EF4-FFF2-40B4-BE49-F238E27FC236}">
                  <a16:creationId xmlns:a16="http://schemas.microsoft.com/office/drawing/2014/main" id="{24E55A19-8B49-489B-9D22-2CDB85CFD041}"/>
                </a:ext>
              </a:extLst>
            </p:cNvPr>
            <p:cNvGrpSpPr/>
            <p:nvPr/>
          </p:nvGrpSpPr>
          <p:grpSpPr>
            <a:xfrm>
              <a:off x="3834968" y="4002975"/>
              <a:ext cx="3429002" cy="1876195"/>
              <a:chOff x="7010675" y="4002975"/>
              <a:chExt cx="3429002" cy="1876195"/>
            </a:xfrm>
          </p:grpSpPr>
          <p:sp>
            <p:nvSpPr>
              <p:cNvPr id="86" name="Title 1">
                <a:extLst>
                  <a:ext uri="{FF2B5EF4-FFF2-40B4-BE49-F238E27FC236}">
                    <a16:creationId xmlns:a16="http://schemas.microsoft.com/office/drawing/2014/main" id="{4253966C-F945-46CD-85ED-CB813E27DC1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010675" y="5263617"/>
                <a:ext cx="3429002" cy="6155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R="0" lvl="0" indent="0" defTabSz="1316736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1800"/>
                  </a:spcAft>
                  <a:buClrTx/>
                  <a:buSzTx/>
                  <a:buFontTx/>
                  <a:buNone/>
                  <a:tabLst/>
                  <a:defRPr kumimoji="0" sz="2400" b="0" i="0" u="none" strike="noStrike" cap="none" spc="0" normalizeH="0" baseline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</a:defRPr>
                </a:lvl1pPr>
              </a:lstStyle>
              <a:p>
                <a:pPr marL="0" marR="0" lvl="0" indent="0" algn="ctr" defTabSz="1316736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1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Bahnschrift" panose="020B0502040204020203" pitchFamily="34" charset="0"/>
                    <a:ea typeface="+mn-ea"/>
                    <a:cs typeface="+mn-cs"/>
                  </a:rPr>
                  <a:t>Estadiamento</a:t>
                </a:r>
                <a:endParaRPr kumimoji="0" lang="pt-BR" sz="4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Bahnschrift" panose="020B0502040204020203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87" name="Agrupar 86">
                <a:extLst>
                  <a:ext uri="{FF2B5EF4-FFF2-40B4-BE49-F238E27FC236}">
                    <a16:creationId xmlns:a16="http://schemas.microsoft.com/office/drawing/2014/main" id="{59170C13-AE91-41A0-B434-BE6308128BE3}"/>
                  </a:ext>
                </a:extLst>
              </p:cNvPr>
              <p:cNvGrpSpPr/>
              <p:nvPr/>
            </p:nvGrpSpPr>
            <p:grpSpPr>
              <a:xfrm>
                <a:off x="8152040" y="4002975"/>
                <a:ext cx="1114156" cy="961177"/>
                <a:chOff x="3340916" y="2248973"/>
                <a:chExt cx="612775" cy="528638"/>
              </a:xfrm>
            </p:grpSpPr>
            <p:sp>
              <p:nvSpPr>
                <p:cNvPr id="88" name="Freeform 64">
                  <a:extLst>
                    <a:ext uri="{FF2B5EF4-FFF2-40B4-BE49-F238E27FC236}">
                      <a16:creationId xmlns:a16="http://schemas.microsoft.com/office/drawing/2014/main" id="{17B54309-710C-4259-B5A2-683401CF4C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0916" y="2520436"/>
                  <a:ext cx="612775" cy="180975"/>
                </a:xfrm>
                <a:custGeom>
                  <a:avLst/>
                  <a:gdLst>
                    <a:gd name="T0" fmla="*/ 0 w 386"/>
                    <a:gd name="T1" fmla="*/ 114 h 114"/>
                    <a:gd name="T2" fmla="*/ 48 w 386"/>
                    <a:gd name="T3" fmla="*/ 114 h 114"/>
                    <a:gd name="T4" fmla="*/ 80 w 386"/>
                    <a:gd name="T5" fmla="*/ 73 h 114"/>
                    <a:gd name="T6" fmla="*/ 113 w 386"/>
                    <a:gd name="T7" fmla="*/ 73 h 114"/>
                    <a:gd name="T8" fmla="*/ 145 w 386"/>
                    <a:gd name="T9" fmla="*/ 105 h 114"/>
                    <a:gd name="T10" fmla="*/ 193 w 386"/>
                    <a:gd name="T11" fmla="*/ 105 h 114"/>
                    <a:gd name="T12" fmla="*/ 257 w 386"/>
                    <a:gd name="T13" fmla="*/ 40 h 114"/>
                    <a:gd name="T14" fmla="*/ 314 w 386"/>
                    <a:gd name="T15" fmla="*/ 40 h 114"/>
                    <a:gd name="T16" fmla="*/ 338 w 386"/>
                    <a:gd name="T17" fmla="*/ 0 h 114"/>
                    <a:gd name="T18" fmla="*/ 386 w 386"/>
                    <a:gd name="T19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86" h="114">
                      <a:moveTo>
                        <a:pt x="0" y="114"/>
                      </a:moveTo>
                      <a:lnTo>
                        <a:pt x="48" y="114"/>
                      </a:lnTo>
                      <a:lnTo>
                        <a:pt x="80" y="73"/>
                      </a:lnTo>
                      <a:lnTo>
                        <a:pt x="113" y="73"/>
                      </a:lnTo>
                      <a:lnTo>
                        <a:pt x="145" y="105"/>
                      </a:lnTo>
                      <a:lnTo>
                        <a:pt x="193" y="105"/>
                      </a:lnTo>
                      <a:lnTo>
                        <a:pt x="257" y="40"/>
                      </a:lnTo>
                      <a:lnTo>
                        <a:pt x="314" y="40"/>
                      </a:lnTo>
                      <a:lnTo>
                        <a:pt x="338" y="0"/>
                      </a:lnTo>
                      <a:lnTo>
                        <a:pt x="386" y="0"/>
                      </a:lnTo>
                    </a:path>
                  </a:pathLst>
                </a:cu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Line 65">
                  <a:extLst>
                    <a:ext uri="{FF2B5EF4-FFF2-40B4-BE49-F238E27FC236}">
                      <a16:creationId xmlns:a16="http://schemas.microsoft.com/office/drawing/2014/main" id="{6FCC6C75-D1A4-4E3B-A5CA-12B9CC8C508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340916" y="2777611"/>
                  <a:ext cx="612775" cy="0"/>
                </a:xfrm>
                <a:prstGeom prst="line">
                  <a:avLst/>
                </a:pr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 66">
                  <a:extLst>
                    <a:ext uri="{FF2B5EF4-FFF2-40B4-BE49-F238E27FC236}">
                      <a16:creationId xmlns:a16="http://schemas.microsoft.com/office/drawing/2014/main" id="{07A54E2C-691B-46BA-AB7E-3992A5D97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6504" y="2390261"/>
                  <a:ext cx="101600" cy="193675"/>
                </a:xfrm>
                <a:custGeom>
                  <a:avLst/>
                  <a:gdLst>
                    <a:gd name="T0" fmla="*/ 64 w 64"/>
                    <a:gd name="T1" fmla="*/ 122 h 122"/>
                    <a:gd name="T2" fmla="*/ 64 w 64"/>
                    <a:gd name="T3" fmla="*/ 0 h 122"/>
                    <a:gd name="T4" fmla="*/ 0 w 64"/>
                    <a:gd name="T5" fmla="*/ 0 h 122"/>
                    <a:gd name="T6" fmla="*/ 0 w 64"/>
                    <a:gd name="T7" fmla="*/ 73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" h="122">
                      <a:moveTo>
                        <a:pt x="64" y="122"/>
                      </a:moveTo>
                      <a:lnTo>
                        <a:pt x="64" y="0"/>
                      </a:lnTo>
                      <a:lnTo>
                        <a:pt x="0" y="0"/>
                      </a:lnTo>
                      <a:lnTo>
                        <a:pt x="0" y="73"/>
                      </a:lnTo>
                    </a:path>
                  </a:pathLst>
                </a:cu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Line 67">
                  <a:extLst>
                    <a:ext uri="{FF2B5EF4-FFF2-40B4-BE49-F238E27FC236}">
                      <a16:creationId xmlns:a16="http://schemas.microsoft.com/office/drawing/2014/main" id="{4778E7CD-4CC9-4227-8642-620309CD19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698104" y="2687123"/>
                  <a:ext cx="0" cy="90488"/>
                </a:xfrm>
                <a:prstGeom prst="line">
                  <a:avLst/>
                </a:pr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Line 68">
                  <a:extLst>
                    <a:ext uri="{FF2B5EF4-FFF2-40B4-BE49-F238E27FC236}">
                      <a16:creationId xmlns:a16="http://schemas.microsoft.com/office/drawing/2014/main" id="{F509A4A2-AF20-4BCA-962C-751E4D5EA0B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01291" y="2623623"/>
                  <a:ext cx="0" cy="153988"/>
                </a:xfrm>
                <a:prstGeom prst="line">
                  <a:avLst/>
                </a:pr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 69">
                  <a:extLst>
                    <a:ext uri="{FF2B5EF4-FFF2-40B4-BE49-F238E27FC236}">
                      <a16:creationId xmlns:a16="http://schemas.microsoft.com/office/drawing/2014/main" id="{51FD28AE-D011-4EB9-B152-C7FE3E6576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8104" y="2442648"/>
                  <a:ext cx="103188" cy="103188"/>
                </a:xfrm>
                <a:custGeom>
                  <a:avLst/>
                  <a:gdLst>
                    <a:gd name="T0" fmla="*/ 0 w 65"/>
                    <a:gd name="T1" fmla="*/ 0 h 65"/>
                    <a:gd name="T2" fmla="*/ 65 w 65"/>
                    <a:gd name="T3" fmla="*/ 0 h 65"/>
                    <a:gd name="T4" fmla="*/ 65 w 65"/>
                    <a:gd name="T5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5" h="65">
                      <a:moveTo>
                        <a:pt x="0" y="0"/>
                      </a:moveTo>
                      <a:lnTo>
                        <a:pt x="65" y="0"/>
                      </a:lnTo>
                      <a:lnTo>
                        <a:pt x="65" y="65"/>
                      </a:lnTo>
                    </a:path>
                  </a:pathLst>
                </a:cu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Line 70">
                  <a:extLst>
                    <a:ext uri="{FF2B5EF4-FFF2-40B4-BE49-F238E27FC236}">
                      <a16:creationId xmlns:a16="http://schemas.microsoft.com/office/drawing/2014/main" id="{4B1566A1-05DB-40D7-872E-BB000A7BEFD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596504" y="2726811"/>
                  <a:ext cx="0" cy="50800"/>
                </a:xfrm>
                <a:prstGeom prst="line">
                  <a:avLst/>
                </a:pr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 71">
                  <a:extLst>
                    <a:ext uri="{FF2B5EF4-FFF2-40B4-BE49-F238E27FC236}">
                      <a16:creationId xmlns:a16="http://schemas.microsoft.com/office/drawing/2014/main" id="{A4AA9FB9-3A7A-4FA2-9CC4-977F773FD2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3316" y="2506148"/>
                  <a:ext cx="103188" cy="142875"/>
                </a:xfrm>
                <a:custGeom>
                  <a:avLst/>
                  <a:gdLst>
                    <a:gd name="T0" fmla="*/ 0 w 65"/>
                    <a:gd name="T1" fmla="*/ 0 h 90"/>
                    <a:gd name="T2" fmla="*/ 65 w 65"/>
                    <a:gd name="T3" fmla="*/ 0 h 90"/>
                    <a:gd name="T4" fmla="*/ 65 w 65"/>
                    <a:gd name="T5" fmla="*/ 9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5" h="90">
                      <a:moveTo>
                        <a:pt x="0" y="0"/>
                      </a:moveTo>
                      <a:lnTo>
                        <a:pt x="65" y="0"/>
                      </a:lnTo>
                      <a:lnTo>
                        <a:pt x="65" y="90"/>
                      </a:lnTo>
                    </a:path>
                  </a:pathLst>
                </a:cu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Line 72">
                  <a:extLst>
                    <a:ext uri="{FF2B5EF4-FFF2-40B4-BE49-F238E27FC236}">
                      <a16:creationId xmlns:a16="http://schemas.microsoft.com/office/drawing/2014/main" id="{62EF7B87-419C-4267-AA55-B3BF480BE4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91716" y="2739511"/>
                  <a:ext cx="0" cy="38100"/>
                </a:xfrm>
                <a:prstGeom prst="line">
                  <a:avLst/>
                </a:pr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Line 73">
                  <a:extLst>
                    <a:ext uri="{FF2B5EF4-FFF2-40B4-BE49-F238E27FC236}">
                      <a16:creationId xmlns:a16="http://schemas.microsoft.com/office/drawing/2014/main" id="{AD58FC2A-9790-4954-9C45-51B827569B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93316" y="2674423"/>
                  <a:ext cx="0" cy="103188"/>
                </a:xfrm>
                <a:prstGeom prst="line">
                  <a:avLst/>
                </a:pr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 74">
                  <a:extLst>
                    <a:ext uri="{FF2B5EF4-FFF2-40B4-BE49-F238E27FC236}">
                      <a16:creationId xmlns:a16="http://schemas.microsoft.com/office/drawing/2014/main" id="{56417781-821A-453F-BC23-E65C3F80E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1716" y="2455348"/>
                  <a:ext cx="101600" cy="206375"/>
                </a:xfrm>
                <a:custGeom>
                  <a:avLst/>
                  <a:gdLst>
                    <a:gd name="T0" fmla="*/ 0 w 64"/>
                    <a:gd name="T1" fmla="*/ 130 h 130"/>
                    <a:gd name="T2" fmla="*/ 0 w 64"/>
                    <a:gd name="T3" fmla="*/ 0 h 130"/>
                    <a:gd name="T4" fmla="*/ 64 w 64"/>
                    <a:gd name="T5" fmla="*/ 0 h 130"/>
                    <a:gd name="T6" fmla="*/ 64 w 64"/>
                    <a:gd name="T7" fmla="*/ 89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" h="130">
                      <a:moveTo>
                        <a:pt x="0" y="130"/>
                      </a:moveTo>
                      <a:lnTo>
                        <a:pt x="0" y="0"/>
                      </a:lnTo>
                      <a:lnTo>
                        <a:pt x="64" y="0"/>
                      </a:lnTo>
                      <a:lnTo>
                        <a:pt x="64" y="89"/>
                      </a:lnTo>
                    </a:path>
                  </a:pathLst>
                </a:cu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Line 75">
                  <a:extLst>
                    <a:ext uri="{FF2B5EF4-FFF2-40B4-BE49-F238E27FC236}">
                      <a16:creationId xmlns:a16="http://schemas.microsoft.com/office/drawing/2014/main" id="{E82ADA52-2F7F-445F-A73C-D52B7B0B811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02891" y="2558536"/>
                  <a:ext cx="0" cy="219075"/>
                </a:xfrm>
                <a:prstGeom prst="line">
                  <a:avLst/>
                </a:pr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 76">
                  <a:extLst>
                    <a:ext uri="{FF2B5EF4-FFF2-40B4-BE49-F238E27FC236}">
                      <a16:creationId xmlns:a16="http://schemas.microsoft.com/office/drawing/2014/main" id="{CB163A14-D501-4807-B4FD-41B613458F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1291" y="2248973"/>
                  <a:ext cx="101600" cy="231775"/>
                </a:xfrm>
                <a:custGeom>
                  <a:avLst/>
                  <a:gdLst>
                    <a:gd name="T0" fmla="*/ 64 w 64"/>
                    <a:gd name="T1" fmla="*/ 146 h 146"/>
                    <a:gd name="T2" fmla="*/ 64 w 64"/>
                    <a:gd name="T3" fmla="*/ 0 h 146"/>
                    <a:gd name="T4" fmla="*/ 0 w 64"/>
                    <a:gd name="T5" fmla="*/ 0 h 146"/>
                    <a:gd name="T6" fmla="*/ 0 w 64"/>
                    <a:gd name="T7" fmla="*/ 122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" h="146">
                      <a:moveTo>
                        <a:pt x="64" y="146"/>
                      </a:moveTo>
                      <a:lnTo>
                        <a:pt x="64" y="0"/>
                      </a:lnTo>
                      <a:lnTo>
                        <a:pt x="0" y="0"/>
                      </a:lnTo>
                      <a:lnTo>
                        <a:pt x="0" y="122"/>
                      </a:lnTo>
                    </a:path>
                  </a:pathLst>
                </a:custGeom>
                <a:noFill/>
                <a:ln w="57150" cap="flat">
                  <a:solidFill>
                    <a:srgbClr val="1496D4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99772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7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7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62206E-6 0 L 0.33879 0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935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208E-6 -1.54341E-6 L 0.15977 -1.54341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84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54019E-6 L 0.31139 -2.54019E-6 " pathEditMode="relative" rAng="0" ptsTypes="AA">
                                      <p:cBhvr>
                                        <p:cTn id="14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570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2" grpId="0"/>
      <p:bldP spid="2" grpId="1"/>
      <p:bldP spid="6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tângulo 85">
            <a:extLst>
              <a:ext uri="{FF2B5EF4-FFF2-40B4-BE49-F238E27FC236}">
                <a16:creationId xmlns:a16="http://schemas.microsoft.com/office/drawing/2014/main" id="{4CBD6740-1A24-49D9-B479-9CF17F43CAA5}"/>
              </a:ext>
            </a:extLst>
          </p:cNvPr>
          <p:cNvSpPr/>
          <p:nvPr/>
        </p:nvSpPr>
        <p:spPr>
          <a:xfrm>
            <a:off x="0" y="0"/>
            <a:ext cx="8721969" cy="98755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167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9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1E1851F-758A-4B65-A61B-4939AC8985D0}"/>
              </a:ext>
            </a:extLst>
          </p:cNvPr>
          <p:cNvSpPr txBox="1">
            <a:spLocks/>
          </p:cNvSpPr>
          <p:nvPr/>
        </p:nvSpPr>
        <p:spPr>
          <a:xfrm>
            <a:off x="966270" y="3699709"/>
            <a:ext cx="2948645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defRPr sz="2800">
                <a:solidFill>
                  <a:srgbClr val="404040"/>
                </a:solidFill>
                <a:latin typeface="Bahnschrift" panose="020B0502040204020203" pitchFamily="34" charset="0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O </a:t>
            </a:r>
            <a:r>
              <a:rPr lang="en-US" sz="2000" b="1" dirty="0" err="1">
                <a:solidFill>
                  <a:schemeClr val="accent1">
                    <a:lumMod val="75000"/>
                  </a:schemeClr>
                </a:solidFill>
              </a:rPr>
              <a:t>estadiamento</a:t>
            </a: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000" b="1" dirty="0" err="1">
                <a:solidFill>
                  <a:schemeClr val="accent1">
                    <a:lumMod val="75000"/>
                  </a:schemeClr>
                </a:solidFill>
              </a:rPr>
              <a:t>usando</a:t>
            </a: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 TNM</a:t>
            </a: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sz="2000" dirty="0"/>
              <a:t>para melanoma descreve a espessura do melanoma e se existe alguma disseminação para os gânglios linfáticos ou outras partes do corpo¹</a:t>
            </a:r>
            <a:endParaRPr lang="en-US" sz="2000" dirty="0"/>
          </a:p>
        </p:txBody>
      </p:sp>
      <p:sp>
        <p:nvSpPr>
          <p:cNvPr id="13" name="TextBox 40">
            <a:extLst>
              <a:ext uri="{FF2B5EF4-FFF2-40B4-BE49-F238E27FC236}">
                <a16:creationId xmlns:a16="http://schemas.microsoft.com/office/drawing/2014/main" id="{D4EF090D-BE0C-41F4-9FD1-800F014CD5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4955" y="5816464"/>
            <a:ext cx="2800977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defRPr sz="2000">
                <a:solidFill>
                  <a:srgbClr val="404040"/>
                </a:solidFill>
                <a:latin typeface="Bahnschrift" panose="020B0502040204020203" pitchFamily="34" charset="0"/>
              </a:defRPr>
            </a:lvl1pPr>
            <a:lvl2pPr marL="4572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/>
            </a:lvl2pPr>
            <a:lvl3pPr marL="6858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/>
            </a:lvl3pPr>
            <a:lvl4pPr marL="9144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/>
            </a:lvl4pPr>
            <a:lvl5pPr marL="11430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/>
            </a:lvl5pPr>
            <a:lvl6pPr marL="25146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b="1" dirty="0">
                <a:solidFill>
                  <a:srgbClr val="73B844"/>
                </a:solidFill>
              </a:rPr>
              <a:t>Lymph nodes, N (0-3): </a:t>
            </a:r>
            <a:br>
              <a:rPr lang="en-GB" dirty="0"/>
            </a:br>
            <a:r>
              <a:rPr lang="en-GB" dirty="0"/>
              <a:t>presence and extent of spread to lymph nodes</a:t>
            </a:r>
          </a:p>
        </p:txBody>
      </p:sp>
      <p:sp>
        <p:nvSpPr>
          <p:cNvPr id="15" name="TextBox 21">
            <a:extLst>
              <a:ext uri="{FF2B5EF4-FFF2-40B4-BE49-F238E27FC236}">
                <a16:creationId xmlns:a16="http://schemas.microsoft.com/office/drawing/2014/main" id="{FA44AD3E-1163-42FE-BFA6-863EAC85C6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4955" y="3649235"/>
            <a:ext cx="2604823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defRPr sz="2000">
                <a:solidFill>
                  <a:srgbClr val="404040"/>
                </a:solidFill>
                <a:latin typeface="Bahnschrift" panose="020B0502040204020203" pitchFamily="34" charset="0"/>
              </a:defRPr>
            </a:lvl1pPr>
            <a:lvl2pPr marL="4572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/>
            </a:lvl2pPr>
            <a:lvl3pPr marL="6858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/>
            </a:lvl3pPr>
            <a:lvl4pPr marL="9144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/>
            </a:lvl4pPr>
            <a:lvl5pPr marL="11430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/>
            </a:lvl5pPr>
            <a:lvl6pPr marL="25146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b="1" dirty="0">
                <a:solidFill>
                  <a:srgbClr val="73B844"/>
                </a:solidFill>
              </a:rPr>
              <a:t>Tumour, T (0-4): </a:t>
            </a:r>
            <a:r>
              <a:rPr lang="en-GB" dirty="0"/>
              <a:t>size or direct extent of the primary tumour</a:t>
            </a:r>
          </a:p>
        </p:txBody>
      </p:sp>
      <p:sp>
        <p:nvSpPr>
          <p:cNvPr id="17" name="TextBox 59">
            <a:extLst>
              <a:ext uri="{FF2B5EF4-FFF2-40B4-BE49-F238E27FC236}">
                <a16:creationId xmlns:a16="http://schemas.microsoft.com/office/drawing/2014/main" id="{78675B2A-356D-4D6E-965B-DA807814D3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4955" y="1482007"/>
            <a:ext cx="2648660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defRPr sz="2000" b="1">
                <a:solidFill>
                  <a:srgbClr val="404040"/>
                </a:solidFill>
                <a:latin typeface="Bahnschrift" panose="020B0502040204020203" pitchFamily="34" charset="0"/>
              </a:defRPr>
            </a:lvl1pPr>
            <a:lvl2pPr marL="4572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/>
            </a:lvl2pPr>
            <a:lvl3pPr marL="6858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/>
            </a:lvl3pPr>
            <a:lvl4pPr marL="9144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/>
            </a:lvl4pPr>
            <a:lvl5pPr marL="1143000" indent="-228600" defTabSz="914400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/>
            </a:lvl5pPr>
            <a:lvl6pPr marL="25146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dirty="0">
                <a:solidFill>
                  <a:srgbClr val="73B844"/>
                </a:solidFill>
              </a:rPr>
              <a:t>Metastases, M (0/1): </a:t>
            </a:r>
            <a:r>
              <a:rPr lang="en-GB" b="0" dirty="0"/>
              <a:t>absence or presence of metastases</a:t>
            </a:r>
          </a:p>
        </p:txBody>
      </p:sp>
      <p:grpSp>
        <p:nvGrpSpPr>
          <p:cNvPr id="56" name="Agrupar 55">
            <a:extLst>
              <a:ext uri="{FF2B5EF4-FFF2-40B4-BE49-F238E27FC236}">
                <a16:creationId xmlns:a16="http://schemas.microsoft.com/office/drawing/2014/main" id="{68C6F719-5391-4B6A-86B4-0EE75CB41343}"/>
              </a:ext>
            </a:extLst>
          </p:cNvPr>
          <p:cNvGrpSpPr/>
          <p:nvPr/>
        </p:nvGrpSpPr>
        <p:grpSpPr>
          <a:xfrm>
            <a:off x="13041107" y="1011612"/>
            <a:ext cx="4065444" cy="7463613"/>
            <a:chOff x="10961196" y="1798469"/>
            <a:chExt cx="3445612" cy="6325684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5A19670A-89A0-4DE5-BE24-27746A5AD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61196" y="1798469"/>
              <a:ext cx="3445612" cy="632568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9" name="Group 76">
              <a:extLst>
                <a:ext uri="{FF2B5EF4-FFF2-40B4-BE49-F238E27FC236}">
                  <a16:creationId xmlns:a16="http://schemas.microsoft.com/office/drawing/2014/main" id="{0D58E67F-13FF-4FD1-AE02-65EBAB01A40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072088" y="3839504"/>
              <a:ext cx="218270" cy="236399"/>
              <a:chOff x="3667760" y="3510383"/>
              <a:chExt cx="133387" cy="136683"/>
            </a:xfrm>
            <a:solidFill>
              <a:srgbClr val="E74A21">
                <a:lumMod val="20000"/>
                <a:lumOff val="80000"/>
              </a:srgbClr>
            </a:solidFill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E2F372A-C764-42FA-996F-D7A98BFEFC3B}"/>
                  </a:ext>
                </a:extLst>
              </p:cNvPr>
              <p:cNvSpPr/>
              <p:nvPr/>
            </p:nvSpPr>
            <p:spPr>
              <a:xfrm>
                <a:off x="3667760" y="3526276"/>
                <a:ext cx="111156" cy="90592"/>
              </a:xfrm>
              <a:prstGeom prst="ellipse">
                <a:avLst/>
              </a:prstGeom>
              <a:grpFill/>
              <a:ln w="12700" cap="sq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defTabSz="1316553">
                  <a:defRPr/>
                </a:pPr>
                <a:endParaRPr lang="en-US" sz="2016" kern="0" dirty="0">
                  <a:solidFill>
                    <a:srgbClr val="FFFFFF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763C2CE0-1B68-4FF1-BB69-19F1954A6C13}"/>
                  </a:ext>
                </a:extLst>
              </p:cNvPr>
              <p:cNvSpPr/>
              <p:nvPr/>
            </p:nvSpPr>
            <p:spPr>
              <a:xfrm>
                <a:off x="3702695" y="3510383"/>
                <a:ext cx="85749" cy="69931"/>
              </a:xfrm>
              <a:prstGeom prst="ellipse">
                <a:avLst/>
              </a:prstGeom>
              <a:grpFill/>
              <a:ln w="12700" cap="sq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defTabSz="1316553">
                  <a:defRPr/>
                </a:pPr>
                <a:endParaRPr lang="en-US" sz="2016" kern="0" dirty="0">
                  <a:solidFill>
                    <a:srgbClr val="FFFFFF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EFCF00CD-EA6B-4FA8-AD2C-554F85D1C09D}"/>
                  </a:ext>
                </a:extLst>
              </p:cNvPr>
              <p:cNvSpPr/>
              <p:nvPr/>
            </p:nvSpPr>
            <p:spPr>
              <a:xfrm>
                <a:off x="3715398" y="3577135"/>
                <a:ext cx="85749" cy="69931"/>
              </a:xfrm>
              <a:prstGeom prst="ellipse">
                <a:avLst/>
              </a:prstGeom>
              <a:grpFill/>
              <a:ln w="12700" cap="sq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defTabSz="1316553">
                  <a:defRPr/>
                </a:pPr>
                <a:endParaRPr lang="en-US" sz="2016" kern="0" dirty="0">
                  <a:solidFill>
                    <a:srgbClr val="FFFFFF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/>
                </a:endParaRPr>
              </a:p>
            </p:txBody>
          </p:sp>
        </p:grpSp>
      </p:grpSp>
      <p:sp>
        <p:nvSpPr>
          <p:cNvPr id="8" name="Oval 7">
            <a:extLst>
              <a:ext uri="{FF2B5EF4-FFF2-40B4-BE49-F238E27FC236}">
                <a16:creationId xmlns:a16="http://schemas.microsoft.com/office/drawing/2014/main" id="{2BFE83B3-BB9C-46CC-8A2D-679268BD81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14788" y="5360727"/>
            <a:ext cx="1686184" cy="1686184"/>
          </a:xfrm>
          <a:prstGeom prst="ellipse">
            <a:avLst/>
          </a:prstGeom>
          <a:blipFill dpi="0" rotWithShape="1">
            <a:blip r:embed="rId3" cstate="print"/>
            <a:srcRect/>
            <a:stretch>
              <a:fillRect/>
            </a:stretch>
          </a:blipFill>
          <a:ln w="19050">
            <a:solidFill>
              <a:srgbClr val="1496D4"/>
            </a:solidFill>
            <a:round/>
            <a:headEnd/>
            <a:tailEnd/>
          </a:ln>
          <a:effectLst>
            <a:outerShdw dist="101600" dir="2700000" algn="ctr" rotWithShape="0">
              <a:srgbClr val="000000">
                <a:alpha val="4000"/>
              </a:srgbClr>
            </a:outerShdw>
          </a:effectLst>
        </p:spPr>
        <p:txBody>
          <a:bodyPr anchor="ctr"/>
          <a:lstStyle/>
          <a:p>
            <a:pPr algn="ctr" defTabSz="1316553">
              <a:defRPr/>
            </a:pPr>
            <a:endParaRPr lang="en-GB" sz="2016" kern="0" dirty="0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atin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EC2EA53-BED9-4C05-B641-22EBEFAF3B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48732" y="3243627"/>
            <a:ext cx="1674539" cy="1677016"/>
          </a:xfrm>
          <a:prstGeom prst="ellipse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 w="19050">
            <a:solidFill>
              <a:srgbClr val="1496D4"/>
            </a:solidFill>
            <a:round/>
            <a:headEnd/>
            <a:tailEnd/>
          </a:ln>
          <a:effectLst>
            <a:outerShdw dist="101600" dir="2700000" algn="ctr" rotWithShape="0">
              <a:schemeClr val="tx1">
                <a:alpha val="4000"/>
              </a:schemeClr>
            </a:outerShdw>
          </a:effectLst>
        </p:spPr>
        <p:txBody>
          <a:bodyPr anchor="ctr"/>
          <a:lstStyle/>
          <a:p>
            <a:pPr algn="ctr" defTabSz="1316553">
              <a:defRPr/>
            </a:pPr>
            <a:endParaRPr lang="en-GB" sz="2016" kern="0" dirty="0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atin typeface="Arial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EE3D7C1-4E42-4DDF-A465-50470F306E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14788" y="1082081"/>
            <a:ext cx="1686184" cy="1677015"/>
          </a:xfrm>
          <a:prstGeom prst="ellipse">
            <a:avLst/>
          </a:prstGeom>
          <a:blipFill dpi="0" rotWithShape="1">
            <a:blip r:embed="rId5" cstate="print"/>
            <a:srcRect/>
            <a:stretch>
              <a:fillRect/>
            </a:stretch>
          </a:blipFill>
          <a:ln w="19050">
            <a:solidFill>
              <a:srgbClr val="1496D4"/>
            </a:solidFill>
            <a:round/>
            <a:headEnd/>
            <a:tailEnd/>
          </a:ln>
          <a:effectLst>
            <a:outerShdw dist="101600" dir="2700000" algn="ctr" rotWithShape="0">
              <a:srgbClr val="000000">
                <a:alpha val="4000"/>
              </a:srgbClr>
            </a:outerShdw>
          </a:effectLst>
        </p:spPr>
        <p:txBody>
          <a:bodyPr anchor="ctr"/>
          <a:lstStyle/>
          <a:p>
            <a:pPr algn="ctr" defTabSz="1316553">
              <a:defRPr/>
            </a:pPr>
            <a:endParaRPr lang="en-GB" sz="2016" kern="0" dirty="0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latin typeface="Arial"/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08618D9-A4CB-41CC-B3B6-41E5319761E6}"/>
              </a:ext>
            </a:extLst>
          </p:cNvPr>
          <p:cNvSpPr txBox="1">
            <a:spLocks/>
          </p:cNvSpPr>
          <p:nvPr/>
        </p:nvSpPr>
        <p:spPr>
          <a:xfrm>
            <a:off x="966270" y="6665222"/>
            <a:ext cx="2948645" cy="192360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defRPr sz="2800">
                <a:solidFill>
                  <a:srgbClr val="404040"/>
                </a:solidFill>
                <a:latin typeface="Bahnschrift" panose="020B0502040204020203" pitchFamily="34" charset="0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/>
              <a:t>O </a:t>
            </a:r>
            <a:r>
              <a:rPr lang="pt-BR" sz="2000" b="1" dirty="0">
                <a:solidFill>
                  <a:schemeClr val="accent1">
                    <a:lumMod val="75000"/>
                  </a:schemeClr>
                </a:solidFill>
              </a:rPr>
              <a:t>estágio clínico </a:t>
            </a:r>
            <a:r>
              <a:rPr lang="pt-BR" sz="2000" dirty="0"/>
              <a:t>baseia-se na espessura primária do tumor (T) e em outras características da avaliação histológica primária e de imagem¹¹</a:t>
            </a:r>
            <a:endParaRPr lang="en-US" sz="2000" dirty="0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FB16518-2751-41BF-8938-0FEE1292A4BF}"/>
              </a:ext>
            </a:extLst>
          </p:cNvPr>
          <p:cNvSpPr txBox="1">
            <a:spLocks/>
          </p:cNvSpPr>
          <p:nvPr/>
        </p:nvSpPr>
        <p:spPr>
          <a:xfrm>
            <a:off x="4631347" y="6152162"/>
            <a:ext cx="3645148" cy="244682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defRPr sz="2800">
                <a:solidFill>
                  <a:srgbClr val="404040"/>
                </a:solidFill>
                <a:latin typeface="Bahnschrift" panose="020B0502040204020203" pitchFamily="34" charset="0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/>
              <a:t>Os médicos usam o estágio patológico, se disponível, porque fornece uma imagem mais precisa da extensão do câncer. No entanto, em muitos casos, as biópsias de linfonodos não são necessárias e o estadiamento clínico é utilizado </a:t>
            </a:r>
            <a:r>
              <a:rPr lang="en-US" sz="2000" dirty="0"/>
              <a:t>³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9DD89BD0-3E08-40C4-BE16-14F3612AAF2C}"/>
              </a:ext>
            </a:extLst>
          </p:cNvPr>
          <p:cNvSpPr txBox="1">
            <a:spLocks/>
          </p:cNvSpPr>
          <p:nvPr/>
        </p:nvSpPr>
        <p:spPr>
          <a:xfrm>
            <a:off x="4631346" y="3698734"/>
            <a:ext cx="3434132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defRPr sz="2800">
                <a:solidFill>
                  <a:srgbClr val="404040"/>
                </a:solidFill>
                <a:latin typeface="Bahnschrift" panose="020B0502040204020203" pitchFamily="34" charset="0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000" dirty="0"/>
              <a:t>O </a:t>
            </a:r>
            <a:r>
              <a:rPr lang="pt-BR" sz="2000" b="1" dirty="0">
                <a:solidFill>
                  <a:schemeClr val="accent1">
                    <a:lumMod val="75000"/>
                  </a:schemeClr>
                </a:solidFill>
              </a:rPr>
              <a:t>estágio patológico </a:t>
            </a:r>
            <a:r>
              <a:rPr lang="pt-BR" sz="2000" dirty="0"/>
              <a:t>(determinado após a biópsia do SLN) pode realmente ser superior ao estágio clínico (determinado antes da biópsia do SLN</a:t>
            </a:r>
            <a:r>
              <a:rPr lang="en-US" sz="2000" dirty="0"/>
              <a:t>)³</a:t>
            </a:r>
          </a:p>
        </p:txBody>
      </p:sp>
      <p:sp>
        <p:nvSpPr>
          <p:cNvPr id="33" name="Text Placeholder 37">
            <a:extLst>
              <a:ext uri="{FF2B5EF4-FFF2-40B4-BE49-F238E27FC236}">
                <a16:creationId xmlns:a16="http://schemas.microsoft.com/office/drawing/2014/main" id="{E68F0850-5A09-3F44-AC87-56C1AECE982E}"/>
              </a:ext>
            </a:extLst>
          </p:cNvPr>
          <p:cNvSpPr txBox="1">
            <a:spLocks/>
          </p:cNvSpPr>
          <p:nvPr/>
        </p:nvSpPr>
        <p:spPr>
          <a:xfrm>
            <a:off x="966270" y="1534893"/>
            <a:ext cx="8057196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00" b="1" i="0" u="none" strike="noStrike" cap="none" spc="-216" normalizeH="0" baseline="0">
                <a:ln>
                  <a:noFill/>
                </a:ln>
                <a:solidFill>
                  <a:srgbClr val="3B61AC"/>
                </a:solidFill>
                <a:effectLst/>
                <a:uLnTx/>
                <a:uFillTx/>
                <a:latin typeface="Bahnschrift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5400" dirty="0">
                <a:solidFill>
                  <a:schemeClr val="accent1">
                    <a:lumMod val="75000"/>
                  </a:schemeClr>
                </a:solidFill>
              </a:rPr>
              <a:t>ESTADIO DE ACORDO </a:t>
            </a:r>
            <a:br>
              <a:rPr lang="pt-BR" sz="5400" dirty="0">
                <a:solidFill>
                  <a:srgbClr val="9851A0"/>
                </a:solidFill>
              </a:rPr>
            </a:br>
            <a:r>
              <a:rPr lang="pt-BR" sz="5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 AJCC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164954" y="7231822"/>
            <a:ext cx="3737285" cy="1531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alt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  <a:t>1. National Cancer Institute. Treatment option </a:t>
            </a:r>
            <a:br>
              <a:rPr lang="en-GB" alt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</a:br>
            <a:r>
              <a:rPr lang="en-GB" alt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  <a:t>overview for melanoma. http://www.cancer.gov/types/skin/hp/melanoma-treatment-pdq#cit/section_3.1. Accessed </a:t>
            </a:r>
            <a:r>
              <a:rPr 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  <a:t>12 February 2020</a:t>
            </a:r>
            <a:r>
              <a:rPr lang="en-GB" alt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  <a:t>. 2. </a:t>
            </a:r>
            <a:r>
              <a:rPr lang="en-GB" altLang="en-US" sz="1100" dirty="0" err="1">
                <a:solidFill>
                  <a:srgbClr val="404040"/>
                </a:solidFill>
                <a:latin typeface="Bahnschrift" panose="020B0502040204020203" pitchFamily="34" charset="0"/>
              </a:rPr>
              <a:t>Mervic</a:t>
            </a:r>
            <a:r>
              <a:rPr lang="en-GB" alt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  <a:t> L. Acta </a:t>
            </a:r>
            <a:r>
              <a:rPr lang="en-GB" altLang="en-US" sz="1100" dirty="0" err="1">
                <a:solidFill>
                  <a:srgbClr val="404040"/>
                </a:solidFill>
                <a:latin typeface="Bahnschrift" panose="020B0502040204020203" pitchFamily="34" charset="0"/>
              </a:rPr>
              <a:t>Dermatovenerol</a:t>
            </a:r>
            <a:r>
              <a:rPr lang="en-GB" alt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  <a:t> Alp </a:t>
            </a:r>
            <a:r>
              <a:rPr lang="en-GB" altLang="en-US" sz="1100" dirty="0" err="1">
                <a:solidFill>
                  <a:srgbClr val="404040"/>
                </a:solidFill>
                <a:latin typeface="Bahnschrift" panose="020B0502040204020203" pitchFamily="34" charset="0"/>
              </a:rPr>
              <a:t>Pannonica</a:t>
            </a:r>
            <a:r>
              <a:rPr lang="en-GB" alt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  <a:t> </a:t>
            </a:r>
            <a:r>
              <a:rPr lang="en-GB" altLang="en-US" sz="1100" dirty="0" err="1">
                <a:solidFill>
                  <a:srgbClr val="404040"/>
                </a:solidFill>
                <a:latin typeface="Bahnschrift" panose="020B0502040204020203" pitchFamily="34" charset="0"/>
              </a:rPr>
              <a:t>Adriat</a:t>
            </a:r>
            <a:r>
              <a:rPr lang="en-GB" alt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  <a:t>. 2012;21:27-31. 3. Canadian Cancer Survivor Network. Staging of melanoma. http://survivornet.ca/cancer-type/skin-cancer-melanoma/staging-of-melanoma. Accessed </a:t>
            </a:r>
            <a:r>
              <a:rPr lang="en-US" sz="1100" dirty="0">
                <a:solidFill>
                  <a:srgbClr val="404040"/>
                </a:solidFill>
                <a:latin typeface="Bahnschrift" panose="020B0502040204020203" pitchFamily="34" charset="0"/>
              </a:rPr>
              <a:t>12 February 2020</a:t>
            </a:r>
            <a:endParaRPr lang="en-GB" altLang="en-US" sz="1100" dirty="0">
              <a:solidFill>
                <a:srgbClr val="404040"/>
              </a:solidFill>
              <a:latin typeface="Bahnschrift" panose="020B0502040204020203" pitchFamily="34" charset="0"/>
            </a:endParaRPr>
          </a:p>
        </p:txBody>
      </p:sp>
      <p:sp>
        <p:nvSpPr>
          <p:cNvPr id="60" name="Forma Livre: Forma 59">
            <a:extLst>
              <a:ext uri="{FF2B5EF4-FFF2-40B4-BE49-F238E27FC236}">
                <a16:creationId xmlns:a16="http://schemas.microsoft.com/office/drawing/2014/main" id="{EE4C6A19-C68D-404B-B98C-58E4E3007CCC}"/>
              </a:ext>
            </a:extLst>
          </p:cNvPr>
          <p:cNvSpPr/>
          <p:nvPr/>
        </p:nvSpPr>
        <p:spPr>
          <a:xfrm>
            <a:off x="13763911" y="2151060"/>
            <a:ext cx="1300480" cy="132080"/>
          </a:xfrm>
          <a:custGeom>
            <a:avLst/>
            <a:gdLst>
              <a:gd name="connsiteX0" fmla="*/ 1300480 w 1300480"/>
              <a:gd name="connsiteY0" fmla="*/ 0 h 579120"/>
              <a:gd name="connsiteX1" fmla="*/ 1300480 w 1300480"/>
              <a:gd name="connsiteY1" fmla="*/ 579120 h 579120"/>
              <a:gd name="connsiteX2" fmla="*/ 0 w 1300480"/>
              <a:gd name="connsiteY2" fmla="*/ 579120 h 57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0480" h="579120">
                <a:moveTo>
                  <a:pt x="1300480" y="0"/>
                </a:moveTo>
                <a:lnTo>
                  <a:pt x="1300480" y="579120"/>
                </a:lnTo>
                <a:lnTo>
                  <a:pt x="0" y="579120"/>
                </a:lnTo>
              </a:path>
            </a:pathLst>
          </a:custGeom>
          <a:noFill/>
          <a:ln w="19050">
            <a:solidFill>
              <a:srgbClr val="1496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1" name="Forma Livre: Forma 60">
            <a:extLst>
              <a:ext uri="{FF2B5EF4-FFF2-40B4-BE49-F238E27FC236}">
                <a16:creationId xmlns:a16="http://schemas.microsoft.com/office/drawing/2014/main" id="{2B1789B3-7968-4117-BF8D-B58F5ECDC5F7}"/>
              </a:ext>
            </a:extLst>
          </p:cNvPr>
          <p:cNvSpPr/>
          <p:nvPr/>
        </p:nvSpPr>
        <p:spPr>
          <a:xfrm flipH="1">
            <a:off x="12902240" y="3089124"/>
            <a:ext cx="1585732" cy="330685"/>
          </a:xfrm>
          <a:custGeom>
            <a:avLst/>
            <a:gdLst>
              <a:gd name="connsiteX0" fmla="*/ 1585732 w 1585732"/>
              <a:gd name="connsiteY0" fmla="*/ 243068 h 497711"/>
              <a:gd name="connsiteX1" fmla="*/ 1585732 w 1585732"/>
              <a:gd name="connsiteY1" fmla="*/ 0 h 497711"/>
              <a:gd name="connsiteX2" fmla="*/ 0 w 1585732"/>
              <a:gd name="connsiteY2" fmla="*/ 0 h 497711"/>
              <a:gd name="connsiteX3" fmla="*/ 0 w 1585732"/>
              <a:gd name="connsiteY3" fmla="*/ 497711 h 497711"/>
              <a:gd name="connsiteX0" fmla="*/ 1585732 w 1585732"/>
              <a:gd name="connsiteY0" fmla="*/ 243068 h 993011"/>
              <a:gd name="connsiteX1" fmla="*/ 1585732 w 1585732"/>
              <a:gd name="connsiteY1" fmla="*/ 0 h 993011"/>
              <a:gd name="connsiteX2" fmla="*/ 0 w 1585732"/>
              <a:gd name="connsiteY2" fmla="*/ 0 h 993011"/>
              <a:gd name="connsiteX3" fmla="*/ 7620 w 1585732"/>
              <a:gd name="connsiteY3" fmla="*/ 993011 h 993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5732" h="993011">
                <a:moveTo>
                  <a:pt x="1585732" y="243068"/>
                </a:moveTo>
                <a:lnTo>
                  <a:pt x="1585732" y="0"/>
                </a:lnTo>
                <a:lnTo>
                  <a:pt x="0" y="0"/>
                </a:lnTo>
                <a:cubicBezTo>
                  <a:pt x="0" y="165904"/>
                  <a:pt x="7620" y="827107"/>
                  <a:pt x="7620" y="993011"/>
                </a:cubicBezTo>
              </a:path>
            </a:pathLst>
          </a:custGeom>
          <a:noFill/>
          <a:ln w="19050">
            <a:solidFill>
              <a:srgbClr val="1496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2" name="Forma Livre: Forma 61">
            <a:extLst>
              <a:ext uri="{FF2B5EF4-FFF2-40B4-BE49-F238E27FC236}">
                <a16:creationId xmlns:a16="http://schemas.microsoft.com/office/drawing/2014/main" id="{748B61C5-6EC3-426A-8D59-A72C6D1737FD}"/>
              </a:ext>
            </a:extLst>
          </p:cNvPr>
          <p:cNvSpPr/>
          <p:nvPr/>
        </p:nvSpPr>
        <p:spPr>
          <a:xfrm>
            <a:off x="13851364" y="3968799"/>
            <a:ext cx="625033" cy="2183363"/>
          </a:xfrm>
          <a:custGeom>
            <a:avLst/>
            <a:gdLst>
              <a:gd name="connsiteX0" fmla="*/ 625033 w 625033"/>
              <a:gd name="connsiteY0" fmla="*/ 0 h 3055716"/>
              <a:gd name="connsiteX1" fmla="*/ 625033 w 625033"/>
              <a:gd name="connsiteY1" fmla="*/ 3055716 h 3055716"/>
              <a:gd name="connsiteX2" fmla="*/ 335666 w 625033"/>
              <a:gd name="connsiteY2" fmla="*/ 3055716 h 3055716"/>
              <a:gd name="connsiteX3" fmla="*/ 0 w 625033"/>
              <a:gd name="connsiteY3" fmla="*/ 3055716 h 3055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5033" h="3055716">
                <a:moveTo>
                  <a:pt x="625033" y="0"/>
                </a:moveTo>
                <a:lnTo>
                  <a:pt x="625033" y="3055716"/>
                </a:lnTo>
                <a:lnTo>
                  <a:pt x="335666" y="3055716"/>
                </a:lnTo>
                <a:lnTo>
                  <a:pt x="0" y="3055716"/>
                </a:lnTo>
              </a:path>
            </a:pathLst>
          </a:custGeom>
          <a:noFill/>
          <a:ln w="19050">
            <a:solidFill>
              <a:srgbClr val="1496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00206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  <p:bldP spid="5" grpId="0"/>
      <p:bldP spid="13" grpId="0"/>
      <p:bldP spid="15" grpId="0"/>
      <p:bldP spid="17" grpId="0"/>
      <p:bldP spid="8" grpId="0" animBg="1"/>
      <p:bldP spid="9" grpId="0" animBg="1"/>
      <p:bldP spid="10" grpId="0" animBg="1"/>
      <p:bldP spid="30" grpId="0"/>
      <p:bldP spid="31" grpId="0"/>
      <p:bldP spid="32" grpId="0"/>
      <p:bldP spid="33" grpId="0"/>
      <p:bldP spid="34" grpId="0"/>
      <p:bldP spid="60" grpId="0" animBg="1"/>
      <p:bldP spid="61" grpId="0" animBg="1"/>
      <p:bldP spid="6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>
            <a:extLst>
              <a:ext uri="{FF2B5EF4-FFF2-40B4-BE49-F238E27FC236}">
                <a16:creationId xmlns:a16="http://schemas.microsoft.com/office/drawing/2014/main" id="{7D2DF8D9-B2A8-F775-AE73-2D8EF34F2B4E}"/>
              </a:ext>
            </a:extLst>
          </p:cNvPr>
          <p:cNvSpPr/>
          <p:nvPr/>
        </p:nvSpPr>
        <p:spPr>
          <a:xfrm>
            <a:off x="0" y="13939"/>
            <a:ext cx="17557750" cy="177981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E1793338-0972-1627-DD83-3F989FAA7D11}"/>
              </a:ext>
            </a:extLst>
          </p:cNvPr>
          <p:cNvSpPr/>
          <p:nvPr/>
        </p:nvSpPr>
        <p:spPr>
          <a:xfrm>
            <a:off x="0" y="9208304"/>
            <a:ext cx="17557750" cy="682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C85B145-D5BD-AE41-BFEF-72467BB33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596" y="397518"/>
            <a:ext cx="16384200" cy="1163339"/>
          </a:xfrm>
        </p:spPr>
        <p:txBody>
          <a:bodyPr/>
          <a:lstStyle/>
          <a:p>
            <a:pPr algn="ctr"/>
            <a:r>
              <a:rPr lang="pt-BR" dirty="0"/>
              <a:t>Apresentação Inicial do Melanoma</a:t>
            </a:r>
            <a:r>
              <a:rPr lang="pt-BR" baseline="30000" dirty="0"/>
              <a:t>1</a:t>
            </a:r>
            <a:endParaRPr lang="pt-BR" dirty="0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4BDBCABC-1DB9-D94D-8B4C-E391FC181A23}"/>
              </a:ext>
            </a:extLst>
          </p:cNvPr>
          <p:cNvSpPr txBox="1"/>
          <p:nvPr/>
        </p:nvSpPr>
        <p:spPr>
          <a:xfrm>
            <a:off x="1456536" y="9495057"/>
            <a:ext cx="13311227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5827" tIns="65827" rIns="65827" bIns="65827" numCol="1" spcCol="38100" rtlCol="0" anchor="t">
            <a:spAutoFit/>
          </a:bodyPr>
          <a:lstStyle/>
          <a:p>
            <a:r>
              <a:rPr lang="en-US" altLang="pt-BR" sz="1152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ational Cancer Institute. The Surveillance, Epidemiology, and End Results (SEER) Program. 2020.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nível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t-BR" sz="1152" dirty="0">
                <a:hlinkClick r:id="rId3"/>
              </a:rPr>
              <a:t>https://seer.cancer.gov/statfacts/html/melan.html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sad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de maio de 2020.</a:t>
            </a:r>
            <a:endParaRPr lang="en-US" altLang="pt-BR" sz="1152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CBA4C1AA-D431-594E-B901-2693466CB28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t>9</a:t>
            </a:fld>
            <a:endParaRPr lang="pt-BR" dirty="0"/>
          </a:p>
        </p:txBody>
      </p:sp>
      <p:pic>
        <p:nvPicPr>
          <p:cNvPr id="20" name="Imagem 19" descr="Desenho preto e branco&#10;&#10;Descrição gerada automaticamente">
            <a:extLst>
              <a:ext uri="{FF2B5EF4-FFF2-40B4-BE49-F238E27FC236}">
                <a16:creationId xmlns:a16="http://schemas.microsoft.com/office/drawing/2014/main" id="{3DD23AA9-4BAB-F840-A52F-9B0D8C6CAFF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alphaModFix am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4799" y="2721373"/>
            <a:ext cx="6437690" cy="6351471"/>
          </a:xfrm>
          <a:prstGeom prst="rect">
            <a:avLst/>
          </a:prstGeom>
        </p:spPr>
      </p:pic>
      <p:pic>
        <p:nvPicPr>
          <p:cNvPr id="21" name="Imagem 20" descr="Uma imagem contendo desenho&#10;&#10;Descrição gerada automaticamente">
            <a:extLst>
              <a:ext uri="{FF2B5EF4-FFF2-40B4-BE49-F238E27FC236}">
                <a16:creationId xmlns:a16="http://schemas.microsoft.com/office/drawing/2014/main" id="{D676964D-18AB-D94C-B648-3738CE9DC16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5872" y="3245759"/>
            <a:ext cx="9270441" cy="5083200"/>
          </a:xfrm>
          <a:prstGeom prst="rect">
            <a:avLst/>
          </a:prstGeom>
        </p:spPr>
      </p:pic>
      <p:sp>
        <p:nvSpPr>
          <p:cNvPr id="22" name="Seta para Baixo 21">
            <a:extLst>
              <a:ext uri="{FF2B5EF4-FFF2-40B4-BE49-F238E27FC236}">
                <a16:creationId xmlns:a16="http://schemas.microsoft.com/office/drawing/2014/main" id="{DAE58422-4EF0-CB4A-94EC-DC8A3DA3BAB8}"/>
              </a:ext>
            </a:extLst>
          </p:cNvPr>
          <p:cNvSpPr/>
          <p:nvPr/>
        </p:nvSpPr>
        <p:spPr>
          <a:xfrm rot="5400000">
            <a:off x="13061362" y="3947877"/>
            <a:ext cx="1370673" cy="2308501"/>
          </a:xfrm>
          <a:prstGeom prst="downArrow">
            <a:avLst/>
          </a:prstGeom>
          <a:gradFill>
            <a:gsLst>
              <a:gs pos="0">
                <a:srgbClr val="00CBCB">
                  <a:alpha val="0"/>
                </a:srgbClr>
              </a:gs>
              <a:gs pos="62000">
                <a:srgbClr val="00CBCB"/>
              </a:gs>
              <a:gs pos="100000">
                <a:srgbClr val="008D8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2592" dirty="0"/>
          </a:p>
        </p:txBody>
      </p:sp>
      <p:sp>
        <p:nvSpPr>
          <p:cNvPr id="23" name="Seta para Baixo 22">
            <a:extLst>
              <a:ext uri="{FF2B5EF4-FFF2-40B4-BE49-F238E27FC236}">
                <a16:creationId xmlns:a16="http://schemas.microsoft.com/office/drawing/2014/main" id="{6A4D6077-5A71-9D4B-8044-CA597B81CD2F}"/>
              </a:ext>
            </a:extLst>
          </p:cNvPr>
          <p:cNvSpPr/>
          <p:nvPr/>
        </p:nvSpPr>
        <p:spPr>
          <a:xfrm rot="17502464">
            <a:off x="2504365" y="2710870"/>
            <a:ext cx="1370673" cy="2308501"/>
          </a:xfrm>
          <a:prstGeom prst="downArrow">
            <a:avLst/>
          </a:prstGeom>
          <a:gradFill>
            <a:gsLst>
              <a:gs pos="0">
                <a:srgbClr val="00CBCB">
                  <a:alpha val="0"/>
                </a:srgbClr>
              </a:gs>
              <a:gs pos="62000">
                <a:srgbClr val="00CBCB"/>
              </a:gs>
              <a:gs pos="100000">
                <a:srgbClr val="008D8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BR" sz="2592" dirty="0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08360BE0-E35B-2946-A435-1E1A6EB10C66}"/>
              </a:ext>
            </a:extLst>
          </p:cNvPr>
          <p:cNvSpPr txBox="1"/>
          <p:nvPr/>
        </p:nvSpPr>
        <p:spPr>
          <a:xfrm>
            <a:off x="1766779" y="8888273"/>
            <a:ext cx="3496040" cy="3102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5827" tIns="65827" rIns="65827" bIns="65827" numCol="1" spcCol="38100" rtlCol="0" anchor="t">
            <a:spAutoFit/>
          </a:bodyPr>
          <a:lstStyle/>
          <a:p>
            <a:r>
              <a:rPr lang="en-US" altLang="pt-BR" sz="1152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ado</a:t>
            </a:r>
            <a:r>
              <a:rPr lang="en-US" altLang="pt-BR" sz="1152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National Cancer Institute, et al. 2020.</a:t>
            </a:r>
            <a:r>
              <a:rPr lang="en-US" altLang="pt-BR" sz="1152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altLang="pt-BR" sz="1152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52D8A649-8D62-614D-9385-F074267256F9}"/>
              </a:ext>
            </a:extLst>
          </p:cNvPr>
          <p:cNvSpPr txBox="1"/>
          <p:nvPr/>
        </p:nvSpPr>
        <p:spPr>
          <a:xfrm>
            <a:off x="5400474" y="1970284"/>
            <a:ext cx="6756803" cy="6647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pPr algn="ctr"/>
            <a:r>
              <a:rPr lang="pt-BR" sz="3456" b="1" dirty="0">
                <a:solidFill>
                  <a:srgbClr val="47545B"/>
                </a:solidFill>
              </a:rPr>
              <a:t>Porcentagem de Casos por </a:t>
            </a:r>
            <a:r>
              <a:rPr lang="pt-BR" sz="3456" b="1" dirty="0" err="1">
                <a:solidFill>
                  <a:srgbClr val="47545B"/>
                </a:solidFill>
              </a:rPr>
              <a:t>Estadio</a:t>
            </a:r>
            <a:endParaRPr lang="pt-BR" sz="3456" b="1" dirty="0">
              <a:solidFill>
                <a:srgbClr val="47545B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05DC7F-8A73-411E-816C-BE498EF48BC3}"/>
              </a:ext>
            </a:extLst>
          </p:cNvPr>
          <p:cNvSpPr txBox="1"/>
          <p:nvPr/>
        </p:nvSpPr>
        <p:spPr>
          <a:xfrm>
            <a:off x="15600579" y="9082643"/>
            <a:ext cx="1316567" cy="3767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5827" tIns="65827" rIns="65827" bIns="65827" numCol="1" spcCol="38100" rtlCol="0" anchor="t">
            <a:spAutoFit/>
          </a:bodyPr>
          <a:lstStyle/>
          <a:p>
            <a:r>
              <a:rPr lang="pt-BR" sz="1584" dirty="0"/>
              <a:t>BR-KEY-02341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A6E90C32-AAD5-F597-03FE-124ABECE25E8}"/>
              </a:ext>
            </a:extLst>
          </p:cNvPr>
          <p:cNvSpPr/>
          <p:nvPr/>
        </p:nvSpPr>
        <p:spPr>
          <a:xfrm>
            <a:off x="15600579" y="9082643"/>
            <a:ext cx="1957171" cy="791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82305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ontrol xmlns="http://schemas.microsoft.com/VisualStudio/2011/storyboarding/control">
  <Id Name="0a9a4825-af60-40dc-88a1-3253f3e0d7f7" Revision="1" Stencil="System.MyShapes" StencilVersion="1.0"/>
</Control>
</file>

<file path=customXml/item10.xml><?xml version="1.0" encoding="utf-8"?>
<Control xmlns="http://schemas.microsoft.com/VisualStudio/2011/storyboarding/control">
  <Id Name="f5a567c0-1ac9-49a2-966f-a00bf8425481" Revision="1" Stencil="System.MyShapes" StencilVersion="1.0"/>
</Control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5D97DA46B555C40AD81084C92BED5C8" ma:contentTypeVersion="10" ma:contentTypeDescription="Crie um novo documento." ma:contentTypeScope="" ma:versionID="7019791df67c80f56ba5fe1b21b6aa10">
  <xsd:schema xmlns:xsd="http://www.w3.org/2001/XMLSchema" xmlns:xs="http://www.w3.org/2001/XMLSchema" xmlns:p="http://schemas.microsoft.com/office/2006/metadata/properties" xmlns:ns2="cc9f08dd-a965-445c-ba01-c806cc95476c" xmlns:ns3="15f1b1b2-3b17-4ee7-84a6-0ab14d345fa5" targetNamespace="http://schemas.microsoft.com/office/2006/metadata/properties" ma:root="true" ma:fieldsID="2c958ee5e250eb4d18d1ff231b82bace" ns2:_="" ns3:_="">
    <xsd:import namespace="cc9f08dd-a965-445c-ba01-c806cc95476c"/>
    <xsd:import namespace="15f1b1b2-3b17-4ee7-84a6-0ab14d345f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9f08dd-a965-445c-ba01-c806cc9547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f1b1b2-3b17-4ee7-84a6-0ab14d345f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.xml><?xml version="1.0" encoding="utf-8"?>
<Control xmlns="http://schemas.microsoft.com/VisualStudio/2011/storyboarding/control">
  <Id Name="53580243-bdf6-453f-83a8-3cbdd5668771" Revision="1" Stencil="System.MyShapes" StencilVersion="1.0"/>
</Control>
</file>

<file path=customXml/item13.xml><?xml version="1.0" encoding="utf-8"?>
<Control xmlns="http://schemas.microsoft.com/VisualStudio/2011/storyboarding/control">
  <Id Name="97049ea3-0512-4d28-93cd-1fe9390555f9" Revision="1" Stencil="System.MyShapes" StencilVersion="1.0"/>
</Control>
</file>

<file path=customXml/item2.xml><?xml version="1.0" encoding="utf-8"?>
<Control xmlns="http://schemas.microsoft.com/VisualStudio/2011/storyboarding/control">
  <Id Name="5b101e26-a922-4310-9dbd-60b14fea8887" Revision="1" Stencil="System.MyShapes" StencilVersion="1.0"/>
</Control>
</file>

<file path=customXml/item3.xml><?xml version="1.0" encoding="utf-8"?>
<Control xmlns="http://schemas.microsoft.com/VisualStudio/2011/storyboarding/control">
  <Id Name="f5a567c0-1ac9-49a2-966f-a00bf8425481" Revision="1" Stencil="System.MyShapes" StencilVersion="1.0"/>
</Control>
</file>

<file path=customXml/item4.xml><?xml version="1.0" encoding="utf-8"?>
<Control xmlns="http://schemas.microsoft.com/VisualStudio/2011/storyboarding/control">
  <Id Name="d3fce018-2bf8-40cf-99d5-06f634592dc2" Revision="1" Stencil="System.MyShapes" StencilVersion="1.0"/>
</Control>
</file>

<file path=customXml/item5.xml><?xml version="1.0" encoding="utf-8"?>
<Control xmlns="http://schemas.microsoft.com/VisualStudio/2011/storyboarding/control">
  <Id Name="0a9a4825-af60-40dc-88a1-3253f3e0d7f7" Revision="1" Stencil="System.MyShapes" StencilVersion="1.0"/>
</Control>
</file>

<file path=customXml/item6.xml><?xml version="1.0" encoding="utf-8"?>
<Control xmlns="http://schemas.microsoft.com/VisualStudio/2011/storyboarding/control">
  <Id Name="639d4620-01c4-4147-85d1-630f460179d7" Revision="1" Stencil="System.MyShapes" StencilVersion="1.0"/>
</Control>
</file>

<file path=customXml/item7.xml><?xml version="1.0" encoding="utf-8"?>
<Control xmlns="http://schemas.microsoft.com/VisualStudio/2011/storyboarding/control">
  <Id Name="1c6c6d66-e46c-434a-a59f-9d28ee3d7f0e" Revision="1" Stencil="System.MyShapes" StencilVersion="1.0"/>
</Control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A7B2708-3127-4DB8-BC64-0CFB276C5B9A}">
  <ds:schemaRefs>
    <ds:schemaRef ds:uri="http://schemas.microsoft.com/VisualStudio/2011/storyboarding/control"/>
  </ds:schemaRefs>
</ds:datastoreItem>
</file>

<file path=customXml/itemProps10.xml><?xml version="1.0" encoding="utf-8"?>
<ds:datastoreItem xmlns:ds="http://schemas.openxmlformats.org/officeDocument/2006/customXml" ds:itemID="{64409CB1-79E8-4255-B6EF-4156EC6241EA}">
  <ds:schemaRefs>
    <ds:schemaRef ds:uri="http://schemas.microsoft.com/VisualStudio/2011/storyboarding/control"/>
  </ds:schemaRefs>
</ds:datastoreItem>
</file>

<file path=customXml/itemProps11.xml><?xml version="1.0" encoding="utf-8"?>
<ds:datastoreItem xmlns:ds="http://schemas.openxmlformats.org/officeDocument/2006/customXml" ds:itemID="{F121C996-576C-4E04-8232-B5861F3D1DBE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cc9f08dd-a965-445c-ba01-c806cc95476c"/>
    <ds:schemaRef ds:uri="15f1b1b2-3b17-4ee7-84a6-0ab14d345fa5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2.xml><?xml version="1.0" encoding="utf-8"?>
<ds:datastoreItem xmlns:ds="http://schemas.openxmlformats.org/officeDocument/2006/customXml" ds:itemID="{322D8AA5-CC48-42A5-A730-BEB4E70C3EEB}">
  <ds:schemaRefs>
    <ds:schemaRef ds:uri="http://schemas.microsoft.com/VisualStudio/2011/storyboarding/control"/>
  </ds:schemaRefs>
</ds:datastoreItem>
</file>

<file path=customXml/itemProps13.xml><?xml version="1.0" encoding="utf-8"?>
<ds:datastoreItem xmlns:ds="http://schemas.openxmlformats.org/officeDocument/2006/customXml" ds:itemID="{D9672B84-2484-8844-8696-7D02D98A771C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66584C4E-10A7-4D6A-B8A8-BCD2E6B5A60E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1183EDAC-7FEC-4F68-9F33-5AE7405AB41B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4FCBE40D-3D2E-2847-99D9-F71F7915752D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915E8B9A-FD10-4FD4-B833-84BAF5C3D2FE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82AC89FA-3F57-ED4E-8858-E8216EFDBBD9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B08D06DF-C2AA-45EF-865E-1E729275B0C2}">
  <ds:schemaRefs>
    <ds:schemaRef ds:uri="http://schemas.microsoft.com/VisualStudio/2011/storyboarding/control"/>
  </ds:schemaRefs>
</ds:datastoreItem>
</file>

<file path=customXml/itemProps8.xml><?xml version="1.0" encoding="utf-8"?>
<ds:datastoreItem xmlns:ds="http://schemas.openxmlformats.org/officeDocument/2006/customXml" ds:itemID="{C3F0D5A8-AB79-4085-8A17-8CB05FDEA6F7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9.xml><?xml version="1.0" encoding="utf-8"?>
<ds:datastoreItem xmlns:ds="http://schemas.openxmlformats.org/officeDocument/2006/customXml" ds:itemID="{EF8171C3-DDEE-45E0-B543-552379A819F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las</Template>
  <TotalTime>545</TotalTime>
  <Words>4906</Words>
  <Application>Microsoft Office PowerPoint</Application>
  <PresentationFormat>Personalizar</PresentationFormat>
  <Paragraphs>816</Paragraphs>
  <Slides>55</Slides>
  <Notes>10</Notes>
  <HiddenSlides>0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5</vt:i4>
      </vt:variant>
    </vt:vector>
  </HeadingPairs>
  <TitlesOfParts>
    <vt:vector size="67" baseType="lpstr">
      <vt:lpstr>.LucidaGrandeUI</vt:lpstr>
      <vt:lpstr>Abadi</vt:lpstr>
      <vt:lpstr>Arial</vt:lpstr>
      <vt:lpstr>Arial Narrow</vt:lpstr>
      <vt:lpstr>Bahnschrift</vt:lpstr>
      <vt:lpstr>BlinkMacSystemFont</vt:lpstr>
      <vt:lpstr>Calibri</vt:lpstr>
      <vt:lpstr>Calibri Bold</vt:lpstr>
      <vt:lpstr>Segoe UI</vt:lpstr>
      <vt:lpstr>Times New Roman</vt:lpstr>
      <vt:lpstr>2_Tema do Office</vt:lpstr>
      <vt:lpstr>think-cell Slide</vt:lpstr>
      <vt:lpstr>TRATAMENTO DO MELANOMA NO CENARIO ATUAL, COM ENFASE NO PAPEL DOS BIOMARCADORES</vt:lpstr>
      <vt:lpstr>Declaração de Conflito de Interesse</vt:lpstr>
      <vt:lpstr>E, CADA VEZ, HÁ MAIS CHANCES  DE QUE ESSE PACIENTE CHEGUE NO NOSSO CONSULTÓRIO</vt:lpstr>
      <vt:lpstr>AUMENTO CONTÍNUO DA INCIDÊNCIA</vt:lpstr>
      <vt:lpstr>Apresentação do PowerPoint</vt:lpstr>
      <vt:lpstr>DIAGNÓSTICO BÁSICO</vt:lpstr>
      <vt:lpstr>DIAGNÓSTICO BÁSICO</vt:lpstr>
      <vt:lpstr>Apresentação do PowerPoint</vt:lpstr>
      <vt:lpstr>Apresentação Inicial do Melanoma1</vt:lpstr>
      <vt:lpstr>Apresentação Inicial do Melanoma versus Sobrevida1</vt:lpstr>
      <vt:lpstr>Limitações DO TRATAMENTO LOCAL  O Paradoxo do Baixo Risco no Melanoma</vt:lpstr>
      <vt:lpstr>Definindo o Problema DA DOENÇA LOCORREGIONAL</vt:lpstr>
      <vt:lpstr>Agrupamentos TNM e Sobrevida – 8ª edição1</vt:lpstr>
      <vt:lpstr>Apresentação do PowerPoint</vt:lpstr>
      <vt:lpstr>Estadio II no Melanoma</vt:lpstr>
      <vt:lpstr>Recorrência do ECII no Melanoma</vt:lpstr>
      <vt:lpstr>DIAGNÓSTICO BÁSICO</vt:lpstr>
      <vt:lpstr>Apresentação do PowerPoint</vt:lpstr>
      <vt:lpstr>Apresentação do PowerPoint</vt:lpstr>
      <vt:lpstr>Descoberta  das mutações  BRAF em Melanoma</vt:lpstr>
      <vt:lpstr>BRAF+  PROMOVE CRESCIMENTO E PROLIFERAÇÃO DESCONTROLADA DE TUMORES</vt:lpstr>
      <vt:lpstr>Apresentação do PowerPoint</vt:lpstr>
      <vt:lpstr>Apresentação do PowerPoint</vt:lpstr>
      <vt:lpstr>STATUS MUTACIONAL  E  SUBTIPOS HISTOLÓGICOS </vt:lpstr>
      <vt:lpstr>Apresentação do PowerPoint</vt:lpstr>
      <vt:lpstr>Apresentação do PowerPoint</vt:lpstr>
      <vt:lpstr>Apresentação do PowerPoint</vt:lpstr>
      <vt:lpstr>Tratamento Adjuvante Como evoluimos?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brigad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lmiro Monteiro</dc:creator>
  <cp:lastModifiedBy>CN</cp:lastModifiedBy>
  <cp:revision>367</cp:revision>
  <dcterms:created xsi:type="dcterms:W3CDTF">2017-05-22T15:16:48Z</dcterms:created>
  <dcterms:modified xsi:type="dcterms:W3CDTF">2024-06-01T17:3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D97DA46B555C40AD81084C92BED5C8</vt:lpwstr>
  </property>
  <property fmtid="{D5CDD505-2E9C-101B-9397-08002B2CF9AE}" pid="3" name="MSIP_Label_4929bff8-5b33-42aa-95d2-28f72e792cb0_Enabled">
    <vt:lpwstr>true</vt:lpwstr>
  </property>
  <property fmtid="{D5CDD505-2E9C-101B-9397-08002B2CF9AE}" pid="4" name="MSIP_Label_4929bff8-5b33-42aa-95d2-28f72e792cb0_SetDate">
    <vt:lpwstr>2021-01-15T20:22:49Z</vt:lpwstr>
  </property>
  <property fmtid="{D5CDD505-2E9C-101B-9397-08002B2CF9AE}" pid="5" name="MSIP_Label_4929bff8-5b33-42aa-95d2-28f72e792cb0_Method">
    <vt:lpwstr>Standard</vt:lpwstr>
  </property>
  <property fmtid="{D5CDD505-2E9C-101B-9397-08002B2CF9AE}" pid="6" name="MSIP_Label_4929bff8-5b33-42aa-95d2-28f72e792cb0_Name">
    <vt:lpwstr>Internal</vt:lpwstr>
  </property>
  <property fmtid="{D5CDD505-2E9C-101B-9397-08002B2CF9AE}" pid="7" name="MSIP_Label_4929bff8-5b33-42aa-95d2-28f72e792cb0_SiteId">
    <vt:lpwstr>f35a6974-607f-47d4-82d7-ff31d7dc53a5</vt:lpwstr>
  </property>
  <property fmtid="{D5CDD505-2E9C-101B-9397-08002B2CF9AE}" pid="8" name="MSIP_Label_4929bff8-5b33-42aa-95d2-28f72e792cb0_ActionId">
    <vt:lpwstr>86376739-169c-464e-97a7-5fc7a50a9d1a</vt:lpwstr>
  </property>
  <property fmtid="{D5CDD505-2E9C-101B-9397-08002B2CF9AE}" pid="9" name="MSIP_Label_4929bff8-5b33-42aa-95d2-28f72e792cb0_ContentBits">
    <vt:lpwstr>0</vt:lpwstr>
  </property>
</Properties>
</file>